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eps" ContentType="image/eps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7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8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3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.xml" ContentType="application/vnd.openxmlformats-officedocument.themeOverride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3.xml" ContentType="application/vnd.openxmlformats-officedocument.presentationml.notesSlide+xml"/>
  <Override PartName="/ppt/tags/tag23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24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25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2.xml" ContentType="application/vnd.openxmlformats-officedocument.themeOverride+xml"/>
  <Override PartName="/ppt/charts/chart1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3.xml" ContentType="application/vnd.openxmlformats-officedocument.themeOverride+xml"/>
  <Override PartName="/ppt/charts/chart2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4.xml" ContentType="application/vnd.openxmlformats-officedocument.themeOverride+xml"/>
  <Override PartName="/ppt/charts/chart2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5.xml" ContentType="application/vnd.openxmlformats-officedocument.themeOverride+xml"/>
  <Override PartName="/ppt/charts/chart2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6.xml" ContentType="application/vnd.openxmlformats-officedocument.themeOverride+xml"/>
  <Override PartName="/ppt/charts/chart2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7.xml" ContentType="application/vnd.openxmlformats-officedocument.themeOverride+xml"/>
  <Override PartName="/ppt/charts/chart2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2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20.xml" ContentType="application/vnd.openxmlformats-officedocument.presentationml.notesSlide+xml"/>
  <Override PartName="/ppt/charts/chart2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8.xml" ContentType="application/vnd.openxmlformats-officedocument.themeOverride+xml"/>
  <Override PartName="/ppt/charts/chart2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2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30.xml" ContentType="application/vnd.openxmlformats-officedocument.drawingml.chart+xml"/>
  <Override PartName="/ppt/drawings/drawing1.xml" ContentType="application/vnd.openxmlformats-officedocument.drawingml.chartshapes+xml"/>
  <Override PartName="/ppt/charts/chart31.xml" ContentType="application/vnd.openxmlformats-officedocument.drawingml.chart+xml"/>
  <Override PartName="/ppt/drawings/drawing2.xml" ContentType="application/vnd.openxmlformats-officedocument.drawingml.chartshape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rts/chart32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heme/themeOverride9.xml" ContentType="application/vnd.openxmlformats-officedocument.themeOverride+xml"/>
  <Override PartName="/ppt/charts/chart33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34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notesSlides/notesSlide25.xml" ContentType="application/vnd.openxmlformats-officedocument.presentationml.notesSlide+xml"/>
  <Override PartName="/ppt/charts/chart35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36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37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38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notesSlides/notesSlide26.xml" ContentType="application/vnd.openxmlformats-officedocument.presentationml.notesSlide+xml"/>
  <Override PartName="/ppt/charts/chart39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notesSlides/notesSlide27.xml" ContentType="application/vnd.openxmlformats-officedocument.presentationml.notesSlide+xml"/>
  <Override PartName="/ppt/charts/chart40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drawings/drawing3.xml" ContentType="application/vnd.openxmlformats-officedocument.drawingml.chartshapes+xml"/>
  <Override PartName="/ppt/charts/chart41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42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43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44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drawings/drawing4.xml" ContentType="application/vnd.openxmlformats-officedocument.drawingml.chartshapes+xml"/>
  <Override PartName="/ppt/charts/chart45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46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26.xml" ContentType="application/vnd.openxmlformats-officedocument.presentationml.tags+xml"/>
  <Override PartName="/ppt/notesSlides/notesSlide30.xml" ContentType="application/vnd.openxmlformats-officedocument.presentationml.notesSlide+xml"/>
  <Override PartName="/ppt/tags/tag27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7050" r:id="rId4"/>
    <p:sldMasterId id="2147487084" r:id="rId5"/>
    <p:sldMasterId id="2147486867" r:id="rId6"/>
  </p:sldMasterIdLst>
  <p:notesMasterIdLst>
    <p:notesMasterId r:id="rId88"/>
  </p:notesMasterIdLst>
  <p:handoutMasterIdLst>
    <p:handoutMasterId r:id="rId89"/>
  </p:handoutMasterIdLst>
  <p:sldIdLst>
    <p:sldId id="2147479338" r:id="rId7"/>
    <p:sldId id="2147479870" r:id="rId8"/>
    <p:sldId id="2147479874" r:id="rId9"/>
    <p:sldId id="2147479873" r:id="rId10"/>
    <p:sldId id="2147483599" r:id="rId11"/>
    <p:sldId id="2147483533" r:id="rId12"/>
    <p:sldId id="2147483541" r:id="rId13"/>
    <p:sldId id="2147483543" r:id="rId14"/>
    <p:sldId id="2147483535" r:id="rId15"/>
    <p:sldId id="2147483621" r:id="rId16"/>
    <p:sldId id="2147483632" r:id="rId17"/>
    <p:sldId id="2147483633" r:id="rId18"/>
    <p:sldId id="2147483634" r:id="rId19"/>
    <p:sldId id="2147483639" r:id="rId20"/>
    <p:sldId id="2147483598" r:id="rId21"/>
    <p:sldId id="2147483616" r:id="rId22"/>
    <p:sldId id="2147483538" r:id="rId23"/>
    <p:sldId id="2147482706" r:id="rId24"/>
    <p:sldId id="267" r:id="rId25"/>
    <p:sldId id="261" r:id="rId26"/>
    <p:sldId id="2147482750" r:id="rId27"/>
    <p:sldId id="2147482751" r:id="rId28"/>
    <p:sldId id="2147479875" r:id="rId29"/>
    <p:sldId id="2147483520" r:id="rId30"/>
    <p:sldId id="1326" r:id="rId31"/>
    <p:sldId id="264" r:id="rId32"/>
    <p:sldId id="2147479871" r:id="rId33"/>
    <p:sldId id="2147483548" r:id="rId34"/>
    <p:sldId id="259" r:id="rId35"/>
    <p:sldId id="2147483617" r:id="rId36"/>
    <p:sldId id="2147482688" r:id="rId37"/>
    <p:sldId id="2147483618" r:id="rId38"/>
    <p:sldId id="2147479872" r:id="rId39"/>
    <p:sldId id="2147482690" r:id="rId40"/>
    <p:sldId id="2147482691" r:id="rId41"/>
    <p:sldId id="257" r:id="rId42"/>
    <p:sldId id="2147483556" r:id="rId43"/>
    <p:sldId id="2147483522" r:id="rId44"/>
    <p:sldId id="2147483558" r:id="rId45"/>
    <p:sldId id="260" r:id="rId46"/>
    <p:sldId id="2147483560" r:id="rId47"/>
    <p:sldId id="262" r:id="rId48"/>
    <p:sldId id="2147483562" r:id="rId49"/>
    <p:sldId id="266" r:id="rId50"/>
    <p:sldId id="268" r:id="rId51"/>
    <p:sldId id="2147483593" r:id="rId52"/>
    <p:sldId id="2147483565" r:id="rId53"/>
    <p:sldId id="2147483567" r:id="rId54"/>
    <p:sldId id="2147483576" r:id="rId55"/>
    <p:sldId id="2147483577" r:id="rId56"/>
    <p:sldId id="2147483578" r:id="rId57"/>
    <p:sldId id="2147483580" r:id="rId58"/>
    <p:sldId id="279" r:id="rId59"/>
    <p:sldId id="2147483581" r:id="rId60"/>
    <p:sldId id="2147483582" r:id="rId61"/>
    <p:sldId id="283" r:id="rId62"/>
    <p:sldId id="284" r:id="rId63"/>
    <p:sldId id="285" r:id="rId64"/>
    <p:sldId id="286" r:id="rId65"/>
    <p:sldId id="287" r:id="rId66"/>
    <p:sldId id="2147483587" r:id="rId67"/>
    <p:sldId id="2147483585" r:id="rId68"/>
    <p:sldId id="2147483588" r:id="rId69"/>
    <p:sldId id="2147483590" r:id="rId70"/>
    <p:sldId id="2147483594" r:id="rId71"/>
    <p:sldId id="256" r:id="rId72"/>
    <p:sldId id="2147483586" r:id="rId73"/>
    <p:sldId id="2147483641" r:id="rId74"/>
    <p:sldId id="2147483619" r:id="rId75"/>
    <p:sldId id="265" r:id="rId76"/>
    <p:sldId id="291" r:id="rId77"/>
    <p:sldId id="2147479878" r:id="rId78"/>
    <p:sldId id="263" r:id="rId79"/>
    <p:sldId id="2147483643" r:id="rId80"/>
    <p:sldId id="2147483647" r:id="rId81"/>
    <p:sldId id="2147483583" r:id="rId82"/>
    <p:sldId id="2147483584" r:id="rId83"/>
    <p:sldId id="2147479877" r:id="rId84"/>
    <p:sldId id="258" r:id="rId85"/>
    <p:sldId id="2147479331" r:id="rId86"/>
    <p:sldId id="2147483531" r:id="rId87"/>
  </p:sldIdLst>
  <p:sldSz cx="9144000" cy="5143500" type="screen16x9"/>
  <p:notesSz cx="6797675" cy="992822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893" kern="1200">
        <a:solidFill>
          <a:srgbClr val="808080"/>
        </a:solidFill>
        <a:latin typeface="FrutigerBold" pitchFamily="2" charset="0"/>
        <a:ea typeface="+mn-ea"/>
        <a:cs typeface="Arial" pitchFamily="34" charset="0"/>
      </a:defRPr>
    </a:lvl1pPr>
    <a:lvl2pPr marL="333308" algn="l" rtl="0" fontAlgn="base">
      <a:spcBef>
        <a:spcPct val="0"/>
      </a:spcBef>
      <a:spcAft>
        <a:spcPct val="0"/>
      </a:spcAft>
      <a:defRPr sz="893" kern="1200">
        <a:solidFill>
          <a:srgbClr val="808080"/>
        </a:solidFill>
        <a:latin typeface="FrutigerBold" pitchFamily="2" charset="0"/>
        <a:ea typeface="+mn-ea"/>
        <a:cs typeface="Arial" pitchFamily="34" charset="0"/>
      </a:defRPr>
    </a:lvl2pPr>
    <a:lvl3pPr marL="666615" algn="l" rtl="0" fontAlgn="base">
      <a:spcBef>
        <a:spcPct val="0"/>
      </a:spcBef>
      <a:spcAft>
        <a:spcPct val="0"/>
      </a:spcAft>
      <a:defRPr sz="893" kern="1200">
        <a:solidFill>
          <a:srgbClr val="808080"/>
        </a:solidFill>
        <a:latin typeface="FrutigerBold" pitchFamily="2" charset="0"/>
        <a:ea typeface="+mn-ea"/>
        <a:cs typeface="Arial" pitchFamily="34" charset="0"/>
      </a:defRPr>
    </a:lvl3pPr>
    <a:lvl4pPr marL="999921" algn="l" rtl="0" fontAlgn="base">
      <a:spcBef>
        <a:spcPct val="0"/>
      </a:spcBef>
      <a:spcAft>
        <a:spcPct val="0"/>
      </a:spcAft>
      <a:defRPr sz="893" kern="1200">
        <a:solidFill>
          <a:srgbClr val="808080"/>
        </a:solidFill>
        <a:latin typeface="FrutigerBold" pitchFamily="2" charset="0"/>
        <a:ea typeface="+mn-ea"/>
        <a:cs typeface="Arial" pitchFamily="34" charset="0"/>
      </a:defRPr>
    </a:lvl4pPr>
    <a:lvl5pPr marL="1333229" algn="l" rtl="0" fontAlgn="base">
      <a:spcBef>
        <a:spcPct val="0"/>
      </a:spcBef>
      <a:spcAft>
        <a:spcPct val="0"/>
      </a:spcAft>
      <a:defRPr sz="893" kern="1200">
        <a:solidFill>
          <a:srgbClr val="808080"/>
        </a:solidFill>
        <a:latin typeface="FrutigerBold" pitchFamily="2" charset="0"/>
        <a:ea typeface="+mn-ea"/>
        <a:cs typeface="Arial" pitchFamily="34" charset="0"/>
      </a:defRPr>
    </a:lvl5pPr>
    <a:lvl6pPr marL="1666534" algn="l" defTabSz="666615" rtl="0" eaLnBrk="1" latinLnBrk="0" hangingPunct="1">
      <a:defRPr sz="893" kern="1200">
        <a:solidFill>
          <a:srgbClr val="808080"/>
        </a:solidFill>
        <a:latin typeface="FrutigerBold" pitchFamily="2" charset="0"/>
        <a:ea typeface="+mn-ea"/>
        <a:cs typeface="Arial" pitchFamily="34" charset="0"/>
      </a:defRPr>
    </a:lvl6pPr>
    <a:lvl7pPr marL="1999842" algn="l" defTabSz="666615" rtl="0" eaLnBrk="1" latinLnBrk="0" hangingPunct="1">
      <a:defRPr sz="893" kern="1200">
        <a:solidFill>
          <a:srgbClr val="808080"/>
        </a:solidFill>
        <a:latin typeface="FrutigerBold" pitchFamily="2" charset="0"/>
        <a:ea typeface="+mn-ea"/>
        <a:cs typeface="Arial" pitchFamily="34" charset="0"/>
      </a:defRPr>
    </a:lvl7pPr>
    <a:lvl8pPr marL="2333150" algn="l" defTabSz="666615" rtl="0" eaLnBrk="1" latinLnBrk="0" hangingPunct="1">
      <a:defRPr sz="893" kern="1200">
        <a:solidFill>
          <a:srgbClr val="808080"/>
        </a:solidFill>
        <a:latin typeface="FrutigerBold" pitchFamily="2" charset="0"/>
        <a:ea typeface="+mn-ea"/>
        <a:cs typeface="Arial" pitchFamily="34" charset="0"/>
      </a:defRPr>
    </a:lvl8pPr>
    <a:lvl9pPr marL="2666456" algn="l" defTabSz="666615" rtl="0" eaLnBrk="1" latinLnBrk="0" hangingPunct="1">
      <a:defRPr sz="893" kern="1200">
        <a:solidFill>
          <a:srgbClr val="808080"/>
        </a:solidFill>
        <a:latin typeface="FrutigerBold" pitchFamily="2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5" pos="415" userDrawn="1">
          <p15:clr>
            <a:srgbClr val="A4A3A4"/>
          </p15:clr>
        </p15:guide>
        <p15:guide id="6" pos="385" userDrawn="1">
          <p15:clr>
            <a:srgbClr val="A4A3A4"/>
          </p15:clr>
        </p15:guide>
        <p15:guide id="7" orient="horz" pos="1490" userDrawn="1">
          <p15:clr>
            <a:srgbClr val="A4A3A4"/>
          </p15:clr>
        </p15:guide>
        <p15:guide id="8" orient="horz" pos="529" userDrawn="1">
          <p15:clr>
            <a:srgbClr val="A4A3A4"/>
          </p15:clr>
        </p15:guide>
        <p15:guide id="9" pos="887" userDrawn="1">
          <p15:clr>
            <a:srgbClr val="A4A3A4"/>
          </p15:clr>
        </p15:guide>
        <p15:guide id="10" pos="4044" userDrawn="1">
          <p15:clr>
            <a:srgbClr val="A4A3A4"/>
          </p15:clr>
        </p15:guide>
        <p15:guide id="11" pos="1106" userDrawn="1">
          <p15:clr>
            <a:srgbClr val="A4A3A4"/>
          </p15:clr>
        </p15:guide>
        <p15:guide id="12" orient="horz" pos="3229" userDrawn="1">
          <p15:clr>
            <a:srgbClr val="A4A3A4"/>
          </p15:clr>
        </p15:guide>
        <p15:guide id="13" orient="horz" pos="23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416" userDrawn="1">
          <p15:clr>
            <a:srgbClr val="A4A3A4"/>
          </p15:clr>
        </p15:guide>
        <p15:guide id="2" pos="2392" userDrawn="1">
          <p15:clr>
            <a:srgbClr val="A4A3A4"/>
          </p15:clr>
        </p15:guide>
        <p15:guide id="3" orient="horz" pos="2578" userDrawn="1">
          <p15:clr>
            <a:srgbClr val="A4A3A4"/>
          </p15:clr>
        </p15:guide>
        <p15:guide id="4" pos="2327" userDrawn="1">
          <p15:clr>
            <a:srgbClr val="A4A3A4"/>
          </p15:clr>
        </p15:guide>
        <p15:guide id="5" orient="horz" pos="2751" userDrawn="1">
          <p15:clr>
            <a:srgbClr val="A4A3A4"/>
          </p15:clr>
        </p15:guide>
        <p15:guide id="6" pos="2265" userDrawn="1">
          <p15:clr>
            <a:srgbClr val="A4A3A4"/>
          </p15:clr>
        </p15:guide>
        <p15:guide id="7" orient="horz" pos="2935" userDrawn="1">
          <p15:clr>
            <a:srgbClr val="A4A3A4"/>
          </p15:clr>
        </p15:guide>
        <p15:guide id="8" pos="2203" userDrawn="1">
          <p15:clr>
            <a:srgbClr val="A4A3A4"/>
          </p15:clr>
        </p15:guide>
        <p15:guide id="9" orient="horz" pos="3130" userDrawn="1">
          <p15:clr>
            <a:srgbClr val="A4A3A4"/>
          </p15:clr>
        </p15:guide>
        <p15:guide id="10" pos="2143" userDrawn="1">
          <p15:clr>
            <a:srgbClr val="A4A3A4"/>
          </p15:clr>
        </p15:guide>
        <p15:guide id="11" orient="horz" pos="313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9D83907-552D-DD77-BD8E-A455CDD97B0A}" name="Nicolas Tellechea" initials="NT" userId="S::ntellechea@teco.com.ar::0a571517-02c3-4dde-ad61-d31c1f6f5f46" providerId="AD"/>
  <p188:author id="{11F4F70B-5F9E-DB24-E21C-DD1D46B7B6E6}" name="Tomas Pellicori" initials="TP" userId="S::TLPellicori@teco.com.ar::a297f524-0002-4027-b492-85bf65afee20" providerId="AD"/>
  <p188:author id="{22017614-53C7-605F-6E0D-2C0103C50E00}" name="Luciano Zurlo" initials="" userId="S::LZurlo@teco.com.ar::646e0a9a-2460-419d-96f5-7ebd73bfc027" providerId="AD"/>
  <p188:author id="{FAF3146A-4CA3-1918-6879-2C051080003F}" name="Livio Gentile" initials="LG" userId="S::LAGentile@teco.com.ar::847257df-8cfb-4df1-985e-bb8efa39b4b1" providerId="AD"/>
  <p188:author id="{9DAAB1AE-53A1-96EF-E45C-28D9D07254DA}" name="Santiago Gramegna Vedani" initials="SGV" userId="S::SMGramegnaVedani@teco.com.ar::677bfa16-0215-48e4-b6ec-c2762dd0f31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olo Perfetti" initials="PP" lastIdx="2" clrIdx="0"/>
  <p:cmAuthor id="1" name="Nahuel Monsalvo" initials="NM" lastIdx="1" clrIdx="1">
    <p:extLst>
      <p:ext uri="{19B8F6BF-5375-455C-9EA6-DF929625EA0E}">
        <p15:presenceInfo xmlns:p15="http://schemas.microsoft.com/office/powerpoint/2012/main" userId="S::NMonsalvo@teco.com.ar::084a34c7-a3fe-4908-b9f4-4241612e7235" providerId="AD"/>
      </p:ext>
    </p:extLst>
  </p:cmAuthor>
  <p:cmAuthor id="2" name="Lucas Berges" initials="LB" lastIdx="1" clrIdx="2">
    <p:extLst>
      <p:ext uri="{19B8F6BF-5375-455C-9EA6-DF929625EA0E}">
        <p15:presenceInfo xmlns:p15="http://schemas.microsoft.com/office/powerpoint/2012/main" userId="S::LMBerges@teco.com.ar::684bc9f5-97f3-4358-9d40-860dd4aea1bf" providerId="AD"/>
      </p:ext>
    </p:extLst>
  </p:cmAuthor>
  <p:cmAuthor id="3" name="Tomas Pellicori" initials="TP" lastIdx="9" clrIdx="3">
    <p:extLst>
      <p:ext uri="{19B8F6BF-5375-455C-9EA6-DF929625EA0E}">
        <p15:presenceInfo xmlns:p15="http://schemas.microsoft.com/office/powerpoint/2012/main" userId="S::TLPellicori@teco.com.ar::a297f524-0002-4027-b492-85bf65afee2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5CF3"/>
    <a:srgbClr val="01B7EC"/>
    <a:srgbClr val="ACCB32"/>
    <a:srgbClr val="787878"/>
    <a:srgbClr val="35AEC7"/>
    <a:srgbClr val="FE5756"/>
    <a:srgbClr val="919191"/>
    <a:srgbClr val="206877"/>
    <a:srgbClr val="9E3D9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EB53855-293D-487B-AD3D-D5509881FEB7}" v="4" dt="2025-11-12T11:59:56.323"/>
    <p1510:client id="{1927001E-53FF-1E05-D1BD-A981AF0BB542}" v="18" dt="2025-11-11T16:33:17.610"/>
    <p1510:client id="{53A4E1EB-E3F2-DE43-96B0-B317FB24576D}" v="8236" dt="2025-11-14T14:13:09.585"/>
    <p1510:client id="{7CA913BA-66EC-6311-758D-FDB4421BB88B}" v="19" dt="2025-11-11T18:53:51.940"/>
    <p1510:client id="{8D2222DF-57AA-576E-1F38-46D43EB4EABA}" v="186" dt="2025-11-11T17:51:53.018"/>
    <p1510:client id="{8DF18037-10EE-4699-8C8B-1C3CAC87AE9F}" v="545" dt="2025-11-11T20:31:10.115"/>
    <p1510:client id="{A9FDBEE8-6C37-B2B6-52D2-064B8FEB291D}" v="207" dt="2025-11-11T19:30:48.211"/>
    <p1510:client id="{C93D17E4-5052-4F6C-8293-954303AED6B4}" v="2721" dt="2025-11-12T14:21:07.7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ED083AE6-46FA-4A59-8FB0-9F97EB10719F}" styleName="Estilo claro 3 - Acento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202B0CA-FC54-4496-8BCA-5EF66A818D29}" styleName="Estilo o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AF606853-7671-496A-8E4F-DF71F8EC918B}" styleName="Estilo oscuro 1 - Énfasis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Estilo oscuro 2 - Énfasis 1/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38B1855-1B75-4FBE-930C-398BA8C253C6}" styleName="Estilo temático 2 - Énfasis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Estilo temático 2 - Énfasis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FD4443E-F989-4FC4-A0C8-D5A2AF1F390B}" styleName="Estilo oscuro 1 - Énfasis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8603FDC-E32A-4AB5-989C-0864C3EAD2B8}" styleName="Estilo temático 2 - Énfasis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Estilo temático 2 - Énfasis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8D230F3-CF80-4859-8CE7-A43EE81993B5}" styleName="Estilo claro 1 - Acento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77"/>
  </p:normalViewPr>
  <p:slideViewPr>
    <p:cSldViewPr snapToGrid="0">
      <p:cViewPr varScale="1">
        <p:scale>
          <a:sx n="201" d="100"/>
          <a:sy n="201" d="100"/>
        </p:scale>
        <p:origin x="296" y="184"/>
      </p:cViewPr>
      <p:guideLst>
        <p:guide pos="415"/>
        <p:guide pos="385"/>
        <p:guide orient="horz" pos="1490"/>
        <p:guide orient="horz" pos="529"/>
        <p:guide pos="887"/>
        <p:guide pos="4044"/>
        <p:guide pos="1106"/>
        <p:guide orient="horz" pos="3229"/>
        <p:guide orient="horz" pos="230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416"/>
        <p:guide pos="2392"/>
        <p:guide orient="horz" pos="2578"/>
        <p:guide pos="2327"/>
        <p:guide orient="horz" pos="2751"/>
        <p:guide pos="2265"/>
        <p:guide orient="horz" pos="2935"/>
        <p:guide pos="2203"/>
        <p:guide orient="horz" pos="3130"/>
        <p:guide pos="2143"/>
        <p:guide orient="horz" pos="313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slide" Target="slides/slide78.xml"/><Relationship Id="rId89" Type="http://schemas.openxmlformats.org/officeDocument/2006/relationships/handoutMaster" Target="handoutMasters/handoutMaster1.xml"/><Relationship Id="rId16" Type="http://schemas.openxmlformats.org/officeDocument/2006/relationships/slide" Target="slides/slide10.xml"/><Relationship Id="rId11" Type="http://schemas.openxmlformats.org/officeDocument/2006/relationships/slide" Target="slides/slide5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5" Type="http://schemas.openxmlformats.org/officeDocument/2006/relationships/slideMaster" Target="slideMasters/slideMaster2.xml"/><Relationship Id="rId90" Type="http://schemas.openxmlformats.org/officeDocument/2006/relationships/commentAuthors" Target="commentAuthors.xml"/><Relationship Id="rId95" Type="http://schemas.microsoft.com/office/2015/10/relationships/revisionInfo" Target="revisionInfo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93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slide" Target="slides/slide77.xml"/><Relationship Id="rId88" Type="http://schemas.openxmlformats.org/officeDocument/2006/relationships/notesMaster" Target="notesMasters/notesMaster1.xml"/><Relationship Id="rId91" Type="http://schemas.openxmlformats.org/officeDocument/2006/relationships/presProps" Target="presProps.xml"/><Relationship Id="rId9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9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viewProps" Target="viewProps.xml"/><Relationship Id="rId2" Type="http://schemas.openxmlformats.org/officeDocument/2006/relationships/customXml" Target="../customXml/item2.xml"/><Relationship Id="rId29" Type="http://schemas.openxmlformats.org/officeDocument/2006/relationships/slide" Target="slides/slide23.xml"/><Relationship Id="rId24" Type="http://schemas.openxmlformats.org/officeDocument/2006/relationships/slide" Target="slides/slide18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66" Type="http://schemas.openxmlformats.org/officeDocument/2006/relationships/slide" Target="slides/slide60.xml"/><Relationship Id="rId87" Type="http://schemas.openxmlformats.org/officeDocument/2006/relationships/slide" Target="slides/slide81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56" Type="http://schemas.openxmlformats.org/officeDocument/2006/relationships/slide" Target="slides/slide50.xml"/><Relationship Id="rId77" Type="http://schemas.openxmlformats.org/officeDocument/2006/relationships/slide" Target="slides/slide7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binaria_de_Microsoft_Excel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8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9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0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NULL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1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u198312\Downloads\Latam%20connectivity%20revenue%20forecast%20bench%202025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https://cablevisionfibertel-my.sharepoint.com/personal/jferesin_teco_com_ar/Documents/Info%20para%20slide%20Plan%202030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https://cablevisionfibertel.sharepoint.com/teams/PlaneamientoAccesoMvil28/Shared%20Documents/Planes%20de%20Obra/2026/Presentaciones/Estrategia%20TECO%202026-2030/Ookla%203Q2025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Hoja_de_c_lculo_de_Microsoft_Excel12.xlsx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Hoja_de_c_lculo_de_Microsoft_Excel13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binaria_de_Microsoft_Excel1.xlsb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Hoja_de_c_lculo_de_Microsoft_Excel14.xlsx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Hoja_de_c_lculo_de_Microsoft_Excel15.xlsx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Hoja_de_c_lculo_de_Microsoft_Excel16.xlsx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package" Target="../embeddings/Hoja_de_c_lculo_de_Microsoft_Excel17.xlsx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8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oleObject" Target="https://cablevisionfibertel.sharepoint.com/teams/ESTRATEGIA2026-2031/Shared%20Documents/ESTRATEGIA/Presentaci&#243;n%20Estrategia%202026-2030/BK%20-%20Soporte%20Excel/Acceso%20Fijo/Libro1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oleObject" Target="https://cablevisionfibertel-my.sharepoint.com/personal/jurricelqui_teco_com_ar/Documents/Documento%20Estrategia%20Personal%20Pay%20-%202025_RadarMarkers.xlsx" TargetMode="Externa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oleObject" Target="Libro1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9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0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binaria_de_Microsoft_Excel2.xlsb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Hoja_de_c_lculo_de_Microsoft_Excel21.xlsx"/></Relationships>
</file>

<file path=ppt/charts/_rels/chart3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Hoja_de_c_lculo_de_Microsoft_Excel22.xlsx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20.xml"/><Relationship Id="rId1" Type="http://schemas.microsoft.com/office/2011/relationships/chartStyle" Target="style20.xml"/><Relationship Id="rId4" Type="http://schemas.openxmlformats.org/officeDocument/2006/relationships/package" Target="../embeddings/Hoja_de_c_lculo_de_Microsoft_Excel23.xlsx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oleObject" Target="https://cablevisionfibertel-my.sharepoint.com/personal/jferesin_teco_com_ar/Documents/Info%20para%20slide%20Plan%202030.xlsx" TargetMode="External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oleObject" Target="https://cablevisionfibertel-my.sharepoint.com/personal/jferesin_teco_com_ar/Documents/Info%20para%20slide%20Plan%202030.xlsx" TargetMode="External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4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5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6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7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8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binaria_de_Microsoft_Excel3.xlsb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9.xlsx"/><Relationship Id="rId2" Type="http://schemas.microsoft.com/office/2011/relationships/chartColorStyle" Target="colors28.xml"/><Relationship Id="rId1" Type="http://schemas.microsoft.com/office/2011/relationships/chartStyle" Target="style28.xml"/><Relationship Id="rId4" Type="http://schemas.openxmlformats.org/officeDocument/2006/relationships/chartUserShapes" Target="../drawings/drawing3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0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1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2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3.xlsx"/><Relationship Id="rId2" Type="http://schemas.microsoft.com/office/2011/relationships/chartColorStyle" Target="colors32.xml"/><Relationship Id="rId1" Type="http://schemas.microsoft.com/office/2011/relationships/chartStyle" Target="style32.xml"/><Relationship Id="rId4" Type="http://schemas.openxmlformats.org/officeDocument/2006/relationships/chartUserShapes" Target="../drawings/drawing4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4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5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binaria_de_Microsoft_Excel4.xlsb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5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6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605451936872305E-2"/>
          <c:y val="7.4605451936872305E-2"/>
          <c:w val="0.85078909612625542"/>
          <c:h val="0.85078909612625542"/>
        </c:manualLayout>
      </c:layout>
      <c:doughnutChart>
        <c:varyColors val="0"/>
        <c:ser>
          <c:idx val="0"/>
          <c:order val="0"/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742-624E-A77A-BDC42C6A3502}"/>
              </c:ext>
            </c:extLst>
          </c:dPt>
          <c:dPt>
            <c:idx val="1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742-624E-A77A-BDC42C6A3502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84</c:v>
                </c:pt>
                <c:pt idx="1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742-624E-A77A-BDC42C6A35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9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7685475915843966E-2"/>
          <c:w val="1"/>
          <c:h val="0.856203415092588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D98-624B-8134-A703AFA85B6D}"/>
              </c:ext>
            </c:extLst>
          </c:dPt>
          <c:dPt>
            <c:idx val="1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D98-624B-8134-A703AFA85B6D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D98-624B-8134-A703AFA85B6D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D98-624B-8134-A703AFA85B6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0" tIns="0" rIns="0" bIns="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5</c:f>
              <c:numCache>
                <c:formatCode>0.00%</c:formatCode>
                <c:ptCount val="4"/>
                <c:pt idx="0">
                  <c:v>1.2999999999999999E-2</c:v>
                </c:pt>
                <c:pt idx="1">
                  <c:v>9.6000000000000002E-2</c:v>
                </c:pt>
                <c:pt idx="2">
                  <c:v>1.0999999999999999E-2</c:v>
                </c:pt>
                <c:pt idx="3">
                  <c:v>2.1999999999999999E-2</c:v>
                </c:pt>
              </c:numCache>
            </c:numRef>
          </c:cat>
          <c:val>
            <c:numRef>
              <c:f>Hoja1!$B$2:$B$5</c:f>
              <c:numCache>
                <c:formatCode>0.00%</c:formatCode>
                <c:ptCount val="4"/>
                <c:pt idx="0">
                  <c:v>5.2999999999999999E-2</c:v>
                </c:pt>
                <c:pt idx="1">
                  <c:v>0.36899999999999999</c:v>
                </c:pt>
                <c:pt idx="2">
                  <c:v>4.5999999999999999E-2</c:v>
                </c:pt>
                <c:pt idx="3">
                  <c:v>9.19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B-624E-865E-D5E79118165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-25"/>
        <c:axId val="1462178735"/>
        <c:axId val="1385059071"/>
      </c:barChart>
      <c:catAx>
        <c:axId val="1462178735"/>
        <c:scaling>
          <c:orientation val="minMax"/>
        </c:scaling>
        <c:delete val="0"/>
        <c:axPos val="b"/>
        <c:numFmt formatCode="0.00%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spcBef>
                <a:spcPts val="300"/>
              </a:spcBef>
              <a:spcAft>
                <a:spcPts val="0"/>
              </a:spcAft>
              <a:defRPr sz="800" b="0" i="0" u="none" strike="noStrike" kern="1200" baseline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+mn-ea"/>
                <a:cs typeface="+mn-cs"/>
              </a:defRPr>
            </a:pPr>
            <a:endParaRPr lang="es-AR"/>
          </a:p>
        </c:txPr>
        <c:crossAx val="1385059071"/>
        <c:crosses val="autoZero"/>
        <c:auto val="0"/>
        <c:lblAlgn val="ctr"/>
        <c:lblOffset val="100"/>
        <c:noMultiLvlLbl val="0"/>
      </c:catAx>
      <c:valAx>
        <c:axId val="1385059071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14621787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792475132936025"/>
          <c:w val="1"/>
          <c:h val="0.5357674341373551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810-6542-8A65-8C4768934E23}"/>
              </c:ext>
            </c:extLst>
          </c:dPt>
          <c:dPt>
            <c:idx val="1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810-6542-8A65-8C4768934E23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810-6542-8A65-8C4768934E23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810-6542-8A65-8C4768934E2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0" tIns="0" rIns="0" bIns="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5</c:f>
              <c:numCache>
                <c:formatCode>0.00%</c:formatCode>
                <c:ptCount val="4"/>
                <c:pt idx="0">
                  <c:v>0</c:v>
                </c:pt>
                <c:pt idx="1">
                  <c:v>4.0000000000000001E-3</c:v>
                </c:pt>
                <c:pt idx="2">
                  <c:v>0</c:v>
                </c:pt>
                <c:pt idx="3">
                  <c:v>1E-3</c:v>
                </c:pt>
              </c:numCache>
            </c:numRef>
          </c:cat>
          <c:val>
            <c:numRef>
              <c:f>Hoja1!$B$2:$B$5</c:f>
              <c:numCache>
                <c:formatCode>0.00%</c:formatCode>
                <c:ptCount val="4"/>
                <c:pt idx="0">
                  <c:v>2E-3</c:v>
                </c:pt>
                <c:pt idx="1">
                  <c:v>1.4999999999999999E-2</c:v>
                </c:pt>
                <c:pt idx="2">
                  <c:v>1E-3</c:v>
                </c:pt>
                <c:pt idx="3">
                  <c:v>3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B-624E-865E-D5E79118165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-25"/>
        <c:axId val="1462178735"/>
        <c:axId val="1385059071"/>
      </c:barChart>
      <c:catAx>
        <c:axId val="1462178735"/>
        <c:scaling>
          <c:orientation val="minMax"/>
        </c:scaling>
        <c:delete val="0"/>
        <c:axPos val="b"/>
        <c:numFmt formatCode="0.00%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spcBef>
                <a:spcPts val="300"/>
              </a:spcBef>
              <a:defRPr sz="800" b="0" i="0" u="none" strike="noStrike" kern="1200" baseline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+mn-ea"/>
                <a:cs typeface="+mn-cs"/>
              </a:defRPr>
            </a:pPr>
            <a:endParaRPr lang="es-AR"/>
          </a:p>
        </c:txPr>
        <c:crossAx val="1385059071"/>
        <c:crosses val="autoZero"/>
        <c:auto val="0"/>
        <c:lblAlgn val="ctr"/>
        <c:lblOffset val="100"/>
        <c:noMultiLvlLbl val="0"/>
      </c:catAx>
      <c:valAx>
        <c:axId val="1385059071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14621787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9.8228779607852368E-2"/>
          <c:w val="1"/>
          <c:h val="0.8124952154377947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74B-9544-811D-58AD25E99E31}"/>
              </c:ext>
            </c:extLst>
          </c:dPt>
          <c:dPt>
            <c:idx val="1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74B-9544-811D-58AD25E99E31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C74B-9544-811D-58AD25E99E31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74B-9544-811D-58AD25E99E3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0" tIns="0" rIns="0" bIns="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5</c:f>
              <c:numCache>
                <c:formatCode>0.00%</c:formatCode>
                <c:ptCount val="4"/>
                <c:pt idx="0">
                  <c:v>1E-3</c:v>
                </c:pt>
                <c:pt idx="1">
                  <c:v>1.2999999999999999E-2</c:v>
                </c:pt>
                <c:pt idx="2">
                  <c:v>1E-3</c:v>
                </c:pt>
                <c:pt idx="3">
                  <c:v>2E-3</c:v>
                </c:pt>
              </c:numCache>
            </c:numRef>
          </c:cat>
          <c:val>
            <c:numRef>
              <c:f>Hoja1!$B$2:$B$5</c:f>
              <c:numCache>
                <c:formatCode>0.00%</c:formatCode>
                <c:ptCount val="4"/>
                <c:pt idx="0">
                  <c:v>5.0000000000000001E-3</c:v>
                </c:pt>
                <c:pt idx="1">
                  <c:v>5.2999999999999999E-2</c:v>
                </c:pt>
                <c:pt idx="2">
                  <c:v>5.0000000000000001E-3</c:v>
                </c:pt>
                <c:pt idx="3">
                  <c:v>8.999999999999999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B-624E-865E-D5E79118165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-25"/>
        <c:axId val="1462178735"/>
        <c:axId val="1385059071"/>
      </c:barChart>
      <c:catAx>
        <c:axId val="1462178735"/>
        <c:scaling>
          <c:orientation val="minMax"/>
        </c:scaling>
        <c:delete val="0"/>
        <c:axPos val="b"/>
        <c:numFmt formatCode="0.00%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spcBef>
                <a:spcPts val="300"/>
              </a:spcBef>
              <a:defRPr sz="800" b="0" i="0" u="none" strike="noStrike" kern="1200" baseline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+mn-ea"/>
                <a:cs typeface="+mn-cs"/>
              </a:defRPr>
            </a:pPr>
            <a:endParaRPr lang="es-AR"/>
          </a:p>
        </c:txPr>
        <c:crossAx val="1385059071"/>
        <c:crosses val="autoZero"/>
        <c:auto val="0"/>
        <c:lblAlgn val="ctr"/>
        <c:lblOffset val="100"/>
        <c:noMultiLvlLbl val="0"/>
      </c:catAx>
      <c:valAx>
        <c:axId val="1385059071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14621787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xMode val="edge"/>
          <c:yMode val="edge"/>
          <c:x val="2.8433132883477888E-2"/>
          <c:y val="8.8788787530010405E-2"/>
          <c:w val="0.97156686711652207"/>
          <c:h val="0.86761737462168442"/>
        </c:manualLayout>
      </c:layout>
      <c:bubbleChart>
        <c:varyColors val="0"/>
        <c:ser>
          <c:idx val="0"/>
          <c:order val="0"/>
          <c:tx>
            <c:strRef>
              <c:f>'Revenue dashboard'!$B$33</c:f>
              <c:strCache>
                <c:ptCount val="1"/>
                <c:pt idx="0">
                  <c:v>Mobile voice</c:v>
                </c:pt>
              </c:strCache>
              <c:extLst xmlns:c15="http://schemas.microsoft.com/office/drawing/2012/chart"/>
            </c:strRef>
          </c:tx>
          <c:spPr>
            <a:solidFill>
              <a:srgbClr val="003CB2"/>
            </a:solidFill>
            <a:ln w="9525" cap="flat" cmpd="sng" algn="ctr">
              <a:noFill/>
              <a:round/>
            </a:ln>
            <a:effectLst/>
          </c:spPr>
          <c:invertIfNegative val="0"/>
          <c:dLbls>
            <c:dLbl>
              <c:idx val="0"/>
              <c:layout>
                <c:manualLayout>
                  <c:x val="2.0008255393938073E-3"/>
                  <c:y val="-3.1471453949315368E-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ctr">
                      <a:defRPr sz="800" b="0" i="0" u="none" strike="noStrike" kern="1200" baseline="0">
                        <a:solidFill>
                          <a:sysClr val="windowText" lastClr="000000"/>
                        </a:solidFill>
                        <a:latin typeface="Pulso Light" pitchFamily="2" charset="0"/>
                        <a:ea typeface="+mn-ea"/>
                        <a:cs typeface="+mn-cs"/>
                      </a:defRPr>
                    </a:pPr>
                    <a:fld id="{A3538706-F015-A145-98BB-34A8D196E04C}" type="SERIESNAME">
                      <a:rPr lang="en-US" sz="800" b="0" i="0" dirty="0">
                        <a:latin typeface="Pulso Light" pitchFamily="2" charset="0"/>
                      </a:rPr>
                      <a:pPr algn="ctr">
                        <a:defRPr sz="800">
                          <a:latin typeface="Pulso Light" pitchFamily="2" charset="0"/>
                        </a:defRPr>
                      </a:pPr>
                      <a:t>[NOMBRE DE LA SERIE]</a:t>
                    </a:fld>
                    <a:r>
                      <a:rPr lang="en-US" sz="800" b="0" i="0" baseline="0">
                        <a:latin typeface="Pulso Light" pitchFamily="2" charset="0"/>
                      </a:rPr>
                      <a:t>
</a:t>
                    </a:r>
                    <a:fld id="{0E37B3D1-D63A-6A4C-B2D8-02DCF0894D9B}" type="XVALUE">
                      <a:rPr lang="en-US" sz="800" b="1" i="0" baseline="0" dirty="0">
                        <a:latin typeface="Pulso" pitchFamily="2" charset="0"/>
                      </a:rPr>
                      <a:pPr algn="ctr">
                        <a:defRPr sz="800">
                          <a:latin typeface="Pulso Light" pitchFamily="2" charset="0"/>
                        </a:defRPr>
                      </a:pPr>
                      <a:t>[VALOR DE X]</a:t>
                    </a:fld>
                    <a:endParaRPr lang="en-US" sz="800" b="0" i="0" baseline="0">
                      <a:latin typeface="Pulso Light" pitchFamily="2" charset="0"/>
                    </a:endParaRPr>
                  </a:p>
                </c:rich>
              </c:tx>
              <c:spPr>
                <a:solidFill>
                  <a:sysClr val="window" lastClr="FFFFFF"/>
                </a:solidFill>
                <a:ln>
                  <a:solidFill>
                    <a:srgbClr val="003CB2"/>
                  </a:solidFill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ctr">
                    <a:defRPr sz="800" b="0" i="0" u="none" strike="noStrike" kern="1200" baseline="0">
                      <a:solidFill>
                        <a:sysClr val="windowText" lastClr="000000"/>
                      </a:solidFill>
                      <a:latin typeface="Pulso Light" pitchFamily="2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1"/>
              <c:showSerName val="1"/>
              <c:showPercent val="0"/>
              <c:showBubbleSize val="0"/>
              <c:separator>
</c:separator>
              <c:extLst xmlns:c15="http://schemas.microsoft.com/office/drawing/2012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C2BD-324F-A78A-EE1F9BFDEC8D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1"/>
            <c:showSerName val="1"/>
            <c:showPercent val="0"/>
            <c:showBubbleSize val="0"/>
            <c:separator>
</c:separator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12700" cap="rnd">
                      <a:solidFill>
                        <a:srgbClr val="003CB2"/>
                      </a:solidFill>
                      <a:prstDash val="sysDot"/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Revenue dashboard'!$C$33</c:f>
              <c:numCache>
                <c:formatCode>0%</c:formatCode>
                <c:ptCount val="1"/>
                <c:pt idx="0">
                  <c:v>-0.12168707309487015</c:v>
                </c:pt>
              </c:numCache>
              <c:extLst xmlns:c15="http://schemas.microsoft.com/office/drawing/2012/chart"/>
            </c:numRef>
          </c:xVal>
          <c:yVal>
            <c:numRef>
              <c:f>'Revenue dashboard'!$E$33</c:f>
              <c:numCache>
                <c:formatCode>"$"#,##0"m"</c:formatCode>
                <c:ptCount val="1"/>
                <c:pt idx="0">
                  <c:v>-67675.219489846801</c:v>
                </c:pt>
              </c:numCache>
              <c:extLst xmlns:c15="http://schemas.microsoft.com/office/drawing/2012/chart"/>
            </c:numRef>
          </c:yVal>
          <c:bubbleSize>
            <c:numRef>
              <c:f>'Revenue dashboard'!$F$33</c:f>
              <c:numCache>
                <c:formatCode>"$"#,##0"m"</c:formatCode>
                <c:ptCount val="1"/>
                <c:pt idx="0">
                  <c:v>74110.185923389814</c:v>
                </c:pt>
              </c:numCache>
              <c:extLst xmlns:c15="http://schemas.microsoft.com/office/drawing/2012/chart"/>
            </c:numRef>
          </c:bubbleSize>
          <c:bubble3D val="0"/>
          <c:extLst xmlns:c15="http://schemas.microsoft.com/office/drawing/2012/chart">
            <c:ext xmlns:c16="http://schemas.microsoft.com/office/drawing/2014/chart" uri="{C3380CC4-5D6E-409C-BE32-E72D297353CC}">
              <c16:uniqueId val="{00000001-C2BD-324F-A78A-EE1F9BFDEC8D}"/>
            </c:ext>
          </c:extLst>
        </c:ser>
        <c:ser>
          <c:idx val="1"/>
          <c:order val="1"/>
          <c:tx>
            <c:strRef>
              <c:f>'Revenue dashboard'!$B$34</c:f>
              <c:strCache>
                <c:ptCount val="1"/>
                <c:pt idx="0">
                  <c:v>Fixed voice</c:v>
                </c:pt>
              </c:strCache>
            </c:strRef>
          </c:tx>
          <c:spPr>
            <a:solidFill>
              <a:srgbClr val="33D7C8"/>
            </a:solidFill>
            <a:ln w="9525" cap="flat" cmpd="sng" algn="ctr">
              <a:noFill/>
              <a:round/>
            </a:ln>
            <a:effectLst/>
          </c:spPr>
          <c:invertIfNegative val="0"/>
          <c:dLbls>
            <c:dLbl>
              <c:idx val="0"/>
              <c:layout>
                <c:manualLayout>
                  <c:x val="-0.10149062114558093"/>
                  <c:y val="-0.1638062351036656"/>
                </c:manualLayout>
              </c:layout>
              <c:tx>
                <c:rich>
                  <a:bodyPr/>
                  <a:lstStyle/>
                  <a:p>
                    <a:fld id="{A30CE669-EB8B-904F-9C7A-B80AFB62A138}" type="SERIESNAME">
                      <a:rPr lang="en-US"/>
                      <a:pPr/>
                      <a:t>[NOMBRE DE LA SERIE]</a:t>
                    </a:fld>
                    <a:r>
                      <a:rPr lang="en-US" baseline="0"/>
                      <a:t>
</a:t>
                    </a:r>
                    <a:fld id="{EFD5D34B-694E-AF4C-B81F-AB7C8725B629}" type="XVALUE">
                      <a:rPr lang="en-US" b="1" i="0" baseline="0">
                        <a:latin typeface="Pulso" pitchFamily="2" charset="0"/>
                      </a:rPr>
                      <a:pPr/>
                      <a:t>[VALOR DE X]</a:t>
                    </a:fld>
                    <a:endParaRPr lang="en-US" baseline="0"/>
                  </a:p>
                </c:rich>
              </c:tx>
              <c:dLblPos val="r"/>
              <c:showLegendKey val="0"/>
              <c:showVal val="0"/>
              <c:showCatName val="1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8.8765918472107949E-2"/>
                      <c:h val="0.1246320715409694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C2BD-324F-A78A-EE1F9BFDEC8D}"/>
                </c:ext>
              </c:extLst>
            </c:dLbl>
            <c:spPr>
              <a:solidFill>
                <a:srgbClr val="FFFFFF"/>
              </a:solidFill>
              <a:ln>
                <a:solidFill>
                  <a:srgbClr val="33D7C8"/>
                </a:solidFill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800" b="0" i="0" u="none" strike="noStrike" kern="1200" baseline="0">
                    <a:solidFill>
                      <a:sysClr val="windowText" lastClr="000000"/>
                    </a:solidFill>
                    <a:latin typeface="Pulso Light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1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12700" cap="rnd">
                      <a:solidFill>
                        <a:srgbClr val="32D8C9"/>
                      </a:solidFill>
                      <a:prstDash val="sysDot"/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Revenue dashboard'!$C$34</c:f>
              <c:numCache>
                <c:formatCode>0%</c:formatCode>
                <c:ptCount val="1"/>
                <c:pt idx="0">
                  <c:v>-6.2612401799277406E-2</c:v>
                </c:pt>
              </c:numCache>
            </c:numRef>
          </c:xVal>
          <c:yVal>
            <c:numRef>
              <c:f>'Revenue dashboard'!$E$34</c:f>
              <c:numCache>
                <c:formatCode>"$"#,##0"m"</c:formatCode>
                <c:ptCount val="1"/>
                <c:pt idx="0">
                  <c:v>-13520.446737843457</c:v>
                </c:pt>
              </c:numCache>
            </c:numRef>
          </c:yVal>
          <c:bubbleSize>
            <c:numRef>
              <c:f>'Revenue dashboard'!$F$34</c:f>
              <c:numCache>
                <c:formatCode>"$"#,##0"m"</c:formatCode>
                <c:ptCount val="1"/>
                <c:pt idx="0">
                  <c:v>35424.543789443494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3-C2BD-324F-A78A-EE1F9BFDEC8D}"/>
            </c:ext>
          </c:extLst>
        </c:ser>
        <c:ser>
          <c:idx val="2"/>
          <c:order val="2"/>
          <c:tx>
            <c:strRef>
              <c:f>'Revenue dashboard'!$B$35</c:f>
              <c:strCache>
                <c:ptCount val="1"/>
                <c:pt idx="0">
                  <c:v>Mobile SMS</c:v>
                </c:pt>
              </c:strCache>
              <c:extLst xmlns:c15="http://schemas.microsoft.com/office/drawing/2012/chart"/>
            </c:strRef>
          </c:tx>
          <c:spPr>
            <a:solidFill>
              <a:srgbClr val="FF547C"/>
            </a:solidFill>
            <a:ln w="9525" cap="flat" cmpd="sng" algn="ctr">
              <a:solidFill>
                <a:schemeClr val="accent3">
                  <a:shade val="95000"/>
                </a:schemeClr>
              </a:solidFill>
              <a:round/>
            </a:ln>
            <a:effectLst/>
          </c:spPr>
          <c:invertIfNegative val="0"/>
          <c:dLbls>
            <c:dLbl>
              <c:idx val="0"/>
              <c:layout>
                <c:manualLayout>
                  <c:x val="-7.3786529904020334E-2"/>
                  <c:y val="0.1434248218727441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ctr">
                      <a:defRPr sz="800" b="0" i="0" u="none" strike="noStrike" kern="1200" baseline="0">
                        <a:solidFill>
                          <a:sysClr val="windowText" lastClr="000000"/>
                        </a:solidFill>
                        <a:latin typeface="Pulso Light" pitchFamily="2" charset="0"/>
                        <a:ea typeface="+mn-ea"/>
                        <a:cs typeface="+mn-cs"/>
                      </a:defRPr>
                    </a:pPr>
                    <a:fld id="{F39CE512-9C6F-B442-AA9D-11C9BF236D5F}" type="SERIESNAME">
                      <a:rPr lang="en-US" sz="800" b="0" i="0">
                        <a:latin typeface="Pulso Light" pitchFamily="2" charset="0"/>
                      </a:rPr>
                      <a:pPr algn="ctr">
                        <a:defRPr sz="800">
                          <a:latin typeface="Pulso Light" pitchFamily="2" charset="0"/>
                        </a:defRPr>
                      </a:pPr>
                      <a:t>[NOMBRE DE LA SERIE]</a:t>
                    </a:fld>
                    <a:r>
                      <a:rPr lang="en-US" sz="800" b="0" i="0" baseline="0">
                        <a:latin typeface="Pulso Light" pitchFamily="2" charset="0"/>
                      </a:rPr>
                      <a:t>
</a:t>
                    </a:r>
                    <a:fld id="{60E10871-B5DF-8149-B52C-C142D58687DA}" type="XVALUE">
                      <a:rPr lang="en-US" sz="800" b="1" i="0" baseline="0">
                        <a:latin typeface="Pulso" pitchFamily="2" charset="0"/>
                      </a:rPr>
                      <a:pPr algn="ctr">
                        <a:defRPr sz="800">
                          <a:latin typeface="Pulso Light" pitchFamily="2" charset="0"/>
                        </a:defRPr>
                      </a:pPr>
                      <a:t>[VALOR DE X]</a:t>
                    </a:fld>
                    <a:endParaRPr lang="en-US" sz="800" b="0" i="0" baseline="0">
                      <a:latin typeface="Pulso Light" pitchFamily="2" charset="0"/>
                    </a:endParaRPr>
                  </a:p>
                </c:rich>
              </c:tx>
              <c:spPr>
                <a:solidFill>
                  <a:srgbClr val="FFFFFF"/>
                </a:solidFill>
                <a:ln>
                  <a:solidFill>
                    <a:srgbClr val="FF547C"/>
                  </a:solidFill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ctr">
                    <a:defRPr sz="800" b="0" i="0" u="none" strike="noStrike" kern="1200" baseline="0">
                      <a:solidFill>
                        <a:sysClr val="windowText" lastClr="000000"/>
                      </a:solidFill>
                      <a:latin typeface="Pulso Light" pitchFamily="2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1"/>
              <c:showSerName val="1"/>
              <c:showPercent val="0"/>
              <c:showBubbleSize val="0"/>
              <c:separator>
</c:separator>
              <c:extLst xmlns:c15="http://schemas.microsoft.com/office/drawing/2012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C2BD-324F-A78A-EE1F9BFDEC8D}"/>
                </c:ext>
              </c:extLst>
            </c:dLbl>
            <c:spPr>
              <a:solidFill>
                <a:srgbClr val="FFFFFF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800" b="0" i="0" u="none" strike="noStrike" kern="1200" baseline="0">
                    <a:solidFill>
                      <a:sysClr val="windowText" lastClr="000000"/>
                    </a:solidFill>
                    <a:latin typeface="Pulso Light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12700" cap="rnd">
                      <a:solidFill>
                        <a:srgbClr val="FF547C"/>
                      </a:solidFill>
                      <a:prstDash val="sysDot"/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Revenue dashboard'!$C$35</c:f>
              <c:numCache>
                <c:formatCode>0%</c:formatCode>
                <c:ptCount val="1"/>
                <c:pt idx="0">
                  <c:v>-4.7937893994308589E-2</c:v>
                </c:pt>
              </c:numCache>
              <c:extLst xmlns:c15="http://schemas.microsoft.com/office/drawing/2012/chart"/>
            </c:numRef>
          </c:xVal>
          <c:yVal>
            <c:numRef>
              <c:f>'Revenue dashboard'!$E$35</c:f>
              <c:numCache>
                <c:formatCode>"$"#,##0"m"</c:formatCode>
                <c:ptCount val="1"/>
                <c:pt idx="0">
                  <c:v>-21663.110085615364</c:v>
                </c:pt>
              </c:numCache>
              <c:extLst xmlns:c15="http://schemas.microsoft.com/office/drawing/2012/chart"/>
            </c:numRef>
          </c:yVal>
          <c:bubbleSize>
            <c:numRef>
              <c:f>'Revenue dashboard'!$F$35</c:f>
              <c:numCache>
                <c:formatCode>"$"#,##0"m"</c:formatCode>
                <c:ptCount val="1"/>
                <c:pt idx="0">
                  <c:v>77807.268616590591</c:v>
                </c:pt>
              </c:numCache>
              <c:extLst xmlns:c15="http://schemas.microsoft.com/office/drawing/2012/chart"/>
            </c:numRef>
          </c:bubbleSize>
          <c:bubble3D val="0"/>
          <c:extLst xmlns:c15="http://schemas.microsoft.com/office/drawing/2012/chart">
            <c:ext xmlns:c16="http://schemas.microsoft.com/office/drawing/2014/chart" uri="{C3380CC4-5D6E-409C-BE32-E72D297353CC}">
              <c16:uniqueId val="{00000005-C2BD-324F-A78A-EE1F9BFDEC8D}"/>
            </c:ext>
          </c:extLst>
        </c:ser>
        <c:ser>
          <c:idx val="3"/>
          <c:order val="3"/>
          <c:tx>
            <c:strRef>
              <c:f>'Revenue dashboard'!$B$36</c:f>
              <c:strCache>
                <c:ptCount val="1"/>
                <c:pt idx="0">
                  <c:v>Mobile data</c:v>
                </c:pt>
              </c:strCache>
              <c:extLst xmlns:c15="http://schemas.microsoft.com/office/drawing/2012/chart"/>
            </c:strRef>
          </c:tx>
          <c:spPr>
            <a:solidFill>
              <a:srgbClr val="2AB4FF"/>
            </a:solidFill>
            <a:ln w="9525" cap="flat" cmpd="sng" algn="ctr">
              <a:noFill/>
              <a:round/>
            </a:ln>
            <a:effectLst/>
          </c:spPr>
          <c:invertIfNegative val="0"/>
          <c:dLbls>
            <c:dLbl>
              <c:idx val="0"/>
              <c:layout>
                <c:manualLayout>
                  <c:x val="3.1374010552543553E-2"/>
                  <c:y val="-6.9885239016219458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ctr">
                      <a:defRPr sz="800" b="0" i="0" u="none" strike="noStrike" kern="1200" baseline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D405685-B1CD-6B49-8F41-4E78A8E7FF62}" type="SERIESNAME">
                      <a:rPr lang="en-US" sz="800" b="0" i="0">
                        <a:latin typeface="Pulso Light" pitchFamily="2" charset="0"/>
                      </a:rPr>
                      <a:pPr algn="ctr">
                        <a:defRPr sz="800"/>
                      </a:pPr>
                      <a:t>[NOMBRE DE LA SERIE]</a:t>
                    </a:fld>
                    <a:r>
                      <a:rPr lang="en-US" sz="800" baseline="0"/>
                      <a:t>
</a:t>
                    </a:r>
                    <a:fld id="{0BCECACF-040B-9C49-86DF-E111B75D1690}" type="XVALUE">
                      <a:rPr lang="en-US" sz="800" b="1" i="0" baseline="0">
                        <a:latin typeface="Pulso" pitchFamily="2" charset="0"/>
                      </a:rPr>
                      <a:pPr algn="ctr">
                        <a:defRPr sz="800"/>
                      </a:pPr>
                      <a:t>[VALOR DE X]</a:t>
                    </a:fld>
                    <a:endParaRPr lang="en-US" sz="800" baseline="0"/>
                  </a:p>
                </c:rich>
              </c:tx>
              <c:spPr>
                <a:solidFill>
                  <a:sysClr val="window" lastClr="FFFFFF"/>
                </a:solidFill>
                <a:ln>
                  <a:solidFill>
                    <a:srgbClr val="28B4FF"/>
                  </a:solidFill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ctr">
                    <a:defRPr sz="800" b="0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1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C2BD-324F-A78A-EE1F9BFDEC8D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rgbClr val="28B4FF"/>
                </a:solidFill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1"/>
            <c:showSerName val="1"/>
            <c:showPercent val="0"/>
            <c:showBubbleSize val="0"/>
            <c:separator>
</c:separator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12700" cap="rnd">
                      <a:solidFill>
                        <a:srgbClr val="2AB4FF"/>
                      </a:solidFill>
                      <a:prstDash val="sysDot"/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Revenue dashboard'!$C$36</c:f>
              <c:numCache>
                <c:formatCode>0%</c:formatCode>
                <c:ptCount val="1"/>
                <c:pt idx="0">
                  <c:v>5.8577284840592769E-2</c:v>
                </c:pt>
              </c:numCache>
              <c:extLst xmlns:c15="http://schemas.microsoft.com/office/drawing/2012/chart"/>
            </c:numRef>
          </c:xVal>
          <c:yVal>
            <c:numRef>
              <c:f>'Revenue dashboard'!$E$36</c:f>
              <c:numCache>
                <c:formatCode>"$"#,##0"m"</c:formatCode>
                <c:ptCount val="1"/>
                <c:pt idx="0">
                  <c:v>186494.4527054826</c:v>
                </c:pt>
              </c:numCache>
              <c:extLst xmlns:c15="http://schemas.microsoft.com/office/drawing/2012/chart"/>
            </c:numRef>
          </c:yVal>
          <c:bubbleSize>
            <c:numRef>
              <c:f>'Revenue dashboard'!$F$36</c:f>
              <c:numCache>
                <c:formatCode>"$"#,##0"m"</c:formatCode>
                <c:ptCount val="1"/>
                <c:pt idx="0">
                  <c:v>752883.92115345888</c:v>
                </c:pt>
              </c:numCache>
              <c:extLst xmlns:c15="http://schemas.microsoft.com/office/drawing/2012/chart"/>
            </c:numRef>
          </c:bubbleSize>
          <c:bubble3D val="0"/>
          <c:extLst xmlns:c15="http://schemas.microsoft.com/office/drawing/2012/chart">
            <c:ext xmlns:c16="http://schemas.microsoft.com/office/drawing/2014/chart" uri="{C3380CC4-5D6E-409C-BE32-E72D297353CC}">
              <c16:uniqueId val="{00000007-C2BD-324F-A78A-EE1F9BFDEC8D}"/>
            </c:ext>
          </c:extLst>
        </c:ser>
        <c:ser>
          <c:idx val="4"/>
          <c:order val="4"/>
          <c:tx>
            <c:strRef>
              <c:f>'Revenue dashboard'!$B$37</c:f>
              <c:strCache>
                <c:ptCount val="1"/>
                <c:pt idx="0">
                  <c:v>Fixed broadband</c:v>
                </c:pt>
              </c:strCache>
            </c:strRef>
          </c:tx>
          <c:spPr>
            <a:solidFill>
              <a:srgbClr val="9423FC"/>
            </a:solidFill>
            <a:ln w="9525" cap="flat" cmpd="sng" algn="ctr">
              <a:noFill/>
              <a:round/>
            </a:ln>
            <a:effectLst/>
          </c:spPr>
          <c:invertIfNegative val="0"/>
          <c:dLbls>
            <c:dLbl>
              <c:idx val="0"/>
              <c:layout>
                <c:manualLayout>
                  <c:x val="2.5762189096492045E-2"/>
                  <c:y val="-0.10572069545709488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ctr">
                      <a:defRPr sz="800" b="0" i="0" u="none" strike="noStrike" kern="1200" baseline="0">
                        <a:solidFill>
                          <a:sysClr val="windowText" lastClr="000000"/>
                        </a:solidFill>
                        <a:latin typeface="Pulso Light" pitchFamily="2" charset="0"/>
                        <a:ea typeface="+mn-ea"/>
                        <a:cs typeface="+mn-cs"/>
                      </a:defRPr>
                    </a:pPr>
                    <a:fld id="{F34A78C5-7649-DF4F-91A9-6C8A0D7D16B3}" type="SERIESNAME">
                      <a:rPr lang="en-US" sz="800" b="0" i="0">
                        <a:latin typeface="Pulso Light" pitchFamily="2" charset="0"/>
                      </a:rPr>
                      <a:pPr algn="ctr">
                        <a:defRPr sz="800">
                          <a:latin typeface="Pulso Light" pitchFamily="2" charset="0"/>
                        </a:defRPr>
                      </a:pPr>
                      <a:t>[NOMBRE DE LA SERIE]</a:t>
                    </a:fld>
                    <a:r>
                      <a:rPr lang="en-US" sz="800" b="0" i="0" baseline="0">
                        <a:latin typeface="Pulso Light" pitchFamily="2" charset="0"/>
                      </a:rPr>
                      <a:t>
</a:t>
                    </a:r>
                    <a:fld id="{15F0A8CE-FADE-6147-8DB8-88E85E794387}" type="XVALUE">
                      <a:rPr lang="en-US" sz="800" b="1" i="0" baseline="0">
                        <a:latin typeface="Pulso" pitchFamily="2" charset="0"/>
                      </a:rPr>
                      <a:pPr algn="ctr">
                        <a:defRPr sz="800">
                          <a:latin typeface="Pulso Light" pitchFamily="2" charset="0"/>
                        </a:defRPr>
                      </a:pPr>
                      <a:t>[VALOR DE X]</a:t>
                    </a:fld>
                    <a:endParaRPr lang="en-US" sz="800" b="0" i="0" baseline="0">
                      <a:latin typeface="Pulso Light" pitchFamily="2" charset="0"/>
                    </a:endParaRPr>
                  </a:p>
                </c:rich>
              </c:tx>
              <c:spPr>
                <a:solidFill>
                  <a:sysClr val="window" lastClr="FFFFFF"/>
                </a:solidFill>
                <a:ln>
                  <a:solidFill>
                    <a:srgbClr val="9423FC"/>
                  </a:solidFill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ctr">
                    <a:defRPr sz="800" b="0" i="0" u="none" strike="noStrike" kern="1200" baseline="0">
                      <a:solidFill>
                        <a:sysClr val="windowText" lastClr="000000"/>
                      </a:solidFill>
                      <a:latin typeface="Pulso Light" pitchFamily="2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1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C2BD-324F-A78A-EE1F9BFDEC8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800" b="0" i="0" u="none" strike="noStrike" kern="1200" baseline="0">
                    <a:solidFill>
                      <a:sysClr val="windowText" lastClr="000000"/>
                    </a:solidFill>
                    <a:latin typeface="Pulso Light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1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12700" cap="rnd">
                      <a:solidFill>
                        <a:srgbClr val="9422FC"/>
                      </a:solidFill>
                      <a:prstDash val="sysDot"/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Revenue dashboard'!$C$37</c:f>
              <c:numCache>
                <c:formatCode>0%</c:formatCode>
                <c:ptCount val="1"/>
                <c:pt idx="0">
                  <c:v>3.7131231503441997E-2</c:v>
                </c:pt>
              </c:numCache>
            </c:numRef>
          </c:xVal>
          <c:yVal>
            <c:numRef>
              <c:f>'Revenue dashboard'!$E$37</c:f>
              <c:numCache>
                <c:formatCode>"$"#,##0"m"</c:formatCode>
                <c:ptCount val="1"/>
                <c:pt idx="0">
                  <c:v>62961.302714708669</c:v>
                </c:pt>
              </c:numCache>
            </c:numRef>
          </c:yVal>
          <c:bubbleSize>
            <c:numRef>
              <c:f>'Revenue dashboard'!$F$37</c:f>
              <c:numCache>
                <c:formatCode>"$"#,##0"m"</c:formatCode>
                <c:ptCount val="1"/>
                <c:pt idx="0">
                  <c:v>377822.98807633546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9-C2BD-324F-A78A-EE1F9BFDEC8D}"/>
            </c:ext>
          </c:extLst>
        </c:ser>
        <c:ser>
          <c:idx val="5"/>
          <c:order val="5"/>
          <c:tx>
            <c:strRef>
              <c:f>'Revenue dashboard'!$B$38</c:f>
              <c:strCache>
                <c:ptCount val="1"/>
                <c:pt idx="0">
                  <c:v>Pay TV</c:v>
                </c:pt>
              </c:strCache>
            </c:strRef>
          </c:tx>
          <c:spPr>
            <a:solidFill>
              <a:srgbClr val="E9C04E"/>
            </a:solidFill>
            <a:ln w="9525" cap="flat" cmpd="sng" algn="ctr">
              <a:noFill/>
              <a:round/>
            </a:ln>
            <a:effectLst/>
          </c:spPr>
          <c:invertIfNegative val="0"/>
          <c:dLbls>
            <c:dLbl>
              <c:idx val="0"/>
              <c:layout>
                <c:manualLayout>
                  <c:x val="-0.11748896517180728"/>
                  <c:y val="-0.11987614297798424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ctr">
                      <a:defRPr sz="800" b="0" i="0" u="none" strike="noStrike" kern="1200" baseline="0">
                        <a:solidFill>
                          <a:sysClr val="windowText" lastClr="000000"/>
                        </a:solidFill>
                        <a:latin typeface="Pulso Light" pitchFamily="2" charset="0"/>
                        <a:ea typeface="+mn-ea"/>
                        <a:cs typeface="+mn-cs"/>
                      </a:defRPr>
                    </a:pPr>
                    <a:fld id="{14FE10C5-5D8C-DD4B-A747-ED96C8C33A5C}" type="SERIESNAME">
                      <a:rPr lang="en-US" sz="800" b="0" i="0">
                        <a:latin typeface="Pulso Light" pitchFamily="2" charset="0"/>
                      </a:rPr>
                      <a:pPr algn="ctr">
                        <a:defRPr sz="800">
                          <a:latin typeface="Pulso Light" pitchFamily="2" charset="0"/>
                        </a:defRPr>
                      </a:pPr>
                      <a:t>[NOMBRE DE LA SERIE]</a:t>
                    </a:fld>
                    <a:r>
                      <a:rPr lang="en-US" sz="800" b="0" i="0" baseline="0">
                        <a:latin typeface="Pulso Light" pitchFamily="2" charset="0"/>
                      </a:rPr>
                      <a:t>
</a:t>
                    </a:r>
                    <a:fld id="{2050B3C1-9661-F843-85F4-3C0324B74AD7}" type="XVALUE">
                      <a:rPr lang="en-US" sz="800" b="1" i="0" baseline="0">
                        <a:latin typeface="Pulso" pitchFamily="2" charset="0"/>
                      </a:rPr>
                      <a:pPr algn="ctr">
                        <a:defRPr sz="800">
                          <a:latin typeface="Pulso Light" pitchFamily="2" charset="0"/>
                        </a:defRPr>
                      </a:pPr>
                      <a:t>[VALOR DE X]</a:t>
                    </a:fld>
                    <a:endParaRPr lang="en-US" sz="800" b="0" i="0" baseline="0">
                      <a:latin typeface="Pulso Light" pitchFamily="2" charset="0"/>
                    </a:endParaRPr>
                  </a:p>
                </c:rich>
              </c:tx>
              <c:spPr>
                <a:solidFill>
                  <a:sysClr val="window" lastClr="FFFFFF"/>
                </a:solidFill>
                <a:ln>
                  <a:solidFill>
                    <a:srgbClr val="E9C04E"/>
                  </a:solidFill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ctr">
                    <a:defRPr sz="800" b="0" i="0" u="none" strike="noStrike" kern="1200" baseline="0">
                      <a:solidFill>
                        <a:sysClr val="windowText" lastClr="000000"/>
                      </a:solidFill>
                      <a:latin typeface="Pulso Light" pitchFamily="2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1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C2BD-324F-A78A-EE1F9BFDEC8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800" b="0" i="0" u="none" strike="noStrike" kern="1200" baseline="0">
                    <a:solidFill>
                      <a:sysClr val="windowText" lastClr="000000"/>
                    </a:solidFill>
                    <a:latin typeface="Pulso Light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1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12700" cap="rnd">
                      <a:solidFill>
                        <a:srgbClr val="EAC04E"/>
                      </a:solidFill>
                      <a:prstDash val="sysDot"/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Revenue dashboard'!$C$38</c:f>
              <c:numCache>
                <c:formatCode>0%</c:formatCode>
                <c:ptCount val="1"/>
                <c:pt idx="0">
                  <c:v>-1.3238006153794002E-2</c:v>
                </c:pt>
              </c:numCache>
            </c:numRef>
          </c:xVal>
          <c:yVal>
            <c:numRef>
              <c:f>'Revenue dashboard'!$E$38</c:f>
              <c:numCache>
                <c:formatCode>"$"#,##0"m"</c:formatCode>
                <c:ptCount val="1"/>
                <c:pt idx="0">
                  <c:v>-12265.387530127948</c:v>
                </c:pt>
              </c:numCache>
            </c:numRef>
          </c:yVal>
          <c:bubbleSize>
            <c:numRef>
              <c:f>'Revenue dashboard'!$F$38</c:f>
              <c:numCache>
                <c:formatCode>"$"#,##0"m"</c:formatCode>
                <c:ptCount val="1"/>
                <c:pt idx="0">
                  <c:v>178011.80679902463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B-C2BD-324F-A78A-EE1F9BFDEC8D}"/>
            </c:ext>
          </c:extLst>
        </c:ser>
        <c:ser>
          <c:idx val="6"/>
          <c:order val="6"/>
          <c:tx>
            <c:strRef>
              <c:f>'Revenue dashboard'!$B$39</c:f>
              <c:strCache>
                <c:ptCount val="1"/>
                <c:pt idx="0">
                  <c:v>Messaging apps</c:v>
                </c:pt>
              </c:strCache>
            </c:strRef>
          </c:tx>
          <c:spPr>
            <a:solidFill>
              <a:srgbClr val="A9B5C0"/>
            </a:solidFill>
            <a:ln w="9525" cap="flat" cmpd="sng" algn="ctr">
              <a:noFill/>
              <a:round/>
            </a:ln>
            <a:effectLst/>
          </c:spPr>
          <c:invertIfNegative val="0"/>
          <c:dLbls>
            <c:dLbl>
              <c:idx val="0"/>
              <c:layout>
                <c:manualLayout>
                  <c:x val="-7.0388675351922017E-2"/>
                  <c:y val="0.18816223978833488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ctr">
                      <a:defRPr sz="800" b="0" i="0" u="none" strike="noStrike" kern="1200" baseline="0">
                        <a:solidFill>
                          <a:sysClr val="windowText" lastClr="000000"/>
                        </a:solidFill>
                        <a:latin typeface="Pulso Light" pitchFamily="2" charset="0"/>
                        <a:ea typeface="+mn-ea"/>
                        <a:cs typeface="+mn-cs"/>
                      </a:defRPr>
                    </a:pPr>
                    <a:fld id="{9BA4E8CB-BA16-B343-BC7E-7296AB791A51}" type="SERIESNAME">
                      <a:rPr lang="en-US" sz="800" b="0" i="0">
                        <a:latin typeface="Pulso Light" pitchFamily="2" charset="0"/>
                      </a:rPr>
                      <a:pPr algn="ctr">
                        <a:defRPr sz="800">
                          <a:latin typeface="Pulso Light" pitchFamily="2" charset="0"/>
                        </a:defRPr>
                      </a:pPr>
                      <a:t>[NOMBRE DE LA SERIE]</a:t>
                    </a:fld>
                    <a:r>
                      <a:rPr lang="en-US" sz="800" b="0" i="0" baseline="0">
                        <a:latin typeface="Pulso Light" pitchFamily="2" charset="0"/>
                      </a:rPr>
                      <a:t>
</a:t>
                    </a:r>
                    <a:fld id="{6CE0609A-2980-2146-A72E-2141574747BC}" type="XVALUE">
                      <a:rPr lang="en-US" sz="800" b="1" i="0" baseline="0">
                        <a:latin typeface="Pulso" pitchFamily="2" charset="0"/>
                      </a:rPr>
                      <a:pPr algn="ctr">
                        <a:defRPr sz="800">
                          <a:latin typeface="Pulso Light" pitchFamily="2" charset="0"/>
                        </a:defRPr>
                      </a:pPr>
                      <a:t>[VALOR DE X]</a:t>
                    </a:fld>
                    <a:endParaRPr lang="en-US" sz="800" b="0" i="0" baseline="0">
                      <a:latin typeface="Pulso Light" pitchFamily="2" charset="0"/>
                    </a:endParaRPr>
                  </a:p>
                </c:rich>
              </c:tx>
              <c:spPr>
                <a:solidFill>
                  <a:srgbClr val="FFFFFF"/>
                </a:solidFill>
                <a:ln>
                  <a:solidFill>
                    <a:srgbClr val="A9B5C0"/>
                  </a:solidFill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ctr">
                    <a:defRPr sz="800" b="0" i="0" u="none" strike="noStrike" kern="1200" baseline="0">
                      <a:solidFill>
                        <a:sysClr val="windowText" lastClr="000000"/>
                      </a:solidFill>
                      <a:latin typeface="Pulso Light" pitchFamily="2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1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C2BD-324F-A78A-EE1F9BFDEC8D}"/>
                </c:ext>
              </c:extLst>
            </c:dLbl>
            <c:spPr>
              <a:noFill/>
              <a:ln>
                <a:solidFill>
                  <a:srgbClr val="A9B5C0"/>
                </a:solidFill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800" b="0" i="0" u="none" strike="noStrike" kern="1200" baseline="0">
                    <a:solidFill>
                      <a:sysClr val="windowText" lastClr="000000"/>
                    </a:solidFill>
                    <a:latin typeface="Pulso Light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1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12700" cap="rnd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prstDash val="sysDot"/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Revenue dashboard'!$C$39</c:f>
              <c:numCache>
                <c:formatCode>0%</c:formatCode>
                <c:ptCount val="1"/>
                <c:pt idx="0">
                  <c:v>3.1080012864683093E-2</c:v>
                </c:pt>
              </c:numCache>
            </c:numRef>
          </c:xVal>
          <c:yVal>
            <c:numRef>
              <c:f>'Revenue dashboard'!$E$39</c:f>
              <c:numCache>
                <c:formatCode>"$"#,##0"m"</c:formatCode>
                <c:ptCount val="1"/>
                <c:pt idx="0">
                  <c:v>6978.639690028358</c:v>
                </c:pt>
              </c:numCache>
            </c:numRef>
          </c:yVal>
          <c:bubbleSize>
            <c:numRef>
              <c:f>'Revenue dashboard'!$F$39</c:f>
              <c:numCache>
                <c:formatCode>"$"#,##0"m"</c:formatCode>
                <c:ptCount val="1"/>
                <c:pt idx="0">
                  <c:v>49180.15943287687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D-C2BD-324F-A78A-EE1F9BFDEC8D}"/>
            </c:ext>
          </c:extLst>
        </c:ser>
        <c:ser>
          <c:idx val="7"/>
          <c:order val="7"/>
          <c:tx>
            <c:strRef>
              <c:f>'Revenue dashboard'!$B$40</c:f>
              <c:strCache>
                <c:ptCount val="1"/>
                <c:pt idx="0">
                  <c:v>Online video (SVOD)</c:v>
                </c:pt>
              </c:strCache>
            </c:strRef>
          </c:tx>
          <c:spPr>
            <a:solidFill>
              <a:srgbClr val="252272">
                <a:alpha val="80000"/>
              </a:srgbClr>
            </a:solidFill>
            <a:ln w="9525" cap="flat" cmpd="sng" algn="ctr">
              <a:noFill/>
              <a:round/>
            </a:ln>
            <a:effectLst/>
          </c:spPr>
          <c:invertIfNegative val="0"/>
          <c:dLbls>
            <c:dLbl>
              <c:idx val="0"/>
              <c:layout>
                <c:manualLayout>
                  <c:x val="5.9519236499659123E-2"/>
                  <c:y val="-9.7709055881531857E-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ctr">
                      <a:defRPr sz="800" b="0" i="0" u="none" strike="noStrike" kern="1200" baseline="0">
                        <a:solidFill>
                          <a:sysClr val="windowText" lastClr="000000"/>
                        </a:solidFill>
                        <a:latin typeface="Pulso Light" pitchFamily="2" charset="0"/>
                        <a:ea typeface="+mn-ea"/>
                        <a:cs typeface="+mn-cs"/>
                      </a:defRPr>
                    </a:pPr>
                    <a:fld id="{286D88AE-3532-144B-B48F-9377554748AC}" type="SERIESNAME">
                      <a:rPr lang="en-US" sz="800" b="0" i="0">
                        <a:latin typeface="Pulso Light" pitchFamily="2" charset="0"/>
                      </a:rPr>
                      <a:pPr algn="ctr">
                        <a:defRPr sz="800">
                          <a:latin typeface="Pulso Light" pitchFamily="2" charset="0"/>
                        </a:defRPr>
                      </a:pPr>
                      <a:t>[NOMBRE DE LA SERIE]</a:t>
                    </a:fld>
                    <a:r>
                      <a:rPr lang="en-US" sz="800" b="0" i="0" baseline="0">
                        <a:latin typeface="Pulso Light" pitchFamily="2" charset="0"/>
                      </a:rPr>
                      <a:t>
</a:t>
                    </a:r>
                    <a:fld id="{632336C0-1F65-5042-8CC8-61772B2A923B}" type="XVALUE">
                      <a:rPr lang="en-US" sz="800" b="1" i="0" baseline="0">
                        <a:latin typeface="Pulso" pitchFamily="2" charset="0"/>
                      </a:rPr>
                      <a:pPr algn="ctr">
                        <a:defRPr sz="800">
                          <a:latin typeface="Pulso Light" pitchFamily="2" charset="0"/>
                        </a:defRPr>
                      </a:pPr>
                      <a:t>[VALOR DE X]</a:t>
                    </a:fld>
                    <a:endParaRPr lang="en-US" sz="800" b="0" i="0" baseline="0">
                      <a:latin typeface="Pulso Light" pitchFamily="2" charset="0"/>
                    </a:endParaRPr>
                  </a:p>
                </c:rich>
              </c:tx>
              <c:spPr>
                <a:solidFill>
                  <a:sysClr val="window" lastClr="FFFFFF"/>
                </a:solidFill>
                <a:ln>
                  <a:solidFill>
                    <a:srgbClr val="3C228D"/>
                  </a:solidFill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ctr">
                    <a:defRPr sz="800" b="0" i="0" u="none" strike="noStrike" kern="1200" baseline="0">
                      <a:solidFill>
                        <a:sysClr val="windowText" lastClr="000000"/>
                      </a:solidFill>
                      <a:latin typeface="Pulso Light" pitchFamily="2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1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C2BD-324F-A78A-EE1F9BFDEC8D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8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1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12700" cap="rnd">
                      <a:solidFill>
                        <a:srgbClr val="4E4B8B"/>
                      </a:solidFill>
                      <a:prstDash val="sysDot"/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Revenue dashboard'!$C$40</c:f>
              <c:numCache>
                <c:formatCode>0%</c:formatCode>
                <c:ptCount val="1"/>
                <c:pt idx="0">
                  <c:v>4.3652095859603168E-2</c:v>
                </c:pt>
              </c:numCache>
            </c:numRef>
          </c:xVal>
          <c:yVal>
            <c:numRef>
              <c:f>'Revenue dashboard'!$E$40</c:f>
              <c:numCache>
                <c:formatCode>"$"#,##0"m"</c:formatCode>
                <c:ptCount val="1"/>
                <c:pt idx="0">
                  <c:v>36355.65267109804</c:v>
                </c:pt>
              </c:numCache>
            </c:numRef>
          </c:yVal>
          <c:bubbleSize>
            <c:numRef>
              <c:f>'Revenue dashboard'!$F$40</c:f>
              <c:numCache>
                <c:formatCode>"$"#,##0"m"</c:formatCode>
                <c:ptCount val="1"/>
                <c:pt idx="0">
                  <c:v>189004.2573000981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F-C2BD-324F-A78A-EE1F9BFDEC8D}"/>
            </c:ext>
          </c:extLst>
        </c:ser>
        <c:ser>
          <c:idx val="8"/>
          <c:order val="8"/>
          <c:tx>
            <c:strRef>
              <c:f>'Revenue dashboard'!$B$41</c:f>
              <c:strCache>
                <c:ptCount val="1"/>
                <c:pt idx="0">
                  <c:v>Digital music</c:v>
                </c:pt>
              </c:strCache>
            </c:strRef>
          </c:tx>
          <c:spPr>
            <a:solidFill>
              <a:srgbClr val="9BEBE1"/>
            </a:solidFill>
            <a:ln w="9525" cap="flat" cmpd="sng" algn="ctr">
              <a:noFill/>
              <a:round/>
            </a:ln>
            <a:effectLst/>
          </c:spPr>
          <c:invertIfNegative val="0"/>
          <c:dLbls>
            <c:dLbl>
              <c:idx val="0"/>
              <c:layout>
                <c:manualLayout>
                  <c:x val="-4.0355121446439005E-2"/>
                  <c:y val="0.1676793868683387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ctr">
                      <a:defRPr sz="800" b="0" i="0" u="none" strike="noStrike" kern="1200" baseline="0">
                        <a:solidFill>
                          <a:sysClr val="windowText" lastClr="000000"/>
                        </a:solidFill>
                        <a:latin typeface="Pulso Light" pitchFamily="2" charset="0"/>
                        <a:ea typeface="+mn-ea"/>
                        <a:cs typeface="+mn-cs"/>
                      </a:defRPr>
                    </a:pPr>
                    <a:fld id="{152CC0B9-5CD7-E44C-9E4D-5EDF9804248F}" type="SERIESNAME">
                      <a:rPr lang="en-US" sz="800" b="0" i="0">
                        <a:latin typeface="Pulso Light" pitchFamily="2" charset="0"/>
                      </a:rPr>
                      <a:pPr algn="ctr">
                        <a:defRPr sz="800">
                          <a:latin typeface="Pulso Light" pitchFamily="2" charset="0"/>
                        </a:defRPr>
                      </a:pPr>
                      <a:t>[NOMBRE DE LA SERIE]</a:t>
                    </a:fld>
                    <a:r>
                      <a:rPr lang="en-US" sz="800" b="0" i="0" baseline="0">
                        <a:latin typeface="Pulso Light" pitchFamily="2" charset="0"/>
                      </a:rPr>
                      <a:t>
</a:t>
                    </a:r>
                    <a:fld id="{B91A1933-D679-F844-9390-381F77718AB0}" type="XVALUE">
                      <a:rPr lang="en-US" sz="800" b="1" i="0" baseline="0">
                        <a:latin typeface="Pulso" pitchFamily="2" charset="0"/>
                      </a:rPr>
                      <a:pPr algn="ctr">
                        <a:defRPr sz="800">
                          <a:latin typeface="Pulso Light" pitchFamily="2" charset="0"/>
                        </a:defRPr>
                      </a:pPr>
                      <a:t>[VALOR DE X]</a:t>
                    </a:fld>
                    <a:endParaRPr lang="en-US" sz="800" b="0" i="0" baseline="0">
                      <a:latin typeface="Pulso Light" pitchFamily="2" charset="0"/>
                    </a:endParaRPr>
                  </a:p>
                </c:rich>
              </c:tx>
              <c:spPr>
                <a:solidFill>
                  <a:sysClr val="window" lastClr="FFFFFF"/>
                </a:solidFill>
                <a:ln>
                  <a:solidFill>
                    <a:srgbClr val="9BEBE1"/>
                  </a:solidFill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ctr">
                    <a:defRPr sz="800" b="0" i="0" u="none" strike="noStrike" kern="1200" baseline="0">
                      <a:solidFill>
                        <a:sysClr val="windowText" lastClr="000000"/>
                      </a:solidFill>
                      <a:latin typeface="Pulso Light" pitchFamily="2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1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C2BD-324F-A78A-EE1F9BFDEC8D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800" b="0" i="0" u="none" strike="noStrike" kern="1200" baseline="0">
                    <a:solidFill>
                      <a:sysClr val="windowText" lastClr="000000"/>
                    </a:solidFill>
                    <a:latin typeface="Pulso Light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12700" cap="rnd">
                      <a:solidFill>
                        <a:srgbClr val="9BECE2"/>
                      </a:solidFill>
                      <a:prstDash val="sysDot"/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Revenue dashboard'!$C$41</c:f>
              <c:numCache>
                <c:formatCode>0%</c:formatCode>
                <c:ptCount val="1"/>
                <c:pt idx="0">
                  <c:v>6.8561105760022389E-2</c:v>
                </c:pt>
              </c:numCache>
            </c:numRef>
          </c:xVal>
          <c:yVal>
            <c:numRef>
              <c:f>'Revenue dashboard'!$E$41</c:f>
              <c:numCache>
                <c:formatCode>"$"#,##0"m"</c:formatCode>
                <c:ptCount val="1"/>
                <c:pt idx="0">
                  <c:v>9936.7448286579202</c:v>
                </c:pt>
              </c:numCache>
            </c:numRef>
          </c:yVal>
          <c:bubbleSize>
            <c:numRef>
              <c:f>'Revenue dashboard'!$F$41</c:f>
              <c:numCache>
                <c:formatCode>"$"#,##0"m"</c:formatCode>
                <c:ptCount val="1"/>
                <c:pt idx="0">
                  <c:v>35211.65611139201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11-C2BD-324F-A78A-EE1F9BFDEC8D}"/>
            </c:ext>
          </c:extLst>
        </c:ser>
        <c:ser>
          <c:idx val="9"/>
          <c:order val="9"/>
          <c:tx>
            <c:strRef>
              <c:f>'Revenue dashboard'!$B$42</c:f>
              <c:strCache>
                <c:ptCount val="1"/>
                <c:pt idx="0">
                  <c:v>Digital gaming</c:v>
                </c:pt>
              </c:strCache>
            </c:strRef>
          </c:tx>
          <c:spPr>
            <a:solidFill>
              <a:srgbClr val="981D58">
                <a:alpha val="70000"/>
              </a:srgbClr>
            </a:solidFill>
            <a:ln w="9525" cap="flat" cmpd="sng" algn="ctr">
              <a:noFill/>
              <a:round/>
            </a:ln>
            <a:effectLst/>
          </c:spPr>
          <c:invertIfNegative val="0"/>
          <c:dLbls>
            <c:dLbl>
              <c:idx val="0"/>
              <c:layout>
                <c:manualLayout>
                  <c:x val="-9.823306913054157E-2"/>
                  <c:y val="-0.24425168109038445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ctr">
                      <a:defRPr sz="800" b="0" i="0" u="none" strike="noStrike" kern="1200" baseline="0">
                        <a:solidFill>
                          <a:sysClr val="windowText" lastClr="000000"/>
                        </a:solidFill>
                        <a:latin typeface="Pulso Light" pitchFamily="2" charset="0"/>
                        <a:ea typeface="+mn-ea"/>
                        <a:cs typeface="+mn-cs"/>
                      </a:defRPr>
                    </a:pPr>
                    <a:fld id="{4D2512F5-91D6-404E-8F11-890512A390F7}" type="SERIESNAME">
                      <a:rPr lang="en-US" sz="800" b="0" i="0">
                        <a:latin typeface="Pulso Light" pitchFamily="2" charset="0"/>
                      </a:rPr>
                      <a:pPr algn="ctr">
                        <a:defRPr sz="800">
                          <a:latin typeface="Pulso Light" pitchFamily="2" charset="0"/>
                        </a:defRPr>
                      </a:pPr>
                      <a:t>[NOMBRE DE LA SERIE]</a:t>
                    </a:fld>
                    <a:r>
                      <a:rPr lang="en-US" sz="800" b="0" i="0" baseline="0">
                        <a:latin typeface="Pulso Light" pitchFamily="2" charset="0"/>
                      </a:rPr>
                      <a:t>
</a:t>
                    </a:r>
                    <a:fld id="{C55F812E-FE8B-EE4D-840D-7BE7FFD7278C}" type="XVALUE">
                      <a:rPr lang="en-US" sz="800" b="1" i="0" baseline="0">
                        <a:latin typeface="Pulso" pitchFamily="2" charset="0"/>
                      </a:rPr>
                      <a:pPr algn="ctr">
                        <a:defRPr sz="800">
                          <a:latin typeface="Pulso Light" pitchFamily="2" charset="0"/>
                        </a:defRPr>
                      </a:pPr>
                      <a:t>[VALOR DE X]</a:t>
                    </a:fld>
                    <a:endParaRPr lang="en-US" sz="800" b="0" i="0" baseline="0">
                      <a:latin typeface="Pulso Light" pitchFamily="2" charset="0"/>
                    </a:endParaRPr>
                  </a:p>
                </c:rich>
              </c:tx>
              <c:spPr>
                <a:solidFill>
                  <a:sysClr val="window" lastClr="FFFFFF"/>
                </a:solidFill>
                <a:ln>
                  <a:solidFill>
                    <a:srgbClr val="B7608A"/>
                  </a:solidFill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ctr">
                    <a:defRPr sz="800" b="0" i="0" u="none" strike="noStrike" kern="1200" baseline="0">
                      <a:solidFill>
                        <a:sysClr val="windowText" lastClr="000000"/>
                      </a:solidFill>
                      <a:latin typeface="Pulso Light" pitchFamily="2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1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C2BD-324F-A78A-EE1F9BFDEC8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12700" cap="rnd">
                      <a:solidFill>
                        <a:srgbClr val="B56086"/>
                      </a:solidFill>
                      <a:prstDash val="sysDot"/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Revenue dashboard'!$C$42</c:f>
              <c:numCache>
                <c:formatCode>0%</c:formatCode>
                <c:ptCount val="1"/>
                <c:pt idx="0">
                  <c:v>3.127656423073244E-2</c:v>
                </c:pt>
              </c:numCache>
            </c:numRef>
          </c:xVal>
          <c:yVal>
            <c:numRef>
              <c:f>'Revenue dashboard'!$E$42</c:f>
              <c:numCache>
                <c:formatCode>"$"#,##0"m"</c:formatCode>
                <c:ptCount val="1"/>
                <c:pt idx="0">
                  <c:v>27273.02973020004</c:v>
                </c:pt>
              </c:numCache>
            </c:numRef>
          </c:yVal>
          <c:bubbleSize>
            <c:numRef>
              <c:f>'Revenue dashboard'!$F$42</c:f>
              <c:numCache>
                <c:formatCode>"$"#,##0"m"</c:formatCode>
                <c:ptCount val="1"/>
                <c:pt idx="0">
                  <c:v>191098.7967259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13-C2BD-324F-A78A-EE1F9BFDEC8D}"/>
            </c:ext>
          </c:extLst>
        </c:ser>
        <c:ser>
          <c:idx val="10"/>
          <c:order val="10"/>
          <c:tx>
            <c:strRef>
              <c:f>'Revenue dashboard'!$B$43</c:f>
              <c:strCache>
                <c:ptCount val="1"/>
                <c:pt idx="0">
                  <c:v>Smart Home services</c:v>
                </c:pt>
              </c:strCache>
            </c:strRef>
          </c:tx>
          <c:spPr>
            <a:solidFill>
              <a:srgbClr val="AAE6FF"/>
            </a:solidFill>
            <a:ln w="9525" cap="flat" cmpd="sng" algn="ctr">
              <a:noFill/>
              <a:round/>
            </a:ln>
            <a:effectLst/>
          </c:spPr>
          <c:invertIfNegative val="0"/>
          <c:dLbls>
            <c:dLbl>
              <c:idx val="0"/>
              <c:layout>
                <c:manualLayout>
                  <c:x val="-0.12778923952353685"/>
                  <c:y val="-2.8611860730852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800" b="0" i="0" u="none" strike="noStrike" kern="1200" baseline="0">
                        <a:solidFill>
                          <a:sysClr val="windowText" lastClr="000000"/>
                        </a:solidFill>
                        <a:latin typeface="Pulso" pitchFamily="2" charset="0"/>
                        <a:ea typeface="+mn-ea"/>
                        <a:cs typeface="+mn-cs"/>
                      </a:defRPr>
                    </a:pPr>
                    <a:fld id="{036F24F2-5481-A74D-B8BC-0ACFC1DA1DCA}" type="SERIESNAME">
                      <a:rPr lang="en-US" sz="800" b="0" i="0">
                        <a:latin typeface="Pulso Light" pitchFamily="2" charset="0"/>
                      </a:rPr>
                      <a:pPr>
                        <a:defRPr sz="800">
                          <a:latin typeface="Pulso" pitchFamily="2" charset="0"/>
                        </a:defRPr>
                      </a:pPr>
                      <a:t>[NOMBRE DE LA SERIE]</a:t>
                    </a:fld>
                    <a:r>
                      <a:rPr lang="en-US" sz="800" baseline="0">
                        <a:latin typeface="Pulso" pitchFamily="2" charset="0"/>
                      </a:rPr>
                      <a:t>
</a:t>
                    </a:r>
                    <a:fld id="{67B922C4-A910-DA4E-B91A-BD780B2438C4}" type="XVALUE">
                      <a:rPr lang="en-US" sz="800" b="1" i="0" baseline="0">
                        <a:latin typeface="Pulso" pitchFamily="2" charset="0"/>
                      </a:rPr>
                      <a:pPr>
                        <a:defRPr sz="800">
                          <a:latin typeface="Pulso" pitchFamily="2" charset="0"/>
                        </a:defRPr>
                      </a:pPr>
                      <a:t>[VALOR DE X]</a:t>
                    </a:fld>
                    <a:endParaRPr lang="en-US" sz="800" baseline="0">
                      <a:latin typeface="Pulso" pitchFamily="2" charset="0"/>
                    </a:endParaRPr>
                  </a:p>
                </c:rich>
              </c:tx>
              <c:spPr>
                <a:solidFill>
                  <a:sysClr val="window" lastClr="FFFFFF"/>
                </a:solidFill>
                <a:ln>
                  <a:solidFill>
                    <a:srgbClr val="AAE6FF"/>
                  </a:solidFill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800" b="0" i="0" u="none" strike="noStrike" kern="1200" baseline="0">
                      <a:solidFill>
                        <a:sysClr val="windowText" lastClr="000000"/>
                      </a:solidFill>
                      <a:latin typeface="Pulso" pitchFamily="2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1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4-C2BD-324F-A78A-EE1F9BFDEC8D}"/>
                </c:ext>
              </c:extLst>
            </c:dLbl>
            <c:spPr>
              <a:noFill/>
              <a:ln>
                <a:solidFill>
                  <a:srgbClr val="AAE6FF"/>
                </a:solidFill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12700" cap="rnd">
                      <a:solidFill>
                        <a:srgbClr val="ABE6FF"/>
                      </a:solidFill>
                      <a:prstDash val="sysDot"/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Revenue dashboard'!$C$43</c:f>
              <c:numCache>
                <c:formatCode>0%</c:formatCode>
                <c:ptCount val="1"/>
                <c:pt idx="0">
                  <c:v>0.21534650591399296</c:v>
                </c:pt>
              </c:numCache>
            </c:numRef>
          </c:xVal>
          <c:yVal>
            <c:numRef>
              <c:f>'Revenue dashboard'!$E$43</c:f>
              <c:numCache>
                <c:formatCode>"$"#,##0"m"</c:formatCode>
                <c:ptCount val="1"/>
                <c:pt idx="0">
                  <c:v>68305.606930215494</c:v>
                </c:pt>
              </c:numCache>
            </c:numRef>
          </c:yVal>
          <c:bubbleSize>
            <c:numRef>
              <c:f>'Revenue dashboard'!$F$43</c:f>
              <c:numCache>
                <c:formatCode>"$"#,##0"m"</c:formatCode>
                <c:ptCount val="1"/>
                <c:pt idx="0">
                  <c:v>109663.97593604097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15-C2BD-324F-A78A-EE1F9BFDEC8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bubbleScale val="100"/>
        <c:showNegBubbles val="0"/>
        <c:axId val="527677872"/>
        <c:axId val="527678856"/>
        <c:extLst/>
      </c:bubbleChart>
      <c:valAx>
        <c:axId val="527677872"/>
        <c:scaling>
          <c:orientation val="minMax"/>
          <c:max val="0.25"/>
          <c:min val="-0.15000000000000002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 w="9525" cap="rnd">
            <a:solidFill>
              <a:schemeClr val="dk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spc="0" baseline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+mn-ea"/>
                <a:cs typeface="+mn-cs"/>
              </a:defRPr>
            </a:pPr>
            <a:endParaRPr lang="en-US"/>
          </a:p>
        </c:txPr>
        <c:crossAx val="527678856"/>
        <c:crosses val="autoZero"/>
        <c:crossBetween val="midCat"/>
      </c:valAx>
      <c:valAx>
        <c:axId val="527678856"/>
        <c:scaling>
          <c:orientation val="minMax"/>
          <c:min val="-100000"/>
        </c:scaling>
        <c:delete val="0"/>
        <c:axPos val="l"/>
        <c:numFmt formatCode="&quot;$&quot;#,##0&quot;m&quot;" sourceLinked="1"/>
        <c:majorTickMark val="none"/>
        <c:minorTickMark val="none"/>
        <c:tickLblPos val="nextTo"/>
        <c:spPr>
          <a:noFill/>
          <a:ln w="9525" cap="rnd">
            <a:solidFill>
              <a:schemeClr val="dk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spc="0" baseline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+mn-ea"/>
                <a:cs typeface="+mn-cs"/>
              </a:defRPr>
            </a:pPr>
            <a:endParaRPr lang="en-US"/>
          </a:p>
        </c:txPr>
        <c:crossAx val="52767787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900"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OIC</c:v>
                </c:pt>
              </c:strCache>
            </c:strRef>
          </c:tx>
          <c:spPr>
            <a:gradFill>
              <a:gsLst>
                <a:gs pos="79000">
                  <a:schemeClr val="accent1"/>
                </a:gs>
                <a:gs pos="69000">
                  <a:schemeClr val="tx2"/>
                </a:gs>
              </a:gsLst>
              <a:lin ang="0" scaled="0"/>
            </a:gradFill>
          </c:spPr>
          <c:cat>
            <c:numRef>
              <c:f>Sheet1!$A$2:$A$14</c:f>
              <c:numCache>
                <c:formatCode>General</c:formatCode>
                <c:ptCount val="13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  <c:pt idx="10">
                  <c:v>2026</c:v>
                </c:pt>
                <c:pt idx="11">
                  <c:v>2027</c:v>
                </c:pt>
                <c:pt idx="12">
                  <c:v>2028</c:v>
                </c:pt>
              </c:numCache>
            </c:num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8.5000000000000006E-2</c:v>
                </c:pt>
                <c:pt idx="1">
                  <c:v>7.2000000000000008E-2</c:v>
                </c:pt>
                <c:pt idx="2">
                  <c:v>6.8000000000000005E-2</c:v>
                </c:pt>
                <c:pt idx="3">
                  <c:v>6.5000000000000002E-2</c:v>
                </c:pt>
                <c:pt idx="4">
                  <c:v>0.06</c:v>
                </c:pt>
                <c:pt idx="5">
                  <c:v>0.05</c:v>
                </c:pt>
                <c:pt idx="6">
                  <c:v>4.8000000000000001E-2</c:v>
                </c:pt>
                <c:pt idx="7">
                  <c:v>4.4999999999999998E-2</c:v>
                </c:pt>
                <c:pt idx="8">
                  <c:v>4.5999999999999999E-2</c:v>
                </c:pt>
                <c:pt idx="9">
                  <c:v>4.7E-2</c:v>
                </c:pt>
                <c:pt idx="10">
                  <c:v>4.8000000000000001E-2</c:v>
                </c:pt>
                <c:pt idx="11">
                  <c:v>0.05</c:v>
                </c:pt>
                <c:pt idx="12">
                  <c:v>5.2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A1-F142-B5EA-BE21763C20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18791784"/>
        <c:axId val="2140495176"/>
      </c:area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apex intensity</c:v>
                </c:pt>
              </c:strCache>
            </c:strRef>
          </c:tx>
          <c:spPr>
            <a:ln w="19050">
              <a:solidFill>
                <a:schemeClr val="bg2"/>
              </a:solidFill>
            </a:ln>
          </c:spPr>
          <c:marker>
            <c:symbol val="diamond"/>
            <c:size val="7"/>
            <c:spPr>
              <a:solidFill>
                <a:schemeClr val="bg2"/>
              </a:solidFill>
              <a:ln w="19050">
                <a:solidFill>
                  <a:schemeClr val="bg2"/>
                </a:solidFill>
              </a:ln>
            </c:spPr>
          </c:marker>
          <c:dPt>
            <c:idx val="9"/>
            <c:marker>
              <c:spPr>
                <a:solidFill>
                  <a:schemeClr val="accent1"/>
                </a:solidFill>
                <a:ln w="19050">
                  <a:solidFill>
                    <a:schemeClr val="accent1"/>
                  </a:solidFill>
                </a:ln>
              </c:spPr>
            </c:marker>
            <c:bubble3D val="0"/>
            <c:spPr>
              <a:ln w="19050">
                <a:solidFill>
                  <a:schemeClr val="accent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0-8E50-8943-98F2-BA70A9D1FC05}"/>
              </c:ext>
            </c:extLst>
          </c:dPt>
          <c:dPt>
            <c:idx val="10"/>
            <c:marker>
              <c:spPr>
                <a:solidFill>
                  <a:schemeClr val="accent1"/>
                </a:solidFill>
                <a:ln w="19050">
                  <a:solidFill>
                    <a:schemeClr val="accent1"/>
                  </a:solidFill>
                </a:ln>
              </c:spPr>
            </c:marker>
            <c:bubble3D val="0"/>
            <c:spPr>
              <a:ln w="19050">
                <a:solidFill>
                  <a:schemeClr val="accent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8E50-8943-98F2-BA70A9D1FC05}"/>
              </c:ext>
            </c:extLst>
          </c:dPt>
          <c:dPt>
            <c:idx val="11"/>
            <c:marker>
              <c:spPr>
                <a:solidFill>
                  <a:schemeClr val="accent1"/>
                </a:solidFill>
                <a:ln w="19050">
                  <a:solidFill>
                    <a:schemeClr val="accent1"/>
                  </a:solidFill>
                </a:ln>
              </c:spPr>
            </c:marker>
            <c:bubble3D val="0"/>
            <c:spPr>
              <a:ln w="19050">
                <a:solidFill>
                  <a:schemeClr val="accent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2-8E50-8943-98F2-BA70A9D1FC05}"/>
              </c:ext>
            </c:extLst>
          </c:dPt>
          <c:dPt>
            <c:idx val="12"/>
            <c:marker>
              <c:spPr>
                <a:solidFill>
                  <a:schemeClr val="accent1"/>
                </a:solidFill>
                <a:ln w="19050">
                  <a:solidFill>
                    <a:schemeClr val="accent1"/>
                  </a:solidFill>
                </a:ln>
              </c:spPr>
            </c:marker>
            <c:bubble3D val="0"/>
            <c:spPr>
              <a:ln w="19050">
                <a:solidFill>
                  <a:schemeClr val="accent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8E50-8943-98F2-BA70A9D1FC05}"/>
              </c:ext>
            </c:extLst>
          </c:dPt>
          <c:cat>
            <c:numRef>
              <c:f>Sheet1!$A$2:$A$14</c:f>
              <c:numCache>
                <c:formatCode>General</c:formatCode>
                <c:ptCount val="13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  <c:pt idx="10">
                  <c:v>2026</c:v>
                </c:pt>
                <c:pt idx="11">
                  <c:v>2027</c:v>
                </c:pt>
                <c:pt idx="12">
                  <c:v>2028</c:v>
                </c:pt>
              </c:numCache>
            </c:numRef>
          </c:cat>
          <c:val>
            <c:numRef>
              <c:f>Sheet1!$C$2:$C$14</c:f>
              <c:numCache>
                <c:formatCode>General</c:formatCode>
                <c:ptCount val="13"/>
                <c:pt idx="0">
                  <c:v>0.13200000000000001</c:v>
                </c:pt>
                <c:pt idx="1">
                  <c:v>0.13300000000000001</c:v>
                </c:pt>
                <c:pt idx="2">
                  <c:v>0.13500000000000001</c:v>
                </c:pt>
                <c:pt idx="3">
                  <c:v>0.14000000000000001</c:v>
                </c:pt>
                <c:pt idx="4">
                  <c:v>0.14499999999999999</c:v>
                </c:pt>
                <c:pt idx="5">
                  <c:v>0.16</c:v>
                </c:pt>
                <c:pt idx="6">
                  <c:v>0.17</c:v>
                </c:pt>
                <c:pt idx="7">
                  <c:v>0.18</c:v>
                </c:pt>
                <c:pt idx="8">
                  <c:v>0.16699999999999998</c:v>
                </c:pt>
                <c:pt idx="9">
                  <c:v>0.155</c:v>
                </c:pt>
                <c:pt idx="10">
                  <c:v>0.14499999999999999</c:v>
                </c:pt>
                <c:pt idx="11">
                  <c:v>0.13500000000000001</c:v>
                </c:pt>
                <c:pt idx="12">
                  <c:v>0.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6A1-F142-B5EA-BE21763C20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18791784"/>
        <c:axId val="2140495176"/>
      </c:lineChart>
      <c:catAx>
        <c:axId val="211879178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 w="3175">
            <a:solidFill>
              <a:schemeClr val="bg1">
                <a:lumMod val="25000"/>
              </a:schemeClr>
            </a:solidFill>
          </a:ln>
        </c:spPr>
        <c:txPr>
          <a:bodyPr/>
          <a:lstStyle/>
          <a:p>
            <a:pPr>
              <a:defRPr b="0" i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defRPr>
            </a:pPr>
            <a:endParaRPr lang="es-AR"/>
          </a:p>
        </c:txPr>
        <c:crossAx val="2140495176"/>
        <c:crosses val="autoZero"/>
        <c:auto val="1"/>
        <c:lblAlgn val="ctr"/>
        <c:lblOffset val="100"/>
        <c:noMultiLvlLbl val="0"/>
      </c:catAx>
      <c:valAx>
        <c:axId val="2140495176"/>
        <c:scaling>
          <c:orientation val="minMax"/>
          <c:max val="0.2"/>
          <c:min val="0"/>
        </c:scaling>
        <c:delete val="0"/>
        <c:axPos val="l"/>
        <c:numFmt formatCode="0%" sourceLinked="0"/>
        <c:majorTickMark val="out"/>
        <c:minorTickMark val="none"/>
        <c:tickLblPos val="nextTo"/>
        <c:spPr>
          <a:ln w="3175">
            <a:solidFill>
              <a:schemeClr val="bg1">
                <a:lumMod val="25000"/>
              </a:schemeClr>
            </a:solidFill>
          </a:ln>
        </c:spPr>
        <c:txPr>
          <a:bodyPr/>
          <a:lstStyle/>
          <a:p>
            <a:pPr>
              <a:defRPr b="0" i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defRPr>
            </a:pPr>
            <a:endParaRPr lang="es-AR"/>
          </a:p>
        </c:txPr>
        <c:crossAx val="2118791784"/>
        <c:crosses val="autoZero"/>
        <c:crossBetween val="between"/>
      </c:valAx>
    </c:plotArea>
    <c:legend>
      <c:legendPos val="b"/>
      <c:overlay val="0"/>
    </c:legend>
    <c:plotVisOnly val="1"/>
    <c:dispBlanksAs val="gap"/>
    <c:showDLblsOverMax val="0"/>
  </c:chart>
  <c:txPr>
    <a:bodyPr/>
    <a:lstStyle/>
    <a:p>
      <a:pPr>
        <a:defRPr sz="700">
          <a:latin typeface="Pulso" pitchFamily="2" charset="0"/>
        </a:defRPr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ubbleChart>
        <c:varyColors val="0"/>
        <c:ser>
          <c:idx val="0"/>
          <c:order val="0"/>
          <c:tx>
            <c:strRef>
              <c:f>LATAM!$G$14</c:f>
              <c:strCache>
                <c:ptCount val="1"/>
                <c:pt idx="0">
                  <c:v>Argentina</c:v>
                </c:pt>
              </c:strCache>
            </c:strRef>
          </c:tx>
          <c:spPr>
            <a:noFill/>
            <a:ln w="2540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15494214274496679"/>
                  <c:y val="1.7873242050904705E-2"/>
                </c:manualLayout>
              </c:layout>
              <c:tx>
                <c:rich>
                  <a:bodyPr/>
                  <a:lstStyle/>
                  <a:p>
                    <a:fld id="{E4ADE3D8-412D-4206-A608-D551E62AA467}" type="SERIESNAME">
                      <a:rPr lang="en-US"/>
                      <a:pPr/>
                      <a:t>[NOMBRE DE LA SERIE]</a:t>
                    </a:fld>
                    <a:endParaRPr lang="en-US"/>
                  </a:p>
                  <a:p>
                    <a:r>
                      <a:rPr lang="en-US" baseline="0"/>
                      <a:t> </a:t>
                    </a:r>
                    <a:fld id="{9AB7A63D-025D-4F73-9647-A0057CF37D61}" type="XVALUE">
                      <a:rPr lang="en-US" b="1" i="0" baseline="0">
                        <a:latin typeface="Pulso" pitchFamily="2" charset="0"/>
                      </a:rPr>
                      <a:pPr/>
                      <a:t>[VALOR DE X]</a:t>
                    </a:fld>
                    <a:endParaRPr lang="en-US" b="1" i="0" baseline="0">
                      <a:latin typeface="Pulso" pitchFamily="2" charset="0"/>
                    </a:endParaRPr>
                  </a:p>
                  <a:p>
                    <a:r>
                      <a:rPr lang="en-US" b="1" i="0" baseline="0">
                        <a:latin typeface="Pulso" pitchFamily="2" charset="0"/>
                      </a:rPr>
                      <a:t>$ </a:t>
                    </a:r>
                    <a:fld id="{93330CF9-4DBA-4173-B4C6-E61E9318504B}" type="YVALUE">
                      <a:rPr lang="en-US" b="1" i="0" baseline="0">
                        <a:latin typeface="Pulso" pitchFamily="2" charset="0"/>
                      </a:rPr>
                      <a:pPr/>
                      <a:t>[VALOR DE Y]</a:t>
                    </a:fld>
                    <a:endParaRPr lang="en-US" b="1" i="0" baseline="0">
                      <a:latin typeface="Pulso" pitchFamily="2" charset="0"/>
                    </a:endParaRPr>
                  </a:p>
                </c:rich>
              </c:tx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9442-C54F-9244-0331445D9D0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ulso Light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es-AR"/>
              </a:p>
            </c:txPr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LATAM!$I$14</c:f>
              <c:numCache>
                <c:formatCode>0.00%</c:formatCode>
                <c:ptCount val="1"/>
                <c:pt idx="0">
                  <c:v>3.4000000000000002E-2</c:v>
                </c:pt>
              </c:numCache>
            </c:numRef>
          </c:xVal>
          <c:yVal>
            <c:numRef>
              <c:f>LATAM!$H$14</c:f>
              <c:numCache>
                <c:formatCode>General</c:formatCode>
                <c:ptCount val="1"/>
                <c:pt idx="0">
                  <c:v>1541</c:v>
                </c:pt>
              </c:numCache>
            </c:numRef>
          </c:yVal>
          <c:bubbleSize>
            <c:numRef>
              <c:f>LATAM!$H$14</c:f>
              <c:numCache>
                <c:formatCode>General</c:formatCode>
                <c:ptCount val="1"/>
                <c:pt idx="0">
                  <c:v>154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9442-C54F-9244-0331445D9D0D}"/>
            </c:ext>
          </c:extLst>
        </c:ser>
        <c:ser>
          <c:idx val="1"/>
          <c:order val="1"/>
          <c:tx>
            <c:strRef>
              <c:f>LATAM!$G$15</c:f>
              <c:strCache>
                <c:ptCount val="1"/>
                <c:pt idx="0">
                  <c:v>Brazil</c:v>
                </c:pt>
              </c:strCache>
            </c:strRef>
          </c:tx>
          <c:spPr>
            <a:noFill/>
            <a:ln w="25400"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3CD8940-5142-4921-9862-DCB6087EB37E}" type="SERIESNAME">
                      <a:rPr lang="en-US"/>
                      <a:pPr/>
                      <a:t>[NOMBRE DE LA SERIE]</a:t>
                    </a:fld>
                    <a:r>
                      <a:rPr lang="en-US" baseline="0"/>
                      <a:t> </a:t>
                    </a:r>
                  </a:p>
                  <a:p>
                    <a:fld id="{D53BFDFD-A290-407C-9889-04B296F8285F}" type="XVALUE">
                      <a:rPr lang="en-US" b="1" i="0" baseline="0">
                        <a:latin typeface="Pulso" pitchFamily="2" charset="0"/>
                      </a:rPr>
                      <a:pPr/>
                      <a:t>[VALOR DE X]</a:t>
                    </a:fld>
                    <a:endParaRPr lang="en-US" b="1" i="0" baseline="0">
                      <a:latin typeface="Pulso" pitchFamily="2" charset="0"/>
                    </a:endParaRPr>
                  </a:p>
                  <a:p>
                    <a:r>
                      <a:rPr lang="en-US" b="1" i="0" baseline="0">
                        <a:latin typeface="Pulso" pitchFamily="2" charset="0"/>
                      </a:rPr>
                      <a:t>$ </a:t>
                    </a:r>
                    <a:fld id="{8C5353B6-5B7D-43B9-9CD6-B29D72DE7FAA}" type="YVALUE">
                      <a:rPr lang="en-US" b="1" i="0" baseline="0">
                        <a:latin typeface="Pulso" pitchFamily="2" charset="0"/>
                      </a:rPr>
                      <a:pPr/>
                      <a:t>[VALOR DE Y]</a:t>
                    </a:fld>
                    <a:endParaRPr lang="en-US" b="1" i="0" baseline="0">
                      <a:latin typeface="Pulso" pitchFamily="2" charset="0"/>
                    </a:endParaRPr>
                  </a:p>
                </c:rich>
              </c:tx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9442-C54F-9244-0331445D9D0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ulso Light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es-AR"/>
              </a:p>
            </c:txPr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ATAM!$I$15</c:f>
              <c:numCache>
                <c:formatCode>0.00%</c:formatCode>
                <c:ptCount val="1"/>
                <c:pt idx="0">
                  <c:v>3.8199999999999998E-2</c:v>
                </c:pt>
              </c:numCache>
            </c:numRef>
          </c:xVal>
          <c:yVal>
            <c:numRef>
              <c:f>LATAM!$H$15</c:f>
              <c:numCache>
                <c:formatCode>General</c:formatCode>
                <c:ptCount val="1"/>
                <c:pt idx="0">
                  <c:v>5618</c:v>
                </c:pt>
              </c:numCache>
            </c:numRef>
          </c:yVal>
          <c:bubbleSize>
            <c:numRef>
              <c:f>LATAM!$H$15</c:f>
              <c:numCache>
                <c:formatCode>General</c:formatCode>
                <c:ptCount val="1"/>
                <c:pt idx="0">
                  <c:v>5618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3-9442-C54F-9244-0331445D9D0D}"/>
            </c:ext>
          </c:extLst>
        </c:ser>
        <c:ser>
          <c:idx val="2"/>
          <c:order val="2"/>
          <c:tx>
            <c:strRef>
              <c:f>LATAM!$G$16</c:f>
              <c:strCache>
                <c:ptCount val="1"/>
                <c:pt idx="0">
                  <c:v>Chile</c:v>
                </c:pt>
              </c:strCache>
            </c:strRef>
          </c:tx>
          <c:spPr>
            <a:noFill/>
            <a:ln w="2540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5.4644800337903782E-2"/>
                  <c:y val="-0.13769634505686093"/>
                </c:manualLayout>
              </c:layout>
              <c:tx>
                <c:rich>
                  <a:bodyPr/>
                  <a:lstStyle/>
                  <a:p>
                    <a:fld id="{C8D1AB31-7D96-4C05-860C-C209397D2830}" type="SERIESNAME">
                      <a:rPr lang="en-US"/>
                      <a:pPr/>
                      <a:t>[NOMBRE DE LA SERIE]</a:t>
                    </a:fld>
                    <a:endParaRPr lang="en-US"/>
                  </a:p>
                  <a:p>
                    <a:r>
                      <a:rPr lang="en-US" baseline="0"/>
                      <a:t> </a:t>
                    </a:r>
                    <a:fld id="{9B7DD2B3-9438-4E80-AB4A-0706951B5722}" type="XVALUE">
                      <a:rPr lang="en-US" b="1" i="0" baseline="0">
                        <a:latin typeface="Pulso" pitchFamily="2" charset="0"/>
                      </a:rPr>
                      <a:pPr/>
                      <a:t>[VALOR DE X]</a:t>
                    </a:fld>
                    <a:endParaRPr lang="en-US" b="1" i="0" baseline="0">
                      <a:latin typeface="Pulso" pitchFamily="2" charset="0"/>
                    </a:endParaRPr>
                  </a:p>
                  <a:p>
                    <a:r>
                      <a:rPr lang="en-US" b="1" i="0" baseline="0">
                        <a:latin typeface="Pulso" pitchFamily="2" charset="0"/>
                      </a:rPr>
                      <a:t>$ </a:t>
                    </a:r>
                    <a:fld id="{EE345F75-996C-40B8-B839-60D846AC28A7}" type="YVALUE">
                      <a:rPr lang="en-US" b="1" i="0" baseline="0">
                        <a:latin typeface="Pulso" pitchFamily="2" charset="0"/>
                      </a:rPr>
                      <a:pPr/>
                      <a:t>[VALOR DE Y]</a:t>
                    </a:fld>
                    <a:endParaRPr lang="en-US" b="1" i="0" baseline="0">
                      <a:latin typeface="Pulso" pitchFamily="2" charset="0"/>
                    </a:endParaRPr>
                  </a:p>
                </c:rich>
              </c:tx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9442-C54F-9244-0331445D9D0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ulso Light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es-AR"/>
              </a:p>
            </c:txPr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LATAM!$I$16</c:f>
              <c:numCache>
                <c:formatCode>0.00%</c:formatCode>
                <c:ptCount val="1"/>
                <c:pt idx="0">
                  <c:v>1.7000000000000001E-2</c:v>
                </c:pt>
              </c:numCache>
            </c:numRef>
          </c:xVal>
          <c:yVal>
            <c:numRef>
              <c:f>LATAM!$H$16</c:f>
              <c:numCache>
                <c:formatCode>General</c:formatCode>
                <c:ptCount val="1"/>
                <c:pt idx="0">
                  <c:v>375</c:v>
                </c:pt>
              </c:numCache>
            </c:numRef>
          </c:yVal>
          <c:bubbleSize>
            <c:numRef>
              <c:f>LATAM!$H$16</c:f>
              <c:numCache>
                <c:formatCode>General</c:formatCode>
                <c:ptCount val="1"/>
                <c:pt idx="0">
                  <c:v>375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5-9442-C54F-9244-0331445D9D0D}"/>
            </c:ext>
          </c:extLst>
        </c:ser>
        <c:ser>
          <c:idx val="3"/>
          <c:order val="3"/>
          <c:tx>
            <c:strRef>
              <c:f>LATAM!$G$17</c:f>
              <c:strCache>
                <c:ptCount val="1"/>
                <c:pt idx="0">
                  <c:v>Colombia</c:v>
                </c:pt>
              </c:strCache>
            </c:strRef>
          </c:tx>
          <c:spPr>
            <a:noFill/>
            <a:ln w="2540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0542419552889822E-2"/>
                  <c:y val="-0.11770718360230825"/>
                </c:manualLayout>
              </c:layout>
              <c:tx>
                <c:rich>
                  <a:bodyPr/>
                  <a:lstStyle/>
                  <a:p>
                    <a:fld id="{41DC5719-5CE9-43CA-A025-F667E916E217}" type="SERIESNAME">
                      <a:rPr lang="en-US"/>
                      <a:pPr/>
                      <a:t>[NOMBRE DE LA SERIE]</a:t>
                    </a:fld>
                    <a:endParaRPr lang="en-US" baseline="0"/>
                  </a:p>
                  <a:p>
                    <a:r>
                      <a:rPr lang="en-US" baseline="0"/>
                      <a:t> </a:t>
                    </a:r>
                    <a:fld id="{D88D5C93-1120-4039-B60A-2556EF84DA44}" type="XVALUE">
                      <a:rPr lang="en-US" b="1" i="0" baseline="0">
                        <a:latin typeface="Pulso" pitchFamily="2" charset="0"/>
                      </a:rPr>
                      <a:pPr/>
                      <a:t>[VALOR DE X]</a:t>
                    </a:fld>
                    <a:endParaRPr lang="en-US" b="1" i="0" baseline="0">
                      <a:latin typeface="Pulso" pitchFamily="2" charset="0"/>
                    </a:endParaRPr>
                  </a:p>
                  <a:p>
                    <a:r>
                      <a:rPr lang="en-US" b="1" i="0" baseline="0">
                        <a:latin typeface="Pulso" pitchFamily="2" charset="0"/>
                      </a:rPr>
                      <a:t>$ </a:t>
                    </a:r>
                    <a:fld id="{4C06BAA2-1EB3-48F8-874B-BC405DA0D3DE}" type="YVALUE">
                      <a:rPr lang="en-US" b="1" i="0" baseline="0">
                        <a:latin typeface="Pulso" pitchFamily="2" charset="0"/>
                      </a:rPr>
                      <a:pPr/>
                      <a:t>[VALOR DE Y]</a:t>
                    </a:fld>
                    <a:endParaRPr lang="en-US" b="1" i="0" baseline="0">
                      <a:latin typeface="Pulso" pitchFamily="2" charset="0"/>
                    </a:endParaRPr>
                  </a:p>
                </c:rich>
              </c:tx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9442-C54F-9244-0331445D9D0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ulso Light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es-AR"/>
              </a:p>
            </c:txPr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LATAM!$I$17</c:f>
              <c:numCache>
                <c:formatCode>0.00%</c:formatCode>
                <c:ptCount val="1"/>
                <c:pt idx="0">
                  <c:v>4.2500000000000003E-2</c:v>
                </c:pt>
              </c:numCache>
            </c:numRef>
          </c:xVal>
          <c:yVal>
            <c:numRef>
              <c:f>LATAM!$H$17</c:f>
              <c:numCache>
                <c:formatCode>General</c:formatCode>
                <c:ptCount val="1"/>
                <c:pt idx="0">
                  <c:v>1596</c:v>
                </c:pt>
              </c:numCache>
            </c:numRef>
          </c:yVal>
          <c:bubbleSize>
            <c:numRef>
              <c:f>LATAM!$H$17</c:f>
              <c:numCache>
                <c:formatCode>General</c:formatCode>
                <c:ptCount val="1"/>
                <c:pt idx="0">
                  <c:v>1596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7-9442-C54F-9244-0331445D9D0D}"/>
            </c:ext>
          </c:extLst>
        </c:ser>
        <c:ser>
          <c:idx val="4"/>
          <c:order val="4"/>
          <c:tx>
            <c:strRef>
              <c:f>LATAM!$G$18</c:f>
              <c:strCache>
                <c:ptCount val="1"/>
                <c:pt idx="0">
                  <c:v>Mexico</c:v>
                </c:pt>
              </c:strCache>
            </c:strRef>
          </c:tx>
          <c:spPr>
            <a:noFill/>
            <a:ln w="2540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15237048700874714"/>
                  <c:y val="0"/>
                </c:manualLayout>
              </c:layout>
              <c:tx>
                <c:rich>
                  <a:bodyPr/>
                  <a:lstStyle/>
                  <a:p>
                    <a:fld id="{80C2ECCA-3926-430A-A783-BC5268A18EDB}" type="SERIESNAME">
                      <a:rPr lang="en-US"/>
                      <a:pPr/>
                      <a:t>[NOMBRE DE LA SERIE]</a:t>
                    </a:fld>
                    <a:endParaRPr lang="en-US"/>
                  </a:p>
                  <a:p>
                    <a:r>
                      <a:rPr lang="en-US" baseline="0"/>
                      <a:t> </a:t>
                    </a:r>
                    <a:fld id="{F262C7E1-950A-4224-B8EE-D49D567C545E}" type="XVALUE">
                      <a:rPr lang="en-US" b="1" i="0" baseline="0">
                        <a:latin typeface="Pulso" pitchFamily="2" charset="0"/>
                      </a:rPr>
                      <a:pPr/>
                      <a:t>[VALOR DE X]</a:t>
                    </a:fld>
                    <a:endParaRPr lang="en-US" b="1" i="0" baseline="0">
                      <a:latin typeface="Pulso" pitchFamily="2" charset="0"/>
                    </a:endParaRPr>
                  </a:p>
                  <a:p>
                    <a:r>
                      <a:rPr lang="en-US" b="1" i="0" baseline="0">
                        <a:latin typeface="Pulso" pitchFamily="2" charset="0"/>
                      </a:rPr>
                      <a:t>$ </a:t>
                    </a:r>
                    <a:fld id="{6907ECA9-D41B-4F05-A4DC-69C667F6ADEE}" type="YVALUE">
                      <a:rPr lang="en-US" b="1" i="0" baseline="0">
                        <a:latin typeface="Pulso" pitchFamily="2" charset="0"/>
                      </a:rPr>
                      <a:pPr/>
                      <a:t>[VALOR DE Y]</a:t>
                    </a:fld>
                    <a:endParaRPr lang="en-US" b="1" i="0" baseline="0">
                      <a:latin typeface="Pulso" pitchFamily="2" charset="0"/>
                    </a:endParaRPr>
                  </a:p>
                </c:rich>
              </c:tx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9442-C54F-9244-0331445D9D0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ulso Light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es-AR"/>
              </a:p>
            </c:txPr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LATAM!$I$18</c:f>
              <c:numCache>
                <c:formatCode>0.00%</c:formatCode>
                <c:ptCount val="1"/>
                <c:pt idx="0">
                  <c:v>2.9600000000000001E-2</c:v>
                </c:pt>
              </c:numCache>
            </c:numRef>
          </c:xVal>
          <c:yVal>
            <c:numRef>
              <c:f>LATAM!$H$18</c:f>
              <c:numCache>
                <c:formatCode>General</c:formatCode>
                <c:ptCount val="1"/>
                <c:pt idx="0">
                  <c:v>3472</c:v>
                </c:pt>
              </c:numCache>
            </c:numRef>
          </c:yVal>
          <c:bubbleSize>
            <c:numRef>
              <c:f>LATAM!$H$18</c:f>
              <c:numCache>
                <c:formatCode>General</c:formatCode>
                <c:ptCount val="1"/>
                <c:pt idx="0">
                  <c:v>347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9-9442-C54F-9244-0331445D9D0D}"/>
            </c:ext>
          </c:extLst>
        </c:ser>
        <c:ser>
          <c:idx val="5"/>
          <c:order val="5"/>
          <c:tx>
            <c:strRef>
              <c:f>LATAM!$G$19</c:f>
              <c:strCache>
                <c:ptCount val="1"/>
                <c:pt idx="0">
                  <c:v>Peru</c:v>
                </c:pt>
              </c:strCache>
            </c:strRef>
          </c:tx>
          <c:spPr>
            <a:noFill/>
            <a:ln w="2540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6.0049599623703653E-2"/>
                  <c:y val="-0.1683786265209595"/>
                </c:manualLayout>
              </c:layout>
              <c:tx>
                <c:rich>
                  <a:bodyPr/>
                  <a:lstStyle/>
                  <a:p>
                    <a:fld id="{B8F8E65E-7359-461E-B2C4-0DF748609B22}" type="SERIESNAME">
                      <a:rPr lang="en-US"/>
                      <a:pPr/>
                      <a:t>[NOMBRE DE LA SERIE]</a:t>
                    </a:fld>
                    <a:endParaRPr lang="en-US" baseline="0"/>
                  </a:p>
                  <a:p>
                    <a:r>
                      <a:rPr lang="en-US" baseline="0"/>
                      <a:t> </a:t>
                    </a:r>
                    <a:fld id="{35A16011-99E5-448B-944E-9F29203D6340}" type="XVALUE">
                      <a:rPr lang="en-US" b="1" i="0" baseline="0">
                        <a:latin typeface="Pulso" pitchFamily="2" charset="0"/>
                      </a:rPr>
                      <a:pPr/>
                      <a:t>[VALOR DE X]</a:t>
                    </a:fld>
                    <a:endParaRPr lang="en-US" b="1" i="0" baseline="0">
                      <a:latin typeface="Pulso" pitchFamily="2" charset="0"/>
                    </a:endParaRPr>
                  </a:p>
                  <a:p>
                    <a:r>
                      <a:rPr lang="en-US" b="1" i="0" baseline="0">
                        <a:latin typeface="Pulso" pitchFamily="2" charset="0"/>
                      </a:rPr>
                      <a:t>$ </a:t>
                    </a:r>
                    <a:fld id="{FC241ADE-C000-486A-A95B-2D718194EBCD}" type="YVALUE">
                      <a:rPr lang="en-US" b="1" i="0" baseline="0">
                        <a:latin typeface="Pulso" pitchFamily="2" charset="0"/>
                      </a:rPr>
                      <a:pPr/>
                      <a:t>[VALOR DE Y]</a:t>
                    </a:fld>
                    <a:endParaRPr lang="en-US" b="1" i="0" baseline="0">
                      <a:latin typeface="Pulso" pitchFamily="2" charset="0"/>
                    </a:endParaRPr>
                  </a:p>
                </c:rich>
              </c:tx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9442-C54F-9244-0331445D9D0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ulso Light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es-AR"/>
              </a:p>
            </c:txPr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LATAM!$I$19</c:f>
              <c:numCache>
                <c:formatCode>0.00%</c:formatCode>
                <c:ptCount val="1"/>
                <c:pt idx="0">
                  <c:v>3.85E-2</c:v>
                </c:pt>
              </c:numCache>
            </c:numRef>
          </c:xVal>
          <c:yVal>
            <c:numRef>
              <c:f>LATAM!$H$19</c:f>
              <c:numCache>
                <c:formatCode>General</c:formatCode>
                <c:ptCount val="1"/>
                <c:pt idx="0">
                  <c:v>840</c:v>
                </c:pt>
              </c:numCache>
            </c:numRef>
          </c:yVal>
          <c:bubbleSize>
            <c:numRef>
              <c:f>LATAM!$H$19</c:f>
              <c:numCache>
                <c:formatCode>General</c:formatCode>
                <c:ptCount val="1"/>
                <c:pt idx="0">
                  <c:v>84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B-9442-C54F-9244-0331445D9D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403610511"/>
        <c:axId val="403600911"/>
      </c:bubbleChart>
      <c:valAx>
        <c:axId val="403610511"/>
        <c:scaling>
          <c:orientation val="minMax"/>
          <c:max val="4.5000000000000012E-2"/>
          <c:min val="1.0000000000000002E-2"/>
        </c:scaling>
        <c:delete val="0"/>
        <c:axPos val="b"/>
        <c:numFmt formatCode="0.0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endParaRPr lang="es-AR"/>
          </a:p>
        </c:txPr>
        <c:crossAx val="403600911"/>
        <c:crosses val="autoZero"/>
        <c:crossBetween val="midCat"/>
      </c:valAx>
      <c:valAx>
        <c:axId val="403600911"/>
        <c:scaling>
          <c:orientation val="minMax"/>
          <c:min val="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endParaRPr lang="es-AR"/>
          </a:p>
        </c:txPr>
        <c:crossAx val="403610511"/>
        <c:crosses val="autoZero"/>
        <c:crossBetween val="midCat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b="0" i="0">
          <a:latin typeface="Pulso Light" pitchFamily="2" charset="0"/>
          <a:ea typeface="Roboto" panose="02000000000000000000" pitchFamily="2" charset="0"/>
          <a:cs typeface="Roboto" panose="02000000000000000000" pitchFamily="2" charset="0"/>
        </a:defRPr>
      </a:pPr>
      <a:endParaRPr lang="es-AR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597547557505984E-2"/>
          <c:y val="0.22300102854617998"/>
          <c:w val="0.95680490488498804"/>
          <c:h val="0.457139398000552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E$170</c:f>
              <c:strCache>
                <c:ptCount val="1"/>
                <c:pt idx="0">
                  <c:v>Crec YoY 2024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171:$D$178</c:f>
              <c:strCache>
                <c:ptCount val="8"/>
                <c:pt idx="0">
                  <c:v>EEUU</c:v>
                </c:pt>
                <c:pt idx="1">
                  <c:v>LATAM</c:v>
                </c:pt>
                <c:pt idx="2">
                  <c:v>Argentina</c:v>
                </c:pt>
                <c:pt idx="3">
                  <c:v>Brasil</c:v>
                </c:pt>
                <c:pt idx="4">
                  <c:v>Chile</c:v>
                </c:pt>
                <c:pt idx="5">
                  <c:v>Colombia</c:v>
                </c:pt>
                <c:pt idx="6">
                  <c:v>Mexico</c:v>
                </c:pt>
                <c:pt idx="7">
                  <c:v>Perú</c:v>
                </c:pt>
              </c:strCache>
            </c:strRef>
          </c:cat>
          <c:val>
            <c:numRef>
              <c:f>Hoja1!$E$171:$E$178</c:f>
              <c:numCache>
                <c:formatCode>0%</c:formatCode>
                <c:ptCount val="8"/>
                <c:pt idx="0">
                  <c:v>0.14000000000000001</c:v>
                </c:pt>
                <c:pt idx="1">
                  <c:v>0.08</c:v>
                </c:pt>
                <c:pt idx="2">
                  <c:v>0.02</c:v>
                </c:pt>
                <c:pt idx="3">
                  <c:v>0.09</c:v>
                </c:pt>
                <c:pt idx="4">
                  <c:v>0.09</c:v>
                </c:pt>
                <c:pt idx="5">
                  <c:v>0.09</c:v>
                </c:pt>
                <c:pt idx="6">
                  <c:v>0.08</c:v>
                </c:pt>
                <c:pt idx="7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A37-4D96-ABA8-3A82602B528B}"/>
            </c:ext>
          </c:extLst>
        </c:ser>
        <c:ser>
          <c:idx val="1"/>
          <c:order val="1"/>
          <c:tx>
            <c:strRef>
              <c:f>Hoja1!$F$170</c:f>
              <c:strCache>
                <c:ptCount val="1"/>
                <c:pt idx="0">
                  <c:v>Crec YoY 2025</c:v>
                </c:pt>
              </c:strCache>
            </c:strRef>
          </c:tx>
          <c:spPr>
            <a:solidFill>
              <a:schemeClr val="tx2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171:$D$178</c:f>
              <c:strCache>
                <c:ptCount val="8"/>
                <c:pt idx="0">
                  <c:v>EEUU</c:v>
                </c:pt>
                <c:pt idx="1">
                  <c:v>LATAM</c:v>
                </c:pt>
                <c:pt idx="2">
                  <c:v>Argentina</c:v>
                </c:pt>
                <c:pt idx="3">
                  <c:v>Brasil</c:v>
                </c:pt>
                <c:pt idx="4">
                  <c:v>Chile</c:v>
                </c:pt>
                <c:pt idx="5">
                  <c:v>Colombia</c:v>
                </c:pt>
                <c:pt idx="6">
                  <c:v>Mexico</c:v>
                </c:pt>
                <c:pt idx="7">
                  <c:v>Perú</c:v>
                </c:pt>
              </c:strCache>
            </c:strRef>
          </c:cat>
          <c:val>
            <c:numRef>
              <c:f>Hoja1!$F$171:$F$178</c:f>
              <c:numCache>
                <c:formatCode>0%</c:formatCode>
                <c:ptCount val="8"/>
                <c:pt idx="0">
                  <c:v>0.15</c:v>
                </c:pt>
                <c:pt idx="1">
                  <c:v>0.1</c:v>
                </c:pt>
                <c:pt idx="2">
                  <c:v>0</c:v>
                </c:pt>
                <c:pt idx="3">
                  <c:v>0.11</c:v>
                </c:pt>
                <c:pt idx="4">
                  <c:v>0.1</c:v>
                </c:pt>
                <c:pt idx="5">
                  <c:v>0.13</c:v>
                </c:pt>
                <c:pt idx="6">
                  <c:v>7.0000000000000007E-2</c:v>
                </c:pt>
                <c:pt idx="7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A37-4D96-ABA8-3A82602B528B}"/>
            </c:ext>
          </c:extLst>
        </c:ser>
        <c:ser>
          <c:idx val="2"/>
          <c:order val="2"/>
          <c:tx>
            <c:strRef>
              <c:f>Hoja1!$G$170</c:f>
              <c:strCache>
                <c:ptCount val="1"/>
                <c:pt idx="0">
                  <c:v>Crec YoY 2026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171:$D$178</c:f>
              <c:strCache>
                <c:ptCount val="8"/>
                <c:pt idx="0">
                  <c:v>EEUU</c:v>
                </c:pt>
                <c:pt idx="1">
                  <c:v>LATAM</c:v>
                </c:pt>
                <c:pt idx="2">
                  <c:v>Argentina</c:v>
                </c:pt>
                <c:pt idx="3">
                  <c:v>Brasil</c:v>
                </c:pt>
                <c:pt idx="4">
                  <c:v>Chile</c:v>
                </c:pt>
                <c:pt idx="5">
                  <c:v>Colombia</c:v>
                </c:pt>
                <c:pt idx="6">
                  <c:v>Mexico</c:v>
                </c:pt>
                <c:pt idx="7">
                  <c:v>Perú</c:v>
                </c:pt>
              </c:strCache>
            </c:strRef>
          </c:cat>
          <c:val>
            <c:numRef>
              <c:f>Hoja1!$G$171:$G$178</c:f>
              <c:numCache>
                <c:formatCode>0%</c:formatCode>
                <c:ptCount val="8"/>
                <c:pt idx="0">
                  <c:v>0.12</c:v>
                </c:pt>
                <c:pt idx="1">
                  <c:v>0.11</c:v>
                </c:pt>
                <c:pt idx="2">
                  <c:v>0.12</c:v>
                </c:pt>
                <c:pt idx="3">
                  <c:v>0.12</c:v>
                </c:pt>
                <c:pt idx="4">
                  <c:v>0.11</c:v>
                </c:pt>
                <c:pt idx="5">
                  <c:v>0.1</c:v>
                </c:pt>
                <c:pt idx="6">
                  <c:v>0.11</c:v>
                </c:pt>
                <c:pt idx="7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A37-4D96-ABA8-3A82602B52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599973440"/>
        <c:axId val="599976800"/>
      </c:barChart>
      <c:catAx>
        <c:axId val="599973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bg1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ulso" pitchFamily="2" charset="0"/>
                <a:ea typeface="+mn-ea"/>
                <a:cs typeface="+mn-cs"/>
              </a:defRPr>
            </a:pPr>
            <a:endParaRPr lang="es-AR"/>
          </a:p>
        </c:txPr>
        <c:crossAx val="599976800"/>
        <c:crosses val="autoZero"/>
        <c:auto val="1"/>
        <c:lblAlgn val="ctr"/>
        <c:lblOffset val="100"/>
        <c:noMultiLvlLbl val="0"/>
      </c:catAx>
      <c:valAx>
        <c:axId val="599976800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599973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2519298583560951"/>
          <c:y val="0.93342943339249063"/>
          <c:w val="0.53669291359945626"/>
          <c:h val="6.657056660750941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bg1">
                  <a:lumMod val="25000"/>
                </a:schemeClr>
              </a:solidFill>
              <a:latin typeface="Pulso Light" pitchFamily="2" charset="0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Montserrat" panose="00000500000000000000" pitchFamily="2" charset="0"/>
        </a:defRPr>
      </a:pPr>
      <a:endParaRPr lang="es-AR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00" b="0" i="0" u="none" strike="noStrike" kern="1200" cap="none" spc="5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ulso Light" pitchFamily="2" charset="0"/>
                <a:ea typeface="+mj-ea"/>
                <a:cs typeface="+mj-cs"/>
              </a:defRPr>
            </a:pPr>
            <a:r>
              <a:rPr lang="en-US" sz="800" b="0" i="0">
                <a:latin typeface="Pulso Light" pitchFamily="2" charset="0"/>
              </a:rPr>
              <a:t>Speed Score</a:t>
            </a:r>
          </a:p>
          <a:p>
            <a:pPr>
              <a:defRPr sz="800">
                <a:latin typeface="Pulso Light" pitchFamily="2" charset="0"/>
              </a:defRPr>
            </a:pPr>
            <a:r>
              <a:rPr lang="en-US" sz="800" b="0" i="0">
                <a:latin typeface="Pulso Light" pitchFamily="2" charset="0"/>
              </a:rPr>
              <a:t>[Mbps]</a:t>
            </a:r>
          </a:p>
        </c:rich>
      </c:tx>
      <c:layout>
        <c:manualLayout>
          <c:xMode val="edge"/>
          <c:yMode val="edge"/>
          <c:x val="0.39589047819693041"/>
          <c:y val="0.1068165015832398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cap="none" spc="50" normalizeH="0" baseline="0">
              <a:solidFill>
                <a:schemeClr val="tx1">
                  <a:lumMod val="65000"/>
                  <a:lumOff val="35000"/>
                </a:schemeClr>
              </a:solidFill>
              <a:latin typeface="Pulso Light" pitchFamily="2" charset="0"/>
              <a:ea typeface="+mj-ea"/>
              <a:cs typeface="+mj-cs"/>
            </a:defRPr>
          </a:pPr>
          <a:endParaRPr lang="es-AR"/>
        </a:p>
      </c:txPr>
    </c:title>
    <c:autoTitleDeleted val="0"/>
    <c:plotArea>
      <c:layout>
        <c:manualLayout>
          <c:layoutTarget val="inner"/>
          <c:xMode val="edge"/>
          <c:yMode val="edge"/>
          <c:x val="0"/>
          <c:y val="0.1836159702815354"/>
          <c:w val="1"/>
          <c:h val="0.606380130880412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Hoja1!$C$3</c:f>
              <c:strCache>
                <c:ptCount val="1"/>
                <c:pt idx="0">
                  <c:v>4G</c:v>
                </c:pt>
              </c:strCache>
            </c:strRef>
          </c:tx>
          <c:spPr>
            <a:solidFill>
              <a:schemeClr val="bg2">
                <a:alpha val="70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2">
                  <a:alpha val="7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C2C-1542-B138-39A484128180}"/>
              </c:ext>
            </c:extLst>
          </c:dPt>
          <c:dPt>
            <c:idx val="2"/>
            <c:invertIfNegative val="0"/>
            <c:bubble3D val="0"/>
            <c:spPr>
              <a:solidFill>
                <a:schemeClr val="bg2">
                  <a:alpha val="7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C2C-1542-B138-39A48412818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Hoja1!$A$4:$A$6</c:f>
              <c:strCache>
                <c:ptCount val="3"/>
                <c:pt idx="0">
                  <c:v>Personal</c:v>
                </c:pt>
                <c:pt idx="1">
                  <c:v>Claro</c:v>
                </c:pt>
                <c:pt idx="2">
                  <c:v>Movistar</c:v>
                </c:pt>
              </c:strCache>
            </c:strRef>
          </c:cat>
          <c:val>
            <c:numRef>
              <c:f>Hoja1!$C$4:$C$6</c:f>
              <c:numCache>
                <c:formatCode>General</c:formatCode>
                <c:ptCount val="3"/>
                <c:pt idx="0">
                  <c:v>35</c:v>
                </c:pt>
                <c:pt idx="1">
                  <c:v>27</c:v>
                </c:pt>
                <c:pt idx="2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C2C-1542-B138-39A484128180}"/>
            </c:ext>
          </c:extLst>
        </c:ser>
        <c:ser>
          <c:idx val="2"/>
          <c:order val="2"/>
          <c:tx>
            <c:strRef>
              <c:f>Hoja1!$D$3</c:f>
              <c:strCache>
                <c:ptCount val="1"/>
                <c:pt idx="0">
                  <c:v>5G</c:v>
                </c:pt>
              </c:strCache>
            </c:strRef>
          </c:tx>
          <c:spPr>
            <a:solidFill>
              <a:schemeClr val="accent1">
                <a:alpha val="7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alpha val="7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4C2C-1542-B138-39A48412818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alpha val="7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4C2C-1542-B138-39A48412818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Hoja1!$A$4:$A$6</c:f>
              <c:strCache>
                <c:ptCount val="3"/>
                <c:pt idx="0">
                  <c:v>Personal</c:v>
                </c:pt>
                <c:pt idx="1">
                  <c:v>Claro</c:v>
                </c:pt>
                <c:pt idx="2">
                  <c:v>Movistar</c:v>
                </c:pt>
              </c:strCache>
            </c:strRef>
          </c:cat>
          <c:val>
            <c:numRef>
              <c:f>Hoja1!$D$4:$D$6</c:f>
              <c:numCache>
                <c:formatCode>General</c:formatCode>
                <c:ptCount val="3"/>
                <c:pt idx="0">
                  <c:v>413</c:v>
                </c:pt>
                <c:pt idx="1">
                  <c:v>240</c:v>
                </c:pt>
                <c:pt idx="2">
                  <c:v>1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C2C-1542-B138-39A4841281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616876464"/>
        <c:axId val="616875984"/>
      </c:barChart>
      <c:lineChart>
        <c:grouping val="standard"/>
        <c:varyColors val="0"/>
        <c:ser>
          <c:idx val="0"/>
          <c:order val="0"/>
          <c:tx>
            <c:strRef>
              <c:f>Hoja1!$B$3</c:f>
              <c:strCache>
                <c:ptCount val="1"/>
                <c:pt idx="0">
                  <c:v>Glob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chemeClr val="tx1">
                  <a:alpha val="70000"/>
                </a:schemeClr>
              </a:solidFill>
              <a:ln>
                <a:noFill/>
              </a:ln>
              <a:effectLst/>
            </c:spPr>
          </c:marker>
          <c:dPt>
            <c:idx val="0"/>
            <c:marker>
              <c:symbol val="diamond"/>
              <c:size val="11"/>
              <c:spPr>
                <a:solidFill>
                  <a:schemeClr val="tx1">
                    <a:alpha val="70000"/>
                  </a:schemeClr>
                </a:solidFill>
                <a:ln>
                  <a:noFill/>
                </a:ln>
                <a:effectLst/>
              </c:spPr>
            </c:marker>
            <c:bubble3D val="0"/>
            <c:spPr>
              <a:ln w="28575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B-4C2C-1542-B138-39A484128180}"/>
              </c:ext>
            </c:extLst>
          </c:dPt>
          <c:dPt>
            <c:idx val="1"/>
            <c:marker>
              <c:symbol val="diamond"/>
              <c:size val="11"/>
              <c:spPr>
                <a:solidFill>
                  <a:schemeClr val="tx1">
                    <a:alpha val="70000"/>
                  </a:schemeClr>
                </a:solidFill>
                <a:ln>
                  <a:noFill/>
                </a:ln>
                <a:effectLst/>
              </c:spPr>
            </c:marker>
            <c:bubble3D val="0"/>
            <c:spPr>
              <a:ln w="28575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D-4C2C-1542-B138-39A484128180}"/>
              </c:ext>
            </c:extLst>
          </c:dPt>
          <c:dPt>
            <c:idx val="2"/>
            <c:marker>
              <c:symbol val="diamond"/>
              <c:size val="11"/>
              <c:spPr>
                <a:solidFill>
                  <a:schemeClr val="tx1">
                    <a:alpha val="70000"/>
                  </a:schemeClr>
                </a:solidFill>
                <a:ln>
                  <a:noFill/>
                </a:ln>
                <a:effectLst/>
              </c:spPr>
            </c:marker>
            <c:bubble3D val="0"/>
            <c:spPr>
              <a:ln w="28575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F-4C2C-1542-B138-39A484128180}"/>
              </c:ext>
            </c:extLst>
          </c:dPt>
          <c:dLbls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Hoja1!$A$4:$A$6</c:f>
              <c:strCache>
                <c:ptCount val="3"/>
                <c:pt idx="0">
                  <c:v>Personal</c:v>
                </c:pt>
                <c:pt idx="1">
                  <c:v>Claro</c:v>
                </c:pt>
                <c:pt idx="2">
                  <c:v>Movistar</c:v>
                </c:pt>
              </c:strCache>
            </c:strRef>
          </c:cat>
          <c:val>
            <c:numRef>
              <c:f>Hoja1!$B$4:$B$6</c:f>
              <c:numCache>
                <c:formatCode>General</c:formatCode>
                <c:ptCount val="3"/>
                <c:pt idx="0">
                  <c:v>83</c:v>
                </c:pt>
                <c:pt idx="1">
                  <c:v>50</c:v>
                </c:pt>
                <c:pt idx="2">
                  <c:v>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4C2C-1542-B138-39A4841281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16876464"/>
        <c:axId val="616875984"/>
      </c:lineChart>
      <c:catAx>
        <c:axId val="616876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bg1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none" spc="20" normalizeH="0" baseline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+mn-ea"/>
                <a:cs typeface="+mn-cs"/>
              </a:defRPr>
            </a:pPr>
            <a:endParaRPr lang="es-AR"/>
          </a:p>
        </c:txPr>
        <c:crossAx val="616875984"/>
        <c:crosses val="autoZero"/>
        <c:auto val="1"/>
        <c:lblAlgn val="ctr"/>
        <c:lblOffset val="100"/>
        <c:noMultiLvlLbl val="0"/>
      </c:catAx>
      <c:valAx>
        <c:axId val="6168759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1687646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bg1">
                  <a:lumMod val="25000"/>
                </a:schemeClr>
              </a:solidFill>
              <a:latin typeface="Pulso Light" pitchFamily="2" charset="0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5237411056849634"/>
          <c:w val="1"/>
          <c:h val="0.51428241520194096"/>
        </c:manualLayout>
      </c:layout>
      <c:lineChart>
        <c:grouping val="standard"/>
        <c:varyColors val="0"/>
        <c:ser>
          <c:idx val="0"/>
          <c:order val="0"/>
          <c:tx>
            <c:strRef>
              <c:f>Hoja1!$A$4</c:f>
              <c:strCache>
                <c:ptCount val="1"/>
                <c:pt idx="0">
                  <c:v>Abono</c:v>
                </c:pt>
              </c:strCache>
            </c:strRef>
          </c:tx>
          <c:spPr>
            <a:ln w="25400" cap="rnd" cmpd="sng" algn="ctr">
              <a:solidFill>
                <a:srgbClr val="8A5CF2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lt1"/>
              </a:solidFill>
              <a:ln w="25400">
                <a:solidFill>
                  <a:srgbClr val="8A5CF2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11536970952169827"/>
                  <c:y val="5.087139845397056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C7-034B-98AA-0003E327D121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K$2:$M$2</c:f>
              <c:strCach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strCache>
            </c:strRef>
          </c:cat>
          <c:val>
            <c:numRef>
              <c:f>Hoja1!$B$4:$M$4</c:f>
              <c:numCache>
                <c:formatCode>#,##0.0</c:formatCode>
                <c:ptCount val="3"/>
                <c:pt idx="0">
                  <c:v>8</c:v>
                </c:pt>
                <c:pt idx="1">
                  <c:v>14.2</c:v>
                </c:pt>
                <c:pt idx="2">
                  <c:v>25.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72CE-7449-B819-642AE3BB1F67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Prepago</c:v>
                </c:pt>
              </c:strCache>
            </c:strRef>
          </c:tx>
          <c:spPr>
            <a:ln w="25400" cap="rnd" cmpd="sng" algn="ctr">
              <a:solidFill>
                <a:srgbClr val="00B7EB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rgbClr val="FFFFFF"/>
              </a:solidFill>
              <a:ln w="25400">
                <a:solidFill>
                  <a:srgbClr val="00B7EB"/>
                </a:solidFill>
              </a:ln>
              <a:effectLst/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Hoja1!$K$2:$M$2</c:f>
              <c:strCach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strCache>
            </c:strRef>
          </c:cat>
          <c:val>
            <c:numRef>
              <c:f>Hoja1!$K$3:$M$3</c:f>
              <c:numCache>
                <c:formatCode>#.##00</c:formatCode>
                <c:ptCount val="3"/>
                <c:pt idx="0">
                  <c:v>9</c:v>
                </c:pt>
                <c:pt idx="1">
                  <c:v>21.4</c:v>
                </c:pt>
                <c:pt idx="2">
                  <c:v>31.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72CE-7449-B819-642AE3BB1F6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834520224"/>
        <c:axId val="882857104"/>
      </c:lineChart>
      <c:catAx>
        <c:axId val="834520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rgbClr val="F0F0F0">
                <a:lumMod val="25000"/>
              </a:srgb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+mn-ea"/>
                <a:cs typeface="+mn-cs"/>
              </a:defRPr>
            </a:pPr>
            <a:endParaRPr lang="es-AR"/>
          </a:p>
        </c:txPr>
        <c:crossAx val="882857104"/>
        <c:crosses val="autoZero"/>
        <c:auto val="1"/>
        <c:lblAlgn val="ctr"/>
        <c:lblOffset val="100"/>
        <c:noMultiLvlLbl val="0"/>
      </c:catAx>
      <c:valAx>
        <c:axId val="882857104"/>
        <c:scaling>
          <c:orientation val="minMax"/>
        </c:scaling>
        <c:delete val="1"/>
        <c:axPos val="l"/>
        <c:numFmt formatCode="#,##0.0" sourceLinked="1"/>
        <c:majorTickMark val="none"/>
        <c:minorTickMark val="none"/>
        <c:tickLblPos val="nextTo"/>
        <c:crossAx val="83452022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+mn-ea"/>
                <a:cs typeface="+mn-cs"/>
              </a:defRPr>
            </a:pPr>
            <a:endParaRPr lang="es-AR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bg1">
                  <a:lumMod val="25000"/>
                </a:schemeClr>
              </a:solidFill>
              <a:latin typeface="Pulso Light" pitchFamily="2" charset="0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800"/>
      </a:pPr>
      <a:endParaRPr lang="es-AR"/>
    </a:p>
  </c:txPr>
  <c:externalData r:id="rId4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5237409800726218"/>
          <c:w val="1"/>
          <c:h val="0.77332469513354518"/>
        </c:manualLayout>
      </c:layout>
      <c:lineChart>
        <c:grouping val="standard"/>
        <c:varyColors val="0"/>
        <c:ser>
          <c:idx val="0"/>
          <c:order val="0"/>
          <c:tx>
            <c:strRef>
              <c:f>Hoja1!$A$4</c:f>
              <c:strCache>
                <c:ptCount val="1"/>
                <c:pt idx="0">
                  <c:v>Abono</c:v>
                </c:pt>
              </c:strCache>
            </c:strRef>
          </c:tx>
          <c:spPr>
            <a:ln w="25400" cap="rnd" cmpd="sng" algn="ctr">
              <a:solidFill>
                <a:srgbClr val="92D050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lt1"/>
              </a:solidFill>
              <a:ln w="25400">
                <a:solidFill>
                  <a:srgbClr val="92D05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12656159120150873"/>
                  <c:y val="-5.45019010723306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C7-034B-98AA-0003E327D121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K$2:$M$2</c:f>
              <c:strCach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strCache>
            </c:strRef>
          </c:cat>
          <c:val>
            <c:numRef>
              <c:f>Hoja1!$B$4:$M$4</c:f>
              <c:numCache>
                <c:formatCode>#,##0.0</c:formatCode>
                <c:ptCount val="3"/>
                <c:pt idx="0">
                  <c:v>-0.2</c:v>
                </c:pt>
                <c:pt idx="1">
                  <c:v>-2.2999999999999998</c:v>
                </c:pt>
                <c:pt idx="2">
                  <c:v>6.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72CE-7449-B819-642AE3BB1F67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Prepago</c:v>
                </c:pt>
              </c:strCache>
            </c:strRef>
          </c:tx>
          <c:spPr>
            <a:ln w="25400" cap="rnd" cmpd="sng" algn="ctr">
              <a:solidFill>
                <a:srgbClr val="00B050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rgbClr val="FFFFFF"/>
              </a:solidFill>
              <a:ln w="25400">
                <a:solidFill>
                  <a:srgbClr val="00B050"/>
                </a:solidFill>
              </a:ln>
              <a:effectLst/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Hoja1!$K$2:$M$2</c:f>
              <c:strCach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strCache>
            </c:strRef>
          </c:cat>
          <c:val>
            <c:numRef>
              <c:f>Hoja1!$K$3:$M$3</c:f>
              <c:numCache>
                <c:formatCode>#,##0.0</c:formatCode>
                <c:ptCount val="3"/>
                <c:pt idx="0">
                  <c:v>3.7</c:v>
                </c:pt>
                <c:pt idx="1">
                  <c:v>-0.2</c:v>
                </c:pt>
                <c:pt idx="2">
                  <c:v>7.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72CE-7449-B819-642AE3BB1F6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834520224"/>
        <c:axId val="882857104"/>
      </c:lineChart>
      <c:catAx>
        <c:axId val="834520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rgbClr val="F0F0F0">
                <a:lumMod val="25000"/>
              </a:srgb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+mn-ea"/>
                <a:cs typeface="+mn-cs"/>
              </a:defRPr>
            </a:pPr>
            <a:endParaRPr lang="es-AR"/>
          </a:p>
        </c:txPr>
        <c:crossAx val="882857104"/>
        <c:crosses val="autoZero"/>
        <c:auto val="1"/>
        <c:lblAlgn val="ctr"/>
        <c:lblOffset val="100"/>
        <c:noMultiLvlLbl val="0"/>
      </c:catAx>
      <c:valAx>
        <c:axId val="882857104"/>
        <c:scaling>
          <c:orientation val="minMax"/>
        </c:scaling>
        <c:delete val="1"/>
        <c:axPos val="l"/>
        <c:numFmt formatCode="#,##0.0" sourceLinked="1"/>
        <c:majorTickMark val="none"/>
        <c:minorTickMark val="none"/>
        <c:tickLblPos val="nextTo"/>
        <c:crossAx val="83452022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+mn-ea"/>
                <a:cs typeface="+mn-cs"/>
              </a:defRPr>
            </a:pPr>
            <a:endParaRPr lang="es-AR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bg1">
                  <a:lumMod val="25000"/>
                </a:schemeClr>
              </a:solidFill>
              <a:latin typeface="Pulso Light" pitchFamily="2" charset="0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800"/>
      </a:pPr>
      <a:endParaRPr lang="es-AR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605451936872305E-2"/>
          <c:y val="7.4605451936872305E-2"/>
          <c:w val="0.85078909612625542"/>
          <c:h val="0.85078909612625542"/>
        </c:manualLayout>
      </c:layout>
      <c:doughnutChart>
        <c:varyColors val="0"/>
        <c:ser>
          <c:idx val="0"/>
          <c:order val="0"/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053-3141-AA96-8D5672BBBFC3}"/>
              </c:ext>
            </c:extLst>
          </c:dPt>
          <c:dPt>
            <c:idx val="1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053-3141-AA96-8D5672BBBFC3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74</c:v>
                </c:pt>
                <c:pt idx="1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053-3141-AA96-8D5672BBBF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9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035508323406471"/>
          <c:y val="0.1088755810074849"/>
          <c:w val="0.72713899719164943"/>
          <c:h val="0.72805888165995902"/>
        </c:manualLayout>
      </c:layout>
      <c:barChart>
        <c:barDir val="col"/>
        <c:grouping val="clustered"/>
        <c:varyColors val="0"/>
        <c:ser>
          <c:idx val="3"/>
          <c:order val="3"/>
          <c:tx>
            <c:strRef>
              <c:f>Graficos_2030!$A$83</c:f>
              <c:strCache>
                <c:ptCount val="1"/>
                <c:pt idx="0">
                  <c:v>GBOU</c:v>
                </c:pt>
              </c:strCache>
            </c:strRef>
          </c:tx>
          <c:spPr>
            <a:solidFill>
              <a:srgbClr val="052C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effectLst>
                      <a:outerShdw blurRad="50800" dist="38100" dir="2700000" algn="tl" rotWithShape="0">
                        <a:prstClr val="black">
                          <a:alpha val="73000"/>
                        </a:prstClr>
                      </a:outerShdw>
                    </a:effectLst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aficos_2030!$B$83:$I$83</c:f>
              <c:numCache>
                <c:formatCode>General</c:formatCode>
                <c:ptCount val="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</c:numCache>
            </c:numRef>
          </c:cat>
          <c:val>
            <c:numRef>
              <c:f>Graficos_2030!$B$87:$I$87</c:f>
              <c:numCache>
                <c:formatCode>_-* #,##0.0_-;\-* #,##0.0_-;_-* "-"_-;_-@_-</c:formatCode>
                <c:ptCount val="8"/>
                <c:pt idx="0">
                  <c:v>6.232269603442905</c:v>
                </c:pt>
                <c:pt idx="1">
                  <c:v>6.2903161016769102</c:v>
                </c:pt>
                <c:pt idx="2">
                  <c:v>7.8822550161856837</c:v>
                </c:pt>
                <c:pt idx="3">
                  <c:v>10.514023898237577</c:v>
                </c:pt>
                <c:pt idx="4">
                  <c:v>13.038554031876483</c:v>
                </c:pt>
                <c:pt idx="5">
                  <c:v>16.298192539845605</c:v>
                </c:pt>
                <c:pt idx="6">
                  <c:v>20.372740674807005</c:v>
                </c:pt>
                <c:pt idx="7">
                  <c:v>25.4659258435087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D03-4DD2-94FD-1D48697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239122575"/>
        <c:axId val="1239112015"/>
      </c:barChart>
      <c:lineChart>
        <c:grouping val="standard"/>
        <c:varyColors val="0"/>
        <c:ser>
          <c:idx val="0"/>
          <c:order val="0"/>
          <c:tx>
            <c:strRef>
              <c:f>Graficos_2030!$A$30</c:f>
              <c:strCache>
                <c:ptCount val="1"/>
                <c:pt idx="0">
                  <c:v>Total Trafico Mensual 4G</c:v>
                </c:pt>
              </c:strCache>
            </c:strRef>
          </c:tx>
          <c:spPr>
            <a:ln w="19050" cap="rnd">
              <a:solidFill>
                <a:srgbClr val="00B7EB"/>
              </a:solidFill>
              <a:prstDash val="sysDash"/>
              <a:round/>
            </a:ln>
            <a:effectLst/>
          </c:spPr>
          <c:marker>
            <c:symbol val="circle"/>
            <c:size val="5"/>
            <c:spPr>
              <a:solidFill>
                <a:srgbClr val="00B7EB"/>
              </a:solidFill>
              <a:ln w="9525">
                <a:noFill/>
              </a:ln>
              <a:effectLst/>
            </c:spPr>
          </c:marker>
          <c:dPt>
            <c:idx val="3"/>
            <c:marker>
              <c:symbol val="circle"/>
              <c:size val="5"/>
              <c:spPr>
                <a:solidFill>
                  <a:srgbClr val="00B7EB"/>
                </a:solidFill>
                <a:ln w="9525">
                  <a:noFill/>
                </a:ln>
                <a:effectLst/>
              </c:spPr>
            </c:marker>
            <c:bubble3D val="0"/>
            <c:spPr>
              <a:ln w="19050" cap="rnd">
                <a:solidFill>
                  <a:srgbClr val="00B7EB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2-5D03-4DD2-94FD-1D486978F894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rgbClr val="00B7EB"/>
                </a:solidFill>
                <a:ln w="9525">
                  <a:noFill/>
                </a:ln>
                <a:effectLst/>
              </c:spPr>
            </c:marker>
            <c:bubble3D val="0"/>
            <c:spPr>
              <a:ln w="19050" cap="rnd">
                <a:solidFill>
                  <a:srgbClr val="00B7EB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4-5D03-4DD2-94FD-1D486978F894}"/>
              </c:ext>
            </c:extLst>
          </c:dPt>
          <c:cat>
            <c:numRef>
              <c:f>Graficos_2030!$B$83:$I$83</c:f>
              <c:numCache>
                <c:formatCode>General</c:formatCode>
                <c:ptCount val="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</c:numCache>
            </c:numRef>
          </c:cat>
          <c:val>
            <c:numRef>
              <c:f>Graficos_2030!$B$30:$I$30</c:f>
              <c:numCache>
                <c:formatCode>_-* #,##0.0_$_-;\-* #,##0.0_$_-;_-* "-"?_$_-;_-@_-</c:formatCode>
                <c:ptCount val="8"/>
                <c:pt idx="0">
                  <c:v>159.49326530640283</c:v>
                </c:pt>
                <c:pt idx="1">
                  <c:v>171.22779495580085</c:v>
                </c:pt>
                <c:pt idx="2">
                  <c:v>176.53697333742258</c:v>
                </c:pt>
                <c:pt idx="3">
                  <c:v>185.85498211424576</c:v>
                </c:pt>
                <c:pt idx="4">
                  <c:v>166.60676009396281</c:v>
                </c:pt>
                <c:pt idx="5" formatCode="_-* #,##0.00_$_-;\-* #,##0.00_$_-;_-* &quot;-&quot;??_$_-;_-@_-">
                  <c:v>136.58137698189137</c:v>
                </c:pt>
                <c:pt idx="6" formatCode="_-* #,##0.00_$_-;\-* #,##0.00_$_-;_-* &quot;-&quot;??_$_-;_-@_-">
                  <c:v>97.344044345073712</c:v>
                </c:pt>
                <c:pt idx="7" formatCode="_-* #,##0.00_$_-;\-* #,##0.00_$_-;_-* &quot;-&quot;??_$_-;_-@_-">
                  <c:v>57.4115254116101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D03-4DD2-94FD-1D486978F894}"/>
            </c:ext>
          </c:extLst>
        </c:ser>
        <c:ser>
          <c:idx val="1"/>
          <c:order val="1"/>
          <c:tx>
            <c:strRef>
              <c:f>Graficos_2030!$A$31</c:f>
              <c:strCache>
                <c:ptCount val="1"/>
                <c:pt idx="0">
                  <c:v>Total Trafico Mensual 5G</c:v>
                </c:pt>
              </c:strCache>
            </c:strRef>
          </c:tx>
          <c:spPr>
            <a:ln w="19050" cap="rnd">
              <a:solidFill>
                <a:srgbClr val="052C50">
                  <a:lumMod val="75000"/>
                  <a:lumOff val="25000"/>
                </a:srgbClr>
              </a:solidFill>
              <a:prstDash val="sysDash"/>
              <a:round/>
            </a:ln>
            <a:effectLst/>
          </c:spPr>
          <c:marker>
            <c:symbol val="circle"/>
            <c:size val="5"/>
            <c:spPr>
              <a:solidFill>
                <a:srgbClr val="052C50">
                  <a:lumMod val="75000"/>
                  <a:lumOff val="25000"/>
                </a:srgbClr>
              </a:solidFill>
              <a:ln w="9525">
                <a:solidFill>
                  <a:srgbClr val="0070C0"/>
                </a:solidFill>
              </a:ln>
              <a:effectLst/>
            </c:spPr>
          </c:marker>
          <c:dPt>
            <c:idx val="3"/>
            <c:marker>
              <c:symbol val="circle"/>
              <c:size val="5"/>
              <c:spPr>
                <a:solidFill>
                  <a:srgbClr val="052C50">
                    <a:lumMod val="75000"/>
                    <a:lumOff val="25000"/>
                  </a:srgbClr>
                </a:solidFill>
                <a:ln w="9525">
                  <a:solidFill>
                    <a:srgbClr val="0070C0"/>
                  </a:solidFill>
                </a:ln>
                <a:effectLst/>
              </c:spPr>
            </c:marker>
            <c:bubble3D val="0"/>
            <c:spPr>
              <a:ln w="19050" cap="rnd">
                <a:solidFill>
                  <a:srgbClr val="052C50">
                    <a:lumMod val="75000"/>
                    <a:lumOff val="25000"/>
                  </a:srgbClr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5D03-4DD2-94FD-1D486978F894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rgbClr val="052C50">
                    <a:lumMod val="75000"/>
                    <a:lumOff val="25000"/>
                  </a:srgbClr>
                </a:solidFill>
                <a:ln w="9525">
                  <a:solidFill>
                    <a:srgbClr val="0070C0"/>
                  </a:solidFill>
                </a:ln>
                <a:effectLst/>
              </c:spPr>
            </c:marker>
            <c:bubble3D val="0"/>
            <c:spPr>
              <a:ln w="19050" cap="rnd">
                <a:solidFill>
                  <a:srgbClr val="052C50">
                    <a:lumMod val="75000"/>
                    <a:lumOff val="25000"/>
                  </a:srgbClr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9-5D03-4DD2-94FD-1D486978F894}"/>
              </c:ext>
            </c:extLst>
          </c:dPt>
          <c:cat>
            <c:numRef>
              <c:f>Graficos_2030!$B$83:$I$83</c:f>
              <c:numCache>
                <c:formatCode>General</c:formatCode>
                <c:ptCount val="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</c:numCache>
            </c:numRef>
          </c:cat>
          <c:val>
            <c:numRef>
              <c:f>Graficos_2030!$B$31:$I$31</c:f>
              <c:numCache>
                <c:formatCode>_-* #,##0.0_$_-;\-* #,##0.0_$_-;_-* "-"?_$_-;_-@_-</c:formatCode>
                <c:ptCount val="8"/>
                <c:pt idx="0">
                  <c:v>0</c:v>
                </c:pt>
                <c:pt idx="1">
                  <c:v>9.1307933422542522</c:v>
                </c:pt>
                <c:pt idx="2">
                  <c:v>25.230848983167338</c:v>
                </c:pt>
                <c:pt idx="3">
                  <c:v>87.164306431056815</c:v>
                </c:pt>
                <c:pt idx="4">
                  <c:v>172.86004415011976</c:v>
                </c:pt>
                <c:pt idx="5" formatCode="_-* #,##0.00_$_-;\-* #,##0.00_$_-;_-* &quot;-&quot;??_$_-;_-@_-">
                  <c:v>287.75212832321188</c:v>
                </c:pt>
                <c:pt idx="6" formatCode="_-* #,##0.00_$_-;\-* #,##0.00_$_-;_-* &quot;-&quot;??_$_-;_-@_-">
                  <c:v>433.07283728630534</c:v>
                </c:pt>
                <c:pt idx="7" formatCode="_-* #,##0.00_$_-;\-* #,##0.00_$_-;_-* &quot;-&quot;??_$_-;_-@_-">
                  <c:v>605.609576627613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5D03-4DD2-94FD-1D486978F894}"/>
            </c:ext>
          </c:extLst>
        </c:ser>
        <c:ser>
          <c:idx val="2"/>
          <c:order val="2"/>
          <c:tx>
            <c:strRef>
              <c:f>Graficos_2030!$A$32</c:f>
              <c:strCache>
                <c:ptCount val="1"/>
                <c:pt idx="0">
                  <c:v>Total Trafico Mensual</c:v>
                </c:pt>
              </c:strCache>
            </c:strRef>
          </c:tx>
          <c:spPr>
            <a:ln w="22225" cap="rnd">
              <a:solidFill>
                <a:srgbClr val="8A5CF2"/>
              </a:solidFill>
              <a:prstDash val="sysDash"/>
              <a:round/>
            </a:ln>
            <a:effectLst/>
          </c:spPr>
          <c:marker>
            <c:symbol val="circle"/>
            <c:size val="6"/>
            <c:spPr>
              <a:solidFill>
                <a:srgbClr val="8A5CF2"/>
              </a:solidFill>
              <a:ln w="9525">
                <a:noFill/>
              </a:ln>
              <a:effectLst/>
            </c:spPr>
          </c:marker>
          <c:dPt>
            <c:idx val="3"/>
            <c:marker>
              <c:symbol val="circle"/>
              <c:size val="6"/>
              <c:spPr>
                <a:solidFill>
                  <a:srgbClr val="8A5CF2"/>
                </a:solidFill>
                <a:ln w="9525">
                  <a:noFill/>
                </a:ln>
                <a:effectLst/>
              </c:spPr>
            </c:marker>
            <c:bubble3D val="0"/>
            <c:spPr>
              <a:ln w="22225" cap="rnd">
                <a:solidFill>
                  <a:srgbClr val="8A5CF2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C-5D03-4DD2-94FD-1D486978F894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8A5CF2"/>
                </a:solidFill>
                <a:ln w="9525">
                  <a:noFill/>
                </a:ln>
                <a:effectLst/>
              </c:spPr>
            </c:marker>
            <c:bubble3D val="0"/>
            <c:spPr>
              <a:ln w="22225" cap="rnd">
                <a:solidFill>
                  <a:srgbClr val="8A5CF2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E-5D03-4DD2-94FD-1D486978F894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8A5CF2"/>
                </a:solidFill>
                <a:ln w="9525">
                  <a:noFill/>
                </a:ln>
                <a:effectLst/>
              </c:spPr>
            </c:marker>
            <c:bubble3D val="0"/>
            <c:spPr>
              <a:ln w="19050" cap="rnd">
                <a:solidFill>
                  <a:srgbClr val="8A5CF2"/>
                </a:solidFill>
                <a:prstDash val="sysDash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C-B95A-994E-B93C-0A8CF977A399}"/>
              </c:ext>
            </c:extLst>
          </c:dPt>
          <c:cat>
            <c:numRef>
              <c:f>Graficos_2030!$B$83:$I$83</c:f>
              <c:numCache>
                <c:formatCode>General</c:formatCode>
                <c:ptCount val="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</c:numCache>
            </c:numRef>
          </c:cat>
          <c:val>
            <c:numRef>
              <c:f>Graficos_2030!$B$32:$I$32</c:f>
              <c:numCache>
                <c:formatCode>_-* #,##0.0_$_-;\-* #,##0.0_$_-;_-* "-"?_$_-;_-@_-</c:formatCode>
                <c:ptCount val="8"/>
                <c:pt idx="0">
                  <c:v>159.49326530640283</c:v>
                </c:pt>
                <c:pt idx="1">
                  <c:v>180.35858829805511</c:v>
                </c:pt>
                <c:pt idx="2">
                  <c:v>201.76782232058991</c:v>
                </c:pt>
                <c:pt idx="3">
                  <c:v>273.01928854530257</c:v>
                </c:pt>
                <c:pt idx="4">
                  <c:v>339.4668042440826</c:v>
                </c:pt>
                <c:pt idx="5" formatCode="_(* #,##0.00_);_(* \(#,##0.00\);_(* &quot;-&quot;??_);_(@_)">
                  <c:v>424.33350530510324</c:v>
                </c:pt>
                <c:pt idx="6" formatCode="_(* #,##0.00_);_(* \(#,##0.00\);_(* &quot;-&quot;??_);_(@_)">
                  <c:v>530.41688163137906</c:v>
                </c:pt>
                <c:pt idx="7" formatCode="_(* #,##0.00_);_(* \(#,##0.00\);_(* &quot;-&quot;??_);_(@_)">
                  <c:v>663.021102039223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5D03-4DD2-94FD-1D48697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97918096"/>
        <c:axId val="997919536"/>
      </c:lineChart>
      <c:catAx>
        <c:axId val="997918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ulso Light" pitchFamily="2" charset="0"/>
                <a:ea typeface="+mn-ea"/>
                <a:cs typeface="+mn-cs"/>
              </a:defRPr>
            </a:pPr>
            <a:endParaRPr lang="es-AR"/>
          </a:p>
        </c:txPr>
        <c:crossAx val="997919536"/>
        <c:crosses val="autoZero"/>
        <c:auto val="1"/>
        <c:lblAlgn val="ctr"/>
        <c:lblOffset val="100"/>
        <c:noMultiLvlLbl val="0"/>
      </c:catAx>
      <c:valAx>
        <c:axId val="99791953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rgbClr val="F0F0F0">
                  <a:lumMod val="75000"/>
                </a:srgb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r>
                  <a:rPr lang="es-AR" sz="800" b="0" i="0">
                    <a:latin typeface="Pulso" pitchFamily="2" charset="0"/>
                  </a:rPr>
                  <a:t>Volumen Datos [PB]</a:t>
                </a:r>
              </a:p>
            </c:rich>
          </c:tx>
          <c:layout>
            <c:manualLayout>
              <c:xMode val="edge"/>
              <c:yMode val="edge"/>
              <c:x val="3.5934770912803816E-2"/>
              <c:y val="8.9080020824305828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ulso" pitchFamily="2" charset="0"/>
                  <a:ea typeface="+mn-ea"/>
                  <a:cs typeface="+mn-cs"/>
                </a:defRPr>
              </a:pPr>
              <a:endParaRPr lang="es-AR"/>
            </a:p>
          </c:txPr>
        </c:title>
        <c:numFmt formatCode="_-* #,##0.0_$_-;\-* #,##0.0_$_-;_-* &quot;-&quot;?_$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ulso Light" pitchFamily="2" charset="0"/>
                <a:ea typeface="+mn-ea"/>
                <a:cs typeface="+mn-cs"/>
              </a:defRPr>
            </a:pPr>
            <a:endParaRPr lang="es-AR"/>
          </a:p>
        </c:txPr>
        <c:crossAx val="997918096"/>
        <c:crosses val="autoZero"/>
        <c:crossBetween val="between"/>
      </c:valAx>
      <c:valAx>
        <c:axId val="1239112015"/>
        <c:scaling>
          <c:orientation val="minMax"/>
        </c:scaling>
        <c:delete val="0"/>
        <c:axPos val="r"/>
        <c:numFmt formatCode="_-* #,##0.0_-;\-* #,##0.0_-;_-* &quot;-&quot;_-;_-@_-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ulso Light" pitchFamily="2" charset="0"/>
                <a:ea typeface="+mn-ea"/>
                <a:cs typeface="+mn-cs"/>
              </a:defRPr>
            </a:pPr>
            <a:endParaRPr lang="es-AR"/>
          </a:p>
        </c:txPr>
        <c:crossAx val="1239122575"/>
        <c:crosses val="max"/>
        <c:crossBetween val="between"/>
      </c:valAx>
      <c:catAx>
        <c:axId val="123912257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39112015"/>
        <c:crosses val="autoZero"/>
        <c:auto val="1"/>
        <c:lblAlgn val="ctr"/>
        <c:lblOffset val="100"/>
        <c:noMultiLvlLbl val="0"/>
      </c:catAx>
      <c:spPr>
        <a:noFill/>
        <a:ln w="3175">
          <a:solidFill>
            <a:srgbClr val="F0F0F0">
              <a:lumMod val="75000"/>
            </a:srgbClr>
          </a:solidFill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4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2"/>
          <c:order val="2"/>
          <c:tx>
            <c:strRef>
              <c:f>EvolucionTrafico_2030!$A$119</c:f>
              <c:strCache>
                <c:ptCount val="1"/>
                <c:pt idx="0">
                  <c:v>% Sitios 5G</c:v>
                </c:pt>
              </c:strCache>
            </c:strRef>
          </c:tx>
          <c:spPr>
            <a:solidFill>
              <a:srgbClr val="052C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EvolucionTrafico_2030!$B$116:$I$116</c:f>
              <c:numCache>
                <c:formatCode>General</c:formatCode>
                <c:ptCount val="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</c:numCache>
            </c:numRef>
          </c:cat>
          <c:val>
            <c:numRef>
              <c:f>EvolucionTrafico_2030!$B$119:$I$119</c:f>
              <c:numCache>
                <c:formatCode>0%</c:formatCode>
                <c:ptCount val="8"/>
                <c:pt idx="0">
                  <c:v>0</c:v>
                </c:pt>
                <c:pt idx="1">
                  <c:v>0.03</c:v>
                </c:pt>
                <c:pt idx="2">
                  <c:v>0.12</c:v>
                </c:pt>
                <c:pt idx="3">
                  <c:v>0.26</c:v>
                </c:pt>
                <c:pt idx="4">
                  <c:v>0.41</c:v>
                </c:pt>
                <c:pt idx="5">
                  <c:v>0.56999999999999995</c:v>
                </c:pt>
                <c:pt idx="6">
                  <c:v>0.62</c:v>
                </c:pt>
                <c:pt idx="7">
                  <c:v>0.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E9-2944-B565-F34FA28084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538343215"/>
        <c:axId val="1538325935"/>
      </c:barChart>
      <c:lineChart>
        <c:grouping val="standard"/>
        <c:varyColors val="0"/>
        <c:ser>
          <c:idx val="0"/>
          <c:order val="0"/>
          <c:tx>
            <c:strRef>
              <c:f>EvolucionTrafico_2030!$A$117</c:f>
              <c:strCache>
                <c:ptCount val="1"/>
                <c:pt idx="0">
                  <c:v>%Terminales 5G</c:v>
                </c:pt>
              </c:strCache>
            </c:strRef>
          </c:tx>
          <c:spPr>
            <a:ln w="22225" cap="rnd">
              <a:solidFill>
                <a:srgbClr val="8A5CF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8A5CF2"/>
              </a:solidFill>
              <a:ln w="9525">
                <a:solidFill>
                  <a:srgbClr val="8A5CF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EvolucionTrafico_2030!$B$116:$I$116</c:f>
              <c:numCache>
                <c:formatCode>General</c:formatCode>
                <c:ptCount val="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</c:numCache>
            </c:numRef>
          </c:cat>
          <c:val>
            <c:numRef>
              <c:f>EvolucionTrafico_2030!$B$117:$I$117</c:f>
              <c:numCache>
                <c:formatCode>0%</c:formatCode>
                <c:ptCount val="8"/>
                <c:pt idx="0">
                  <c:v>0.12</c:v>
                </c:pt>
                <c:pt idx="1">
                  <c:v>0.22</c:v>
                </c:pt>
                <c:pt idx="2">
                  <c:v>0.33</c:v>
                </c:pt>
                <c:pt idx="3">
                  <c:v>0.44</c:v>
                </c:pt>
                <c:pt idx="4">
                  <c:v>0.56999999999999995</c:v>
                </c:pt>
                <c:pt idx="5">
                  <c:v>0.68</c:v>
                </c:pt>
                <c:pt idx="6">
                  <c:v>0.76</c:v>
                </c:pt>
                <c:pt idx="7">
                  <c:v>0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BE9-2944-B565-F34FA2808411}"/>
            </c:ext>
          </c:extLst>
        </c:ser>
        <c:ser>
          <c:idx val="1"/>
          <c:order val="1"/>
          <c:tx>
            <c:strRef>
              <c:f>EvolucionTrafico_2030!$A$118</c:f>
              <c:strCache>
                <c:ptCount val="1"/>
                <c:pt idx="0">
                  <c:v>% Clientes 5G</c:v>
                </c:pt>
              </c:strCache>
            </c:strRef>
          </c:tx>
          <c:spPr>
            <a:ln w="22225" cap="rnd">
              <a:solidFill>
                <a:srgbClr val="00B7EB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B7EB"/>
              </a:solidFill>
              <a:ln w="9525">
                <a:solidFill>
                  <a:srgbClr val="00B7EB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EvolucionTrafico_2030!$B$116:$I$116</c:f>
              <c:numCache>
                <c:formatCode>General</c:formatCode>
                <c:ptCount val="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</c:numCache>
            </c:numRef>
          </c:cat>
          <c:val>
            <c:numRef>
              <c:f>EvolucionTrafico_2030!$B$118:$I$118</c:f>
              <c:numCache>
                <c:formatCode>0%</c:formatCode>
                <c:ptCount val="8"/>
                <c:pt idx="1">
                  <c:v>0.03</c:v>
                </c:pt>
                <c:pt idx="2">
                  <c:v>0.11</c:v>
                </c:pt>
                <c:pt idx="3">
                  <c:v>0.24</c:v>
                </c:pt>
                <c:pt idx="4">
                  <c:v>0.37</c:v>
                </c:pt>
                <c:pt idx="5">
                  <c:v>0.52</c:v>
                </c:pt>
                <c:pt idx="6">
                  <c:v>0.63</c:v>
                </c:pt>
                <c:pt idx="7">
                  <c:v>0.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BE9-2944-B565-F34FA28084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38343215"/>
        <c:axId val="1538325935"/>
      </c:lineChart>
      <c:catAx>
        <c:axId val="15383432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ulso Light" pitchFamily="2" charset="0"/>
                <a:ea typeface="+mn-ea"/>
                <a:cs typeface="+mn-cs"/>
              </a:defRPr>
            </a:pPr>
            <a:endParaRPr lang="es-AR"/>
          </a:p>
        </c:txPr>
        <c:crossAx val="1538325935"/>
        <c:crosses val="autoZero"/>
        <c:auto val="1"/>
        <c:lblAlgn val="ctr"/>
        <c:lblOffset val="100"/>
        <c:noMultiLvlLbl val="0"/>
      </c:catAx>
      <c:valAx>
        <c:axId val="1538325935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rgbClr val="F0F0F0">
                  <a:lumMod val="75000"/>
                </a:srgb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ulso Light" pitchFamily="2" charset="0"/>
                <a:ea typeface="+mn-ea"/>
                <a:cs typeface="+mn-cs"/>
              </a:defRPr>
            </a:pPr>
            <a:endParaRPr lang="es-AR"/>
          </a:p>
        </c:txPr>
        <c:crossAx val="1538343215"/>
        <c:crosses val="autoZero"/>
        <c:crossBetween val="between"/>
      </c:valAx>
      <c:spPr>
        <a:noFill/>
        <a:ln w="3175">
          <a:solidFill>
            <a:srgbClr val="F0F0F0">
              <a:lumMod val="75000"/>
            </a:srgbClr>
          </a:solidFill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4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A$4</c:f>
              <c:strCache>
                <c:ptCount val="1"/>
                <c:pt idx="0">
                  <c:v>HFC</c:v>
                </c:pt>
              </c:strCache>
            </c:strRef>
          </c:tx>
          <c:spPr>
            <a:ln w="25400" cap="rnd" cmpd="sng" algn="ctr">
              <a:solidFill>
                <a:srgbClr val="00B7EB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rgbClr val="FFFFFF"/>
              </a:solidFill>
              <a:ln w="25400">
                <a:solidFill>
                  <a:srgbClr val="00B7EB"/>
                </a:solidFill>
              </a:ln>
              <a:effectLst/>
            </c:spPr>
          </c:marker>
          <c:dLbls>
            <c:dLbl>
              <c:idx val="1"/>
              <c:tx>
                <c:rich>
                  <a:bodyPr/>
                  <a:lstStyle/>
                  <a:p>
                    <a:fld id="{30A651E8-51D4-D841-9AD1-FDB9269C5FBF}" type="VALUE">
                      <a:rPr lang="en-US">
                        <a:solidFill>
                          <a:srgbClr val="00B7EC"/>
                        </a:solidFill>
                      </a:rPr>
                      <a:pPr/>
                      <a:t>[VALOR]</a:t>
                    </a:fld>
                    <a:endParaRPr lang="es-AR"/>
                  </a:p>
                </c:rich>
              </c:tx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1C6-DD4A-BA7A-C3D9E45550B2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B7EC"/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Hoja1!$K$2:$M$2</c:f>
              <c:strCach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strCache>
            </c:strRef>
          </c:cat>
          <c:val>
            <c:numRef>
              <c:f>Hoja1!$B$4:$M$4</c:f>
              <c:numCache>
                <c:formatCode>#,##0.0</c:formatCode>
                <c:ptCount val="3"/>
                <c:pt idx="0">
                  <c:v>-8.6999999999999993</c:v>
                </c:pt>
                <c:pt idx="1">
                  <c:v>-10</c:v>
                </c:pt>
                <c:pt idx="2">
                  <c:v>0.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B1C6-DD4A-BA7A-C3D9E45550B2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FTTH</c:v>
                </c:pt>
              </c:strCache>
            </c:strRef>
          </c:tx>
          <c:spPr>
            <a:ln w="25400" cap="rnd" cmpd="sng" algn="ctr">
              <a:solidFill>
                <a:srgbClr val="052C50">
                  <a:lumMod val="75000"/>
                  <a:lumOff val="25000"/>
                </a:srgb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rgbClr val="FFFFFF"/>
              </a:solidFill>
              <a:ln w="25400">
                <a:solidFill>
                  <a:srgbClr val="052C50">
                    <a:lumMod val="75000"/>
                    <a:lumOff val="25000"/>
                  </a:srgbClr>
                </a:solidFill>
              </a:ln>
              <a:effectLst/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2">
                        <a:lumMod val="75000"/>
                        <a:lumOff val="2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Hoja1!$K$2:$M$2</c:f>
              <c:strCach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strCache>
            </c:strRef>
          </c:cat>
          <c:val>
            <c:numRef>
              <c:f>Hoja1!$K$3:$M$3</c:f>
              <c:numCache>
                <c:formatCode>#,##0.0</c:formatCode>
                <c:ptCount val="3"/>
                <c:pt idx="0">
                  <c:v>4.5999999999999996</c:v>
                </c:pt>
                <c:pt idx="1">
                  <c:v>2.5</c:v>
                </c:pt>
                <c:pt idx="2">
                  <c:v>1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B1C6-DD4A-BA7A-C3D9E45550B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834520224"/>
        <c:axId val="882857104"/>
      </c:lineChart>
      <c:catAx>
        <c:axId val="8345202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Pulso Light" pitchFamily="2" charset="0"/>
                <a:ea typeface="+mn-ea"/>
                <a:cs typeface="+mn-cs"/>
              </a:defRPr>
            </a:pPr>
            <a:endParaRPr lang="es-AR"/>
          </a:p>
        </c:txPr>
        <c:crossAx val="882857104"/>
        <c:crosses val="autoZero"/>
        <c:auto val="1"/>
        <c:lblAlgn val="ctr"/>
        <c:lblOffset val="100"/>
        <c:noMultiLvlLbl val="0"/>
      </c:catAx>
      <c:valAx>
        <c:axId val="882857104"/>
        <c:scaling>
          <c:orientation val="minMax"/>
          <c:max val="20"/>
          <c:min val="-20"/>
        </c:scaling>
        <c:delete val="0"/>
        <c:axPos val="l"/>
        <c:numFmt formatCode="#,##0.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Pulso Light" pitchFamily="2" charset="0"/>
                <a:ea typeface="+mn-ea"/>
                <a:cs typeface="+mn-cs"/>
              </a:defRPr>
            </a:pPr>
            <a:endParaRPr lang="es-AR"/>
          </a:p>
        </c:txPr>
        <c:crossAx val="83452022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Pulso Light" pitchFamily="2" charset="0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s-AR"/>
    </a:p>
  </c:txPr>
  <c:externalData r:id="rId4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1"/>
          <c:order val="0"/>
          <c:tx>
            <c:strRef>
              <c:f>Hoja1!$A$3</c:f>
              <c:strCache>
                <c:ptCount val="1"/>
                <c:pt idx="0">
                  <c:v>FTTH</c:v>
                </c:pt>
              </c:strCache>
            </c:strRef>
          </c:tx>
          <c:spPr>
            <a:ln w="25400" cap="rnd" cmpd="sng" algn="ctr">
              <a:solidFill>
                <a:srgbClr val="92D050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rgbClr val="FFFFFF"/>
              </a:solidFill>
              <a:ln w="25400">
                <a:solidFill>
                  <a:srgbClr val="92D050"/>
                </a:solidFill>
              </a:ln>
              <a:effectLst/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92D050"/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Hoja1!$K$2:$M$2</c:f>
              <c:strCach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strCache>
            </c:strRef>
          </c:cat>
          <c:val>
            <c:numRef>
              <c:f>Hoja1!$K$3:$M$3</c:f>
              <c:numCache>
                <c:formatCode>#,##0.0</c:formatCode>
                <c:ptCount val="3"/>
                <c:pt idx="0">
                  <c:v>6</c:v>
                </c:pt>
                <c:pt idx="1">
                  <c:v>10</c:v>
                </c:pt>
                <c:pt idx="2">
                  <c:v>1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FB60-044D-AAB6-40DB83AB97D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834520224"/>
        <c:axId val="882857104"/>
      </c:lineChart>
      <c:catAx>
        <c:axId val="8345202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+mn-ea"/>
                <a:cs typeface="+mn-cs"/>
              </a:defRPr>
            </a:pPr>
            <a:endParaRPr lang="es-AR"/>
          </a:p>
        </c:txPr>
        <c:crossAx val="882857104"/>
        <c:crosses val="autoZero"/>
        <c:auto val="1"/>
        <c:lblAlgn val="ctr"/>
        <c:lblOffset val="100"/>
        <c:noMultiLvlLbl val="0"/>
      </c:catAx>
      <c:valAx>
        <c:axId val="882857104"/>
        <c:scaling>
          <c:orientation val="minMax"/>
          <c:min val="-20"/>
        </c:scaling>
        <c:delete val="0"/>
        <c:axPos val="l"/>
        <c:numFmt formatCode="#,##0.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+mn-ea"/>
                <a:cs typeface="+mn-cs"/>
              </a:defRPr>
            </a:pPr>
            <a:endParaRPr lang="es-AR"/>
          </a:p>
        </c:txPr>
        <c:crossAx val="83452022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bg1">
                  <a:lumMod val="25000"/>
                </a:schemeClr>
              </a:solidFill>
              <a:latin typeface="Pulso Light" pitchFamily="2" charset="0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s-AR"/>
    </a:p>
  </c:txPr>
  <c:externalData r:id="rId4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604808330068193"/>
          <c:y val="6.4451212001120167E-2"/>
          <c:w val="0.74817626104704615"/>
          <c:h val="0.8179647718994562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Overlay</c:v>
                </c:pt>
              </c:strCache>
            </c:strRef>
          </c:tx>
          <c:spPr>
            <a:solidFill>
              <a:schemeClr val="tx2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900" b="0" i="0" u="none" strike="noStrike" kern="1200" baseline="0">
                    <a:solidFill>
                      <a:srgbClr val="FFFFFF"/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5</c:f>
              <c:numCache>
                <c:formatCode>General</c:formatCode>
                <c:ptCount val="4"/>
                <c:pt idx="0">
                  <c:v>2024</c:v>
                </c:pt>
                <c:pt idx="1">
                  <c:v>2025</c:v>
                </c:pt>
                <c:pt idx="2">
                  <c:v>2027</c:v>
                </c:pt>
                <c:pt idx="3">
                  <c:v>2030</c:v>
                </c:pt>
              </c:numCache>
            </c:numRef>
          </c:cat>
          <c:val>
            <c:numRef>
              <c:f>Hoja1!$B$2:$B$5</c:f>
              <c:numCache>
                <c:formatCode>General</c:formatCode>
                <c:ptCount val="4"/>
                <c:pt idx="0">
                  <c:v>1.7</c:v>
                </c:pt>
                <c:pt idx="1">
                  <c:v>4</c:v>
                </c:pt>
                <c:pt idx="2">
                  <c:v>6.3</c:v>
                </c:pt>
                <c:pt idx="3">
                  <c:v>6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00-A341-8F69-0DED187B0ABC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Expansion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900" b="0" i="0" u="none" strike="noStrike" kern="1200" baseline="0">
                    <a:solidFill>
                      <a:srgbClr val="FFFFFF"/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5</c:f>
              <c:numCache>
                <c:formatCode>General</c:formatCode>
                <c:ptCount val="4"/>
                <c:pt idx="0">
                  <c:v>2024</c:v>
                </c:pt>
                <c:pt idx="1">
                  <c:v>2025</c:v>
                </c:pt>
                <c:pt idx="2">
                  <c:v>2027</c:v>
                </c:pt>
                <c:pt idx="3">
                  <c:v>2030</c:v>
                </c:pt>
              </c:numCache>
            </c:numRef>
          </c:cat>
          <c:val>
            <c:numRef>
              <c:f>Hoja1!$C$2:$C$5</c:f>
              <c:numCache>
                <c:formatCode>General</c:formatCode>
                <c:ptCount val="4"/>
                <c:pt idx="0">
                  <c:v>2.2999999999999998</c:v>
                </c:pt>
                <c:pt idx="1">
                  <c:v>4.0999999999999996</c:v>
                </c:pt>
                <c:pt idx="2">
                  <c:v>4.9000000000000004</c:v>
                </c:pt>
                <c:pt idx="3">
                  <c:v>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A00-A341-8F69-0DED187B0ABC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HFC</c:v>
                </c:pt>
              </c:strCache>
            </c:strRef>
          </c:tx>
          <c:spPr>
            <a:solidFill>
              <a:schemeClr val="bg1">
                <a:lumMod val="2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76C-45B6-BDA6-6E1A68CE576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A00-A341-8F69-0DED187B0ABC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A00-A341-8F69-0DED187B0AB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A00-A341-8F69-0DED187B0ABC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A00-A341-8F69-0DED187B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900" b="0" i="0" u="none" strike="noStrike" kern="1200" baseline="0">
                    <a:solidFill>
                      <a:srgbClr val="FFFFFF"/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5</c:f>
              <c:numCache>
                <c:formatCode>General</c:formatCode>
                <c:ptCount val="4"/>
                <c:pt idx="0">
                  <c:v>2024</c:v>
                </c:pt>
                <c:pt idx="1">
                  <c:v>2025</c:v>
                </c:pt>
                <c:pt idx="2">
                  <c:v>2027</c:v>
                </c:pt>
                <c:pt idx="3">
                  <c:v>2030</c:v>
                </c:pt>
              </c:numCache>
            </c:numRef>
          </c:cat>
          <c:val>
            <c:numRef>
              <c:f>Hoja1!$D$2:$D$5</c:f>
              <c:numCache>
                <c:formatCode>General</c:formatCode>
                <c:ptCount val="4"/>
                <c:pt idx="0">
                  <c:v>4.5999999999999996</c:v>
                </c:pt>
                <c:pt idx="1">
                  <c:v>2.4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A00-A341-8F69-0DED187B0AB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0"/>
        <c:overlap val="100"/>
        <c:axId val="1474592383"/>
        <c:axId val="1474590943"/>
      </c:barChart>
      <c:lineChart>
        <c:grouping val="standard"/>
        <c:varyColors val="0"/>
        <c:ser>
          <c:idx val="3"/>
          <c:order val="3"/>
          <c:tx>
            <c:strRef>
              <c:f>Hoja1!$E$1</c:f>
              <c:strCache>
                <c:ptCount val="1"/>
                <c:pt idx="0">
                  <c:v>Suma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900" b="1" i="0" u="none" strike="noStrike" kern="1200" baseline="0">
                      <a:solidFill>
                        <a:schemeClr val="accent1"/>
                      </a:solidFill>
                      <a:latin typeface="Pulso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8A00-A341-8F69-0DED187B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900" b="0" i="0" u="none" strike="noStrike" kern="1200" baseline="0">
                    <a:solidFill>
                      <a:schemeClr val="accent1"/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5</c:f>
              <c:numCache>
                <c:formatCode>General</c:formatCode>
                <c:ptCount val="4"/>
                <c:pt idx="0">
                  <c:v>2024</c:v>
                </c:pt>
                <c:pt idx="1">
                  <c:v>2025</c:v>
                </c:pt>
                <c:pt idx="2">
                  <c:v>2027</c:v>
                </c:pt>
                <c:pt idx="3">
                  <c:v>2030</c:v>
                </c:pt>
              </c:numCache>
            </c:numRef>
          </c:cat>
          <c:val>
            <c:numRef>
              <c:f>Hoja1!$E$2:$E$5</c:f>
              <c:numCache>
                <c:formatCode>General</c:formatCode>
                <c:ptCount val="4"/>
                <c:pt idx="0">
                  <c:v>8.6</c:v>
                </c:pt>
                <c:pt idx="1">
                  <c:v>10.5</c:v>
                </c:pt>
                <c:pt idx="2">
                  <c:v>11.2</c:v>
                </c:pt>
                <c:pt idx="3">
                  <c:v>11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A00-A341-8F69-0DED187B0AB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474592383"/>
        <c:axId val="1474590943"/>
      </c:lineChart>
      <c:catAx>
        <c:axId val="14745923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900" b="0" i="0" u="none" strike="noStrike" kern="1200" baseline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+mn-ea"/>
                <a:cs typeface="+mn-cs"/>
              </a:defRPr>
            </a:pPr>
            <a:endParaRPr lang="es-AR"/>
          </a:p>
        </c:txPr>
        <c:crossAx val="1474590943"/>
        <c:crosses val="autoZero"/>
        <c:auto val="1"/>
        <c:lblAlgn val="ctr"/>
        <c:lblOffset val="100"/>
        <c:noMultiLvlLbl val="0"/>
      </c:catAx>
      <c:valAx>
        <c:axId val="147459094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474592383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l"/>
      <c:legendEntry>
        <c:idx val="3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en-US" sz="9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Pulso Light" pitchFamily="2" charset="0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42415262633127"/>
          <c:y val="5.515055667716514E-2"/>
          <c:w val="0.7337871292873811"/>
          <c:h val="0.81866362739857546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Hoja2!$C$22</c:f>
              <c:strCache>
                <c:ptCount val="1"/>
                <c:pt idx="0">
                  <c:v>FTTH Ov.</c:v>
                </c:pt>
              </c:strCache>
            </c:strRef>
          </c:tx>
          <c:spPr>
            <a:solidFill>
              <a:srgbClr val="0B63B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900" b="0" i="0" u="none" strike="noStrike" kern="1200" baseline="0">
                    <a:solidFill>
                      <a:schemeClr val="bg1"/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(Hoja2!$D$19,Hoja2!$F$19,Hoja2!$I$19)</c:f>
              <c:numCache>
                <c:formatCode>General</c:formatCode>
                <c:ptCount val="3"/>
                <c:pt idx="0">
                  <c:v>2025</c:v>
                </c:pt>
                <c:pt idx="1">
                  <c:v>2027</c:v>
                </c:pt>
                <c:pt idx="2">
                  <c:v>2030</c:v>
                </c:pt>
              </c:numCache>
              <c:extLst/>
            </c:numRef>
          </c:cat>
          <c:val>
            <c:numRef>
              <c:f>(Hoja2!$D$22,Hoja2!$F$22,Hoja2!$I$22)</c:f>
              <c:numCache>
                <c:formatCode>_(* #,##0.00_);_(* \(#,##0.00\);_(* "-"??_);_(@_)</c:formatCode>
                <c:ptCount val="3"/>
                <c:pt idx="0">
                  <c:v>1.2858452484470626</c:v>
                </c:pt>
                <c:pt idx="1">
                  <c:v>2.4586008743873258</c:v>
                </c:pt>
                <c:pt idx="2">
                  <c:v>3.4382364379146186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BA7C-4130-A07C-D8FB770E5F41}"/>
            </c:ext>
          </c:extLst>
        </c:ser>
        <c:ser>
          <c:idx val="3"/>
          <c:order val="1"/>
          <c:tx>
            <c:strRef>
              <c:f>Hoja2!$C$23</c:f>
              <c:strCache>
                <c:ptCount val="1"/>
                <c:pt idx="0">
                  <c:v>FTTH Exp</c:v>
                </c:pt>
              </c:strCache>
            </c:strRef>
          </c:tx>
          <c:spPr>
            <a:solidFill>
              <a:srgbClr val="00B7E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900" b="0" i="0" u="none" strike="noStrike" kern="1200" baseline="0">
                    <a:solidFill>
                      <a:schemeClr val="bg1"/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(Hoja2!$D$19,Hoja2!$F$19,Hoja2!$I$19)</c:f>
              <c:numCache>
                <c:formatCode>General</c:formatCode>
                <c:ptCount val="3"/>
                <c:pt idx="0">
                  <c:v>2025</c:v>
                </c:pt>
                <c:pt idx="1">
                  <c:v>2027</c:v>
                </c:pt>
                <c:pt idx="2">
                  <c:v>2030</c:v>
                </c:pt>
              </c:numCache>
              <c:extLst/>
            </c:numRef>
          </c:cat>
          <c:val>
            <c:numRef>
              <c:f>(Hoja2!$D$23,Hoja2!$F$23,Hoja2!$I$23)</c:f>
              <c:numCache>
                <c:formatCode>_(* #,##0.00_);_(* \(#,##0.00\);_(* "-"??_);_(@_)</c:formatCode>
                <c:ptCount val="3"/>
                <c:pt idx="0">
                  <c:v>1.4189021467221252</c:v>
                </c:pt>
                <c:pt idx="1">
                  <c:v>1.8507239108412472</c:v>
                </c:pt>
                <c:pt idx="2">
                  <c:v>2.0792744844968469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BA7C-4130-A07C-D8FB770E5F41}"/>
            </c:ext>
          </c:extLst>
        </c:ser>
        <c:ser>
          <c:idx val="1"/>
          <c:order val="2"/>
          <c:tx>
            <c:strRef>
              <c:f>Hoja2!$C$21</c:f>
              <c:strCache>
                <c:ptCount val="1"/>
                <c:pt idx="0">
                  <c:v>HFC en Ov.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900" b="0" i="0" u="none" strike="noStrike" kern="1200" baseline="0">
                    <a:solidFill>
                      <a:schemeClr val="bg1"/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(Hoja2!$D$19,Hoja2!$F$19,Hoja2!$I$19)</c:f>
              <c:numCache>
                <c:formatCode>General</c:formatCode>
                <c:ptCount val="3"/>
                <c:pt idx="0">
                  <c:v>2025</c:v>
                </c:pt>
                <c:pt idx="1">
                  <c:v>2027</c:v>
                </c:pt>
                <c:pt idx="2">
                  <c:v>2030</c:v>
                </c:pt>
              </c:numCache>
              <c:extLst/>
            </c:numRef>
          </c:cat>
          <c:val>
            <c:numRef>
              <c:f>(Hoja2!$D$21,Hoja2!$F$21,Hoja2!$I$21)</c:f>
              <c:numCache>
                <c:formatCode>_(* #,##0.00_);_(* \(#,##0.00\);_(* "-"??_);_(@_)</c:formatCode>
                <c:ptCount val="3"/>
                <c:pt idx="0">
                  <c:v>1.5125749616733453</c:v>
                </c:pt>
                <c:pt idx="1">
                  <c:v>1.58644248912637</c:v>
                </c:pt>
                <c:pt idx="2">
                  <c:v>0.4370057209875588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BA7C-4130-A07C-D8FB770E5F41}"/>
            </c:ext>
          </c:extLst>
        </c:ser>
        <c:ser>
          <c:idx val="0"/>
          <c:order val="3"/>
          <c:tx>
            <c:strRef>
              <c:f>Hoja2!$C$20</c:f>
              <c:strCache>
                <c:ptCount val="1"/>
                <c:pt idx="0">
                  <c:v>HFC Exc.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900" b="0" i="0" u="none" strike="noStrike" kern="1200" baseline="0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(Hoja2!$D$19,Hoja2!$F$19,Hoja2!$I$19)</c:f>
              <c:numCache>
                <c:formatCode>General</c:formatCode>
                <c:ptCount val="3"/>
                <c:pt idx="0">
                  <c:v>2025</c:v>
                </c:pt>
                <c:pt idx="1">
                  <c:v>2027</c:v>
                </c:pt>
                <c:pt idx="2">
                  <c:v>2030</c:v>
                </c:pt>
              </c:numCache>
              <c:extLst/>
            </c:numRef>
          </c:cat>
          <c:val>
            <c:numRef>
              <c:f>(Hoja2!$D$20,Hoja2!$F$20,Hoja2!$I$20)</c:f>
              <c:numCache>
                <c:formatCode>_(* #,##0.00_);_(* \(#,##0.00\);_(* "-"??_);_(@_)</c:formatCode>
                <c:ptCount val="3"/>
                <c:pt idx="0">
                  <c:v>1.2346900250772321</c:v>
                </c:pt>
                <c:pt idx="1">
                  <c:v>0</c:v>
                </c:pt>
                <c:pt idx="2">
                  <c:v>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3-BA7C-4130-A07C-D8FB770E5F41}"/>
            </c:ext>
          </c:extLst>
        </c:ser>
        <c:ser>
          <c:idx val="4"/>
          <c:order val="4"/>
          <c:tx>
            <c:strRef>
              <c:f>Hoja2!$C$24</c:f>
              <c:strCache>
                <c:ptCount val="1"/>
                <c:pt idx="0">
                  <c:v>XDSL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1.65364583333333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0D9-4955-BB41-812D0447DEC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(Hoja2!$D$19,Hoja2!$F$19,Hoja2!$I$19)</c:f>
              <c:numCache>
                <c:formatCode>General</c:formatCode>
                <c:ptCount val="3"/>
                <c:pt idx="0">
                  <c:v>2025</c:v>
                </c:pt>
                <c:pt idx="1">
                  <c:v>2027</c:v>
                </c:pt>
                <c:pt idx="2">
                  <c:v>2030</c:v>
                </c:pt>
              </c:numCache>
              <c:extLst/>
            </c:numRef>
          </c:cat>
          <c:val>
            <c:numRef>
              <c:f>(Hoja2!$D$24,Hoja2!$F$24,Hoja2!$I$24)</c:f>
              <c:numCache>
                <c:formatCode>_(* #,##0.00_);_(* \(#,##0.00\);_(* "-"??_);_(@_)</c:formatCode>
                <c:ptCount val="3"/>
                <c:pt idx="0">
                  <c:v>0.14400000000000002</c:v>
                </c:pt>
                <c:pt idx="1">
                  <c:v>0</c:v>
                </c:pt>
                <c:pt idx="2">
                  <c:v>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4-BA7C-4130-A07C-D8FB770E5F41}"/>
            </c:ext>
          </c:extLst>
        </c:ser>
        <c:ser>
          <c:idx val="5"/>
          <c:order val="5"/>
          <c:tx>
            <c:strRef>
              <c:f>Hoja2!$C$25</c:f>
              <c:strCache>
                <c:ptCount val="1"/>
                <c:pt idx="0">
                  <c:v>FWA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6.254019549669656E-17"/>
                  <c:y val="-1.10243055555555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0D9-4955-BB41-812D0447DECD}"/>
                </c:ext>
              </c:extLst>
            </c:dLbl>
            <c:dLbl>
              <c:idx val="1"/>
              <c:layout>
                <c:manualLayout>
                  <c:x val="0"/>
                  <c:y val="5.512152777777752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Pulso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0D9-4955-BB41-812D0447DECD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Pulso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50D9-4955-BB41-812D0447DEC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(Hoja2!$D$19,Hoja2!$F$19,Hoja2!$I$19)</c:f>
              <c:numCache>
                <c:formatCode>General</c:formatCode>
                <c:ptCount val="3"/>
                <c:pt idx="0">
                  <c:v>2025</c:v>
                </c:pt>
                <c:pt idx="1">
                  <c:v>2027</c:v>
                </c:pt>
                <c:pt idx="2">
                  <c:v>2030</c:v>
                </c:pt>
              </c:numCache>
              <c:extLst/>
            </c:numRef>
          </c:cat>
          <c:val>
            <c:numRef>
              <c:f>(Hoja2!$D$25,Hoja2!$F$25,Hoja2!$I$25)</c:f>
              <c:numCache>
                <c:formatCode>_(* #,##0.00_);_(* \(#,##0.00\);_(* "-"??_);_(@_)</c:formatCode>
                <c:ptCount val="3"/>
                <c:pt idx="0">
                  <c:v>7.0000000000000001E-3</c:v>
                </c:pt>
                <c:pt idx="1">
                  <c:v>7.4510741258724214E-2</c:v>
                </c:pt>
                <c:pt idx="2">
                  <c:v>0.244342252456369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5-BA7C-4130-A07C-D8FB770E5F4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20"/>
        <c:overlap val="100"/>
        <c:axId val="1891588656"/>
        <c:axId val="1891589136"/>
      </c:barChart>
      <c:lineChart>
        <c:grouping val="standard"/>
        <c:varyColors val="0"/>
        <c:ser>
          <c:idx val="7"/>
          <c:order val="6"/>
          <c:tx>
            <c:strRef>
              <c:f>Hoja2!$C$26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Pulso Light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(Hoja2!$D$19,Hoja2!$F$19,Hoja2!$I$19)</c:f>
              <c:numCache>
                <c:formatCode>General</c:formatCode>
                <c:ptCount val="3"/>
                <c:pt idx="0">
                  <c:v>2025</c:v>
                </c:pt>
                <c:pt idx="1">
                  <c:v>2027</c:v>
                </c:pt>
                <c:pt idx="2">
                  <c:v>2030</c:v>
                </c:pt>
              </c:numCache>
              <c:extLst/>
            </c:numRef>
          </c:cat>
          <c:val>
            <c:numRef>
              <c:f>(Hoja2!$D$26,Hoja2!$F$26,Hoja2!$I$26)</c:f>
              <c:numCache>
                <c:formatCode>_(* #,##0.00_);_(* \(#,##0.00\);_(* "-"??_);_(@_)</c:formatCode>
                <c:ptCount val="3"/>
                <c:pt idx="0">
                  <c:v>5.6030123819197648</c:v>
                </c:pt>
                <c:pt idx="1">
                  <c:v>5.9702780156136663</c:v>
                </c:pt>
                <c:pt idx="2">
                  <c:v>6.1988588958553938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6-BA7C-4130-A07C-D8FB770E5F4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891588656"/>
        <c:axId val="1891589136"/>
      </c:lineChart>
      <c:catAx>
        <c:axId val="18915886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+mn-ea"/>
                <a:cs typeface="+mn-cs"/>
              </a:defRPr>
            </a:pPr>
            <a:endParaRPr lang="es-AR"/>
          </a:p>
        </c:txPr>
        <c:crossAx val="1891589136"/>
        <c:crosses val="autoZero"/>
        <c:auto val="1"/>
        <c:lblAlgn val="ctr"/>
        <c:lblOffset val="100"/>
        <c:noMultiLvlLbl val="0"/>
      </c:catAx>
      <c:valAx>
        <c:axId val="1891589136"/>
        <c:scaling>
          <c:orientation val="minMax"/>
        </c:scaling>
        <c:delete val="1"/>
        <c:axPos val="l"/>
        <c:numFmt formatCode="_(* #,##0.00_);_(* \(#,##0.00\);_(* &quot;-&quot;??_);_(@_)" sourceLinked="1"/>
        <c:majorTickMark val="none"/>
        <c:minorTickMark val="none"/>
        <c:tickLblPos val="nextTo"/>
        <c:crossAx val="18915886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egendEntry>
        <c:idx val="6"/>
        <c:delete val="1"/>
      </c:legendEntry>
      <c:layout>
        <c:manualLayout>
          <c:xMode val="edge"/>
          <c:yMode val="edge"/>
          <c:x val="4.5890952641674421E-2"/>
          <c:y val="0.22726885126562041"/>
          <c:w val="0.20967845573534905"/>
          <c:h val="0.5454622974687591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ulso Light" pitchFamily="2" charset="0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Pulso Light" pitchFamily="2" charset="0"/>
        </a:defRPr>
      </a:pPr>
      <a:endParaRPr lang="es-AR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00339913849778"/>
          <c:y val="0.24255942548570536"/>
          <c:w val="0.51753511648115547"/>
          <c:h val="0.53533693677614003"/>
        </c:manualLayout>
      </c:layout>
      <c:radarChart>
        <c:radarStyle val="marker"/>
        <c:varyColors val="0"/>
        <c:ser>
          <c:idx val="0"/>
          <c:order val="0"/>
          <c:tx>
            <c:v>As Is</c:v>
          </c:tx>
          <c:spPr>
            <a:ln w="28575" cap="rnd">
              <a:solidFill>
                <a:srgbClr val="5A5A5A"/>
              </a:solidFill>
              <a:prstDash val="solid"/>
              <a:round/>
            </a:ln>
            <a:effectLst/>
          </c:spPr>
          <c:marker>
            <c:symbol val="circle"/>
            <c:size val="5"/>
            <c:spPr>
              <a:solidFill>
                <a:srgbClr val="D9D9D9"/>
              </a:solidFill>
              <a:ln w="9525">
                <a:solidFill>
                  <a:srgbClr val="5A5A5A"/>
                </a:solidFill>
                <a:prstDash val="solid"/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TPV</c:v>
                </c:pt>
                <c:pt idx="1">
                  <c:v>CAC</c:v>
                </c:pt>
                <c:pt idx="2">
                  <c:v>Clientes mercado abierto </c:v>
                </c:pt>
                <c:pt idx="3">
                  <c:v>Product market fit </c:v>
                </c:pt>
                <c:pt idx="4">
                  <c:v>MS TECO </c:v>
                </c:pt>
                <c:pt idx="5">
                  <c:v>MAU </c:v>
                </c:pt>
                <c:pt idx="6">
                  <c:v>NPS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80</c:v>
                </c:pt>
                <c:pt idx="1">
                  <c:v>60</c:v>
                </c:pt>
                <c:pt idx="2">
                  <c:v>40</c:v>
                </c:pt>
                <c:pt idx="3">
                  <c:v>40</c:v>
                </c:pt>
                <c:pt idx="4">
                  <c:v>30</c:v>
                </c:pt>
                <c:pt idx="5">
                  <c:v>45</c:v>
                </c:pt>
                <c:pt idx="6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3C-2C46-BC74-3E4BBE8102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 Be</c:v>
                </c:pt>
              </c:strCache>
            </c:strRef>
          </c:tx>
          <c:spPr>
            <a:ln w="28575" cap="rnd">
              <a:solidFill>
                <a:srgbClr val="5A50F9"/>
              </a:solidFill>
              <a:prstDash val="solid"/>
              <a:round/>
            </a:ln>
            <a:effectLst/>
          </c:spPr>
          <c:marker>
            <c:symbol val="circle"/>
            <c:size val="5"/>
            <c:spPr>
              <a:solidFill>
                <a:srgbClr val="A1B9FF"/>
              </a:solidFill>
              <a:ln w="9525">
                <a:solidFill>
                  <a:srgbClr val="5A50F9"/>
                </a:solidFill>
                <a:prstDash val="solid"/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TPV</c:v>
                </c:pt>
                <c:pt idx="1">
                  <c:v>CAC</c:v>
                </c:pt>
                <c:pt idx="2">
                  <c:v>Clientes mercado abierto </c:v>
                </c:pt>
                <c:pt idx="3">
                  <c:v>Product market fit </c:v>
                </c:pt>
                <c:pt idx="4">
                  <c:v>MS TECO </c:v>
                </c:pt>
                <c:pt idx="5">
                  <c:v>MAU </c:v>
                </c:pt>
                <c:pt idx="6">
                  <c:v>NPS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57</c:v>
                </c:pt>
                <c:pt idx="1">
                  <c:v>20</c:v>
                </c:pt>
                <c:pt idx="2">
                  <c:v>10</c:v>
                </c:pt>
                <c:pt idx="3">
                  <c:v>70</c:v>
                </c:pt>
                <c:pt idx="4">
                  <c:v>80</c:v>
                </c:pt>
                <c:pt idx="5">
                  <c:v>80</c:v>
                </c:pt>
                <c:pt idx="6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3C-2C46-BC74-3E4BBE8102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01045887"/>
        <c:axId val="2001053567"/>
      </c:radarChart>
      <c:catAx>
        <c:axId val="2001045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rgbClr val="150958"/>
                </a:solidFill>
                <a:latin typeface="Pulso" pitchFamily="2" charset="0"/>
                <a:ea typeface="+mn-ea"/>
                <a:cs typeface="+mn-cs"/>
              </a:defRPr>
            </a:pPr>
            <a:endParaRPr lang="en-US"/>
          </a:p>
        </c:txPr>
        <c:crossAx val="2001053567"/>
        <c:crosses val="autoZero"/>
        <c:auto val="1"/>
        <c:lblAlgn val="ctr"/>
        <c:lblOffset val="100"/>
        <c:noMultiLvlLbl val="0"/>
      </c:catAx>
      <c:valAx>
        <c:axId val="2001053567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01045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rgbClr val="150958"/>
              </a:solidFill>
              <a:latin typeface="Pulso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 b="0" i="0">
          <a:solidFill>
            <a:srgbClr val="150958"/>
          </a:solidFill>
          <a:latin typeface="Pulso" pitchFamily="2" charset="0"/>
        </a:defRPr>
      </a:pPr>
      <a:endParaRPr lang="en-US"/>
    </a:p>
  </c:txPr>
  <c:externalData r:id="rId4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134183604340485E-2"/>
          <c:y val="2.5310581331951548E-2"/>
          <c:w val="0.9667047960704509"/>
          <c:h val="0.822813403504476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C$6:$C$7</c:f>
              <c:strCache>
                <c:ptCount val="2"/>
                <c:pt idx="0">
                  <c:v>MP</c:v>
                </c:pt>
                <c:pt idx="1">
                  <c:v>Principal</c:v>
                </c:pt>
              </c:strCache>
            </c:strRef>
          </c:tx>
          <c:spPr>
            <a:solidFill>
              <a:srgbClr val="150958"/>
            </a:solidFill>
            <a:ln>
              <a:noFill/>
            </a:ln>
            <a:effectLst/>
          </c:spPr>
          <c:invertIfNegative val="0"/>
          <c:cat>
            <c:numRef>
              <c:f>Hoja1!$B$8:$B$41</c:f>
              <c:numCache>
                <c:formatCode>General</c:formatCode>
                <c:ptCount val="3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  <c:pt idx="16">
                  <c:v>2020</c:v>
                </c:pt>
                <c:pt idx="17">
                  <c:v>2021</c:v>
                </c:pt>
                <c:pt idx="18">
                  <c:v>2022</c:v>
                </c:pt>
                <c:pt idx="19">
                  <c:v>2023</c:v>
                </c:pt>
                <c:pt idx="20">
                  <c:v>2024</c:v>
                </c:pt>
                <c:pt idx="21">
                  <c:v>2025</c:v>
                </c:pt>
                <c:pt idx="22">
                  <c:v>2020</c:v>
                </c:pt>
                <c:pt idx="23">
                  <c:v>2021</c:v>
                </c:pt>
                <c:pt idx="24">
                  <c:v>2022</c:v>
                </c:pt>
                <c:pt idx="25">
                  <c:v>2023</c:v>
                </c:pt>
                <c:pt idx="26">
                  <c:v>2024</c:v>
                </c:pt>
                <c:pt idx="27">
                  <c:v>2025</c:v>
                </c:pt>
                <c:pt idx="28">
                  <c:v>2020</c:v>
                </c:pt>
                <c:pt idx="29">
                  <c:v>2021</c:v>
                </c:pt>
                <c:pt idx="30">
                  <c:v>2022</c:v>
                </c:pt>
                <c:pt idx="31">
                  <c:v>2023</c:v>
                </c:pt>
                <c:pt idx="32">
                  <c:v>2024</c:v>
                </c:pt>
                <c:pt idx="33">
                  <c:v>2025</c:v>
                </c:pt>
              </c:numCache>
            </c:numRef>
          </c:cat>
          <c:val>
            <c:numRef>
              <c:f>Hoja1!$C$8:$C$41</c:f>
              <c:numCache>
                <c:formatCode>General</c:formatCode>
                <c:ptCount val="34"/>
                <c:pt idx="0">
                  <c:v>17.399999999999999</c:v>
                </c:pt>
                <c:pt idx="1">
                  <c:v>11.6</c:v>
                </c:pt>
                <c:pt idx="2">
                  <c:v>12.9</c:v>
                </c:pt>
                <c:pt idx="3">
                  <c:v>21.3</c:v>
                </c:pt>
                <c:pt idx="4">
                  <c:v>29.3</c:v>
                </c:pt>
                <c:pt idx="5">
                  <c:v>28.4</c:v>
                </c:pt>
                <c:pt idx="6">
                  <c:v>0.60000000000000142</c:v>
                </c:pt>
                <c:pt idx="7">
                  <c:v>0.1</c:v>
                </c:pt>
                <c:pt idx="8">
                  <c:v>0.30000000000000071</c:v>
                </c:pt>
                <c:pt idx="9">
                  <c:v>2.7</c:v>
                </c:pt>
                <c:pt idx="10">
                  <c:v>5.0999999999999996</c:v>
                </c:pt>
                <c:pt idx="11">
                  <c:v>7</c:v>
                </c:pt>
                <c:pt idx="12">
                  <c:v>2.2999999999999998</c:v>
                </c:pt>
                <c:pt idx="13">
                  <c:v>1.2</c:v>
                </c:pt>
                <c:pt idx="14">
                  <c:v>3.8</c:v>
                </c:pt>
                <c:pt idx="15">
                  <c:v>2.2000000000000002</c:v>
                </c:pt>
                <c:pt idx="16">
                  <c:v>10.4</c:v>
                </c:pt>
                <c:pt idx="17">
                  <c:v>11.4</c:v>
                </c:pt>
                <c:pt idx="18">
                  <c:v>11.8</c:v>
                </c:pt>
                <c:pt idx="19">
                  <c:v>9.4</c:v>
                </c:pt>
                <c:pt idx="20">
                  <c:v>9.8000000000000007</c:v>
                </c:pt>
                <c:pt idx="21">
                  <c:v>11.2</c:v>
                </c:pt>
                <c:pt idx="22">
                  <c:v>15.2</c:v>
                </c:pt>
                <c:pt idx="23">
                  <c:v>14.3</c:v>
                </c:pt>
                <c:pt idx="24">
                  <c:v>13.8</c:v>
                </c:pt>
                <c:pt idx="25">
                  <c:v>11.2</c:v>
                </c:pt>
                <c:pt idx="26">
                  <c:v>9.4</c:v>
                </c:pt>
                <c:pt idx="27">
                  <c:v>9.6999999999999993</c:v>
                </c:pt>
                <c:pt idx="28">
                  <c:v>1.4</c:v>
                </c:pt>
                <c:pt idx="29">
                  <c:v>2.8</c:v>
                </c:pt>
                <c:pt idx="30">
                  <c:v>1.5</c:v>
                </c:pt>
                <c:pt idx="31">
                  <c:v>1.7</c:v>
                </c:pt>
                <c:pt idx="32">
                  <c:v>1.6</c:v>
                </c:pt>
                <c:pt idx="33">
                  <c:v>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BF-8845-B3FC-33FD794A4D02}"/>
            </c:ext>
          </c:extLst>
        </c:ser>
        <c:ser>
          <c:idx val="1"/>
          <c:order val="1"/>
          <c:tx>
            <c:strRef>
              <c:f>Hoja1!$D$6:$D$7</c:f>
              <c:strCache>
                <c:ptCount val="2"/>
                <c:pt idx="0">
                  <c:v>MP</c:v>
                </c:pt>
                <c:pt idx="1">
                  <c:v>alternativo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Hoja1!$B$8:$B$41</c:f>
              <c:numCache>
                <c:formatCode>General</c:formatCode>
                <c:ptCount val="3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  <c:pt idx="16">
                  <c:v>2020</c:v>
                </c:pt>
                <c:pt idx="17">
                  <c:v>2021</c:v>
                </c:pt>
                <c:pt idx="18">
                  <c:v>2022</c:v>
                </c:pt>
                <c:pt idx="19">
                  <c:v>2023</c:v>
                </c:pt>
                <c:pt idx="20">
                  <c:v>2024</c:v>
                </c:pt>
                <c:pt idx="21">
                  <c:v>2025</c:v>
                </c:pt>
                <c:pt idx="22">
                  <c:v>2020</c:v>
                </c:pt>
                <c:pt idx="23">
                  <c:v>2021</c:v>
                </c:pt>
                <c:pt idx="24">
                  <c:v>2022</c:v>
                </c:pt>
                <c:pt idx="25">
                  <c:v>2023</c:v>
                </c:pt>
                <c:pt idx="26">
                  <c:v>2024</c:v>
                </c:pt>
                <c:pt idx="27">
                  <c:v>2025</c:v>
                </c:pt>
                <c:pt idx="28">
                  <c:v>2020</c:v>
                </c:pt>
                <c:pt idx="29">
                  <c:v>2021</c:v>
                </c:pt>
                <c:pt idx="30">
                  <c:v>2022</c:v>
                </c:pt>
                <c:pt idx="31">
                  <c:v>2023</c:v>
                </c:pt>
                <c:pt idx="32">
                  <c:v>2024</c:v>
                </c:pt>
                <c:pt idx="33">
                  <c:v>2025</c:v>
                </c:pt>
              </c:numCache>
            </c:numRef>
          </c:cat>
          <c:val>
            <c:numRef>
              <c:f>Hoja1!$D$8:$D$41</c:f>
              <c:numCache>
                <c:formatCode>General</c:formatCode>
                <c:ptCount val="34"/>
                <c:pt idx="0">
                  <c:v>49.9</c:v>
                </c:pt>
                <c:pt idx="1">
                  <c:v>64.3</c:v>
                </c:pt>
                <c:pt idx="2">
                  <c:v>67</c:v>
                </c:pt>
                <c:pt idx="3">
                  <c:v>61.8</c:v>
                </c:pt>
                <c:pt idx="4">
                  <c:v>56.5</c:v>
                </c:pt>
                <c:pt idx="5">
                  <c:v>60.1</c:v>
                </c:pt>
                <c:pt idx="6">
                  <c:v>11.7</c:v>
                </c:pt>
                <c:pt idx="7">
                  <c:v>8.4</c:v>
                </c:pt>
                <c:pt idx="8">
                  <c:v>15.2</c:v>
                </c:pt>
                <c:pt idx="9">
                  <c:v>13.400000000000002</c:v>
                </c:pt>
                <c:pt idx="10">
                  <c:v>21.2</c:v>
                </c:pt>
                <c:pt idx="11">
                  <c:v>17.100000000000001</c:v>
                </c:pt>
                <c:pt idx="12">
                  <c:v>0.1</c:v>
                </c:pt>
                <c:pt idx="13">
                  <c:v>11.700000000000001</c:v>
                </c:pt>
                <c:pt idx="14">
                  <c:v>19.899999999999999</c:v>
                </c:pt>
                <c:pt idx="15">
                  <c:v>19.2</c:v>
                </c:pt>
                <c:pt idx="16">
                  <c:v>7.6</c:v>
                </c:pt>
                <c:pt idx="17">
                  <c:v>8.6</c:v>
                </c:pt>
                <c:pt idx="18">
                  <c:v>7.6999999999999993</c:v>
                </c:pt>
                <c:pt idx="19">
                  <c:v>8.1</c:v>
                </c:pt>
                <c:pt idx="20">
                  <c:v>11.2</c:v>
                </c:pt>
                <c:pt idx="21">
                  <c:v>9</c:v>
                </c:pt>
                <c:pt idx="22">
                  <c:v>10.7</c:v>
                </c:pt>
                <c:pt idx="23">
                  <c:v>8.1</c:v>
                </c:pt>
                <c:pt idx="24">
                  <c:v>7.3000000000000007</c:v>
                </c:pt>
                <c:pt idx="25">
                  <c:v>10.5</c:v>
                </c:pt>
                <c:pt idx="26">
                  <c:v>10.1</c:v>
                </c:pt>
                <c:pt idx="27">
                  <c:v>8.6999999999999993</c:v>
                </c:pt>
                <c:pt idx="28">
                  <c:v>13.9</c:v>
                </c:pt>
                <c:pt idx="29">
                  <c:v>11.7</c:v>
                </c:pt>
                <c:pt idx="30">
                  <c:v>11.5</c:v>
                </c:pt>
                <c:pt idx="31">
                  <c:v>13.700000000000001</c:v>
                </c:pt>
                <c:pt idx="32">
                  <c:v>16.799999999999997</c:v>
                </c:pt>
                <c:pt idx="33">
                  <c:v>18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DBF-8845-B3FC-33FD794A4D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52059248"/>
        <c:axId val="552056368"/>
      </c:barChart>
      <c:catAx>
        <c:axId val="5520592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+mn-ea"/>
                <a:cs typeface="+mn-cs"/>
              </a:defRPr>
            </a:pPr>
            <a:endParaRPr lang="es-AR"/>
          </a:p>
        </c:txPr>
        <c:crossAx val="552056368"/>
        <c:crosses val="autoZero"/>
        <c:auto val="1"/>
        <c:lblAlgn val="ctr"/>
        <c:lblOffset val="100"/>
        <c:noMultiLvlLbl val="0"/>
      </c:catAx>
      <c:valAx>
        <c:axId val="55205636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55205924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/>
      </a:pPr>
      <a:endParaRPr lang="es-AR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49951260444302"/>
          <c:y val="0"/>
          <c:w val="0.75022400187079863"/>
          <c:h val="0.84750089352186053"/>
        </c:manualLayout>
      </c:layout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spPr>
            <a:solidFill>
              <a:srgbClr val="9C3DA4"/>
            </a:solidFill>
            <a:effectLst>
              <a:outerShdw blurRad="254000" sx="102000" sy="102000" algn="ctr" rotWithShape="0">
                <a:srgbClr val="FFC000">
                  <a:alpha val="20000"/>
                </a:srgbClr>
              </a:outerShdw>
            </a:effectLst>
          </c:spPr>
          <c:dPt>
            <c:idx val="0"/>
            <c:bubble3D val="0"/>
            <c:spPr>
              <a:solidFill>
                <a:srgbClr val="5A50F9"/>
              </a:solidFill>
              <a:ln>
                <a:noFill/>
              </a:ln>
              <a:effectLst>
                <a:outerShdw blurRad="254000" sx="102000" sy="102000" algn="ctr" rotWithShape="0">
                  <a:srgbClr val="FFC000">
                    <a:alpha val="20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FD9A-004C-A1ED-02F905459167}"/>
              </c:ext>
            </c:extLst>
          </c:dPt>
          <c:dPt>
            <c:idx val="1"/>
            <c:bubble3D val="0"/>
            <c:spPr>
              <a:solidFill>
                <a:srgbClr val="150958"/>
              </a:solidFill>
              <a:ln>
                <a:noFill/>
              </a:ln>
              <a:effectLst>
                <a:outerShdw blurRad="254000" sx="102000" sy="102000" algn="ctr" rotWithShape="0">
                  <a:srgbClr val="FFC000">
                    <a:alpha val="20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FD9A-004C-A1ED-02F905459167}"/>
              </c:ext>
            </c:extLst>
          </c:dPt>
          <c:dLbls>
            <c:dLbl>
              <c:idx val="0"/>
              <c:layout>
                <c:manualLayout>
                  <c:x val="2.5474617736234474E-2"/>
                  <c:y val="-1.285339140267769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ctr">
                    <a:defRPr sz="800" b="0" i="0" u="none" strike="noStrike" kern="1200" baseline="0">
                      <a:solidFill>
                        <a:schemeClr val="lt1"/>
                      </a:solidFill>
                      <a:latin typeface="Pulso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D9A-004C-A1ED-02F905459167}"/>
                </c:ext>
              </c:extLst>
            </c:dLbl>
            <c:dLbl>
              <c:idx val="1"/>
              <c:layout>
                <c:manualLayout>
                  <c:x val="1.8333205587478058E-2"/>
                  <c:y val="-1.4284878724754025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573701609974731"/>
                      <c:h val="0.1590540635793331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D9A-004C-A1ED-02F90545916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lt1"/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3</c:f>
              <c:strCache>
                <c:ptCount val="2"/>
                <c:pt idx="0">
                  <c:v>Depósitos</c:v>
                </c:pt>
                <c:pt idx="1">
                  <c:v>FCI</c:v>
                </c:pt>
              </c:strCache>
            </c:strRef>
          </c:cat>
          <c:val>
            <c:numRef>
              <c:f>Hoja1!$B$2:$B$3</c:f>
              <c:numCache>
                <c:formatCode>0%</c:formatCode>
                <c:ptCount val="2"/>
                <c:pt idx="0">
                  <c:v>0.1</c:v>
                </c:pt>
                <c:pt idx="1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D9A-004C-A1ED-02F905459167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1002360994708807"/>
          <c:y val="0.88115505804684835"/>
          <c:w val="0.5660632455070107"/>
          <c:h val="0.11884494195315159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bg1">
                  <a:lumMod val="25000"/>
                </a:schemeClr>
              </a:solidFill>
              <a:latin typeface="Pulso Light" pitchFamily="2" charset="0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700"/>
      </a:pPr>
      <a:endParaRPr lang="es-AR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944124579933039"/>
          <c:y val="0"/>
          <c:w val="0.61297183137446831"/>
          <c:h val="0.84750100123821559"/>
        </c:manualLayout>
      </c:layout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spPr>
            <a:solidFill>
              <a:srgbClr val="9C3DA4"/>
            </a:solidFill>
            <a:effectLst>
              <a:outerShdw blurRad="254000" sx="102000" sy="102000" algn="ctr" rotWithShape="0">
                <a:srgbClr val="FFC000">
                  <a:alpha val="20000"/>
                </a:srgbClr>
              </a:outerShdw>
            </a:effectLst>
          </c:spPr>
          <c:dPt>
            <c:idx val="0"/>
            <c:bubble3D val="0"/>
            <c:spPr>
              <a:solidFill>
                <a:srgbClr val="5A50F9"/>
              </a:solidFill>
              <a:ln>
                <a:noFill/>
              </a:ln>
              <a:effectLst>
                <a:outerShdw blurRad="254000" sx="102000" sy="102000" algn="ctr" rotWithShape="0">
                  <a:srgbClr val="FFC000">
                    <a:alpha val="20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59BF-7D44-B718-3EB10D9A1F3B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  <a:effectLst>
                <a:outerShdw blurRad="254000" sx="102000" sy="102000" algn="ctr" rotWithShape="0">
                  <a:srgbClr val="FFC000">
                    <a:alpha val="20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59BF-7D44-B718-3EB10D9A1F3B}"/>
              </c:ext>
            </c:extLst>
          </c:dPt>
          <c:dPt>
            <c:idx val="2"/>
            <c:bubble3D val="0"/>
            <c:spPr>
              <a:solidFill>
                <a:schemeClr val="tx2">
                  <a:lumMod val="75000"/>
                  <a:lumOff val="2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srgbClr val="FFC000">
                    <a:alpha val="20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59BF-7D44-B718-3EB10D9A1F3B}"/>
              </c:ext>
            </c:extLst>
          </c:dPt>
          <c:dPt>
            <c:idx val="3"/>
            <c:bubble3D val="0"/>
            <c:spPr>
              <a:solidFill>
                <a:srgbClr val="150958"/>
              </a:solidFill>
              <a:ln>
                <a:noFill/>
              </a:ln>
              <a:effectLst>
                <a:outerShdw blurRad="254000" sx="102000" sy="102000" algn="ctr" rotWithShape="0">
                  <a:srgbClr val="FFC000">
                    <a:alpha val="20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59BF-7D44-B718-3EB10D9A1F3B}"/>
              </c:ext>
            </c:extLst>
          </c:dPt>
          <c:dLbls>
            <c:dLbl>
              <c:idx val="0"/>
              <c:layout>
                <c:manualLayout>
                  <c:x val="-2.8983715649791523E-3"/>
                  <c:y val="-3.330138919508270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ctr">
                    <a:defRPr sz="800" b="0" i="0" u="none" strike="noStrike" kern="1200" baseline="0">
                      <a:solidFill>
                        <a:schemeClr val="lt1"/>
                      </a:solidFill>
                      <a:latin typeface="Pulso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9BF-7D44-B718-3EB10D9A1F3B}"/>
                </c:ext>
              </c:extLst>
            </c:dLbl>
            <c:dLbl>
              <c:idx val="1"/>
              <c:layout>
                <c:manualLayout>
                  <c:x val="8.8757043929095641E-3"/>
                  <c:y val="-1.4284503793553883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573701609974731"/>
                      <c:h val="0.1590540635793331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59BF-7D44-B718-3EB10D9A1F3B}"/>
                </c:ext>
              </c:extLst>
            </c:dLbl>
            <c:dLbl>
              <c:idx val="2"/>
              <c:layout>
                <c:manualLayout>
                  <c:x val="4.7288436376201051E-3"/>
                  <c:y val="-9.523252483169339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9BF-7D44-B718-3EB10D9A1F3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lt1"/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5</c:f>
              <c:strCache>
                <c:ptCount val="4"/>
                <c:pt idx="0">
                  <c:v>FCI MM</c:v>
                </c:pt>
                <c:pt idx="1">
                  <c:v>Otros FCI</c:v>
                </c:pt>
                <c:pt idx="2">
                  <c:v>C. Ahorro</c:v>
                </c:pt>
                <c:pt idx="3">
                  <c:v>PF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37</c:v>
                </c:pt>
                <c:pt idx="1">
                  <c:v>30</c:v>
                </c:pt>
                <c:pt idx="2">
                  <c:v>54</c:v>
                </c:pt>
                <c:pt idx="3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9BF-7D44-B718-3EB10D9A1F3B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632930184844791"/>
          <c:y val="0.88115531941794689"/>
          <c:w val="0.82976162904567463"/>
          <c:h val="0.11884494195315159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bg1">
                  <a:lumMod val="25000"/>
                </a:schemeClr>
              </a:solidFill>
              <a:latin typeface="Pulso Light" pitchFamily="2" charset="0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700"/>
      </a:pPr>
      <a:endParaRPr lang="es-A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605451936872305E-2"/>
          <c:y val="7.4605451936872305E-2"/>
          <c:w val="0.85078909612625542"/>
          <c:h val="0.85078909612625542"/>
        </c:manualLayout>
      </c:layout>
      <c:doughnutChart>
        <c:varyColors val="0"/>
        <c:ser>
          <c:idx val="0"/>
          <c:order val="0"/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053-3141-AA96-8D5672BBBFC3}"/>
              </c:ext>
            </c:extLst>
          </c:dPt>
          <c:dPt>
            <c:idx val="1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053-3141-AA96-8D5672BBBFC3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11</c:v>
                </c:pt>
                <c:pt idx="1">
                  <c:v>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053-3141-AA96-8D5672BBBF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9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23750256622068472"/>
          <c:w val="1"/>
          <c:h val="0.379714597318013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>
              <a:bevelT w="0" h="0"/>
            </a:sp3d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393-414A-9C0E-ECF3A34A4828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93-414A-9C0E-ECF3A34A4828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>
                    <a:solidFill>
                      <a:srgbClr val="FFFFFF"/>
                    </a:solidFill>
                    <a:latin typeface="Pulso" pitchFamily="2" charset="0"/>
                    <a:ea typeface="Roboto" panose="02000000000000000000" pitchFamily="2" charset="0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Hoja1!$A$2:$A$3</c:f>
              <c:numCache>
                <c:formatCode>General</c:formatCode>
                <c:ptCount val="2"/>
                <c:pt idx="0">
                  <c:v>2025</c:v>
                </c:pt>
                <c:pt idx="1">
                  <c:v>2026</c:v>
                </c:pt>
              </c:numCache>
            </c:numRef>
          </c:cat>
          <c:val>
            <c:numRef>
              <c:f>Hoja1!$B$2:$B$3</c:f>
              <c:numCache>
                <c:formatCode>_ * #,##0_ ;_ * \-#,##0_ ;_ * "-"??_ ;_ @_ </c:formatCode>
                <c:ptCount val="2"/>
                <c:pt idx="0">
                  <c:v>211</c:v>
                </c:pt>
                <c:pt idx="1">
                  <c:v>2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393-414A-9C0E-ECF3A34A48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60185728"/>
        <c:axId val="160191616"/>
      </c:barChart>
      <c:catAx>
        <c:axId val="16018572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 algn="ctr">
              <a:defRPr lang="es-AR" sz="900" b="0" i="0" u="none" strike="noStrike" kern="1200" baseline="0">
                <a:solidFill>
                  <a:srgbClr val="FFFFFF"/>
                </a:solidFill>
                <a:latin typeface="Pulso Light" pitchFamily="2" charset="0"/>
                <a:ea typeface="Roboto Medium" panose="02000000000000000000" pitchFamily="2" charset="0"/>
                <a:cs typeface="+mn-cs"/>
              </a:defRPr>
            </a:pPr>
            <a:endParaRPr lang="es-AR"/>
          </a:p>
        </c:txPr>
        <c:crossAx val="160191616"/>
        <c:crosses val="autoZero"/>
        <c:auto val="1"/>
        <c:lblAlgn val="ctr"/>
        <c:lblOffset val="100"/>
        <c:noMultiLvlLbl val="0"/>
      </c:catAx>
      <c:valAx>
        <c:axId val="160191616"/>
        <c:scaling>
          <c:orientation val="minMax"/>
          <c:min val="0"/>
        </c:scaling>
        <c:delete val="1"/>
        <c:axPos val="l"/>
        <c:numFmt formatCode="#,##0" sourceLinked="0"/>
        <c:majorTickMark val="out"/>
        <c:minorTickMark val="none"/>
        <c:tickLblPos val="nextTo"/>
        <c:crossAx val="160185728"/>
        <c:crosses val="autoZero"/>
        <c:crossBetween val="between"/>
      </c:valAx>
    </c:plotArea>
    <c:plotVisOnly val="1"/>
    <c:dispBlanksAs val="gap"/>
    <c:showDLblsOverMax val="0"/>
  </c:chart>
  <c:spPr>
    <a:effectLst/>
  </c:spPr>
  <c:txPr>
    <a:bodyPr/>
    <a:lstStyle/>
    <a:p>
      <a:pPr>
        <a:defRPr sz="1200" b="1">
          <a:solidFill>
            <a:schemeClr val="tx2"/>
          </a:solidFill>
          <a:latin typeface="Calibri" pitchFamily="34" charset="0"/>
        </a:defRPr>
      </a:pPr>
      <a:endParaRPr lang="es-AR"/>
    </a:p>
  </c:txPr>
  <c:externalData r:id="rId1">
    <c:autoUpdate val="0"/>
  </c:externalData>
  <c:userShapes r:id="rId2"/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23750256622068472"/>
          <c:w val="1"/>
          <c:h val="0.379714597318013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>
              <a:bevelT w="0" h="0"/>
            </a:sp3d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9BA-4DEC-87F9-EAC7024E786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9BA-4DEC-87F9-EAC7024E7860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>
                    <a:solidFill>
                      <a:srgbClr val="FFFFFF"/>
                    </a:solidFill>
                    <a:latin typeface="Pulso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Hoja1!$A$2:$A$3</c:f>
              <c:numCache>
                <c:formatCode>General</c:formatCode>
                <c:ptCount val="2"/>
                <c:pt idx="0">
                  <c:v>2025</c:v>
                </c:pt>
                <c:pt idx="1">
                  <c:v>2026</c:v>
                </c:pt>
              </c:numCache>
            </c:numRef>
          </c:cat>
          <c:val>
            <c:numRef>
              <c:f>Hoja1!$B$2:$B$3</c:f>
              <c:numCache>
                <c:formatCode>_ * #,##0_ ;_ * \-#,##0_ ;_ * "-"??_ ;_ @_ </c:formatCode>
                <c:ptCount val="2"/>
                <c:pt idx="0">
                  <c:v>99</c:v>
                </c:pt>
                <c:pt idx="1">
                  <c:v>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9BA-4DEC-87F9-EAC7024E78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60185728"/>
        <c:axId val="160191616"/>
      </c:barChart>
      <c:catAx>
        <c:axId val="16018572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 algn="ctr">
              <a:defRPr lang="es-AR" sz="900" b="0" i="0" u="none" strike="noStrike" kern="1200" baseline="0">
                <a:solidFill>
                  <a:srgbClr val="FFFFFF"/>
                </a:solidFill>
                <a:latin typeface="Pulso Light" pitchFamily="2" charset="0"/>
                <a:ea typeface="Roboto Medium" panose="02000000000000000000" pitchFamily="2" charset="0"/>
                <a:cs typeface="+mn-cs"/>
              </a:defRPr>
            </a:pPr>
            <a:endParaRPr lang="es-AR"/>
          </a:p>
        </c:txPr>
        <c:crossAx val="160191616"/>
        <c:crosses val="autoZero"/>
        <c:auto val="1"/>
        <c:lblAlgn val="ctr"/>
        <c:lblOffset val="100"/>
        <c:noMultiLvlLbl val="0"/>
      </c:catAx>
      <c:valAx>
        <c:axId val="160191616"/>
        <c:scaling>
          <c:orientation val="minMax"/>
          <c:min val="0"/>
        </c:scaling>
        <c:delete val="1"/>
        <c:axPos val="l"/>
        <c:numFmt formatCode="#,##0" sourceLinked="0"/>
        <c:majorTickMark val="out"/>
        <c:minorTickMark val="none"/>
        <c:tickLblPos val="nextTo"/>
        <c:crossAx val="160185728"/>
        <c:crosses val="autoZero"/>
        <c:crossBetween val="between"/>
      </c:valAx>
    </c:plotArea>
    <c:plotVisOnly val="1"/>
    <c:dispBlanksAs val="gap"/>
    <c:showDLblsOverMax val="0"/>
  </c:chart>
  <c:spPr>
    <a:effectLst/>
  </c:spPr>
  <c:txPr>
    <a:bodyPr/>
    <a:lstStyle/>
    <a:p>
      <a:pPr>
        <a:defRPr sz="1200" b="1">
          <a:solidFill>
            <a:schemeClr val="tx2"/>
          </a:solidFill>
          <a:latin typeface="Calibri" pitchFamily="34" charset="0"/>
        </a:defRPr>
      </a:pPr>
      <a:endParaRPr lang="es-AR"/>
    </a:p>
  </c:txPr>
  <c:externalData r:id="rId1">
    <c:autoUpdate val="0"/>
  </c:externalData>
  <c:userShapes r:id="rId2"/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6756290984336555E-2"/>
          <c:y val="5.3993760377469335E-2"/>
          <c:w val="0.97081131892617833"/>
          <c:h val="0.89201247924506133"/>
        </c:manualLayout>
      </c:layout>
      <c:lineChart>
        <c:grouping val="standard"/>
        <c:varyColors val="0"/>
        <c:ser>
          <c:idx val="0"/>
          <c:order val="0"/>
          <c:tx>
            <c:strRef>
              <c:f>Hoja1!$D$73</c:f>
              <c:strCache>
                <c:ptCount val="1"/>
                <c:pt idx="0">
                  <c:v>IT Empresarial ARG</c:v>
                </c:pt>
              </c:strCache>
            </c:strRef>
          </c:tx>
          <c:spPr>
            <a:ln w="28575" cap="rnd">
              <a:solidFill>
                <a:srgbClr val="8A5CF2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8A5CF2"/>
              </a:solidFill>
              <a:ln w="9525">
                <a:solidFill>
                  <a:srgbClr val="8A5CF2"/>
                </a:solidFill>
              </a:ln>
              <a:effectLst/>
            </c:spPr>
          </c:marker>
          <c:dLbls>
            <c:dLbl>
              <c:idx val="0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2EA-9C4E-94C4-2791B56AB85E}"/>
                </c:ext>
              </c:extLst>
            </c:dLbl>
            <c:dLbl>
              <c:idx val="1"/>
              <c:layout>
                <c:manualLayout>
                  <c:x val="-4.6872157024378677E-2"/>
                  <c:y val="-5.41533840212481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2EA-9C4E-94C4-2791B56AB85E}"/>
                </c:ext>
              </c:extLst>
            </c:dLbl>
            <c:dLbl>
              <c:idx val="2"/>
              <c:layout>
                <c:manualLayout>
                  <c:x val="-5.8115928094718418E-2"/>
                  <c:y val="-6.39704313626061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2EA-9C4E-94C4-2791B56AB85E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8A5CF3"/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E$72:$K$72</c:f>
              <c:numCache>
                <c:formatCode>General</c:formatCode>
                <c:ptCount val="7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</c:numCache>
            </c:numRef>
          </c:cat>
          <c:val>
            <c:numRef>
              <c:f>Hoja1!$E$73:$K$73</c:f>
              <c:numCache>
                <c:formatCode>0.0%</c:formatCode>
                <c:ptCount val="7"/>
                <c:pt idx="0">
                  <c:v>7.0999999999999994E-2</c:v>
                </c:pt>
                <c:pt idx="1">
                  <c:v>1.9E-2</c:v>
                </c:pt>
                <c:pt idx="2" formatCode="0%">
                  <c:v>0</c:v>
                </c:pt>
                <c:pt idx="3">
                  <c:v>0.11700000000000001</c:v>
                </c:pt>
                <c:pt idx="4">
                  <c:v>0.11799999999999999</c:v>
                </c:pt>
                <c:pt idx="5">
                  <c:v>0.11700000000000001</c:v>
                </c:pt>
                <c:pt idx="6">
                  <c:v>0.1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12EA-9C4E-94C4-2791B56AB85E}"/>
            </c:ext>
          </c:extLst>
        </c:ser>
        <c:ser>
          <c:idx val="1"/>
          <c:order val="1"/>
          <c:tx>
            <c:strRef>
              <c:f>Hoja1!$D$75</c:f>
              <c:strCache>
                <c:ptCount val="1"/>
                <c:pt idx="0">
                  <c:v>Crecimiento Sol Digitales Teco</c:v>
                </c:pt>
              </c:strCache>
            </c:strRef>
          </c:tx>
          <c:spPr>
            <a:ln w="28575" cap="rnd">
              <a:solidFill>
                <a:srgbClr val="00B7EB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00B7EB"/>
              </a:solidFill>
              <a:ln w="9525">
                <a:solidFill>
                  <a:srgbClr val="00B7EB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&gt;</a:t>
                    </a:r>
                    <a:fld id="{5012C1A8-CFED-417C-BF0C-F487CD21E080}" type="VALUE">
                      <a:rPr lang="en-US" smtClean="0"/>
                      <a:pPr/>
                      <a:t>[VALOR]</a:t>
                    </a:fld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12EA-9C4E-94C4-2791B56AB85E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02B7EC"/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E$72:$K$72</c:f>
              <c:numCache>
                <c:formatCode>General</c:formatCode>
                <c:ptCount val="7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</c:numCache>
            </c:numRef>
          </c:cat>
          <c:val>
            <c:numRef>
              <c:f>Hoja1!$E$75:$K$75</c:f>
              <c:numCache>
                <c:formatCode>0%</c:formatCode>
                <c:ptCount val="7"/>
                <c:pt idx="0">
                  <c:v>0.25</c:v>
                </c:pt>
                <c:pt idx="1">
                  <c:v>0.21</c:v>
                </c:pt>
                <c:pt idx="2">
                  <c:v>0.18</c:v>
                </c:pt>
                <c:pt idx="3">
                  <c:v>0.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12EA-9C4E-94C4-2791B56AB85E}"/>
            </c:ext>
          </c:extLst>
        </c:ser>
        <c:ser>
          <c:idx val="2"/>
          <c:order val="2"/>
          <c:tx>
            <c:strRef>
              <c:f>Hoja1!$D$74</c:f>
              <c:strCache>
                <c:ptCount val="1"/>
                <c:pt idx="0">
                  <c:v>IT Empresarial LATAM</c:v>
                </c:pt>
              </c:strCache>
            </c:strRef>
          </c:tx>
          <c:spPr>
            <a:ln w="15875" cap="rnd">
              <a:solidFill>
                <a:srgbClr val="8B939B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24272A">
                  <a:lumMod val="50000"/>
                  <a:lumOff val="50000"/>
                </a:srgbClr>
              </a:solidFill>
              <a:ln w="9525">
                <a:solidFill>
                  <a:srgbClr val="8B939B"/>
                </a:solidFill>
              </a:ln>
              <a:effectLst/>
            </c:spPr>
          </c:marker>
          <c:dLbls>
            <c:dLbl>
              <c:idx val="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2EA-9C4E-94C4-2791B56AB85E}"/>
                </c:ext>
              </c:extLst>
            </c:dLbl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2EA-9C4E-94C4-2791B56AB85E}"/>
                </c:ext>
              </c:extLst>
            </c:dLbl>
            <c:dLbl>
              <c:idx val="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2EA-9C4E-94C4-2791B56AB85E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Hoja1!$E$74:$K$74</c:f>
              <c:numCache>
                <c:formatCode>0.0%</c:formatCode>
                <c:ptCount val="7"/>
                <c:pt idx="0">
                  <c:v>0.129</c:v>
                </c:pt>
                <c:pt idx="1">
                  <c:v>8.3000000000000004E-2</c:v>
                </c:pt>
                <c:pt idx="2" formatCode="0%">
                  <c:v>9.7000000000000003E-2</c:v>
                </c:pt>
                <c:pt idx="3">
                  <c:v>0.112</c:v>
                </c:pt>
                <c:pt idx="4">
                  <c:v>0.112</c:v>
                </c:pt>
                <c:pt idx="5">
                  <c:v>0.112</c:v>
                </c:pt>
                <c:pt idx="6">
                  <c:v>0.11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9-12EA-9C4E-94C4-2791B56AB8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6542287"/>
        <c:axId val="66543247"/>
      </c:lineChart>
      <c:catAx>
        <c:axId val="665422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F0F0F0">
                <a:lumMod val="25000"/>
              </a:srgb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ulso Light" pitchFamily="2" charset="0"/>
                <a:ea typeface="+mn-ea"/>
                <a:cs typeface="+mn-cs"/>
              </a:defRPr>
            </a:pPr>
            <a:endParaRPr lang="es-AR"/>
          </a:p>
        </c:txPr>
        <c:crossAx val="66543247"/>
        <c:crosses val="autoZero"/>
        <c:auto val="1"/>
        <c:lblAlgn val="ctr"/>
        <c:lblOffset val="100"/>
        <c:noMultiLvlLbl val="0"/>
      </c:catAx>
      <c:valAx>
        <c:axId val="66543247"/>
        <c:scaling>
          <c:orientation val="minMax"/>
          <c:max val="0.30000000000000004"/>
          <c:min val="-0.2"/>
        </c:scaling>
        <c:delete val="1"/>
        <c:axPos val="l"/>
        <c:numFmt formatCode="0.0%" sourceLinked="1"/>
        <c:majorTickMark val="out"/>
        <c:minorTickMark val="none"/>
        <c:tickLblPos val="nextTo"/>
        <c:crossAx val="665422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s-AR"/>
    </a:p>
  </c:txPr>
  <c:externalData r:id="rId4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60626950629413845"/>
          <c:y val="9.3009259259259264E-2"/>
          <c:w val="0.33383499042668163"/>
          <c:h val="0.8560648148148147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dk1">
                <a:tint val="885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8:$D$12</c:f>
              <c:strCache>
                <c:ptCount val="5"/>
                <c:pt idx="0">
                  <c:v>Mejorar la privacidad de datos</c:v>
                </c:pt>
                <c:pt idx="1">
                  <c:v>Aumentar la productividad</c:v>
                </c:pt>
                <c:pt idx="2">
                  <c:v>Automatizacion de procesos</c:v>
                </c:pt>
                <c:pt idx="3">
                  <c:v>Datos p/ crear fuentes de ingresos</c:v>
                </c:pt>
                <c:pt idx="4">
                  <c:v>Expandirse a nuevas regiones </c:v>
                </c:pt>
              </c:strCache>
            </c:strRef>
          </c:cat>
          <c:val>
            <c:numRef>
              <c:f>Hoja1!$E$8:$E$12</c:f>
              <c:numCache>
                <c:formatCode>0%</c:formatCode>
                <c:ptCount val="5"/>
                <c:pt idx="0">
                  <c:v>0.39</c:v>
                </c:pt>
                <c:pt idx="1">
                  <c:v>0.36</c:v>
                </c:pt>
                <c:pt idx="2">
                  <c:v>0.28999999999999998</c:v>
                </c:pt>
                <c:pt idx="3">
                  <c:v>0.28000000000000003</c:v>
                </c:pt>
                <c:pt idx="4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45-3845-9E52-78F26CC7F6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32779791"/>
        <c:axId val="1232762031"/>
      </c:barChart>
      <c:catAx>
        <c:axId val="1232779791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+mn-ea"/>
                <a:cs typeface="+mn-cs"/>
              </a:defRPr>
            </a:pPr>
            <a:endParaRPr lang="es-AR"/>
          </a:p>
        </c:txPr>
        <c:crossAx val="1232762031"/>
        <c:crosses val="autoZero"/>
        <c:auto val="1"/>
        <c:lblAlgn val="ctr"/>
        <c:lblOffset val="100"/>
        <c:noMultiLvlLbl val="0"/>
      </c:catAx>
      <c:valAx>
        <c:axId val="1232762031"/>
        <c:scaling>
          <c:orientation val="minMax"/>
          <c:max val="0.4"/>
        </c:scaling>
        <c:delete val="1"/>
        <c:axPos val="t"/>
        <c:numFmt formatCode="0%" sourceLinked="1"/>
        <c:majorTickMark val="out"/>
        <c:minorTickMark val="none"/>
        <c:tickLblPos val="nextTo"/>
        <c:crossAx val="1232779791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s-AR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60881455766705594"/>
          <c:y val="0.11671223388743074"/>
          <c:w val="0.34013906722896514"/>
          <c:h val="0.77736111111111106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21:$D$25</c:f>
              <c:strCache>
                <c:ptCount val="5"/>
                <c:pt idx="0">
                  <c:v>Inteligencia (BDA / BI, IA, ML)</c:v>
                </c:pt>
                <c:pt idx="1">
                  <c:v>Seguridad de IT / Nube</c:v>
                </c:pt>
                <c:pt idx="2">
                  <c:v>IA Generativa</c:v>
                </c:pt>
                <c:pt idx="3">
                  <c:v>Servicios Gestionados IT</c:v>
                </c:pt>
                <c:pt idx="4">
                  <c:v>Modernización de Infraestructura</c:v>
                </c:pt>
              </c:strCache>
            </c:strRef>
          </c:cat>
          <c:val>
            <c:numRef>
              <c:f>Hoja1!$E$21:$E$25</c:f>
              <c:numCache>
                <c:formatCode>0%</c:formatCode>
                <c:ptCount val="5"/>
                <c:pt idx="0">
                  <c:v>0.34</c:v>
                </c:pt>
                <c:pt idx="1">
                  <c:v>0.32</c:v>
                </c:pt>
                <c:pt idx="2">
                  <c:v>0.3</c:v>
                </c:pt>
                <c:pt idx="3">
                  <c:v>0.25</c:v>
                </c:pt>
                <c:pt idx="4">
                  <c:v>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0E-C140-A7E1-D0895D87DC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32779791"/>
        <c:axId val="1232762031"/>
      </c:barChart>
      <c:catAx>
        <c:axId val="1232779791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+mn-ea"/>
                <a:cs typeface="+mn-cs"/>
              </a:defRPr>
            </a:pPr>
            <a:endParaRPr lang="es-AR"/>
          </a:p>
        </c:txPr>
        <c:crossAx val="1232762031"/>
        <c:crosses val="autoZero"/>
        <c:auto val="1"/>
        <c:lblAlgn val="ctr"/>
        <c:lblOffset val="100"/>
        <c:noMultiLvlLbl val="0"/>
      </c:catAx>
      <c:valAx>
        <c:axId val="1232762031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1232779791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baseline="0">
          <a:latin typeface="Montserrat" panose="00000500000000000000" pitchFamily="2" charset="0"/>
        </a:defRPr>
      </a:pPr>
      <a:endParaRPr lang="es-AR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2024</c:v>
                </c:pt>
              </c:strCache>
            </c:strRef>
          </c:tx>
          <c:spPr>
            <a:ln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3C00A0"/>
              </a:solid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02-7D4F-B822-5BA1296BC9D7}"/>
              </c:ext>
            </c:extLst>
          </c:dPt>
          <c:dPt>
            <c:idx val="1"/>
            <c:bubble3D val="0"/>
            <c:spPr>
              <a:solidFill>
                <a:srgbClr val="0066FF"/>
              </a:solid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02-7D4F-B822-5BA1296BC9D7}"/>
              </c:ext>
            </c:extLst>
          </c:dPt>
          <c:dPt>
            <c:idx val="2"/>
            <c:bubble3D val="0"/>
            <c:spPr>
              <a:solidFill>
                <a:srgbClr val="C7251A"/>
              </a:solid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02-7D4F-B822-5BA1296BC9D7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02-7D4F-B822-5BA1296BC9D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02-7D4F-B822-5BA1296BC9D7}"/>
              </c:ext>
            </c:extLst>
          </c:dPt>
          <c:dLbls>
            <c:dLbl>
              <c:idx val="0"/>
              <c:layout>
                <c:manualLayout>
                  <c:x val="-9.731800766283525E-3"/>
                  <c:y val="7.9994960947341529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FFFFFF"/>
                      </a:solidFill>
                      <a:effectLst>
                        <a:outerShdw blurRad="63500" sx="102000" sy="102000" algn="ctr" rotWithShape="0">
                          <a:srgbClr val="3C00A0">
                            <a:alpha val="40000"/>
                          </a:srgbClr>
                        </a:outerShdw>
                      </a:effectLst>
                      <a:latin typeface="Pulso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802-7D4F-B822-5BA1296BC9D7}"/>
                </c:ext>
              </c:extLst>
            </c:dLbl>
            <c:dLbl>
              <c:idx val="1"/>
              <c:layout>
                <c:manualLayout>
                  <c:x val="4.8659003831417625E-3"/>
                  <c:y val="-7.999496094734189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802-7D4F-B822-5BA1296BC9D7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ln w="6350" cap="rnd">
                        <a:solidFill>
                          <a:srgbClr val="C7251A">
                            <a:alpha val="5000"/>
                          </a:srgbClr>
                        </a:solidFill>
                      </a:ln>
                      <a:solidFill>
                        <a:srgbClr val="FFFFFF"/>
                      </a:solidFill>
                      <a:effectLst>
                        <a:outerShdw blurRad="63500" sx="102000" sy="102000" algn="ctr" rotWithShape="0">
                          <a:prstClr val="black">
                            <a:alpha val="40000"/>
                          </a:prstClr>
                        </a:outerShdw>
                      </a:effectLst>
                      <a:latin typeface="Pulso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802-7D4F-B822-5BA1296BC9D7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802-7D4F-B822-5BA1296BC9D7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802-7D4F-B822-5BA1296BC9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FFFFFF"/>
                    </a:solidFill>
                    <a:effectLst>
                      <a:outerShdw blurRad="63500" sx="102000" sy="102000" algn="ctr" rotWithShape="0">
                        <a:prstClr val="black">
                          <a:alpha val="40000"/>
                        </a:prstClr>
                      </a:outerShdw>
                    </a:effectLst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Hoja1!$A$2:$A$5</c:f>
              <c:strCache>
                <c:ptCount val="4"/>
                <c:pt idx="0">
                  <c:v>Telecom</c:v>
                </c:pt>
                <c:pt idx="1">
                  <c:v>Telefonica</c:v>
                </c:pt>
                <c:pt idx="2">
                  <c:v>Claro</c:v>
                </c:pt>
                <c:pt idx="3">
                  <c:v>Resto</c:v>
                </c:pt>
              </c:strCache>
            </c:strRef>
          </c:cat>
          <c:val>
            <c:numRef>
              <c:f>Hoja1!$B$2:$B$5</c:f>
              <c:numCache>
                <c:formatCode>0.0%</c:formatCode>
                <c:ptCount val="4"/>
                <c:pt idx="0">
                  <c:v>0.436</c:v>
                </c:pt>
                <c:pt idx="1">
                  <c:v>0.23599999999999999</c:v>
                </c:pt>
                <c:pt idx="2">
                  <c:v>0.13100000000000001</c:v>
                </c:pt>
                <c:pt idx="3">
                  <c:v>0.197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802-7D4F-B822-5BA1296BC9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93"/>
        <c:holeSize val="4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2024</c:v>
                </c:pt>
              </c:strCache>
            </c:strRef>
          </c:tx>
          <c:spPr>
            <a:ln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3C00A0"/>
              </a:solid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CBE-594B-A756-592422D7E546}"/>
              </c:ext>
            </c:extLst>
          </c:dPt>
          <c:dPt>
            <c:idx val="1"/>
            <c:bubble3D val="0"/>
            <c:spPr>
              <a:solidFill>
                <a:srgbClr val="0066FF"/>
              </a:solid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CBE-594B-A756-592422D7E546}"/>
              </c:ext>
            </c:extLst>
          </c:dPt>
          <c:dPt>
            <c:idx val="2"/>
            <c:bubble3D val="0"/>
            <c:spPr>
              <a:solidFill>
                <a:srgbClr val="C7251A"/>
              </a:solid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CBE-594B-A756-592422D7E54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CBE-594B-A756-592422D7E54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FCBE-594B-A756-592422D7E546}"/>
              </c:ext>
            </c:extLst>
          </c:dPt>
          <c:dLbls>
            <c:dLbl>
              <c:idx val="0"/>
              <c:layout>
                <c:manualLayout>
                  <c:x val="1.2072681296156167E-3"/>
                  <c:y val="-7.9994960947341529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FFFFFF"/>
                      </a:solidFill>
                      <a:effectLst>
                        <a:outerShdw blurRad="63500" sx="102000" sy="102000" algn="ctr" rotWithShape="0">
                          <a:srgbClr val="3C00A0">
                            <a:alpha val="40000"/>
                          </a:srgbClr>
                        </a:outerShdw>
                      </a:effectLst>
                      <a:latin typeface="Pulso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CBE-594B-A756-592422D7E546}"/>
                </c:ext>
              </c:extLst>
            </c:dLbl>
            <c:dLbl>
              <c:idx val="1"/>
              <c:layout>
                <c:manualLayout>
                  <c:x val="2.3657627800499997E-2"/>
                  <c:y val="-2.495842781557067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FFFFFF"/>
                      </a:solidFill>
                      <a:effectLst>
                        <a:outerShdw blurRad="63500" sx="102000" sy="102000" algn="ctr" rotWithShape="0">
                          <a:prstClr val="black">
                            <a:alpha val="40000"/>
                          </a:prstClr>
                        </a:outerShdw>
                      </a:effectLst>
                      <a:latin typeface="Pulso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CBE-594B-A756-592422D7E546}"/>
                </c:ext>
              </c:extLst>
            </c:dLbl>
            <c:dLbl>
              <c:idx val="2"/>
              <c:layout>
                <c:manualLayout>
                  <c:x val="7.5359431423070661E-3"/>
                  <c:y val="8.959435626102218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ln w="6350" cap="rnd">
                        <a:solidFill>
                          <a:srgbClr val="C7251A">
                            <a:alpha val="5000"/>
                          </a:srgbClr>
                        </a:solidFill>
                      </a:ln>
                      <a:solidFill>
                        <a:srgbClr val="FFFFFF"/>
                      </a:solidFill>
                      <a:effectLst>
                        <a:outerShdw blurRad="63500" algn="ctr" rotWithShape="0">
                          <a:srgbClr val="C7251A">
                            <a:alpha val="80000"/>
                          </a:srgbClr>
                        </a:outerShdw>
                      </a:effectLst>
                      <a:latin typeface="Pulso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CBE-594B-A756-592422D7E546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CBE-594B-A756-592422D7E546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CBE-594B-A756-592422D7E5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FFFF"/>
                    </a:solidFill>
                    <a:effectLst>
                      <a:outerShdw blurRad="63500" sx="102000" sy="102000" algn="ctr" rotWithShape="0">
                        <a:prstClr val="black">
                          <a:alpha val="40000"/>
                        </a:prstClr>
                      </a:outerShdw>
                    </a:effectLst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Hoja1!$A$2:$A$4</c:f>
              <c:strCache>
                <c:ptCount val="3"/>
                <c:pt idx="0">
                  <c:v>Telecom</c:v>
                </c:pt>
                <c:pt idx="1">
                  <c:v>Telefonica</c:v>
                </c:pt>
                <c:pt idx="2">
                  <c:v>Claro</c:v>
                </c:pt>
              </c:strCache>
            </c:strRef>
          </c:cat>
          <c:val>
            <c:numRef>
              <c:f>Hoja1!$B$2:$B$4</c:f>
              <c:numCache>
                <c:formatCode>0.0%</c:formatCode>
                <c:ptCount val="3"/>
                <c:pt idx="0">
                  <c:v>0.28199999999999997</c:v>
                </c:pt>
                <c:pt idx="1">
                  <c:v>0.29599999999999999</c:v>
                </c:pt>
                <c:pt idx="2">
                  <c:v>0.422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CBE-594B-A756-592422D7E5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2024</c:v>
                </c:pt>
              </c:strCache>
            </c:strRef>
          </c:tx>
          <c:spPr>
            <a:ln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3C00A0"/>
              </a:solid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A7D-FB41-99F4-53256A770301}"/>
              </c:ext>
            </c:extLst>
          </c:dPt>
          <c:dPt>
            <c:idx val="1"/>
            <c:bubble3D val="0"/>
            <c:spPr>
              <a:solidFill>
                <a:srgbClr val="0066FF"/>
              </a:solid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A7D-FB41-99F4-53256A770301}"/>
              </c:ext>
            </c:extLst>
          </c:dPt>
          <c:dPt>
            <c:idx val="2"/>
            <c:bubble3D val="0"/>
            <c:spPr>
              <a:solidFill>
                <a:srgbClr val="C7251A"/>
              </a:solid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A7D-FB41-99F4-53256A770301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A7D-FB41-99F4-53256A77030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FA7D-FB41-99F4-53256A770301}"/>
              </c:ext>
            </c:extLst>
          </c:dPt>
          <c:dLbls>
            <c:dLbl>
              <c:idx val="0"/>
              <c:layout>
                <c:manualLayout>
                  <c:x val="-1.4597701149425288E-2"/>
                  <c:y val="-1.600441570650677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FFFFFF"/>
                      </a:solidFill>
                      <a:effectLst>
                        <a:outerShdw blurRad="63500" sx="102000" sy="102000" algn="ctr" rotWithShape="0">
                          <a:srgbClr val="3C00A0">
                            <a:alpha val="40000"/>
                          </a:srgbClr>
                        </a:outerShdw>
                      </a:effectLst>
                      <a:latin typeface="Pulso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A7D-FB41-99F4-53256A770301}"/>
                </c:ext>
              </c:extLst>
            </c:dLbl>
            <c:dLbl>
              <c:idx val="1"/>
              <c:layout>
                <c:manualLayout>
                  <c:x val="4.8659003831416732E-3"/>
                  <c:y val="-8.002207853253369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A7D-FB41-99F4-53256A770301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ln w="6350" cap="rnd">
                        <a:solidFill>
                          <a:srgbClr val="C7251A">
                            <a:alpha val="5000"/>
                          </a:srgbClr>
                        </a:solidFill>
                      </a:ln>
                      <a:solidFill>
                        <a:srgbClr val="FFFFFF"/>
                      </a:solidFill>
                      <a:effectLst>
                        <a:outerShdw blurRad="63500" sx="102000" sy="102000" algn="ctr" rotWithShape="0">
                          <a:prstClr val="black">
                            <a:alpha val="40000"/>
                          </a:prstClr>
                        </a:outerShdw>
                      </a:effectLst>
                      <a:latin typeface="Pulso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A7D-FB41-99F4-53256A770301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A7D-FB41-99F4-53256A770301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A7D-FB41-99F4-53256A7703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FFFFFF"/>
                    </a:solidFill>
                    <a:effectLst>
                      <a:outerShdw blurRad="63500" sx="102000" sy="102000" algn="ctr" rotWithShape="0">
                        <a:prstClr val="black">
                          <a:alpha val="40000"/>
                        </a:prstClr>
                      </a:outerShdw>
                    </a:effectLst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Hoja1!$A$2:$A$5</c:f>
              <c:strCache>
                <c:ptCount val="4"/>
                <c:pt idx="0">
                  <c:v>Telecom</c:v>
                </c:pt>
                <c:pt idx="1">
                  <c:v>Telefonica</c:v>
                </c:pt>
                <c:pt idx="2">
                  <c:v>Claro</c:v>
                </c:pt>
                <c:pt idx="3">
                  <c:v>Resto</c:v>
                </c:pt>
              </c:strCache>
            </c:strRef>
          </c:cat>
          <c:val>
            <c:numRef>
              <c:f>Hoja1!$B$2:$B$5</c:f>
              <c:numCache>
                <c:formatCode>0.0%</c:formatCode>
                <c:ptCount val="4"/>
                <c:pt idx="0">
                  <c:v>0.38700000000000001</c:v>
                </c:pt>
                <c:pt idx="1">
                  <c:v>0.27400000000000002</c:v>
                </c:pt>
                <c:pt idx="2">
                  <c:v>0.17699999999999999</c:v>
                </c:pt>
                <c:pt idx="3">
                  <c:v>0.162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A7D-FB41-99F4-53256A7703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34"/>
        <c:holeSize val="4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2024</c:v>
                </c:pt>
              </c:strCache>
            </c:strRef>
          </c:tx>
          <c:spPr>
            <a:ln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1F70C1"/>
              </a:solid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A46-8B4E-9B87-8116DC797FE0}"/>
              </c:ext>
            </c:extLst>
          </c:dPt>
          <c:dPt>
            <c:idx val="1"/>
            <c:bubble3D val="0"/>
            <c:spPr>
              <a:solidFill>
                <a:srgbClr val="3C00A0"/>
              </a:solid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A46-8B4E-9B87-8116DC797FE0}"/>
              </c:ext>
            </c:extLst>
          </c:dPt>
          <c:dPt>
            <c:idx val="2"/>
            <c:bubble3D val="0"/>
            <c:spPr>
              <a:solidFill>
                <a:srgbClr val="0066FF"/>
              </a:solid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A46-8B4E-9B87-8116DC797FE0}"/>
              </c:ext>
            </c:extLst>
          </c:dPt>
          <c:dPt>
            <c:idx val="3"/>
            <c:bubble3D val="0"/>
            <c:spPr>
              <a:solidFill>
                <a:srgbClr val="C7251A"/>
              </a:solid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A46-8B4E-9B87-8116DC797FE0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A46-8B4E-9B87-8116DC797FE0}"/>
              </c:ext>
            </c:extLst>
          </c:dPt>
          <c:dPt>
            <c:idx val="5"/>
            <c:bubble3D val="0"/>
            <c:spPr>
              <a:solidFill>
                <a:srgbClr val="8DC643"/>
              </a:solid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A46-8B4E-9B87-8116DC797FE0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A46-8B4E-9B87-8116DC797FE0}"/>
                </c:ext>
              </c:extLst>
            </c:dLbl>
            <c:dLbl>
              <c:idx val="1"/>
              <c:layout>
                <c:manualLayout>
                  <c:x val="4.8659003831417625E-3"/>
                  <c:y val="3.6663933555975945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FFFFFF"/>
                      </a:solidFill>
                      <a:effectLst>
                        <a:outerShdw blurRad="63500" sx="102000" sy="102000" algn="ctr" rotWithShape="0">
                          <a:srgbClr val="3C00A0">
                            <a:alpha val="40000"/>
                          </a:srgbClr>
                        </a:outerShdw>
                      </a:effectLst>
                      <a:latin typeface="Pulso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A46-8B4E-9B87-8116DC797FE0}"/>
                </c:ext>
              </c:extLst>
            </c:dLbl>
            <c:dLbl>
              <c:idx val="2"/>
              <c:layout>
                <c:manualLayout>
                  <c:x val="1.4597701149425288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A46-8B4E-9B87-8116DC797FE0}"/>
                </c:ext>
              </c:extLst>
            </c:dLbl>
            <c:dLbl>
              <c:idx val="3"/>
              <c:layout>
                <c:manualLayout>
                  <c:x val="9.731800766283525E-3"/>
                  <c:y val="7.9994960947341164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ln w="6350" cap="rnd">
                        <a:solidFill>
                          <a:srgbClr val="C7251A">
                            <a:alpha val="5000"/>
                          </a:srgbClr>
                        </a:solidFill>
                      </a:ln>
                      <a:solidFill>
                        <a:srgbClr val="FFFFFF"/>
                      </a:solidFill>
                      <a:effectLst>
                        <a:outerShdw blurRad="63500" sx="102000" sy="102000" algn="ctr" rotWithShape="0">
                          <a:prstClr val="black">
                            <a:alpha val="40000"/>
                          </a:prstClr>
                        </a:outerShdw>
                      </a:effectLst>
                      <a:latin typeface="Pulso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A46-8B4E-9B87-8116DC797FE0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A46-8B4E-9B87-8116DC797FE0}"/>
                </c:ext>
              </c:extLst>
            </c:dLbl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A46-8B4E-9B87-8116DC797F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FFFFFF"/>
                    </a:solidFill>
                    <a:effectLst>
                      <a:outerShdw blurRad="63500" sx="102000" sy="102000" algn="ctr" rotWithShape="0">
                        <a:prstClr val="black">
                          <a:alpha val="40000"/>
                        </a:prstClr>
                      </a:outerShdw>
                    </a:effectLst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Hoja1!$A$2:$A$7</c:f>
              <c:strCache>
                <c:ptCount val="6"/>
                <c:pt idx="0">
                  <c:v>IBM</c:v>
                </c:pt>
                <c:pt idx="1">
                  <c:v>Telecom</c:v>
                </c:pt>
                <c:pt idx="2">
                  <c:v>Telefonica</c:v>
                </c:pt>
                <c:pt idx="3">
                  <c:v>Claro</c:v>
                </c:pt>
                <c:pt idx="4">
                  <c:v>Resto</c:v>
                </c:pt>
                <c:pt idx="5">
                  <c:v>CenturyLink</c:v>
                </c:pt>
              </c:strCache>
            </c:strRef>
          </c:cat>
          <c:val>
            <c:numRef>
              <c:f>Hoja1!$B$2:$B$7</c:f>
              <c:numCache>
                <c:formatCode>0.0%</c:formatCode>
                <c:ptCount val="6"/>
                <c:pt idx="0">
                  <c:v>0.34200000000000003</c:v>
                </c:pt>
                <c:pt idx="1">
                  <c:v>0.24399999999999999</c:v>
                </c:pt>
                <c:pt idx="2">
                  <c:v>8.1000000000000003E-2</c:v>
                </c:pt>
                <c:pt idx="3">
                  <c:v>0.06</c:v>
                </c:pt>
                <c:pt idx="4">
                  <c:v>0.14899999999999999</c:v>
                </c:pt>
                <c:pt idx="5">
                  <c:v>0.1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A46-8B4E-9B87-8116DC797F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46"/>
        <c:holeSize val="4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583907243872519E-2"/>
          <c:y val="5.4704792034079672E-2"/>
          <c:w val="0.89782550904272551"/>
          <c:h val="0.85154571164582915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RG 5 formula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497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B65-454E-8D7A-213B77E99C51}"/>
              </c:ext>
            </c:extLst>
          </c:dPt>
          <c:dPt>
            <c:idx val="1"/>
            <c:invertIfNegative val="0"/>
            <c:bubble3D val="0"/>
            <c:spPr>
              <a:solidFill>
                <a:srgbClr val="FFC000">
                  <a:alpha val="3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B65-454E-8D7A-213B77E99C51}"/>
              </c:ext>
            </c:extLst>
          </c:dPt>
          <c:dPt>
            <c:idx val="2"/>
            <c:invertIfNegative val="0"/>
            <c:bubble3D val="0"/>
            <c:spPr>
              <a:solidFill>
                <a:srgbClr val="2279B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B65-454E-8D7A-213B77E99C51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>
                  <a:lumMod val="50000"/>
                  <a:lumOff val="50000"/>
                  <a:alpha val="3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B65-454E-8D7A-213B77E99C51}"/>
              </c:ext>
            </c:extLst>
          </c:dPt>
          <c:dPt>
            <c:idx val="4"/>
            <c:invertIfNegative val="0"/>
            <c:bubble3D val="0"/>
            <c:spPr>
              <a:solidFill>
                <a:schemeClr val="bg2">
                  <a:alpha val="3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B65-454E-8D7A-213B77E99C51}"/>
              </c:ext>
            </c:extLst>
          </c:dPt>
          <c:dPt>
            <c:idx val="5"/>
            <c:invertIfNegative val="0"/>
            <c:bubble3D val="0"/>
            <c:spPr>
              <a:solidFill>
                <a:srgbClr val="00B050">
                  <a:alpha val="3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B65-454E-8D7A-213B77E99C51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>
                  <a:alpha val="3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DB65-454E-8D7A-213B77E99C51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5">
                  <a:lumMod val="50000"/>
                  <a:alpha val="3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DB65-454E-8D7A-213B77E99C51}"/>
              </c:ext>
            </c:extLst>
          </c:dPt>
          <c:dPt>
            <c:idx val="8"/>
            <c:invertIfNegative val="0"/>
            <c:bubble3D val="0"/>
            <c:spPr>
              <a:solidFill>
                <a:srgbClr val="ACCB32">
                  <a:alpha val="3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DB65-454E-8D7A-213B77E99C51}"/>
              </c:ext>
            </c:extLst>
          </c:dPt>
          <c:dPt>
            <c:idx val="9"/>
            <c:invertIfNegative val="0"/>
            <c:bubble3D val="0"/>
            <c:spPr>
              <a:solidFill>
                <a:schemeClr val="bg1">
                  <a:lumMod val="50000"/>
                  <a:alpha val="3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DB65-454E-8D7A-213B77E99C51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DB65-454E-8D7A-213B77E99C51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>
                  <a:alpha val="50196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DB65-454E-8D7A-213B77E99C51}"/>
              </c:ext>
            </c:extLst>
          </c:dPt>
          <c:dLbls>
            <c:dLbl>
              <c:idx val="0"/>
              <c:layout>
                <c:manualLayout>
                  <c:x val="-0.12237057660456709"/>
                  <c:y val="-0.11871102486493768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chemeClr val="tx1"/>
                        </a:solidFill>
                        <a:latin typeface="Pulso" pitchFamily="2" charset="0"/>
                        <a:ea typeface="+mn-ea"/>
                        <a:cs typeface="+mn-cs"/>
                      </a:defRPr>
                    </a:pPr>
                    <a:fld id="{EFEDFEEA-ADC0-412D-A75E-05A4BD24A80F}" type="CELLRANGE">
                      <a:rPr lang="en-US"/>
                      <a:pPr>
                        <a:defRPr sz="900">
                          <a:latin typeface="Pulso" pitchFamily="2" charset="0"/>
                        </a:defRPr>
                      </a:pPr>
                      <a:t>[CELLRANGE]</a:t>
                    </a:fld>
                    <a:endParaRPr lang="es-A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tx1"/>
                      </a:solidFill>
                      <a:latin typeface="Pulso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522277550823322E-2"/>
                      <c:h val="5.231175517850619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DB65-454E-8D7A-213B77E99C51}"/>
                </c:ext>
              </c:extLst>
            </c:dLbl>
            <c:dLbl>
              <c:idx val="1"/>
              <c:layout>
                <c:manualLayout>
                  <c:x val="-0.10368968538833054"/>
                  <c:y val="0.11580793834204149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rgbClr val="24272A">
                            <a:alpha val="35000"/>
                          </a:srgbClr>
                        </a:solidFill>
                        <a:latin typeface="Pulso Light" pitchFamily="2" charset="0"/>
                        <a:ea typeface="+mn-ea"/>
                        <a:cs typeface="+mn-cs"/>
                      </a:defRPr>
                    </a:pPr>
                    <a:fld id="{8A83A2FE-4C9A-4A7D-9ACE-CE28CB1BC833}" type="CELLRANGE">
                      <a:rPr lang="en-US"/>
                      <a:pPr>
                        <a:defRPr sz="900">
                          <a:solidFill>
                            <a:srgbClr val="24272A">
                              <a:alpha val="35000"/>
                            </a:srgbClr>
                          </a:solidFill>
                          <a:latin typeface="Pulso Light" pitchFamily="2" charset="0"/>
                        </a:defRPr>
                      </a:pPr>
                      <a:t>[CELLRANGE]</a:t>
                    </a:fld>
                    <a:endParaRPr lang="es-A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rgbClr val="24272A">
                          <a:alpha val="35000"/>
                        </a:srgbClr>
                      </a:solidFill>
                      <a:latin typeface="Pulso Light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4448478633773248"/>
                      <c:h val="7.889458564550321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DB65-454E-8D7A-213B77E99C51}"/>
                </c:ext>
              </c:extLst>
            </c:dLbl>
            <c:dLbl>
              <c:idx val="2"/>
              <c:layout>
                <c:manualLayout>
                  <c:x val="-7.9311190472541121E-2"/>
                  <c:y val="-9.831584731967756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chemeClr val="tx1"/>
                        </a:solidFill>
                        <a:latin typeface="Pulso" pitchFamily="2" charset="0"/>
                        <a:ea typeface="+mn-ea"/>
                        <a:cs typeface="+mn-cs"/>
                      </a:defRPr>
                    </a:pPr>
                    <a:fld id="{4A39F44D-C932-4CE7-AE6F-03BB6EC9A9EC}" type="CELLRANGE">
                      <a:rPr lang="en-US"/>
                      <a:pPr>
                        <a:defRPr sz="900">
                          <a:latin typeface="Pulso" pitchFamily="2" charset="0"/>
                        </a:defRPr>
                      </a:pPr>
                      <a:t>[CELLRANGE]</a:t>
                    </a:fld>
                    <a:endParaRPr lang="es-A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tx1"/>
                      </a:solidFill>
                      <a:latin typeface="Pulso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4457031876507114E-2"/>
                      <c:h val="5.3841535597531333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DB65-454E-8D7A-213B77E99C51}"/>
                </c:ext>
              </c:extLst>
            </c:dLbl>
            <c:dLbl>
              <c:idx val="3"/>
              <c:layout>
                <c:manualLayout>
                  <c:x val="-2.5400566349291071E-2"/>
                  <c:y val="-6.8846768210167636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rgbClr val="24272A">
                            <a:alpha val="35000"/>
                          </a:srgbClr>
                        </a:solidFill>
                        <a:latin typeface="Pulso Light" pitchFamily="2" charset="0"/>
                        <a:ea typeface="+mn-ea"/>
                        <a:cs typeface="+mn-cs"/>
                      </a:defRPr>
                    </a:pPr>
                    <a:fld id="{920E1F7A-49D0-483D-B457-0D8623BCF32F}" type="CELLRANGE">
                      <a:rPr lang="en-US"/>
                      <a:pPr>
                        <a:defRPr sz="900">
                          <a:solidFill>
                            <a:srgbClr val="24272A">
                              <a:alpha val="35000"/>
                            </a:srgbClr>
                          </a:solidFill>
                          <a:latin typeface="Pulso Light" pitchFamily="2" charset="0"/>
                        </a:defRPr>
                      </a:pPr>
                      <a:t>[CELLRANGE]</a:t>
                    </a:fld>
                    <a:endParaRPr lang="es-A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rgbClr val="24272A">
                          <a:alpha val="35000"/>
                        </a:srgbClr>
                      </a:solidFill>
                      <a:latin typeface="Pulso Light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2460632092451974E-2"/>
                      <c:h val="5.381686863900807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DB65-454E-8D7A-213B77E99C51}"/>
                </c:ext>
              </c:extLst>
            </c:dLbl>
            <c:dLbl>
              <c:idx val="4"/>
              <c:layout>
                <c:manualLayout>
                  <c:x val="-8.399118068309544E-2"/>
                  <c:y val="8.6730313139531112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rgbClr val="24272A">
                            <a:alpha val="35000"/>
                          </a:srgbClr>
                        </a:solidFill>
                        <a:latin typeface="Pulso Light" pitchFamily="2" charset="0"/>
                        <a:ea typeface="+mn-ea"/>
                        <a:cs typeface="+mn-cs"/>
                      </a:defRPr>
                    </a:pPr>
                    <a:fld id="{762BCA94-95CA-4A7A-93E0-1B277A3B69E9}" type="CELLRANGE">
                      <a:rPr lang="en-US"/>
                      <a:pPr>
                        <a:defRPr sz="900">
                          <a:solidFill>
                            <a:srgbClr val="24272A">
                              <a:alpha val="35000"/>
                            </a:srgbClr>
                          </a:solidFill>
                          <a:latin typeface="Pulso Light" pitchFamily="2" charset="0"/>
                        </a:defRPr>
                      </a:pPr>
                      <a:t>[CELLRANGE]</a:t>
                    </a:fld>
                    <a:endParaRPr lang="es-A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rgbClr val="24272A">
                          <a:alpha val="35000"/>
                        </a:srgbClr>
                      </a:solidFill>
                      <a:latin typeface="Pulso Light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DB65-454E-8D7A-213B77E99C51}"/>
                </c:ext>
              </c:extLst>
            </c:dLbl>
            <c:dLbl>
              <c:idx val="5"/>
              <c:layout>
                <c:manualLayout>
                  <c:x val="-0.20207501788938068"/>
                  <c:y val="2.1509802327574205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rgbClr val="24272A">
                            <a:alpha val="35000"/>
                          </a:srgbClr>
                        </a:solidFill>
                        <a:latin typeface="Pulso Light" pitchFamily="2" charset="0"/>
                        <a:ea typeface="+mn-ea"/>
                        <a:cs typeface="+mn-cs"/>
                      </a:defRPr>
                    </a:pPr>
                    <a:fld id="{63CEB51C-5B35-446D-A753-4E730F17F99E}" type="CELLRANGE">
                      <a:rPr lang="en-US"/>
                      <a:pPr>
                        <a:defRPr sz="900">
                          <a:solidFill>
                            <a:srgbClr val="24272A">
                              <a:alpha val="35000"/>
                            </a:srgbClr>
                          </a:solidFill>
                          <a:latin typeface="Pulso Light" pitchFamily="2" charset="0"/>
                        </a:defRPr>
                      </a:pPr>
                      <a:t>[CELLRANGE]</a:t>
                    </a:fld>
                    <a:endParaRPr lang="es-A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rgbClr val="24272A">
                          <a:alpha val="35000"/>
                        </a:srgbClr>
                      </a:solidFill>
                      <a:latin typeface="Pulso Light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388075188793949"/>
                      <c:h val="6.4611987669952659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DB65-454E-8D7A-213B77E99C51}"/>
                </c:ext>
              </c:extLst>
            </c:dLbl>
            <c:dLbl>
              <c:idx val="6"/>
              <c:layout>
                <c:manualLayout>
                  <c:x val="-9.405461472890746E-3"/>
                  <c:y val="-6.5822384599924455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rgbClr val="24272A">
                            <a:alpha val="35000"/>
                          </a:srgbClr>
                        </a:solidFill>
                        <a:latin typeface="Pulso Light" pitchFamily="2" charset="0"/>
                        <a:ea typeface="+mn-ea"/>
                        <a:cs typeface="+mn-cs"/>
                      </a:defRPr>
                    </a:pPr>
                    <a:fld id="{68282B93-4EE8-4B74-A5CF-5040FD1E434D}" type="CELLRANGE">
                      <a:rPr lang="en-US"/>
                      <a:pPr>
                        <a:defRPr sz="900">
                          <a:solidFill>
                            <a:srgbClr val="24272A">
                              <a:alpha val="35000"/>
                            </a:srgbClr>
                          </a:solidFill>
                          <a:latin typeface="Pulso Light" pitchFamily="2" charset="0"/>
                        </a:defRPr>
                      </a:pPr>
                      <a:t>[CELLRANGE]</a:t>
                    </a:fld>
                    <a:endParaRPr lang="es-A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rgbClr val="24272A">
                          <a:alpha val="35000"/>
                        </a:srgbClr>
                      </a:solidFill>
                      <a:latin typeface="Pulso Light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DB65-454E-8D7A-213B77E99C51}"/>
                </c:ext>
              </c:extLst>
            </c:dLbl>
            <c:dLbl>
              <c:idx val="7"/>
              <c:layout>
                <c:manualLayout>
                  <c:x val="-1.0165115251890395E-2"/>
                  <c:y val="3.6865091255949292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rgbClr val="24272A">
                            <a:alpha val="35000"/>
                          </a:srgbClr>
                        </a:solidFill>
                        <a:latin typeface="Pulso Light" pitchFamily="2" charset="0"/>
                        <a:ea typeface="+mn-ea"/>
                        <a:cs typeface="+mn-cs"/>
                      </a:defRPr>
                    </a:pPr>
                    <a:fld id="{5EE0705B-4B8A-4397-9709-8CB2EC1BB260}" type="CELLRANGE">
                      <a:rPr lang="en-US"/>
                      <a:pPr>
                        <a:defRPr sz="900">
                          <a:solidFill>
                            <a:srgbClr val="24272A">
                              <a:alpha val="35000"/>
                            </a:srgbClr>
                          </a:solidFill>
                          <a:latin typeface="Pulso Light" pitchFamily="2" charset="0"/>
                        </a:defRPr>
                      </a:pPr>
                      <a:t>[CELLRANGE]</a:t>
                    </a:fld>
                    <a:endParaRPr lang="es-A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rgbClr val="24272A">
                          <a:alpha val="35000"/>
                        </a:srgbClr>
                      </a:solidFill>
                      <a:latin typeface="Pulso Light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DB65-454E-8D7A-213B77E99C51}"/>
                </c:ext>
              </c:extLst>
            </c:dLbl>
            <c:dLbl>
              <c:idx val="8"/>
              <c:layout>
                <c:manualLayout>
                  <c:x val="-0.1284145976544801"/>
                  <c:y val="-2.3812194786606141E-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rgbClr val="24272A">
                            <a:alpha val="35000"/>
                          </a:srgbClr>
                        </a:solidFill>
                        <a:latin typeface="Pulso Light" pitchFamily="2" charset="0"/>
                        <a:ea typeface="+mn-ea"/>
                        <a:cs typeface="+mn-cs"/>
                      </a:defRPr>
                    </a:pPr>
                    <a:fld id="{8761992A-DFAF-4418-9236-DDEDC793008C}" type="CELLRANGE">
                      <a:rPr lang="en-US"/>
                      <a:pPr>
                        <a:defRPr sz="900">
                          <a:solidFill>
                            <a:srgbClr val="24272A">
                              <a:alpha val="35000"/>
                            </a:srgbClr>
                          </a:solidFill>
                          <a:latin typeface="Pulso Light" pitchFamily="2" charset="0"/>
                        </a:defRPr>
                      </a:pPr>
                      <a:t>[CELLRANGE]</a:t>
                    </a:fld>
                    <a:endParaRPr lang="es-A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rgbClr val="24272A">
                          <a:alpha val="35000"/>
                        </a:srgbClr>
                      </a:solidFill>
                      <a:latin typeface="Pulso Light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3667582999663694E-2"/>
                      <c:h val="5.1485304820331229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DB65-454E-8D7A-213B77E99C51}"/>
                </c:ext>
              </c:extLst>
            </c:dLbl>
            <c:dLbl>
              <c:idx val="9"/>
              <c:layout>
                <c:manualLayout>
                  <c:x val="-7.4933138345846223E-2"/>
                  <c:y val="7.2318374503202096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rgbClr val="24272A">
                            <a:alpha val="35000"/>
                          </a:srgbClr>
                        </a:solidFill>
                        <a:latin typeface="Pulso Light" pitchFamily="2" charset="0"/>
                        <a:ea typeface="+mn-ea"/>
                        <a:cs typeface="+mn-cs"/>
                      </a:defRPr>
                    </a:pPr>
                    <a:fld id="{ACFF2133-C608-48B8-8182-35D5F1A1BFBB}" type="CELLRANGE">
                      <a:rPr lang="en-US"/>
                      <a:pPr>
                        <a:defRPr sz="900">
                          <a:solidFill>
                            <a:srgbClr val="24272A">
                              <a:alpha val="35000"/>
                            </a:srgbClr>
                          </a:solidFill>
                          <a:latin typeface="Pulso Light" pitchFamily="2" charset="0"/>
                        </a:defRPr>
                      </a:pPr>
                      <a:t>[CELLRANGE]</a:t>
                    </a:fld>
                    <a:endParaRPr lang="es-A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rgbClr val="24272A">
                          <a:alpha val="35000"/>
                        </a:srgbClr>
                      </a:solidFill>
                      <a:latin typeface="Pulso Light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DB65-454E-8D7A-213B77E99C51}"/>
                </c:ext>
              </c:extLst>
            </c:dLbl>
            <c:dLbl>
              <c:idx val="10"/>
              <c:layout>
                <c:manualLayout>
                  <c:x val="-0.10532690307396812"/>
                  <c:y val="-4.9753469836706879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chemeClr val="tx1"/>
                        </a:solidFill>
                        <a:latin typeface="Pulso" pitchFamily="2" charset="0"/>
                        <a:ea typeface="+mn-ea"/>
                        <a:cs typeface="+mn-cs"/>
                      </a:defRPr>
                    </a:pPr>
                    <a:fld id="{B91EC238-95E8-464B-839A-C49A5429DF76}" type="CELLRANGE">
                      <a:rPr lang="en-US"/>
                      <a:pPr>
                        <a:defRPr sz="900">
                          <a:latin typeface="Pulso" pitchFamily="2" charset="0"/>
                        </a:defRPr>
                      </a:pPr>
                      <a:t>[CELLRANGE]</a:t>
                    </a:fld>
                    <a:endParaRPr lang="es-A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tx1"/>
                      </a:solidFill>
                      <a:latin typeface="Pulso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DB65-454E-8D7A-213B77E99C51}"/>
                </c:ext>
              </c:extLst>
            </c:dLbl>
            <c:dLbl>
              <c:idx val="11"/>
              <c:layout>
                <c:manualLayout>
                  <c:x val="-4.0120699097862346E-2"/>
                  <c:y val="-8.6884320758832886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chemeClr val="tx1"/>
                        </a:solidFill>
                        <a:latin typeface="Pulso" pitchFamily="2" charset="0"/>
                        <a:ea typeface="+mn-ea"/>
                        <a:cs typeface="+mn-cs"/>
                      </a:defRPr>
                    </a:pPr>
                    <a:fld id="{CA3E9794-21B1-4A2E-A753-C4CB1470D573}" type="CELLRANGE">
                      <a:rPr lang="en-US"/>
                      <a:pPr>
                        <a:defRPr sz="900">
                          <a:latin typeface="Pulso" pitchFamily="2" charset="0"/>
                        </a:defRPr>
                      </a:pPr>
                      <a:t>[CELLRANGE]</a:t>
                    </a:fld>
                    <a:endParaRPr lang="es-A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tx1"/>
                      </a:solidFill>
                      <a:latin typeface="Pulso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DB65-454E-8D7A-213B77E99C51}"/>
                </c:ext>
              </c:extLst>
            </c:dLbl>
            <c:dLbl>
              <c:idx val="12"/>
              <c:layout>
                <c:manualLayout>
                  <c:x val="-0.19122418061226915"/>
                  <c:y val="0.10800502862761407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chemeClr val="tx1"/>
                        </a:solidFill>
                        <a:latin typeface="Pulso" pitchFamily="2" charset="0"/>
                        <a:ea typeface="+mn-ea"/>
                        <a:cs typeface="+mn-cs"/>
                      </a:defRPr>
                    </a:pPr>
                    <a:fld id="{AB8E1689-2DAB-4CAF-910E-9C1D828BC3EC}" type="CELLRANGE">
                      <a:rPr lang="en-US"/>
                      <a:pPr>
                        <a:defRPr sz="900">
                          <a:latin typeface="Pulso" pitchFamily="2" charset="0"/>
                        </a:defRPr>
                      </a:pPr>
                      <a:t>[CELLRANGE]</a:t>
                    </a:fld>
                    <a:endParaRPr lang="es-A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tx1"/>
                      </a:solidFill>
                      <a:latin typeface="Pulso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DB65-454E-8D7A-213B77E99C5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Pulso Light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14</c:f>
              <c:numCache>
                <c:formatCode>0.0%</c:formatCode>
                <c:ptCount val="13"/>
                <c:pt idx="0">
                  <c:v>0.23637697155443926</c:v>
                </c:pt>
                <c:pt idx="1">
                  <c:v>0.25200244126982807</c:v>
                </c:pt>
                <c:pt idx="2">
                  <c:v>0.25316393661105807</c:v>
                </c:pt>
                <c:pt idx="3">
                  <c:v>0.29250971346749788</c:v>
                </c:pt>
                <c:pt idx="4">
                  <c:v>0.22306433728263908</c:v>
                </c:pt>
                <c:pt idx="5">
                  <c:v>0.22496699283959654</c:v>
                </c:pt>
                <c:pt idx="6">
                  <c:v>0.3718889385651627</c:v>
                </c:pt>
                <c:pt idx="7">
                  <c:v>0.29105626809231588</c:v>
                </c:pt>
                <c:pt idx="8">
                  <c:v>0.21257026729023432</c:v>
                </c:pt>
                <c:pt idx="9">
                  <c:v>0.29643970996256752</c:v>
                </c:pt>
                <c:pt idx="10">
                  <c:v>0.20750528292946147</c:v>
                </c:pt>
                <c:pt idx="11">
                  <c:v>0.15883819291977241</c:v>
                </c:pt>
                <c:pt idx="12">
                  <c:v>0.12575655152663834</c:v>
                </c:pt>
              </c:numCache>
            </c:numRef>
          </c:xVal>
          <c:yVal>
            <c:numRef>
              <c:f>Sheet1!$B$2:$B$14</c:f>
              <c:numCache>
                <c:formatCode>0.0%</c:formatCode>
                <c:ptCount val="13"/>
                <c:pt idx="0">
                  <c:v>9.0709679868254511E-2</c:v>
                </c:pt>
                <c:pt idx="1">
                  <c:v>8.3935293907472008E-2</c:v>
                </c:pt>
                <c:pt idx="2">
                  <c:v>9.0669887181698661E-2</c:v>
                </c:pt>
                <c:pt idx="3">
                  <c:v>9.577511852975884E-2</c:v>
                </c:pt>
                <c:pt idx="4">
                  <c:v>7.4321035676333302E-2</c:v>
                </c:pt>
                <c:pt idx="5">
                  <c:v>7.8866297308342492E-2</c:v>
                </c:pt>
                <c:pt idx="6">
                  <c:v>7.1043660662774233E-2</c:v>
                </c:pt>
                <c:pt idx="7">
                  <c:v>9.3435364741013771E-2</c:v>
                </c:pt>
                <c:pt idx="8">
                  <c:v>8.2647788082188089E-2</c:v>
                </c:pt>
                <c:pt idx="9">
                  <c:v>8.3847468426666127E-2</c:v>
                </c:pt>
                <c:pt idx="10">
                  <c:v>9.1691046250593544E-2</c:v>
                </c:pt>
                <c:pt idx="11">
                  <c:v>0.10080397383401962</c:v>
                </c:pt>
                <c:pt idx="12">
                  <c:v>9.7113650288020992E-2</c:v>
                </c:pt>
              </c:numCache>
            </c:numRef>
          </c:yVal>
          <c:bubbleSize>
            <c:numRef>
              <c:f>Sheet1!$C$2:$C$14</c:f>
              <c:numCache>
                <c:formatCode>"$"#,##0.00</c:formatCode>
                <c:ptCount val="13"/>
                <c:pt idx="0">
                  <c:v>1124.2228249523776</c:v>
                </c:pt>
                <c:pt idx="1">
                  <c:v>1179.6149394804766</c:v>
                </c:pt>
                <c:pt idx="2">
                  <c:v>690.01008453992472</c:v>
                </c:pt>
                <c:pt idx="3">
                  <c:v>624.50671512191343</c:v>
                </c:pt>
                <c:pt idx="4">
                  <c:v>485.50582268287747</c:v>
                </c:pt>
                <c:pt idx="5">
                  <c:v>186.59272627086665</c:v>
                </c:pt>
                <c:pt idx="6">
                  <c:v>433.89815707703013</c:v>
                </c:pt>
                <c:pt idx="7">
                  <c:v>380.50387747948668</c:v>
                </c:pt>
                <c:pt idx="8">
                  <c:v>201.04562351149269</c:v>
                </c:pt>
                <c:pt idx="9">
                  <c:v>289.96035041002523</c:v>
                </c:pt>
                <c:pt idx="10">
                  <c:v>255.13781104407681</c:v>
                </c:pt>
                <c:pt idx="11">
                  <c:v>478.63208271234089</c:v>
                </c:pt>
                <c:pt idx="12">
                  <c:v>1382.8370958515716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Sheet1!$D$2:$D$19</c15:f>
                <c15:dlblRangeCache>
                  <c:ptCount val="18"/>
                  <c:pt idx="0">
                    <c:v>Banca</c:v>
                  </c:pt>
                  <c:pt idx="1">
                    <c:v>Manufactura</c:v>
                  </c:pt>
                  <c:pt idx="2">
                    <c:v>Energía</c:v>
                  </c:pt>
                  <c:pt idx="3">
                    <c:v>Salud</c:v>
                  </c:pt>
                  <c:pt idx="4">
                    <c:v>Telecomunicaciones</c:v>
                  </c:pt>
                  <c:pt idx="5">
                    <c:v>Agricultura y Pesca</c:v>
                  </c:pt>
                  <c:pt idx="6">
                    <c:v>Retail</c:v>
                  </c:pt>
                  <c:pt idx="7">
                    <c:v>Media y Entretenimiento</c:v>
                  </c:pt>
                  <c:pt idx="8">
                    <c:v>Seguros</c:v>
                  </c:pt>
                  <c:pt idx="9">
                    <c:v>Viajes y Transporte</c:v>
                  </c:pt>
                  <c:pt idx="10">
                    <c:v>Minería</c:v>
                  </c:pt>
                  <c:pt idx="11">
                    <c:v>Gobierno</c:v>
                  </c:pt>
                  <c:pt idx="12">
                    <c:v>Otras Industrias</c:v>
                  </c:pt>
                  <c:pt idx="13">
                    <c:v>Total</c:v>
                  </c:pt>
                  <c:pt idx="15">
                    <c:v>Sistemas aumentados de inteligencia y prevención de amenazas</c:v>
                  </c:pt>
                  <c:pt idx="17">
                    <c:v>Sum of Value (Constant Annual) (USD M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9-DB65-454E-8D7A-213B77E99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89689855"/>
        <c:axId val="89691519"/>
      </c:bubbleChart>
      <c:valAx>
        <c:axId val="89689855"/>
        <c:scaling>
          <c:orientation val="minMax"/>
          <c:min val="5.000000000000001E-2"/>
        </c:scaling>
        <c:delete val="0"/>
        <c:axPos val="b"/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Pulso Light" pitchFamily="2" charset="0"/>
                <a:ea typeface="+mn-ea"/>
                <a:cs typeface="+mn-cs"/>
              </a:defRPr>
            </a:pPr>
            <a:endParaRPr lang="en-US"/>
          </a:p>
        </c:txPr>
        <c:crossAx val="89691519"/>
        <c:crosses val="autoZero"/>
        <c:crossBetween val="midCat"/>
      </c:valAx>
      <c:valAx>
        <c:axId val="89691519"/>
        <c:scaling>
          <c:orientation val="minMax"/>
          <c:min val="5.000000000000001E-2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Pulso Light" pitchFamily="2" charset="0"/>
                <a:ea typeface="+mn-ea"/>
                <a:cs typeface="+mn-cs"/>
              </a:defRPr>
            </a:pPr>
            <a:endParaRPr lang="en-US"/>
          </a:p>
        </c:txPr>
        <c:crossAx val="8968985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605451936872305E-2"/>
          <c:y val="7.4605451936872305E-2"/>
          <c:w val="0.85078909612625542"/>
          <c:h val="0.85078909612625542"/>
        </c:manualLayout>
      </c:layout>
      <c:doughnutChart>
        <c:varyColors val="0"/>
        <c:ser>
          <c:idx val="0"/>
          <c:order val="0"/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053-3141-AA96-8D5672BBBFC3}"/>
              </c:ext>
            </c:extLst>
          </c:dPt>
          <c:dPt>
            <c:idx val="1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053-3141-AA96-8D5672BBBFC3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17</c:v>
                </c:pt>
                <c:pt idx="1">
                  <c:v>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053-3141-AA96-8D5672BBBF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9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74581793775903"/>
          <c:y val="1.4995913761097678E-2"/>
          <c:w val="0.56138605886492099"/>
          <c:h val="0.95876123715698136"/>
        </c:manualLayout>
      </c:layout>
      <c:pieChart>
        <c:varyColors val="1"/>
        <c:ser>
          <c:idx val="1"/>
          <c:order val="0"/>
          <c:tx>
            <c:strRef>
              <c:f>Hoja1!$C$1</c:f>
              <c:strCache>
                <c:ptCount val="1"/>
                <c:pt idx="0">
                  <c:v>Columna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530-7445-9860-AAD2B947D9D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530-7445-9860-AAD2B947D9D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530-7445-9860-AAD2B947D9D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530-7445-9860-AAD2B947D9D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530-7445-9860-AAD2B947D9D4}"/>
              </c:ext>
            </c:extLst>
          </c:dPt>
          <c:dLbls>
            <c:delete val="1"/>
          </c:dLbls>
          <c:cat>
            <c:strRef>
              <c:f>Hoja1!$A$2:$A$3</c:f>
              <c:strCache>
                <c:ptCount val="2"/>
                <c:pt idx="0">
                  <c:v>CORE</c:v>
                </c:pt>
                <c:pt idx="1">
                  <c:v>TECH+PE</c:v>
                </c:pt>
              </c:strCache>
            </c:strRef>
          </c:cat>
          <c:val>
            <c:numRef>
              <c:f>Hoja1!$C$2:$C$3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A-8530-7445-9860-AAD2B947D9D4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3">
    <c:autoUpdate val="0"/>
  </c:externalData>
  <c:userShapes r:id="rId4"/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1"/>
          <c:tx>
            <c:strRef>
              <c:f>Hoja1!$C$1</c:f>
              <c:strCache>
                <c:ptCount val="1"/>
                <c:pt idx="0">
                  <c:v>Columna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599-F044-BDE4-17EC779D855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599-F044-BDE4-17EC779D855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599-F044-BDE4-17EC779D855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599-F044-BDE4-17EC779D855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599-F044-BDE4-17EC779D8556}"/>
              </c:ext>
            </c:extLst>
          </c:dPt>
          <c:dLbls>
            <c:delete val="1"/>
          </c:dLbls>
          <c:cat>
            <c:strRef>
              <c:f>Hoja1!$A$2:$A$6</c:f>
              <c:strCache>
                <c:ptCount val="5"/>
                <c:pt idx="0">
                  <c:v>CORE</c:v>
                </c:pt>
                <c:pt idx="1">
                  <c:v>IOT</c:v>
                </c:pt>
                <c:pt idx="2">
                  <c:v>CLOUD</c:v>
                </c:pt>
                <c:pt idx="3">
                  <c:v>CIBER</c:v>
                </c:pt>
                <c:pt idx="4">
                  <c:v>PROY</c:v>
                </c:pt>
              </c:strCache>
            </c:strRef>
          </c:cat>
          <c:val>
            <c:numRef>
              <c:f>Hoja1!$C$2:$C$6</c:f>
              <c:numCache>
                <c:formatCode>General</c:formatCode>
                <c:ptCount val="5"/>
                <c:pt idx="0" formatCode="0%">
                  <c:v>0</c:v>
                </c:pt>
                <c:pt idx="1">
                  <c:v>0</c:v>
                </c:pt>
                <c:pt idx="2">
                  <c:v>0</c:v>
                </c:pt>
                <c:pt idx="3" formatCode="0%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99-F044-BDE4-17EC779D8556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</c:pieChart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spPr>
            <a:ln w="9525"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D2DAFD"/>
              </a:solidFill>
              <a:ln w="952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3599-F044-BDE4-17EC779D8556}"/>
              </c:ext>
            </c:extLst>
          </c:dPt>
          <c:dPt>
            <c:idx val="1"/>
            <c:bubble3D val="0"/>
            <c:spPr>
              <a:solidFill>
                <a:srgbClr val="F8C0FD"/>
              </a:solidFill>
              <a:ln w="952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3599-F044-BDE4-17EC779D8556}"/>
              </c:ext>
            </c:extLst>
          </c:dPt>
          <c:dPt>
            <c:idx val="2"/>
            <c:bubble3D val="0"/>
            <c:spPr>
              <a:solidFill>
                <a:srgbClr val="FFE1BD"/>
              </a:solidFill>
              <a:ln w="952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3599-F044-BDE4-17EC779D8556}"/>
              </c:ext>
            </c:extLst>
          </c:dPt>
          <c:dPt>
            <c:idx val="3"/>
            <c:bubble3D val="0"/>
            <c:spPr>
              <a:solidFill>
                <a:srgbClr val="CDC7EB"/>
              </a:solidFill>
              <a:ln w="952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3599-F044-BDE4-17EC779D8556}"/>
              </c:ext>
            </c:extLst>
          </c:dPt>
          <c:dPt>
            <c:idx val="4"/>
            <c:bubble3D val="0"/>
            <c:spPr>
              <a:solidFill>
                <a:srgbClr val="D3B9FF"/>
              </a:solidFill>
              <a:ln w="952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3599-F044-BDE4-17EC779D8556}"/>
              </c:ext>
            </c:extLst>
          </c:dPt>
          <c:dLbls>
            <c:dLbl>
              <c:idx val="0"/>
              <c:layout>
                <c:manualLayout>
                  <c:x val="0"/>
                  <c:y val="3.5558243422773609E-3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800" b="1" i="0" u="none" strike="noStrike" kern="1200" baseline="0">
                        <a:solidFill>
                          <a:schemeClr val="bg1">
                            <a:lumMod val="25000"/>
                          </a:schemeClr>
                        </a:solidFill>
                        <a:latin typeface="Pulso" pitchFamily="2" charset="0"/>
                        <a:ea typeface="+mn-ea"/>
                        <a:cs typeface="+mn-cs"/>
                      </a:defRPr>
                    </a:pPr>
                    <a:fld id="{76376159-1936-E64E-90BC-6F8213691AE9}" type="VALUE">
                      <a:rPr lang="en-US" sz="800">
                        <a:solidFill>
                          <a:schemeClr val="bg1">
                            <a:lumMod val="25000"/>
                          </a:schemeClr>
                        </a:solidFill>
                      </a:rPr>
                      <a:pPr>
                        <a:defRPr sz="800">
                          <a:solidFill>
                            <a:schemeClr val="bg1">
                              <a:lumMod val="25000"/>
                            </a:schemeClr>
                          </a:solidFill>
                        </a:defRPr>
                      </a:pPr>
                      <a:t>[VALOR]</a:t>
                    </a:fld>
                    <a:endParaRPr lang="es-A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bg1">
                          <a:lumMod val="25000"/>
                        </a:schemeClr>
                      </a:solidFill>
                      <a:latin typeface="Pulso" pitchFamily="2" charset="0"/>
                      <a:ea typeface="+mn-ea"/>
                      <a:cs typeface="+mn-cs"/>
                    </a:defRPr>
                  </a:pPr>
                  <a:endParaRPr lang="es-AR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;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3599-F044-BDE4-17EC779D8556}"/>
                </c:ext>
              </c:extLst>
            </c:dLbl>
            <c:dLbl>
              <c:idx val="1"/>
              <c:layout>
                <c:manualLayout>
                  <c:x val="1.0177972055737834E-3"/>
                  <c:y val="-4.7959507991870952E-3"/>
                </c:manualLayout>
              </c:layout>
              <c:tx>
                <c:rich>
                  <a:bodyPr/>
                  <a:lstStyle/>
                  <a:p>
                    <a:fld id="{A54A3EDC-C24D-B448-A90D-F15F964F77DA}" type="VALUE">
                      <a:rPr lang="en-US"/>
                      <a:pPr/>
                      <a:t>[VALOR]</a:t>
                    </a:fld>
                    <a:endParaRPr lang="es-AR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; 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3599-F044-BDE4-17EC779D8556}"/>
                </c:ext>
              </c:extLst>
            </c:dLbl>
            <c:dLbl>
              <c:idx val="2"/>
              <c:layout>
                <c:manualLayout>
                  <c:x val="-4.3459577301830835E-17"/>
                  <c:y val="1.066747302683241E-2"/>
                </c:manualLayout>
              </c:layout>
              <c:tx>
                <c:rich>
                  <a:bodyPr/>
                  <a:lstStyle/>
                  <a:p>
                    <a:fld id="{FE1AE4CC-9950-154B-9ECE-792BF1FDC7DF}" type="VALUE">
                      <a:rPr lang="en-US" baseline="0" smtClean="0"/>
                      <a:pPr/>
                      <a:t>[VALOR]</a:t>
                    </a:fld>
                    <a:endParaRPr lang="es-AR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; 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3599-F044-BDE4-17EC779D8556}"/>
                </c:ext>
              </c:extLst>
            </c:dLbl>
            <c:dLbl>
              <c:idx val="3"/>
              <c:layout>
                <c:manualLayout>
                  <c:x val="-4.3459577301830835E-17"/>
                  <c:y val="3.5558243422774915E-3"/>
                </c:manualLayout>
              </c:layout>
              <c:tx>
                <c:rich>
                  <a:bodyPr/>
                  <a:lstStyle/>
                  <a:p>
                    <a:fld id="{6E730FEA-F0D2-7C44-B105-9557F65E67B8}" type="VALUE">
                      <a:rPr lang="en-US" baseline="0" smtClean="0"/>
                      <a:pPr/>
                      <a:t>[VALOR]</a:t>
                    </a:fld>
                    <a:endParaRPr lang="es-AR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; 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3599-F044-BDE4-17EC779D8556}"/>
                </c:ext>
              </c:extLst>
            </c:dLbl>
            <c:dLbl>
              <c:idx val="4"/>
              <c:layout>
                <c:manualLayout>
                  <c:x val="-1.1852748913793558E-3"/>
                  <c:y val="3.5558243422774915E-3"/>
                </c:manualLayout>
              </c:layout>
              <c:tx>
                <c:rich>
                  <a:bodyPr/>
                  <a:lstStyle/>
                  <a:p>
                    <a:fld id="{DF2B8500-621E-4848-881D-89EFD0ACE159}" type="VALUE">
                      <a:rPr lang="en-US" baseline="0" smtClean="0"/>
                      <a:pPr/>
                      <a:t>[VALOR]</a:t>
                    </a:fld>
                    <a:endParaRPr lang="es-AR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; 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3599-F044-BDE4-17EC779D85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; </c:separator>
            <c:showLeaderLines val="0"/>
            <c:extLst>
              <c:ext xmlns:c15="http://schemas.microsoft.com/office/drawing/2012/chart" uri="{CE6537A1-D6FC-4f65-9D91-7224C49458BB}">
                <c15:showDataLabelsRange val="1"/>
              </c:ext>
            </c:extLst>
          </c:dLbls>
          <c:cat>
            <c:strRef>
              <c:f>Hoja1!$A$2:$A$6</c:f>
              <c:strCache>
                <c:ptCount val="5"/>
                <c:pt idx="0">
                  <c:v>CORE</c:v>
                </c:pt>
                <c:pt idx="1">
                  <c:v>IOT</c:v>
                </c:pt>
                <c:pt idx="2">
                  <c:v>CLOUD</c:v>
                </c:pt>
                <c:pt idx="3">
                  <c:v>CIBER</c:v>
                </c:pt>
                <c:pt idx="4">
                  <c:v>PROY</c:v>
                </c:pt>
              </c:strCache>
            </c:strRef>
          </c:cat>
          <c:val>
            <c:numRef>
              <c:f>Hoja1!$B$2:$B$6</c:f>
              <c:numCache>
                <c:formatCode>\U"$"\ 0</c:formatCode>
                <c:ptCount val="5"/>
                <c:pt idx="0">
                  <c:v>350</c:v>
                </c:pt>
                <c:pt idx="1">
                  <c:v>11.200000000000001</c:v>
                </c:pt>
                <c:pt idx="2">
                  <c:v>62.7</c:v>
                </c:pt>
                <c:pt idx="3">
                  <c:v>24</c:v>
                </c:pt>
                <c:pt idx="4">
                  <c:v>35.299999999999997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Hoja1!$C$2:$C$6</c15:f>
                <c15:dlblRangeCache>
                  <c:ptCount val="5"/>
                  <c:pt idx="0">
                    <c:v>+7%</c:v>
                  </c:pt>
                  <c:pt idx="1">
                    <c:v>+10%</c:v>
                  </c:pt>
                  <c:pt idx="2">
                    <c:v>+21%</c:v>
                  </c:pt>
                  <c:pt idx="3">
                    <c:v>+25%</c:v>
                  </c:pt>
                  <c:pt idx="4">
                    <c:v>+29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5-3599-F044-BDE4-17EC779D8556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0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 i="0">
          <a:latin typeface="Pulso" pitchFamily="2" charset="0"/>
        </a:defRPr>
      </a:pPr>
      <a:endParaRPr lang="es-AR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1"/>
          <c:showCatName val="1"/>
          <c:showSerName val="0"/>
          <c:showPercent val="0"/>
          <c:showBubbleSize val="0"/>
          <c:showLeaderLines val="0"/>
        </c:dLbls>
        <c:firstSliceAng val="0"/>
        <c:holeSize val="7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1"/>
          <c:tx>
            <c:strRef>
              <c:f>Hoja1!$C$1</c:f>
              <c:strCache>
                <c:ptCount val="1"/>
                <c:pt idx="0">
                  <c:v>Columna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286-5F4B-8E24-0EDF5F35611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286-5F4B-8E24-0EDF5F35611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286-5F4B-8E24-0EDF5F35611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286-5F4B-8E24-0EDF5F35611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286-5F4B-8E24-0EDF5F356114}"/>
              </c:ext>
            </c:extLst>
          </c:dPt>
          <c:dLbls>
            <c:delete val="1"/>
          </c:dLbls>
          <c:cat>
            <c:strRef>
              <c:f>Hoja1!$A$2:$A$6</c:f>
              <c:strCache>
                <c:ptCount val="5"/>
                <c:pt idx="0">
                  <c:v>CORE</c:v>
                </c:pt>
                <c:pt idx="1">
                  <c:v>IOT</c:v>
                </c:pt>
                <c:pt idx="2">
                  <c:v>CLOUD</c:v>
                </c:pt>
                <c:pt idx="3">
                  <c:v>CIBER</c:v>
                </c:pt>
                <c:pt idx="4">
                  <c:v>PROY</c:v>
                </c:pt>
              </c:strCache>
            </c:strRef>
          </c:cat>
          <c:val>
            <c:numRef>
              <c:f>Hoja1!$C$2:$C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A-D286-5F4B-8E24-0EDF5F356114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</c:pieChart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spPr>
            <a:ln w="9525"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D2DAFD"/>
              </a:solidFill>
              <a:ln w="952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D286-5F4B-8E24-0EDF5F356114}"/>
              </c:ext>
            </c:extLst>
          </c:dPt>
          <c:dPt>
            <c:idx val="1"/>
            <c:bubble3D val="0"/>
            <c:spPr>
              <a:solidFill>
                <a:srgbClr val="F8C0FD"/>
              </a:solidFill>
              <a:ln w="952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D286-5F4B-8E24-0EDF5F356114}"/>
              </c:ext>
            </c:extLst>
          </c:dPt>
          <c:dPt>
            <c:idx val="2"/>
            <c:bubble3D val="0"/>
            <c:spPr>
              <a:solidFill>
                <a:srgbClr val="FFE1BD"/>
              </a:solidFill>
              <a:ln w="952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D286-5F4B-8E24-0EDF5F356114}"/>
              </c:ext>
            </c:extLst>
          </c:dPt>
          <c:dPt>
            <c:idx val="3"/>
            <c:bubble3D val="0"/>
            <c:spPr>
              <a:solidFill>
                <a:srgbClr val="CCC6EB"/>
              </a:solidFill>
              <a:ln w="952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D286-5F4B-8E24-0EDF5F356114}"/>
              </c:ext>
            </c:extLst>
          </c:dPt>
          <c:dPt>
            <c:idx val="4"/>
            <c:bubble3D val="0"/>
            <c:spPr>
              <a:solidFill>
                <a:srgbClr val="D3B9FF"/>
              </a:solidFill>
              <a:ln w="952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D286-5F4B-8E24-0EDF5F356114}"/>
              </c:ext>
            </c:extLst>
          </c:dPt>
          <c:dLbls>
            <c:dLbl>
              <c:idx val="0"/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00" b="1" i="0" u="none" strike="noStrike" kern="1200" baseline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Pulso" pitchFamily="2" charset="0"/>
                        <a:ea typeface="Roboto" panose="02000000000000000000" pitchFamily="2" charset="0"/>
                        <a:cs typeface="+mn-cs"/>
                      </a:defRPr>
                    </a:pPr>
                    <a:fld id="{76376159-1936-E64E-90BC-6F8213691AE9}" type="VALUE">
                      <a:rPr lang="en-US" sz="1100" b="1" i="0" baseline="0" smtClean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Pulso" pitchFamily="2" charset="0"/>
                        <a:ea typeface="Roboto" panose="02000000000000000000" pitchFamily="2" charset="0"/>
                      </a:rPr>
                      <a:pPr>
                        <a:defRPr sz="1100" b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Pulso" pitchFamily="2" charset="0"/>
                          <a:ea typeface="Roboto" panose="02000000000000000000" pitchFamily="2" charset="0"/>
                        </a:defRPr>
                      </a:pPr>
                      <a:t>[VALOR]</a:t>
                    </a:fld>
                    <a:endParaRPr lang="es-A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bg1">
                          <a:lumMod val="25000"/>
                        </a:schemeClr>
                      </a:solidFill>
                      <a:effectLst/>
                      <a:latin typeface="Pulso" pitchFamily="2" charset="0"/>
                      <a:ea typeface="Roboto" panose="02000000000000000000" pitchFamily="2" charset="0"/>
                      <a:cs typeface="+mn-cs"/>
                    </a:defRPr>
                  </a:pPr>
                  <a:endParaRPr lang="es-AR"/>
                </a:p>
              </c:txPr>
              <c:showLegendKey val="0"/>
              <c:showVal val="1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D286-5F4B-8E24-0EDF5F35611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A54A3EDC-C24D-B448-A90D-F15F964F77DA}" type="VALUE">
                      <a:rPr lang="en-US" baseline="0" smtClean="0"/>
                      <a:pPr/>
                      <a:t>[VALOR]</a:t>
                    </a:fld>
                    <a:endParaRPr lang="es-A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D286-5F4B-8E24-0EDF5F35611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FE1AE4CC-9950-154B-9ECE-792BF1FDC7DF}" type="VALUE">
                      <a:rPr lang="en-US" baseline="0" smtClean="0"/>
                      <a:pPr/>
                      <a:t>[VALOR]</a:t>
                    </a:fld>
                    <a:endParaRPr lang="es-A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D286-5F4B-8E24-0EDF5F356114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E730FEA-F0D2-7C44-B105-9557F65E67B8}" type="VALUE">
                      <a:rPr lang="en-US" baseline="0" smtClean="0"/>
                      <a:pPr/>
                      <a:t>[VALOR]</a:t>
                    </a:fld>
                    <a:endParaRPr lang="es-A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D286-5F4B-8E24-0EDF5F356114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F2B8500-621E-4848-881D-89EFD0ACE159}" type="VALUE">
                      <a:rPr lang="en-US" baseline="0" smtClean="0"/>
                      <a:pPr/>
                      <a:t>[VALOR]</a:t>
                    </a:fld>
                    <a:endParaRPr lang="es-A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4-D286-5F4B-8E24-0EDF5F35611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>
                        <a:lumMod val="25000"/>
                      </a:schemeClr>
                    </a:solidFill>
                    <a:effectLst/>
                    <a:latin typeface="Pulso" pitchFamily="2" charset="0"/>
                    <a:ea typeface="Roboto" panose="02000000000000000000" pitchFamily="2" charset="0"/>
                    <a:cs typeface="+mn-cs"/>
                  </a:defRPr>
                </a:pPr>
                <a:endParaRPr lang="es-AR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; 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Hoja1!$A$2:$A$6</c:f>
              <c:strCache>
                <c:ptCount val="5"/>
                <c:pt idx="0">
                  <c:v>CORE</c:v>
                </c:pt>
                <c:pt idx="1">
                  <c:v>IOT</c:v>
                </c:pt>
                <c:pt idx="2">
                  <c:v>CLOUD</c:v>
                </c:pt>
                <c:pt idx="3">
                  <c:v>CIBER</c:v>
                </c:pt>
                <c:pt idx="4">
                  <c:v>PROY</c:v>
                </c:pt>
              </c:strCache>
            </c:strRef>
          </c:cat>
          <c:val>
            <c:numRef>
              <c:f>Hoja1!$B$2:$B$6</c:f>
              <c:numCache>
                <c:formatCode>\U"$"\ 0</c:formatCode>
                <c:ptCount val="5"/>
                <c:pt idx="0">
                  <c:v>341</c:v>
                </c:pt>
                <c:pt idx="1">
                  <c:v>12.3</c:v>
                </c:pt>
                <c:pt idx="2">
                  <c:v>75.8</c:v>
                </c:pt>
                <c:pt idx="3">
                  <c:v>29</c:v>
                </c:pt>
                <c:pt idx="4">
                  <c:v>45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D286-5F4B-8E24-0EDF5F356114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74581793775903"/>
          <c:y val="1.4995913761097678E-2"/>
          <c:w val="0.56138605886492099"/>
          <c:h val="0.95876123715698136"/>
        </c:manualLayout>
      </c:layout>
      <c:pieChart>
        <c:varyColors val="1"/>
        <c:ser>
          <c:idx val="1"/>
          <c:order val="0"/>
          <c:tx>
            <c:strRef>
              <c:f>Hoja1!$C$1</c:f>
              <c:strCache>
                <c:ptCount val="1"/>
                <c:pt idx="0">
                  <c:v>Columna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DD7-0D48-9E92-3BFD58F0584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DD7-0D48-9E92-3BFD58F0584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DD7-0D48-9E92-3BFD58F0584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DD7-0D48-9E92-3BFD58F0584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DD7-0D48-9E92-3BFD58F05848}"/>
              </c:ext>
            </c:extLst>
          </c:dPt>
          <c:dLbls>
            <c:delete val="1"/>
          </c:dLbls>
          <c:cat>
            <c:strRef>
              <c:f>Hoja1!$A$2:$A$3</c:f>
              <c:strCache>
                <c:ptCount val="2"/>
                <c:pt idx="0">
                  <c:v>CORE</c:v>
                </c:pt>
                <c:pt idx="1">
                  <c:v>TECH+PE</c:v>
                </c:pt>
              </c:strCache>
            </c:strRef>
          </c:cat>
          <c:val>
            <c:numRef>
              <c:f>Hoja1!$C$2:$C$3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A-2DD7-0D48-9E92-3BFD58F05848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3">
    <c:autoUpdate val="0"/>
  </c:externalData>
  <c:userShapes r:id="rId4"/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1"/>
          <c:tx>
            <c:strRef>
              <c:f>Hoja1!$C$1</c:f>
              <c:strCache>
                <c:ptCount val="1"/>
                <c:pt idx="0">
                  <c:v>Columna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00F-384E-B370-0A136BCBE99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00F-384E-B370-0A136BCBE99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00F-384E-B370-0A136BCBE99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00F-384E-B370-0A136BCBE99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00F-384E-B370-0A136BCBE992}"/>
              </c:ext>
            </c:extLst>
          </c:dPt>
          <c:dLbls>
            <c:delete val="1"/>
          </c:dLbls>
          <c:cat>
            <c:strRef>
              <c:f>Hoja1!$A$2:$A$6</c:f>
              <c:strCache>
                <c:ptCount val="5"/>
                <c:pt idx="0">
                  <c:v>CORE</c:v>
                </c:pt>
                <c:pt idx="1">
                  <c:v>IOT</c:v>
                </c:pt>
                <c:pt idx="2">
                  <c:v>CLOUD</c:v>
                </c:pt>
                <c:pt idx="3">
                  <c:v>CIBER</c:v>
                </c:pt>
                <c:pt idx="4">
                  <c:v>PROY</c:v>
                </c:pt>
              </c:strCache>
            </c:strRef>
          </c:cat>
          <c:val>
            <c:numRef>
              <c:f>Hoja1!$C$2:$C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A-400F-384E-B370-0A136BCBE992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</c:pieChart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spPr>
            <a:ln w="9525"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D2DAFD"/>
              </a:solidFill>
              <a:ln w="952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400F-384E-B370-0A136BCBE992}"/>
              </c:ext>
            </c:extLst>
          </c:dPt>
          <c:dPt>
            <c:idx val="1"/>
            <c:bubble3D val="0"/>
            <c:spPr>
              <a:solidFill>
                <a:srgbClr val="F8C0FD"/>
              </a:solidFill>
              <a:ln w="952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400F-384E-B370-0A136BCBE992}"/>
              </c:ext>
            </c:extLst>
          </c:dPt>
          <c:dPt>
            <c:idx val="2"/>
            <c:bubble3D val="0"/>
            <c:spPr>
              <a:solidFill>
                <a:srgbClr val="FFE1BD"/>
              </a:solidFill>
              <a:ln w="952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400F-384E-B370-0A136BCBE992}"/>
              </c:ext>
            </c:extLst>
          </c:dPt>
          <c:dPt>
            <c:idx val="3"/>
            <c:bubble3D val="0"/>
            <c:spPr>
              <a:solidFill>
                <a:srgbClr val="D3B9FF"/>
              </a:solidFill>
              <a:ln w="952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400F-384E-B370-0A136BCBE992}"/>
              </c:ext>
            </c:extLst>
          </c:dPt>
          <c:dPt>
            <c:idx val="4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 w="952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400F-384E-B370-0A136BCBE992}"/>
              </c:ext>
            </c:extLst>
          </c:dPt>
          <c:dLbls>
            <c:dLbl>
              <c:idx val="0"/>
              <c:layout>
                <c:manualLayout>
                  <c:x val="1.0314513474754518E-2"/>
                  <c:y val="4.4039008158312954E-3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00" b="1" i="0" u="none" strike="noStrike" kern="1200" baseline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Pulso" pitchFamily="2" charset="0"/>
                        <a:ea typeface="Roboto" panose="02000000000000000000" pitchFamily="2" charset="0"/>
                        <a:cs typeface="+mn-cs"/>
                      </a:defRPr>
                    </a:pPr>
                    <a:fld id="{76376159-1936-E64E-90BC-6F8213691AE9}" type="VALUE">
                      <a:rPr lang="en-US" sz="1100" b="1" i="0" baseline="0" smtClean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Pulso" pitchFamily="2" charset="0"/>
                        <a:ea typeface="Roboto" panose="02000000000000000000" pitchFamily="2" charset="0"/>
                      </a:rPr>
                      <a:pPr>
                        <a:defRPr sz="1100" b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Pulso" pitchFamily="2" charset="0"/>
                          <a:ea typeface="Roboto" panose="02000000000000000000" pitchFamily="2" charset="0"/>
                        </a:defRPr>
                      </a:pPr>
                      <a:t>[VALOR]</a:t>
                    </a:fld>
                    <a:endParaRPr lang="es-A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bg1">
                          <a:lumMod val="25000"/>
                        </a:schemeClr>
                      </a:solidFill>
                      <a:effectLst/>
                      <a:latin typeface="Pulso" pitchFamily="2" charset="0"/>
                      <a:ea typeface="Roboto" panose="02000000000000000000" pitchFamily="2" charset="0"/>
                      <a:cs typeface="+mn-cs"/>
                    </a:defRPr>
                  </a:pPr>
                  <a:endParaRPr lang="es-AR"/>
                </a:p>
              </c:txPr>
              <c:showLegendKey val="0"/>
              <c:showVal val="1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400F-384E-B370-0A136BCBE99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A54A3EDC-C24D-B448-A90D-F15F964F77DA}" type="VALUE">
                      <a:rPr lang="en-US" baseline="0" smtClean="0"/>
                      <a:pPr/>
                      <a:t>[VALOR]</a:t>
                    </a:fld>
                    <a:endParaRPr lang="es-A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400F-384E-B370-0A136BCBE99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FE1AE4CC-9950-154B-9ECE-792BF1FDC7DF}" type="VALUE">
                      <a:rPr lang="en-US" baseline="0" smtClean="0"/>
                      <a:pPr/>
                      <a:t>[VALOR]</a:t>
                    </a:fld>
                    <a:endParaRPr lang="es-A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400F-384E-B370-0A136BCBE99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E730FEA-F0D2-7C44-B105-9557F65E67B8}" type="VALUE">
                      <a:rPr lang="en-US" baseline="0" smtClean="0"/>
                      <a:pPr/>
                      <a:t>[VALOR]</a:t>
                    </a:fld>
                    <a:endParaRPr lang="es-A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400F-384E-B370-0A136BCBE99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F2B8500-621E-4848-881D-89EFD0ACE159}" type="VALUE">
                      <a:rPr lang="en-US" baseline="0" smtClean="0"/>
                      <a:pPr/>
                      <a:t>[VALOR]</a:t>
                    </a:fld>
                    <a:endParaRPr lang="es-A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4-400F-384E-B370-0A136BCBE99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>
                        <a:lumMod val="25000"/>
                      </a:schemeClr>
                    </a:solidFill>
                    <a:effectLst/>
                    <a:latin typeface="Pulso" pitchFamily="2" charset="0"/>
                    <a:ea typeface="Roboto" panose="02000000000000000000" pitchFamily="2" charset="0"/>
                    <a:cs typeface="+mn-cs"/>
                  </a:defRPr>
                </a:pPr>
                <a:endParaRPr lang="es-AR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; 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Hoja1!$A$2:$A$6</c:f>
              <c:strCache>
                <c:ptCount val="5"/>
                <c:pt idx="0">
                  <c:v>CORE</c:v>
                </c:pt>
                <c:pt idx="1">
                  <c:v>IOT</c:v>
                </c:pt>
                <c:pt idx="2">
                  <c:v>CLOUD</c:v>
                </c:pt>
                <c:pt idx="3">
                  <c:v>CIBER</c:v>
                </c:pt>
                <c:pt idx="4">
                  <c:v>PROY</c:v>
                </c:pt>
              </c:strCache>
            </c:strRef>
          </c:cat>
          <c:val>
            <c:numRef>
              <c:f>Hoja1!$B$2:$B$6</c:f>
              <c:numCache>
                <c:formatCode>\U"$"\ 0</c:formatCode>
                <c:ptCount val="5"/>
                <c:pt idx="0">
                  <c:v>311</c:v>
                </c:pt>
                <c:pt idx="1">
                  <c:v>28</c:v>
                </c:pt>
                <c:pt idx="2">
                  <c:v>84</c:v>
                </c:pt>
                <c:pt idx="3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400F-384E-B370-0A136BCBE992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1"/>
          <c:tx>
            <c:strRef>
              <c:f>Hoja1!$C$1</c:f>
              <c:strCache>
                <c:ptCount val="1"/>
                <c:pt idx="0">
                  <c:v>Columna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159-D746-A469-DBEE8256C8A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159-D746-A469-DBEE8256C8A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159-D746-A469-DBEE8256C8A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159-D746-A469-DBEE8256C8A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159-D746-A469-DBEE8256C8A8}"/>
              </c:ext>
            </c:extLst>
          </c:dPt>
          <c:dLbls>
            <c:delete val="1"/>
          </c:dLbls>
          <c:cat>
            <c:strRef>
              <c:f>Hoja1!$A$2:$A$6</c:f>
              <c:strCache>
                <c:ptCount val="5"/>
                <c:pt idx="0">
                  <c:v>CORE</c:v>
                </c:pt>
                <c:pt idx="1">
                  <c:v>IOT</c:v>
                </c:pt>
                <c:pt idx="2">
                  <c:v>CLOUD</c:v>
                </c:pt>
                <c:pt idx="3">
                  <c:v>CIBER</c:v>
                </c:pt>
                <c:pt idx="4">
                  <c:v>PROY</c:v>
                </c:pt>
              </c:strCache>
            </c:strRef>
          </c:cat>
          <c:val>
            <c:numRef>
              <c:f>Hoja1!$C$2:$C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A-A159-D746-A469-DBEE8256C8A8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</c:pieChart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spPr>
            <a:ln w="9525"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D2DAFD"/>
              </a:solidFill>
              <a:ln w="952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A159-D746-A469-DBEE8256C8A8}"/>
              </c:ext>
            </c:extLst>
          </c:dPt>
          <c:dPt>
            <c:idx val="1"/>
            <c:bubble3D val="0"/>
            <c:spPr>
              <a:solidFill>
                <a:srgbClr val="F8C0FD"/>
              </a:solidFill>
              <a:ln w="952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A159-D746-A469-DBEE8256C8A8}"/>
              </c:ext>
            </c:extLst>
          </c:dPt>
          <c:dPt>
            <c:idx val="2"/>
            <c:bubble3D val="0"/>
            <c:spPr>
              <a:solidFill>
                <a:srgbClr val="FFE1BD"/>
              </a:solidFill>
              <a:ln w="952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A159-D746-A469-DBEE8256C8A8}"/>
              </c:ext>
            </c:extLst>
          </c:dPt>
          <c:dPt>
            <c:idx val="3"/>
            <c:bubble3D val="0"/>
            <c:spPr>
              <a:solidFill>
                <a:srgbClr val="D3B9FF"/>
              </a:solidFill>
              <a:ln w="952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A159-D746-A469-DBEE8256C8A8}"/>
              </c:ext>
            </c:extLst>
          </c:dPt>
          <c:dPt>
            <c:idx val="4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 w="952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A159-D746-A469-DBEE8256C8A8}"/>
              </c:ext>
            </c:extLst>
          </c:dPt>
          <c:dLbls>
            <c:dLbl>
              <c:idx val="0"/>
              <c:layout>
                <c:manualLayout>
                  <c:x val="0"/>
                  <c:y val="3.5558243422773609E-3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800" b="1" i="0" u="none" strike="noStrike" kern="1200" baseline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Pulso" pitchFamily="2" charset="0"/>
                        <a:ea typeface="Roboto" panose="02000000000000000000" pitchFamily="2" charset="0"/>
                        <a:cs typeface="+mn-cs"/>
                      </a:defRPr>
                    </a:pPr>
                    <a:fld id="{76376159-1936-E64E-90BC-6F8213691AE9}" type="VALUE">
                      <a:rPr lang="en-US" sz="800" b="1" i="0" baseline="0" smtClean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Pulso" pitchFamily="2" charset="0"/>
                        <a:ea typeface="Roboto" panose="02000000000000000000" pitchFamily="2" charset="0"/>
                      </a:rPr>
                      <a:pPr>
                        <a:defRPr sz="800" b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Pulso" pitchFamily="2" charset="0"/>
                          <a:ea typeface="Roboto" panose="02000000000000000000" pitchFamily="2" charset="0"/>
                        </a:defRPr>
                      </a:pPr>
                      <a:t>[VALOR]</a:t>
                    </a:fld>
                    <a:endParaRPr lang="es-A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bg1">
                          <a:lumMod val="25000"/>
                        </a:schemeClr>
                      </a:solidFill>
                      <a:effectLst/>
                      <a:latin typeface="Pulso" pitchFamily="2" charset="0"/>
                      <a:ea typeface="Roboto" panose="02000000000000000000" pitchFamily="2" charset="0"/>
                      <a:cs typeface="+mn-cs"/>
                    </a:defRPr>
                  </a:pPr>
                  <a:endParaRPr lang="es-AR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;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A159-D746-A469-DBEE8256C8A8}"/>
                </c:ext>
              </c:extLst>
            </c:dLbl>
            <c:dLbl>
              <c:idx val="1"/>
              <c:layout>
                <c:manualLayout>
                  <c:x val="1.450158481847637E-2"/>
                  <c:y val="1.7778106930751553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800" b="1" i="0" u="none" strike="noStrike" kern="1200" baseline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Pulso" pitchFamily="2" charset="0"/>
                        <a:ea typeface="Roboto" panose="02000000000000000000" pitchFamily="2" charset="0"/>
                        <a:cs typeface="+mn-cs"/>
                      </a:defRPr>
                    </a:pPr>
                    <a:fld id="{A54A3EDC-C24D-B448-A90D-F15F964F77DA}" type="VALUE">
                      <a:rPr lang="en-US" sz="800" b="1" i="0" baseline="0" smtClean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Pulso" pitchFamily="2" charset="0"/>
                      </a:rPr>
                      <a:pPr>
                        <a:defRPr sz="800" b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Pulso" pitchFamily="2" charset="0"/>
                          <a:ea typeface="Roboto" panose="02000000000000000000" pitchFamily="2" charset="0"/>
                        </a:defRPr>
                      </a:pPr>
                      <a:t>[VALOR]</a:t>
                    </a:fld>
                    <a:endParaRPr lang="es-A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bg1">
                          <a:lumMod val="25000"/>
                        </a:schemeClr>
                      </a:solidFill>
                      <a:effectLst/>
                      <a:latin typeface="Pulso" pitchFamily="2" charset="0"/>
                      <a:ea typeface="Roboto" panose="02000000000000000000" pitchFamily="2" charset="0"/>
                      <a:cs typeface="+mn-cs"/>
                    </a:defRPr>
                  </a:pPr>
                  <a:endParaRPr lang="es-AR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>
                    <c:manualLayout>
                      <c:w val="0.11562287204149284"/>
                      <c:h val="5.6892986520312813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A159-D746-A469-DBEE8256C8A8}"/>
                </c:ext>
              </c:extLst>
            </c:dLbl>
            <c:dLbl>
              <c:idx val="2"/>
              <c:layout>
                <c:manualLayout>
                  <c:x val="-4.3459577301830835E-17"/>
                  <c:y val="1.066747302683241E-2"/>
                </c:manualLayout>
              </c:layout>
              <c:tx>
                <c:rich>
                  <a:bodyPr/>
                  <a:lstStyle/>
                  <a:p>
                    <a:fld id="{FE1AE4CC-9950-154B-9ECE-792BF1FDC7DF}" type="VALUE">
                      <a:rPr lang="en-US" baseline="0" smtClean="0"/>
                      <a:pPr/>
                      <a:t>[VALOR]</a:t>
                    </a:fld>
                    <a:endParaRPr lang="es-AR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; 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A159-D746-A469-DBEE8256C8A8}"/>
                </c:ext>
              </c:extLst>
            </c:dLbl>
            <c:dLbl>
              <c:idx val="3"/>
              <c:layout>
                <c:manualLayout>
                  <c:x val="-4.3459577301830835E-17"/>
                  <c:y val="3.5558243422774915E-3"/>
                </c:manualLayout>
              </c:layout>
              <c:tx>
                <c:rich>
                  <a:bodyPr/>
                  <a:lstStyle/>
                  <a:p>
                    <a:fld id="{6E730FEA-F0D2-7C44-B105-9557F65E67B8}" type="VALUE">
                      <a:rPr lang="en-US" baseline="0" smtClean="0"/>
                      <a:pPr/>
                      <a:t>[VALOR]</a:t>
                    </a:fld>
                    <a:endParaRPr lang="es-AR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; 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A159-D746-A469-DBEE8256C8A8}"/>
                </c:ext>
              </c:extLst>
            </c:dLbl>
            <c:dLbl>
              <c:idx val="4"/>
              <c:layout>
                <c:manualLayout>
                  <c:x val="-1.1852748913793558E-3"/>
                  <c:y val="3.5558243422774915E-3"/>
                </c:manualLayout>
              </c:layout>
              <c:tx>
                <c:rich>
                  <a:bodyPr/>
                  <a:lstStyle/>
                  <a:p>
                    <a:fld id="{DF2B8500-621E-4848-881D-89EFD0ACE159}" type="VALUE">
                      <a:rPr lang="en-US" baseline="0" smtClean="0"/>
                      <a:pPr/>
                      <a:t>[VALOR]</a:t>
                    </a:fld>
                    <a:endParaRPr lang="es-AR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>
                    <c:manualLayout>
                      <c:w val="8.836214982359937E-2"/>
                      <c:h val="5.3337365134162373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A159-D746-A469-DBEE8256C8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>
                        <a:lumMod val="25000"/>
                      </a:schemeClr>
                    </a:solidFill>
                    <a:effectLst/>
                    <a:latin typeface="Pulso" pitchFamily="2" charset="0"/>
                    <a:ea typeface="Roboto" panose="02000000000000000000" pitchFamily="2" charset="0"/>
                    <a:cs typeface="+mn-cs"/>
                  </a:defRPr>
                </a:pPr>
                <a:endParaRPr lang="es-AR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; </c:separator>
            <c:showLeaderLines val="0"/>
            <c:extLst>
              <c:ext xmlns:c15="http://schemas.microsoft.com/office/drawing/2012/chart" uri="{CE6537A1-D6FC-4f65-9D91-7224C49458BB}">
                <c15:showDataLabelsRange val="1"/>
              </c:ext>
            </c:extLst>
          </c:dLbls>
          <c:cat>
            <c:strRef>
              <c:f>Hoja1!$A$2:$A$6</c:f>
              <c:strCache>
                <c:ptCount val="5"/>
                <c:pt idx="0">
                  <c:v>CORE</c:v>
                </c:pt>
                <c:pt idx="1">
                  <c:v>IOT</c:v>
                </c:pt>
                <c:pt idx="2">
                  <c:v>CLOUD</c:v>
                </c:pt>
                <c:pt idx="3">
                  <c:v>CIBER</c:v>
                </c:pt>
                <c:pt idx="4">
                  <c:v>PROY</c:v>
                </c:pt>
              </c:strCache>
            </c:strRef>
          </c:cat>
          <c:val>
            <c:numRef>
              <c:f>Hoja1!$B$2:$B$6</c:f>
              <c:numCache>
                <c:formatCode>\U"$"\ 0</c:formatCode>
                <c:ptCount val="5"/>
                <c:pt idx="0">
                  <c:v>312</c:v>
                </c:pt>
                <c:pt idx="1">
                  <c:v>27</c:v>
                </c:pt>
                <c:pt idx="2">
                  <c:v>80</c:v>
                </c:pt>
                <c:pt idx="3">
                  <c:v>3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Hoja1!$C$2:$C$6</c15:f>
                <c15:dlblRangeCache>
                  <c:ptCount val="5"/>
                </c15:dlblRangeCache>
              </c15:datalabelsRange>
            </c:ext>
            <c:ext xmlns:c16="http://schemas.microsoft.com/office/drawing/2014/chart" uri="{C3380CC4-5D6E-409C-BE32-E72D297353CC}">
              <c16:uniqueId val="{00000015-A159-D746-A469-DBEE8256C8A8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0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605451936872305E-2"/>
          <c:y val="7.4605451936872305E-2"/>
          <c:w val="0.85078909612625542"/>
          <c:h val="0.85078909612625542"/>
        </c:manualLayout>
      </c:layout>
      <c:doughnutChart>
        <c:varyColors val="0"/>
        <c:ser>
          <c:idx val="0"/>
          <c:order val="0"/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053-3141-AA96-8D5672BBBFC3}"/>
              </c:ext>
            </c:extLst>
          </c:dPt>
          <c:dPt>
            <c:idx val="1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053-3141-AA96-8D5672BBBFC3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88</c:v>
                </c:pt>
                <c:pt idx="1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053-3141-AA96-8D5672BBBF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9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spc="0" baseline="0">
              <a:solidFill>
                <a:schemeClr val="tx2"/>
              </a:solidFill>
              <a:latin typeface="Pulso" pitchFamily="2" charset="0"/>
              <a:ea typeface="+mn-ea"/>
              <a:cs typeface="+mn-cs"/>
            </a:defRPr>
          </a:pPr>
          <a:endParaRPr lang="es-A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tx2"/>
            </a:solidFill>
          </c:spPr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9E5-0340-91BC-BE8B825180C9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55F-5249-BBC5-3DE7B1081D53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9E5-0340-91BC-BE8B825180C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4</c:f>
              <c:strCache>
                <c:ptCount val="2"/>
                <c:pt idx="0">
                  <c:v>1er trim.</c:v>
                </c:pt>
                <c:pt idx="1">
                  <c:v>2º trim.</c:v>
                </c:pt>
              </c:strCache>
            </c:strRef>
          </c:cat>
          <c:val>
            <c:numRef>
              <c:f>Hoja1!$B$2:$B$4</c:f>
              <c:numCache>
                <c:formatCode>General</c:formatCode>
                <c:ptCount val="3"/>
                <c:pt idx="0">
                  <c:v>2072</c:v>
                </c:pt>
                <c:pt idx="1">
                  <c:v>3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5F-5249-BBC5-3DE7B1081D5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spc="0" baseline="0">
              <a:solidFill>
                <a:schemeClr val="tx2"/>
              </a:solidFill>
              <a:latin typeface="Pulso" pitchFamily="2" charset="0"/>
              <a:ea typeface="+mn-ea"/>
              <a:cs typeface="+mn-cs"/>
            </a:defRPr>
          </a:pPr>
          <a:endParaRPr lang="es-A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tx2"/>
            </a:solidFill>
          </c:spPr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45B-9C4C-A709-EE4DFED90940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55F-5249-BBC5-3DE7B1081D5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3</c:f>
              <c:strCache>
                <c:ptCount val="2"/>
                <c:pt idx="0">
                  <c:v>1er trim.</c:v>
                </c:pt>
                <c:pt idx="1">
                  <c:v>2º trim.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0">
                  <c:v>3929</c:v>
                </c:pt>
                <c:pt idx="1">
                  <c:v>387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5F-5249-BBC5-3DE7B1081D5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spc="0" baseline="0">
              <a:solidFill>
                <a:schemeClr val="tx2"/>
              </a:solidFill>
              <a:latin typeface="Pulso" pitchFamily="2" charset="0"/>
              <a:ea typeface="+mn-ea"/>
              <a:cs typeface="+mn-cs"/>
            </a:defRPr>
          </a:pPr>
          <a:endParaRPr lang="es-A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2030</c:v>
                </c:pt>
              </c:strCache>
            </c:strRef>
          </c:tx>
          <c:spPr>
            <a:solidFill>
              <a:schemeClr val="tx2"/>
            </a:solidFill>
          </c:spPr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45B-9C4C-A709-EE4DFED90940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55F-5249-BBC5-3DE7B1081D53}"/>
              </c:ext>
            </c:extLst>
          </c:dPt>
          <c:dLbls>
            <c:dLbl>
              <c:idx val="1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767196682183876"/>
                      <c:h val="0.171778547420545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255F-5249-BBC5-3DE7B1081D5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3</c:f>
              <c:strCache>
                <c:ptCount val="2"/>
                <c:pt idx="0">
                  <c:v>1er trim.</c:v>
                </c:pt>
                <c:pt idx="1">
                  <c:v>2º trim.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0">
                  <c:v>9347</c:v>
                </c:pt>
                <c:pt idx="1">
                  <c:v>10811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5F-5249-BBC5-3DE7B1081D5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7685475915843966E-2"/>
          <c:w val="1"/>
          <c:h val="0.829510896463521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C4B-624E-865E-D5E791181652}"/>
              </c:ext>
            </c:extLst>
          </c:dPt>
          <c:dPt>
            <c:idx val="1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C4B-624E-865E-D5E791181652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C4B-624E-865E-D5E791181652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3C4B-624E-865E-D5E79118165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0" tIns="0" rIns="0" bIns="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+mn-ea"/>
                    <a:cs typeface="+mn-cs"/>
                  </a:defRPr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5</c:f>
              <c:numCache>
                <c:formatCode>0.00%</c:formatCode>
                <c:ptCount val="4"/>
                <c:pt idx="0">
                  <c:v>4.0000000000000001E-3</c:v>
                </c:pt>
                <c:pt idx="1">
                  <c:v>3.5999999999999997E-2</c:v>
                </c:pt>
                <c:pt idx="2">
                  <c:v>3.0000000000000001E-3</c:v>
                </c:pt>
                <c:pt idx="3">
                  <c:v>6.0000000000000001E-3</c:v>
                </c:pt>
              </c:numCache>
            </c:numRef>
          </c:cat>
          <c:val>
            <c:numRef>
              <c:f>Hoja1!$B$2:$B$5</c:f>
              <c:numCache>
                <c:formatCode>0.00%</c:formatCode>
                <c:ptCount val="4"/>
                <c:pt idx="0">
                  <c:v>1.4999999999999999E-2</c:v>
                </c:pt>
                <c:pt idx="1">
                  <c:v>0.15</c:v>
                </c:pt>
                <c:pt idx="2">
                  <c:v>1.2999999999999999E-2</c:v>
                </c:pt>
                <c:pt idx="3">
                  <c:v>2.5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B-624E-865E-D5E79118165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-25"/>
        <c:axId val="1462178735"/>
        <c:axId val="1385059071"/>
      </c:barChart>
      <c:catAx>
        <c:axId val="1462178735"/>
        <c:scaling>
          <c:orientation val="minMax"/>
        </c:scaling>
        <c:delete val="0"/>
        <c:axPos val="b"/>
        <c:numFmt formatCode="0.00%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spcBef>
                <a:spcPts val="300"/>
              </a:spcBef>
              <a:defRPr sz="800" b="0" i="0" u="none" strike="noStrike" kern="1200" baseline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+mn-ea"/>
                <a:cs typeface="+mn-cs"/>
              </a:defRPr>
            </a:pPr>
            <a:endParaRPr lang="es-AR"/>
          </a:p>
        </c:txPr>
        <c:crossAx val="1385059071"/>
        <c:crosses val="autoZero"/>
        <c:auto val="0"/>
        <c:lblAlgn val="ctr"/>
        <c:lblOffset val="100"/>
        <c:noMultiLvlLbl val="0"/>
      </c:catAx>
      <c:valAx>
        <c:axId val="1385059071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14621787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3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9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3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00" kern="120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cs:styleClr val="auto"/>
    </cs:fontRef>
    <cs:spPr/>
    <cs:defRPr sz="900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 w="9575">
        <a:solidFill>
          <a:schemeClr val="lt1">
            <a:lumMod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19050" cap="rnd" cmpd="sng" algn="ctr">
        <a:solidFill>
          <a:schemeClr val="phClr">
            <a:shade val="95000"/>
            <a:satMod val="105000"/>
          </a:schemeClr>
        </a:solidFill>
        <a:round/>
      </a:ln>
    </cs:spPr>
  </cs:dataPointLine>
  <cs:dataPointMarker>
    <cs:lnRef idx="0"/>
    <cs:fillRef idx="0"/>
    <cs:effectRef idx="0"/>
    <cs:fontRef idx="minor">
      <a:schemeClr val="dk1"/>
    </cs:fontRef>
    <cs:spPr>
      <a:solidFill>
        <a:schemeClr val="lt1"/>
      </a:solidFill>
    </cs:spPr>
  </cs:dataPointMarker>
  <cs:dataPointMarkerLayout symbol="circle" size="17"/>
  <cs:dataPointWireframe>
    <cs:lnRef idx="0">
      <cs:styleClr val="auto"/>
    </cs:lnRef>
    <cs:fillRef idx="1"/>
    <cs:effectRef idx="0"/>
    <cs:fontRef idx="minor">
      <a:schemeClr val="dk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dk1"/>
    </cs:fontRef>
    <cs:defRPr sz="1440" b="0" kern="1200" cap="all" spc="0" baseline="0">
      <a:gradFill>
        <a:gsLst>
          <a:gs pos="0">
            <a:schemeClr val="dk1">
              <a:lumMod val="50000"/>
              <a:lumOff val="50000"/>
            </a:schemeClr>
          </a:gs>
          <a:gs pos="100000">
            <a:schemeClr val="dk1">
              <a:lumMod val="85000"/>
              <a:lumOff val="15000"/>
            </a:schemeClr>
          </a:gs>
        </a:gsLst>
        <a:lin ang="5400000" scaled="0"/>
      </a:gradFill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3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00" kern="120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cs:styleClr val="auto"/>
    </cs:fontRef>
    <cs:spPr/>
    <cs:defRPr sz="900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 w="9575">
        <a:solidFill>
          <a:schemeClr val="lt1">
            <a:lumMod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19050" cap="rnd" cmpd="sng" algn="ctr">
        <a:solidFill>
          <a:schemeClr val="phClr">
            <a:shade val="95000"/>
            <a:satMod val="105000"/>
          </a:schemeClr>
        </a:solidFill>
        <a:round/>
      </a:ln>
    </cs:spPr>
  </cs:dataPointLine>
  <cs:dataPointMarker>
    <cs:lnRef idx="0"/>
    <cs:fillRef idx="0"/>
    <cs:effectRef idx="0"/>
    <cs:fontRef idx="minor">
      <a:schemeClr val="dk1"/>
    </cs:fontRef>
    <cs:spPr>
      <a:solidFill>
        <a:schemeClr val="lt1"/>
      </a:solidFill>
    </cs:spPr>
  </cs:dataPointMarker>
  <cs:dataPointMarkerLayout symbol="circle" size="17"/>
  <cs:dataPointWireframe>
    <cs:lnRef idx="0">
      <cs:styleClr val="auto"/>
    </cs:lnRef>
    <cs:fillRef idx="1"/>
    <cs:effectRef idx="0"/>
    <cs:fontRef idx="minor">
      <a:schemeClr val="dk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dk1"/>
    </cs:fontRef>
    <cs:defRPr sz="1440" b="0" kern="1200" cap="all" spc="0" baseline="0">
      <a:gradFill>
        <a:gsLst>
          <a:gs pos="0">
            <a:schemeClr val="dk1">
              <a:lumMod val="50000"/>
              <a:lumOff val="50000"/>
            </a:schemeClr>
          </a:gs>
          <a:gs pos="100000">
            <a:schemeClr val="dk1">
              <a:lumMod val="85000"/>
              <a:lumOff val="15000"/>
            </a:schemeClr>
          </a:gs>
        </a:gsLst>
        <a:lin ang="5400000" scaled="0"/>
      </a:gradFill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9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6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rnd">
        <a:solidFill>
          <a:schemeClr val="dk1">
            <a:lumMod val="20000"/>
            <a:lumOff val="80000"/>
          </a:schemeClr>
        </a:solidFill>
        <a:round/>
      </a:ln>
    </cs:spPr>
    <cs:defRPr sz="900" kern="1200"/>
  </cs:categoryAxis>
  <cs:chartArea mods="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/>
    <cs:effectRef idx="1"/>
    <cs:fontRef idx="minor">
      <a:schemeClr val="dk1"/>
    </cs:fontRef>
    <cs:spPr>
      <a:ln w="9525" cap="flat" cmpd="sng" algn="ctr">
        <a:solidFill>
          <a:schemeClr val="phClr">
            <a:alpha val="70000"/>
          </a:schemeClr>
        </a:solidFill>
        <a:prstDash val="sysDot"/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rnd">
        <a:solidFill>
          <a:schemeClr val="dk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rnd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 spc="0" baseline="0"/>
  </cs:legend>
  <cs:plotArea>
    <cs:lnRef idx="0"/>
    <cs:fillRef idx="0"/>
    <cs:effectRef idx="0"/>
    <cs:fontRef idx="minor">
      <a:schemeClr val="dk1"/>
    </cs:fontRef>
    <cs:spPr>
      <a:gradFill>
        <a:gsLst>
          <a:gs pos="100000">
            <a:schemeClr val="lt1">
              <a:lumMod val="95000"/>
            </a:schemeClr>
          </a:gs>
          <a:gs pos="0">
            <a:schemeClr val="lt1">
              <a:alpha val="0"/>
            </a:schemeClr>
          </a:gs>
        </a:gsLst>
        <a:lin ang="5400000" scaled="0"/>
      </a:gradFill>
    </cs:spPr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rnd">
        <a:solidFill>
          <a:schemeClr val="dk1">
            <a:lumMod val="20000"/>
            <a:lumOff val="80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rnd">
        <a:solidFill>
          <a:schemeClr val="dk1">
            <a:lumMod val="25000"/>
            <a:lumOff val="75000"/>
          </a:schemeClr>
        </a:solidFill>
        <a:round/>
      </a:ln>
    </cs:spPr>
    <cs:defRPr sz="900" kern="1200" spc="0" baseline="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1600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3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00" kern="120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cs:styleClr val="auto"/>
    </cs:fontRef>
    <cs:spPr/>
    <cs:defRPr sz="900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 w="9575">
        <a:solidFill>
          <a:schemeClr val="lt1">
            <a:lumMod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19050" cap="rnd" cmpd="sng" algn="ctr">
        <a:solidFill>
          <a:schemeClr val="phClr">
            <a:shade val="95000"/>
            <a:satMod val="105000"/>
          </a:schemeClr>
        </a:solidFill>
        <a:round/>
      </a:ln>
    </cs:spPr>
  </cs:dataPointLine>
  <cs:dataPointMarker>
    <cs:lnRef idx="0"/>
    <cs:fillRef idx="0"/>
    <cs:effectRef idx="0"/>
    <cs:fontRef idx="minor">
      <a:schemeClr val="dk1"/>
    </cs:fontRef>
    <cs:spPr>
      <a:solidFill>
        <a:schemeClr val="lt1"/>
      </a:solidFill>
    </cs:spPr>
  </cs:dataPointMarker>
  <cs:dataPointMarkerLayout symbol="circle" size="17"/>
  <cs:dataPointWireframe>
    <cs:lnRef idx="0">
      <cs:styleClr val="auto"/>
    </cs:lnRef>
    <cs:fillRef idx="1"/>
    <cs:effectRef idx="0"/>
    <cs:fontRef idx="minor">
      <a:schemeClr val="dk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dk1"/>
    </cs:fontRef>
    <cs:defRPr sz="1440" b="0" kern="1200" cap="all" spc="0" baseline="0">
      <a:gradFill>
        <a:gsLst>
          <a:gs pos="0">
            <a:schemeClr val="dk1">
              <a:lumMod val="50000"/>
              <a:lumOff val="50000"/>
            </a:schemeClr>
          </a:gs>
          <a:gs pos="100000">
            <a:schemeClr val="dk1">
              <a:lumMod val="85000"/>
              <a:lumOff val="15000"/>
            </a:schemeClr>
          </a:gs>
        </a:gsLst>
        <a:lin ang="5400000" scaled="0"/>
      </a:gradFill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3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00" kern="120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cs:styleClr val="auto"/>
    </cs:fontRef>
    <cs:spPr/>
    <cs:defRPr sz="900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 w="9575">
        <a:solidFill>
          <a:schemeClr val="lt1">
            <a:lumMod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19050" cap="rnd" cmpd="sng" algn="ctr">
        <a:solidFill>
          <a:schemeClr val="phClr">
            <a:shade val="95000"/>
            <a:satMod val="105000"/>
          </a:schemeClr>
        </a:solidFill>
        <a:round/>
      </a:ln>
    </cs:spPr>
  </cs:dataPointLine>
  <cs:dataPointMarker>
    <cs:lnRef idx="0"/>
    <cs:fillRef idx="0"/>
    <cs:effectRef idx="0"/>
    <cs:fontRef idx="minor">
      <a:schemeClr val="dk1"/>
    </cs:fontRef>
    <cs:spPr>
      <a:solidFill>
        <a:schemeClr val="lt1"/>
      </a:solidFill>
    </cs:spPr>
  </cs:dataPointMarker>
  <cs:dataPointMarkerLayout symbol="circle" size="17"/>
  <cs:dataPointWireframe>
    <cs:lnRef idx="0">
      <cs:styleClr val="auto"/>
    </cs:lnRef>
    <cs:fillRef idx="1"/>
    <cs:effectRef idx="0"/>
    <cs:fontRef idx="minor">
      <a:schemeClr val="dk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dk1"/>
    </cs:fontRef>
    <cs:defRPr sz="1440" b="0" kern="1200" cap="all" spc="0" baseline="0">
      <a:gradFill>
        <a:gsLst>
          <a:gs pos="0">
            <a:schemeClr val="dk1">
              <a:lumMod val="50000"/>
              <a:lumOff val="50000"/>
            </a:schemeClr>
          </a:gs>
          <a:gs pos="100000">
            <a:schemeClr val="dk1">
              <a:lumMod val="85000"/>
              <a:lumOff val="15000"/>
            </a:schemeClr>
          </a:gs>
        </a:gsLst>
        <a:lin ang="5400000" scaled="0"/>
      </a:gradFill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0881</cdr:x>
      <cdr:y>0.05881</cdr:y>
    </cdr:from>
    <cdr:to>
      <cdr:x>0.69066</cdr:x>
      <cdr:y>0.18646</cdr:y>
    </cdr:to>
    <cdr:sp macro="" textlink="">
      <cdr:nvSpPr>
        <cdr:cNvPr id="3" name="100 Rectángulo redondeado">
          <a:extLst xmlns:a="http://schemas.openxmlformats.org/drawingml/2006/main">
            <a:ext uri="{FF2B5EF4-FFF2-40B4-BE49-F238E27FC236}">
              <a16:creationId xmlns:a16="http://schemas.microsoft.com/office/drawing/2014/main" id="{C45EC68E-0AF1-4BCD-B4F2-03044F2CCE98}"/>
            </a:ext>
          </a:extLst>
        </cdr:cNvPr>
        <cdr:cNvSpPr/>
      </cdr:nvSpPr>
      <cdr:spPr bwMode="auto">
        <a:xfrm xmlns:a="http://schemas.openxmlformats.org/drawingml/2006/main">
          <a:off x="576298" y="57430"/>
          <a:ext cx="712606" cy="124650"/>
        </a:xfrm>
        <a:prstGeom xmlns:a="http://schemas.openxmlformats.org/drawingml/2006/main" prst="roundRect">
          <a:avLst>
            <a:gd name="adj" fmla="val 0"/>
          </a:avLst>
        </a:prstGeom>
        <a:noFill xmlns:a="http://schemas.openxmlformats.org/drawingml/2006/main"/>
        <a:ln xmlns:a="http://schemas.openxmlformats.org/drawingml/2006/main">
          <a:noFill/>
          <a:headEnd/>
          <a:tailEnd/>
        </a:ln>
        <a:effectLst xmlns:a="http://schemas.openxmlformats.org/drawingml/2006/main"/>
        <a:scene3d xmlns:a="http://schemas.openxmlformats.org/drawingml/2006/main">
          <a:camera prst="orthographicFront">
            <a:rot lat="0" lon="0" rev="0"/>
          </a:camera>
          <a:lightRig rig="threePt" dir="t">
            <a:rot lat="0" lon="0" rev="1200000"/>
          </a:lightRig>
        </a:scene3d>
        <a:sp3d xmlns:a="http://schemas.openxmlformats.org/drawingml/2006/main">
          <a:bevelT w="0" h="0"/>
        </a:sp3d>
      </cdr:spPr>
      <cdr:style>
        <a:lnRef xmlns:a="http://schemas.openxmlformats.org/drawingml/2006/main" idx="0">
          <a:schemeClr val="accent4"/>
        </a:lnRef>
        <a:fillRef xmlns:a="http://schemas.openxmlformats.org/drawingml/2006/main" idx="3">
          <a:schemeClr val="accent4"/>
        </a:fillRef>
        <a:effectRef xmlns:a="http://schemas.openxmlformats.org/drawingml/2006/main" idx="3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wrap="square" lIns="0" tIns="0" rIns="0" bIns="0" rtlCol="0" anchor="ctr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672034" algn="l" rtl="0" fontAlgn="base">
            <a:spcBef>
              <a:spcPct val="0"/>
            </a:spcBef>
            <a:spcAft>
              <a:spcPct val="0"/>
            </a:spcAft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1344067" algn="l" rtl="0" fontAlgn="base">
            <a:spcBef>
              <a:spcPct val="0"/>
            </a:spcBef>
            <a:spcAft>
              <a:spcPct val="0"/>
            </a:spcAft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2016099" algn="l" rtl="0" fontAlgn="base">
            <a:spcBef>
              <a:spcPct val="0"/>
            </a:spcBef>
            <a:spcAft>
              <a:spcPct val="0"/>
            </a:spcAft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2688133" algn="l" rtl="0" fontAlgn="base">
            <a:spcBef>
              <a:spcPct val="0"/>
            </a:spcBef>
            <a:spcAft>
              <a:spcPct val="0"/>
            </a:spcAft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3360164" algn="l" defTabSz="1344067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4032198" algn="l" defTabSz="1344067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4704232" algn="l" defTabSz="1344067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5376265" algn="l" defTabSz="1344067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defTabSz="435437">
            <a:lnSpc>
              <a:spcPct val="90000"/>
            </a:lnSpc>
            <a:defRPr/>
          </a:pPr>
          <a:r>
            <a:rPr lang="en-US" sz="900" b="0" i="0" dirty="0">
              <a:solidFill>
                <a:schemeClr val="bg2">
                  <a:lumMod val="40000"/>
                  <a:lumOff val="60000"/>
                </a:schemeClr>
              </a:solidFill>
              <a:latin typeface="Pulso" pitchFamily="2" charset="0"/>
              <a:ea typeface="Roboto" panose="02000000000000000000" pitchFamily="2" charset="0"/>
              <a:cs typeface="Arial" pitchFamily="34" charset="0"/>
            </a:rPr>
            <a:t>1,0%</a:t>
          </a:r>
        </a:p>
      </cdr:txBody>
    </cdr:sp>
  </cdr:relSizeAnchor>
  <cdr:relSizeAnchor xmlns:cdr="http://schemas.openxmlformats.org/drawingml/2006/chartDrawing">
    <cdr:from>
      <cdr:x>0.24344</cdr:x>
      <cdr:y>0.23398</cdr:y>
    </cdr:from>
    <cdr:to>
      <cdr:x>0.75408</cdr:x>
      <cdr:y>0.37581</cdr:y>
    </cdr:to>
    <cdr:sp macro="" textlink="">
      <cdr:nvSpPr>
        <cdr:cNvPr id="4" name="Forma libre 3">
          <a:extLst xmlns:a="http://schemas.openxmlformats.org/drawingml/2006/main">
            <a:ext uri="{FF2B5EF4-FFF2-40B4-BE49-F238E27FC236}">
              <a16:creationId xmlns:a16="http://schemas.microsoft.com/office/drawing/2014/main" id="{2F8EEEA9-FE59-531E-0D6D-6503EB25D834}"/>
            </a:ext>
          </a:extLst>
        </cdr:cNvPr>
        <cdr:cNvSpPr/>
      </cdr:nvSpPr>
      <cdr:spPr bwMode="auto">
        <a:xfrm xmlns:a="http://schemas.openxmlformats.org/drawingml/2006/main">
          <a:off x="454308" y="228481"/>
          <a:ext cx="952956" cy="138500"/>
        </a:xfrm>
        <a:custGeom xmlns:a="http://schemas.openxmlformats.org/drawingml/2006/main">
          <a:avLst/>
          <a:gdLst>
            <a:gd name="connsiteX0" fmla="*/ 0 w 2035277"/>
            <a:gd name="connsiteY0" fmla="*/ 1047135 h 1327355"/>
            <a:gd name="connsiteX1" fmla="*/ 0 w 2035277"/>
            <a:gd name="connsiteY1" fmla="*/ 0 h 1327355"/>
            <a:gd name="connsiteX2" fmla="*/ 2035277 w 2035277"/>
            <a:gd name="connsiteY2" fmla="*/ 0 h 1327355"/>
            <a:gd name="connsiteX3" fmla="*/ 2035277 w 2035277"/>
            <a:gd name="connsiteY3" fmla="*/ 353961 h 1327355"/>
            <a:gd name="connsiteX4" fmla="*/ 2035277 w 2035277"/>
            <a:gd name="connsiteY4" fmla="*/ 1327355 h 1327355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</a:cxnLst>
          <a:rect l="l" t="t" r="r" b="b"/>
          <a:pathLst>
            <a:path w="2035277" h="1327355">
              <a:moveTo>
                <a:pt x="0" y="1047135"/>
              </a:moveTo>
              <a:lnTo>
                <a:pt x="0" y="0"/>
              </a:lnTo>
              <a:lnTo>
                <a:pt x="2035277" y="0"/>
              </a:lnTo>
              <a:lnTo>
                <a:pt x="2035277" y="353961"/>
              </a:lnTo>
              <a:lnTo>
                <a:pt x="2035277" y="1327355"/>
              </a:lnTo>
            </a:path>
          </a:pathLst>
        </a:custGeom>
        <a:noFill xmlns:a="http://schemas.openxmlformats.org/drawingml/2006/main"/>
        <a:ln xmlns:a="http://schemas.openxmlformats.org/drawingml/2006/main" w="19050" cap="rnd" algn="ctr">
          <a:solidFill>
            <a:srgbClr val="FFFFFF"/>
          </a:solidFill>
          <a:prstDash val="sysDot"/>
          <a:round/>
          <a:headEnd type="none"/>
          <a:tailEnd type="triangle"/>
        </a:ln>
      </cdr:spPr>
      <cdr:txBody>
        <a:bodyPr xmlns:a="http://schemas.openxmlformats.org/drawingml/2006/main" vert="horz" wrap="square" lIns="91440" tIns="45720" rIns="91440" bIns="45720" numCol="1" rtlCol="0" anchor="ctr" anchorCtr="0" compatLnSpc="1">
          <a:prstTxWarp prst="textNoShape">
            <a:avLst/>
          </a:prstTxWarp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indent="0" algn="just" defTabSz="1346200" rtl="0" eaLnBrk="0" fontAlgn="base" latinLnBrk="0" hangingPunct="0">
            <a:lnSpc>
              <a:spcPct val="100000"/>
            </a:lnSpc>
            <a:spcBef>
              <a:spcPct val="35000"/>
            </a:spcBef>
            <a:spcAft>
              <a:spcPct val="0"/>
            </a:spcAft>
            <a:buClr>
              <a:srgbClr val="18346C"/>
            </a:buClr>
            <a:buSzPct val="115000"/>
            <a:buFontTx/>
            <a:buNone/>
            <a:tabLst/>
          </a:pPr>
          <a:endParaRPr kumimoji="0" lang="es-AR" sz="1200" b="0" i="0" u="none" strike="noStrike" cap="none" normalizeH="0" baseline="0" dirty="0">
            <a:ln>
              <a:noFill/>
            </a:ln>
            <a:solidFill>
              <a:srgbClr val="808080"/>
            </a:solidFill>
            <a:effectLst/>
            <a:latin typeface="FrutigerBold" pitchFamily="2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7862</cdr:x>
      <cdr:y>0</cdr:y>
    </cdr:from>
    <cdr:to>
      <cdr:x>0.93082</cdr:x>
      <cdr:y>0.16794</cdr:y>
    </cdr:to>
    <cdr:sp macro="" textlink="">
      <cdr:nvSpPr>
        <cdr:cNvPr id="3" name="100 Rectángulo redondeado">
          <a:extLst xmlns:a="http://schemas.openxmlformats.org/drawingml/2006/main">
            <a:ext uri="{FF2B5EF4-FFF2-40B4-BE49-F238E27FC236}">
              <a16:creationId xmlns:a16="http://schemas.microsoft.com/office/drawing/2014/main" id="{C45EC68E-0AF1-4BCD-B4F2-03044F2CCE98}"/>
            </a:ext>
          </a:extLst>
        </cdr:cNvPr>
        <cdr:cNvSpPr/>
      </cdr:nvSpPr>
      <cdr:spPr bwMode="auto">
        <a:xfrm xmlns:a="http://schemas.openxmlformats.org/drawingml/2006/main">
          <a:off x="146721" y="-8092"/>
          <a:ext cx="1590375" cy="137910"/>
        </a:xfrm>
        <a:prstGeom xmlns:a="http://schemas.openxmlformats.org/drawingml/2006/main" prst="roundRect">
          <a:avLst/>
        </a:prstGeom>
        <a:noFill xmlns:a="http://schemas.openxmlformats.org/drawingml/2006/main"/>
        <a:ln xmlns:a="http://schemas.openxmlformats.org/drawingml/2006/main">
          <a:noFill/>
          <a:headEnd/>
          <a:tailEnd/>
        </a:ln>
        <a:effectLst xmlns:a="http://schemas.openxmlformats.org/drawingml/2006/main"/>
        <a:scene3d xmlns:a="http://schemas.openxmlformats.org/drawingml/2006/main">
          <a:camera prst="orthographicFront">
            <a:rot lat="0" lon="0" rev="0"/>
          </a:camera>
          <a:lightRig rig="threePt" dir="t">
            <a:rot lat="0" lon="0" rev="1200000"/>
          </a:lightRig>
        </a:scene3d>
        <a:sp3d xmlns:a="http://schemas.openxmlformats.org/drawingml/2006/main">
          <a:bevelT w="0" h="0"/>
        </a:sp3d>
      </cdr:spPr>
      <cdr:style>
        <a:lnRef xmlns:a="http://schemas.openxmlformats.org/drawingml/2006/main" idx="0">
          <a:schemeClr val="accent4"/>
        </a:lnRef>
        <a:fillRef xmlns:a="http://schemas.openxmlformats.org/drawingml/2006/main" idx="3">
          <a:schemeClr val="accent4"/>
        </a:fillRef>
        <a:effectRef xmlns:a="http://schemas.openxmlformats.org/drawingml/2006/main" idx="3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wrap="square" lIns="0" tIns="0" rIns="0" bIns="0" rtlCol="0" anchor="ctr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672034" algn="l" rtl="0" fontAlgn="base">
            <a:spcBef>
              <a:spcPct val="0"/>
            </a:spcBef>
            <a:spcAft>
              <a:spcPct val="0"/>
            </a:spcAft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1344067" algn="l" rtl="0" fontAlgn="base">
            <a:spcBef>
              <a:spcPct val="0"/>
            </a:spcBef>
            <a:spcAft>
              <a:spcPct val="0"/>
            </a:spcAft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2016099" algn="l" rtl="0" fontAlgn="base">
            <a:spcBef>
              <a:spcPct val="0"/>
            </a:spcBef>
            <a:spcAft>
              <a:spcPct val="0"/>
            </a:spcAft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2688133" algn="l" rtl="0" fontAlgn="base">
            <a:spcBef>
              <a:spcPct val="0"/>
            </a:spcBef>
            <a:spcAft>
              <a:spcPct val="0"/>
            </a:spcAft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3360164" algn="l" defTabSz="1344067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4032198" algn="l" defTabSz="1344067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4704232" algn="l" defTabSz="1344067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5376265" algn="l" defTabSz="1344067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defTabSz="435437">
            <a:lnSpc>
              <a:spcPct val="90000"/>
            </a:lnSpc>
            <a:defRPr/>
          </a:pPr>
          <a:r>
            <a:rPr lang="en-US" sz="900" b="0" i="0" dirty="0">
              <a:solidFill>
                <a:schemeClr val="bg2">
                  <a:lumMod val="40000"/>
                  <a:lumOff val="60000"/>
                </a:schemeClr>
              </a:solidFill>
              <a:latin typeface="Pulso" pitchFamily="2" charset="0"/>
              <a:ea typeface="Roboto" panose="02000000000000000000" pitchFamily="2" charset="0"/>
              <a:cs typeface="Arial" pitchFamily="34" charset="0"/>
            </a:rPr>
            <a:t>+0%</a:t>
          </a:r>
        </a:p>
      </cdr:txBody>
    </cdr:sp>
  </cdr:relSizeAnchor>
  <cdr:relSizeAnchor xmlns:cdr="http://schemas.openxmlformats.org/drawingml/2006/chartDrawing">
    <cdr:from>
      <cdr:x>0.24468</cdr:x>
      <cdr:y>0.17878</cdr:y>
    </cdr:from>
    <cdr:to>
      <cdr:x>0.75532</cdr:x>
      <cdr:y>0.32339</cdr:y>
    </cdr:to>
    <cdr:sp macro="" textlink="">
      <cdr:nvSpPr>
        <cdr:cNvPr id="4" name="Forma libre 3">
          <a:extLst xmlns:a="http://schemas.openxmlformats.org/drawingml/2006/main">
            <a:ext uri="{FF2B5EF4-FFF2-40B4-BE49-F238E27FC236}">
              <a16:creationId xmlns:a16="http://schemas.microsoft.com/office/drawing/2014/main" id="{2F8EEEA9-FE59-531E-0D6D-6503EB25D834}"/>
            </a:ext>
          </a:extLst>
        </cdr:cNvPr>
        <cdr:cNvSpPr/>
      </cdr:nvSpPr>
      <cdr:spPr bwMode="auto">
        <a:xfrm xmlns:a="http://schemas.openxmlformats.org/drawingml/2006/main">
          <a:off x="456622" y="146811"/>
          <a:ext cx="952956" cy="118753"/>
        </a:xfrm>
        <a:custGeom xmlns:a="http://schemas.openxmlformats.org/drawingml/2006/main">
          <a:avLst/>
          <a:gdLst>
            <a:gd name="connsiteX0" fmla="*/ 0 w 2035277"/>
            <a:gd name="connsiteY0" fmla="*/ 1047135 h 1327355"/>
            <a:gd name="connsiteX1" fmla="*/ 0 w 2035277"/>
            <a:gd name="connsiteY1" fmla="*/ 0 h 1327355"/>
            <a:gd name="connsiteX2" fmla="*/ 2035277 w 2035277"/>
            <a:gd name="connsiteY2" fmla="*/ 0 h 1327355"/>
            <a:gd name="connsiteX3" fmla="*/ 2035277 w 2035277"/>
            <a:gd name="connsiteY3" fmla="*/ 353961 h 1327355"/>
            <a:gd name="connsiteX4" fmla="*/ 2035277 w 2035277"/>
            <a:gd name="connsiteY4" fmla="*/ 1327355 h 1327355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</a:cxnLst>
          <a:rect l="l" t="t" r="r" b="b"/>
          <a:pathLst>
            <a:path w="2035277" h="1327355">
              <a:moveTo>
                <a:pt x="0" y="1047135"/>
              </a:moveTo>
              <a:lnTo>
                <a:pt x="0" y="0"/>
              </a:lnTo>
              <a:lnTo>
                <a:pt x="2035277" y="0"/>
              </a:lnTo>
              <a:lnTo>
                <a:pt x="2035277" y="353961"/>
              </a:lnTo>
              <a:lnTo>
                <a:pt x="2035277" y="1327355"/>
              </a:lnTo>
            </a:path>
          </a:pathLst>
        </a:custGeom>
        <a:noFill xmlns:a="http://schemas.openxmlformats.org/drawingml/2006/main"/>
        <a:ln xmlns:a="http://schemas.openxmlformats.org/drawingml/2006/main" w="19050" cap="rnd" algn="ctr">
          <a:solidFill>
            <a:srgbClr val="FFFFFF"/>
          </a:solidFill>
          <a:prstDash val="sysDot"/>
          <a:round/>
          <a:headEnd type="none"/>
          <a:tailEnd type="triangle"/>
        </a:ln>
      </cdr:spPr>
      <cdr:txBody>
        <a:bodyPr xmlns:a="http://schemas.openxmlformats.org/drawingml/2006/main" vert="horz" wrap="square" lIns="91440" tIns="45720" rIns="91440" bIns="45720" numCol="1" rtlCol="0" anchor="ctr" anchorCtr="0" compatLnSpc="1">
          <a:prstTxWarp prst="textNoShape">
            <a:avLst/>
          </a:prstTxWarp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indent="0" algn="just" defTabSz="1346200" rtl="0" eaLnBrk="0" fontAlgn="base" latinLnBrk="0" hangingPunct="0">
            <a:lnSpc>
              <a:spcPct val="100000"/>
            </a:lnSpc>
            <a:spcBef>
              <a:spcPct val="35000"/>
            </a:spcBef>
            <a:spcAft>
              <a:spcPct val="0"/>
            </a:spcAft>
            <a:buClr>
              <a:srgbClr val="18346C"/>
            </a:buClr>
            <a:buSzPct val="115000"/>
            <a:buFontTx/>
            <a:buNone/>
            <a:tabLst/>
          </a:pPr>
          <a:endParaRPr kumimoji="0" lang="es-AR" sz="1200" b="0" i="0" u="none" strike="noStrike" cap="none" normalizeH="0" baseline="0" dirty="0">
            <a:ln>
              <a:noFill/>
            </a:ln>
            <a:solidFill>
              <a:srgbClr val="808080"/>
            </a:solidFill>
            <a:effectLst/>
            <a:latin typeface="FrutigerBold" pitchFamily="2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6813</cdr:x>
      <cdr:y>0.10039</cdr:y>
    </cdr:from>
    <cdr:to>
      <cdr:x>0.73481</cdr:x>
      <cdr:y>0.89742</cdr:y>
    </cdr:to>
    <cdr:sp macro="" textlink="">
      <cdr:nvSpPr>
        <cdr:cNvPr id="2" name="Arco 1">
          <a:extLst xmlns:a="http://schemas.openxmlformats.org/drawingml/2006/main">
            <a:ext uri="{FF2B5EF4-FFF2-40B4-BE49-F238E27FC236}">
              <a16:creationId xmlns:a16="http://schemas.microsoft.com/office/drawing/2014/main" id="{37CBAA2B-56CC-D524-3C51-9B0B730747AA}"/>
            </a:ext>
          </a:extLst>
        </cdr:cNvPr>
        <cdr:cNvSpPr/>
      </cdr:nvSpPr>
      <cdr:spPr>
        <a:xfrm xmlns:a="http://schemas.openxmlformats.org/drawingml/2006/main">
          <a:off x="3102482" y="680165"/>
          <a:ext cx="5400000" cy="5400000"/>
        </a:xfrm>
        <a:prstGeom xmlns:a="http://schemas.openxmlformats.org/drawingml/2006/main" prst="arc">
          <a:avLst>
            <a:gd name="adj1" fmla="val 16200000"/>
            <a:gd name="adj2" fmla="val 9206393"/>
          </a:avLst>
        </a:prstGeom>
        <a:ln xmlns:a="http://schemas.openxmlformats.org/drawingml/2006/main" w="28575">
          <a:solidFill>
            <a:schemeClr val="accent2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 wrap="square" lIns="0" tIns="0" rIns="0" bIns="0" rtlCol="0" anchor="t">
          <a:noAutofit/>
        </a:bodyPr>
        <a:lstStyle xmlns:a="http://schemas.openxmlformats.org/drawingml/2006/main"/>
        <a:p xmlns:a="http://schemas.openxmlformats.org/drawingml/2006/main">
          <a:endParaRPr lang="es-AR" kern="1200"/>
        </a:p>
      </cdr:txBody>
    </cdr:sp>
  </cdr:relSizeAnchor>
  <cdr:relSizeAnchor xmlns:cdr="http://schemas.openxmlformats.org/drawingml/2006/chartDrawing">
    <cdr:from>
      <cdr:x>0.26894</cdr:x>
      <cdr:y>0.09927</cdr:y>
    </cdr:from>
    <cdr:to>
      <cdr:x>0.73562</cdr:x>
      <cdr:y>0.8963</cdr:y>
    </cdr:to>
    <cdr:sp macro="" textlink="">
      <cdr:nvSpPr>
        <cdr:cNvPr id="5" name="Arco 4">
          <a:extLst xmlns:a="http://schemas.openxmlformats.org/drawingml/2006/main">
            <a:ext uri="{FF2B5EF4-FFF2-40B4-BE49-F238E27FC236}">
              <a16:creationId xmlns:a16="http://schemas.microsoft.com/office/drawing/2014/main" id="{4C5900BF-B763-78A2-2AC8-9E5992456438}"/>
            </a:ext>
          </a:extLst>
        </cdr:cNvPr>
        <cdr:cNvSpPr/>
      </cdr:nvSpPr>
      <cdr:spPr>
        <a:xfrm xmlns:a="http://schemas.openxmlformats.org/drawingml/2006/main" rot="14632168">
          <a:off x="3111853" y="672568"/>
          <a:ext cx="5400000" cy="5400000"/>
        </a:xfrm>
        <a:prstGeom xmlns:a="http://schemas.openxmlformats.org/drawingml/2006/main" prst="arc">
          <a:avLst>
            <a:gd name="adj1" fmla="val 16200000"/>
            <a:gd name="adj2" fmla="val 1504313"/>
          </a:avLst>
        </a:prstGeom>
        <a:ln xmlns:a="http://schemas.openxmlformats.org/drawingml/2006/main" w="28575">
          <a:solidFill>
            <a:srgbClr val="A905B7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square" lIns="0" tIns="0" rIns="0" bIns="0" rtlCol="0" anchor="t">
          <a:no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s-AR" kern="1200">
            <a:solidFill>
              <a:srgbClr val="A905B7"/>
            </a:solidFill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26813</cdr:x>
      <cdr:y>0.10039</cdr:y>
    </cdr:from>
    <cdr:to>
      <cdr:x>0.73481</cdr:x>
      <cdr:y>0.89742</cdr:y>
    </cdr:to>
    <cdr:sp macro="" textlink="">
      <cdr:nvSpPr>
        <cdr:cNvPr id="2" name="Arco 1">
          <a:extLst xmlns:a="http://schemas.openxmlformats.org/drawingml/2006/main">
            <a:ext uri="{FF2B5EF4-FFF2-40B4-BE49-F238E27FC236}">
              <a16:creationId xmlns:a16="http://schemas.microsoft.com/office/drawing/2014/main" id="{37CBAA2B-56CC-D524-3C51-9B0B730747AA}"/>
            </a:ext>
          </a:extLst>
        </cdr:cNvPr>
        <cdr:cNvSpPr/>
      </cdr:nvSpPr>
      <cdr:spPr>
        <a:xfrm xmlns:a="http://schemas.openxmlformats.org/drawingml/2006/main">
          <a:off x="3102523" y="680160"/>
          <a:ext cx="5399939" cy="5400021"/>
        </a:xfrm>
        <a:prstGeom xmlns:a="http://schemas.openxmlformats.org/drawingml/2006/main" prst="arc">
          <a:avLst>
            <a:gd name="adj1" fmla="val 16200000"/>
            <a:gd name="adj2" fmla="val 9333351"/>
          </a:avLst>
        </a:prstGeom>
        <a:ln xmlns:a="http://schemas.openxmlformats.org/drawingml/2006/main" w="28575">
          <a:solidFill>
            <a:schemeClr val="accent2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 wrap="square" lIns="0" tIns="0" rIns="0" bIns="0" rtlCol="0" anchor="t">
          <a:noAutofit/>
        </a:bodyPr>
        <a:lstStyle xmlns:a="http://schemas.openxmlformats.org/drawingml/2006/main"/>
        <a:p xmlns:a="http://schemas.openxmlformats.org/drawingml/2006/main">
          <a:endParaRPr lang="es-AR" kern="1200"/>
        </a:p>
      </cdr:txBody>
    </cdr:sp>
  </cdr:relSizeAnchor>
  <cdr:relSizeAnchor xmlns:cdr="http://schemas.openxmlformats.org/drawingml/2006/chartDrawing">
    <cdr:from>
      <cdr:x>0.26894</cdr:x>
      <cdr:y>0.09927</cdr:y>
    </cdr:from>
    <cdr:to>
      <cdr:x>0.73562</cdr:x>
      <cdr:y>0.8963</cdr:y>
    </cdr:to>
    <cdr:sp macro="" textlink="">
      <cdr:nvSpPr>
        <cdr:cNvPr id="5" name="Arco 4">
          <a:extLst xmlns:a="http://schemas.openxmlformats.org/drawingml/2006/main">
            <a:ext uri="{FF2B5EF4-FFF2-40B4-BE49-F238E27FC236}">
              <a16:creationId xmlns:a16="http://schemas.microsoft.com/office/drawing/2014/main" id="{4C5900BF-B763-78A2-2AC8-9E5992456438}"/>
            </a:ext>
          </a:extLst>
        </cdr:cNvPr>
        <cdr:cNvSpPr/>
      </cdr:nvSpPr>
      <cdr:spPr>
        <a:xfrm xmlns:a="http://schemas.openxmlformats.org/drawingml/2006/main" rot="14632168">
          <a:off x="3111854" y="672614"/>
          <a:ext cx="5400021" cy="5399938"/>
        </a:xfrm>
        <a:prstGeom xmlns:a="http://schemas.openxmlformats.org/drawingml/2006/main" prst="arc">
          <a:avLst>
            <a:gd name="adj1" fmla="val 16343081"/>
            <a:gd name="adj2" fmla="val 1504313"/>
          </a:avLst>
        </a:prstGeom>
        <a:ln xmlns:a="http://schemas.openxmlformats.org/drawingml/2006/main" w="28575">
          <a:solidFill>
            <a:srgbClr val="A905B7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square" lIns="0" tIns="0" rIns="0" bIns="0" rtlCol="0" anchor="t">
          <a:no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s-AR" kern="1200">
            <a:solidFill>
              <a:srgbClr val="A905B7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8" y="41"/>
            <a:ext cx="2960707" cy="459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vert="horz" wrap="none" lIns="90491" tIns="45247" rIns="90491" bIns="45247" numCol="1" anchor="ctr" anchorCtr="0" compatLnSpc="1">
            <a:prstTxWarp prst="textNoShape">
              <a:avLst/>
            </a:prstTxWarp>
          </a:bodyPr>
          <a:lstStyle>
            <a:lvl1pPr algn="l" defTabSz="902149" eaLnBrk="0" hangingPunct="0">
              <a:spcBef>
                <a:spcPct val="0"/>
              </a:spcBef>
              <a:buClrTx/>
              <a:buSzTx/>
              <a:defRPr>
                <a:solidFill>
                  <a:schemeClr val="tx1"/>
                </a:solidFill>
                <a:latin typeface="FrutigerBlack" pitchFamily="2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90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7160" y="41"/>
            <a:ext cx="2878095" cy="459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vert="horz" wrap="none" lIns="90491" tIns="45247" rIns="90491" bIns="45247" numCol="1" anchor="ctr" anchorCtr="0" compatLnSpc="1">
            <a:prstTxWarp prst="textNoShape">
              <a:avLst/>
            </a:prstTxWarp>
          </a:bodyPr>
          <a:lstStyle>
            <a:lvl1pPr algn="r" defTabSz="902149" eaLnBrk="0" hangingPunct="0">
              <a:spcBef>
                <a:spcPct val="0"/>
              </a:spcBef>
              <a:buClrTx/>
              <a:buSzTx/>
              <a:defRPr>
                <a:solidFill>
                  <a:schemeClr val="tx1"/>
                </a:solidFill>
                <a:latin typeface="FrutigerBlack" pitchFamily="2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90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8" y="9465344"/>
            <a:ext cx="2960707" cy="459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vert="horz" wrap="none" lIns="90491" tIns="45247" rIns="90491" bIns="45247" numCol="1" anchor="b" anchorCtr="0" compatLnSpc="1">
            <a:prstTxWarp prst="textNoShape">
              <a:avLst/>
            </a:prstTxWarp>
          </a:bodyPr>
          <a:lstStyle>
            <a:lvl1pPr algn="l" defTabSz="902149" eaLnBrk="0" hangingPunct="0">
              <a:spcBef>
                <a:spcPct val="0"/>
              </a:spcBef>
              <a:buClrTx/>
              <a:buSzTx/>
              <a:defRPr>
                <a:solidFill>
                  <a:schemeClr val="tx1"/>
                </a:solidFill>
                <a:latin typeface="FrutigerBlack" pitchFamily="2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90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7160" y="9465344"/>
            <a:ext cx="2878095" cy="459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vert="horz" wrap="none" lIns="90491" tIns="45247" rIns="90491" bIns="45247" numCol="1" anchor="b" anchorCtr="0" compatLnSpc="1">
            <a:prstTxWarp prst="textNoShape">
              <a:avLst/>
            </a:prstTxWarp>
          </a:bodyPr>
          <a:lstStyle>
            <a:lvl1pPr algn="r" defTabSz="902149" eaLnBrk="0" hangingPunct="0">
              <a:spcBef>
                <a:spcPct val="0"/>
              </a:spcBef>
              <a:buClrTx/>
              <a:buSzTx/>
              <a:defRPr>
                <a:solidFill>
                  <a:schemeClr val="tx1"/>
                </a:solidFill>
                <a:latin typeface="FrutigerBlack" pitchFamily="2" charset="0"/>
                <a:cs typeface="+mn-cs"/>
              </a:defRPr>
            </a:lvl1pPr>
          </a:lstStyle>
          <a:p>
            <a:pPr>
              <a:defRPr/>
            </a:pPr>
            <a:fld id="{4E51EE3C-FCBC-4E91-BE74-B84018B5BE9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7779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37"/>
            <a:ext cx="2943004" cy="492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58" tIns="45236" rIns="90458" bIns="45236" numCol="1" anchor="t" anchorCtr="0" compatLnSpc="1">
            <a:prstTxWarp prst="textNoShape">
              <a:avLst/>
            </a:prstTxWarp>
          </a:bodyPr>
          <a:lstStyle>
            <a:lvl1pPr algn="l" defTabSz="906946" eaLnBrk="0" hangingPunct="0">
              <a:spcBef>
                <a:spcPct val="0"/>
              </a:spcBef>
              <a:buClrTx/>
              <a:buSzTx/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674" y="37"/>
            <a:ext cx="2943004" cy="492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58" tIns="45236" rIns="90458" bIns="45236" numCol="1" anchor="t" anchorCtr="0" compatLnSpc="1">
            <a:prstTxWarp prst="textNoShape">
              <a:avLst/>
            </a:prstTxWarp>
          </a:bodyPr>
          <a:lstStyle>
            <a:lvl1pPr algn="r" defTabSz="906946" eaLnBrk="0" hangingPunct="0">
              <a:spcBef>
                <a:spcPct val="0"/>
              </a:spcBef>
              <a:buClrTx/>
              <a:buSzTx/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30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2713" y="742950"/>
            <a:ext cx="6619875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90434" tIns="45217" rIns="90434" bIns="45217"/>
          <a:lstStyle/>
          <a:p>
            <a:endParaRPr lang="es-ES_tradnl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5777" y="4708038"/>
            <a:ext cx="4986141" cy="44765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58" tIns="45236" rIns="90458" bIns="4523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5" y="9435791"/>
            <a:ext cx="2943004" cy="492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58" tIns="45236" rIns="90458" bIns="45236" numCol="1" anchor="b" anchorCtr="0" compatLnSpc="1">
            <a:prstTxWarp prst="textNoShape">
              <a:avLst/>
            </a:prstTxWarp>
          </a:bodyPr>
          <a:lstStyle>
            <a:lvl1pPr algn="l" defTabSz="906946" eaLnBrk="0" hangingPunct="0">
              <a:spcBef>
                <a:spcPct val="0"/>
              </a:spcBef>
              <a:buClrTx/>
              <a:buSzTx/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674" y="9435791"/>
            <a:ext cx="2943004" cy="492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58" tIns="45236" rIns="90458" bIns="45236" numCol="1" anchor="b" anchorCtr="0" compatLnSpc="1">
            <a:prstTxWarp prst="textNoShape">
              <a:avLst/>
            </a:prstTxWarp>
          </a:bodyPr>
          <a:lstStyle>
            <a:lvl1pPr algn="r" defTabSz="906946" eaLnBrk="0" hangingPunct="0">
              <a:spcBef>
                <a:spcPct val="0"/>
              </a:spcBef>
              <a:buClrTx/>
              <a:buSzTx/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8028F805-8009-40C2-86B0-C5BB0D4B0CE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89435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ts val="0"/>
      </a:spcBef>
      <a:spcAft>
        <a:spcPct val="0"/>
      </a:spcAft>
      <a:defRPr sz="744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333308" algn="l" rtl="0" eaLnBrk="0" fontAlgn="base" hangingPunct="0">
      <a:spcBef>
        <a:spcPts val="0"/>
      </a:spcBef>
      <a:spcAft>
        <a:spcPct val="0"/>
      </a:spcAft>
      <a:defRPr sz="744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666615" algn="l" rtl="0" eaLnBrk="0" fontAlgn="base" hangingPunct="0">
      <a:spcBef>
        <a:spcPts val="0"/>
      </a:spcBef>
      <a:spcAft>
        <a:spcPct val="0"/>
      </a:spcAft>
      <a:defRPr sz="744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999921" algn="l" rtl="0" eaLnBrk="0" fontAlgn="base" hangingPunct="0">
      <a:spcBef>
        <a:spcPts val="0"/>
      </a:spcBef>
      <a:spcAft>
        <a:spcPct val="0"/>
      </a:spcAft>
      <a:defRPr sz="744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333229" algn="l" rtl="0" eaLnBrk="0" fontAlgn="base" hangingPunct="0">
      <a:spcBef>
        <a:spcPts val="0"/>
      </a:spcBef>
      <a:spcAft>
        <a:spcPct val="0"/>
      </a:spcAft>
      <a:defRPr sz="744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1666534" algn="l" defTabSz="666615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6pPr>
    <a:lvl7pPr marL="1999842" algn="l" defTabSz="666615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7pPr>
    <a:lvl8pPr marL="2333150" algn="l" defTabSz="666615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8pPr>
    <a:lvl9pPr marL="2666456" algn="l" defTabSz="666615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028F805-8009-40C2-86B0-C5BB0D4B0CEE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0139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1E4FBB-2775-4B97-E41D-8246C40D88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F7C08F89-EAD0-3156-4D5F-CC2AF087E9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3242F67E-7931-2C90-0A84-0C2483FE3D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AR"/>
              <a:t>“Las métricas del informe Gartner muestran que la adopción de IA genera productividad, pero aún no logra un retorno claro ni una gestión eficiente de costos y calidad. Centralizar los casos de uso en una plataforma agentica propia nos permitirá evolucionar, optimizar y medir el impacto de la IA, anticipándonos a tendencias globales y fortaleciendo nuestra autonomía tecnológica.”</a:t>
            </a:r>
          </a:p>
          <a:p>
            <a:endParaRPr lang="es-AR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Proceso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84%</a:t>
            </a:r>
            <a:r>
              <a:rPr lang="es-AR" sz="1200">
                <a:solidFill>
                  <a:schemeClr val="bg1"/>
                </a:solidFill>
              </a:rPr>
              <a:t> de </a:t>
            </a:r>
            <a:r>
              <a:rPr lang="es-AR" sz="1200" err="1">
                <a:solidFill>
                  <a:schemeClr val="bg1"/>
                </a:solidFill>
              </a:rPr>
              <a:t>CIOs</a:t>
            </a:r>
            <a:r>
              <a:rPr lang="es-AR" sz="1200">
                <a:solidFill>
                  <a:schemeClr val="bg1"/>
                </a:solidFill>
              </a:rPr>
              <a:t> y líderes de IT no tienen procesos formales para rastrear la exactitud de la I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os casos de uso en una plataforma propia facilita la implementación de métricas y controles de calida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or cada herramienta de IA adquirida, existen </a:t>
            </a:r>
            <a:r>
              <a:rPr lang="es-AR" sz="1200" b="1">
                <a:solidFill>
                  <a:schemeClr val="bg1"/>
                </a:solidFill>
              </a:rPr>
              <a:t>10 costos ocultos</a:t>
            </a:r>
            <a:r>
              <a:rPr lang="es-AR" sz="1200">
                <a:solidFill>
                  <a:schemeClr val="bg1"/>
                </a:solidFill>
              </a:rPr>
              <a:t> asociados.</a:t>
            </a:r>
            <a:br>
              <a:rPr lang="es-AR" sz="1200">
                <a:solidFill>
                  <a:schemeClr val="bg1"/>
                </a:solidFill>
              </a:rPr>
            </a:br>
            <a:endParaRPr lang="es-AR"/>
          </a:p>
          <a:p>
            <a:r>
              <a:rPr lang="es-AR"/>
              <a:t>Costos y retorno de la IA</a:t>
            </a:r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74%</a:t>
            </a:r>
            <a:r>
              <a:rPr lang="es-AR" sz="1200"/>
              <a:t> de los </a:t>
            </a:r>
            <a:r>
              <a:rPr lang="es-AR" sz="1200" err="1"/>
              <a:t>CFOs</a:t>
            </a:r>
            <a:r>
              <a:rPr lang="es-AR" sz="1200"/>
              <a:t> reportan ganancias de productividad con IA, pero solo </a:t>
            </a:r>
            <a:r>
              <a:rPr lang="es-AR" sz="1200" b="1"/>
              <a:t>11%</a:t>
            </a:r>
            <a:r>
              <a:rPr lang="es-AR" sz="1200"/>
              <a:t> percibe un ROI claro.</a:t>
            </a:r>
          </a:p>
          <a:p>
            <a:endParaRPr lang="es-AR"/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Adopción y Preparación</a:t>
            </a:r>
          </a:p>
          <a:p>
            <a:r>
              <a:rPr lang="es-AR" sz="1200"/>
              <a:t>Solo </a:t>
            </a:r>
            <a:r>
              <a:rPr lang="es-AR" sz="1200" b="1"/>
              <a:t>17%</a:t>
            </a:r>
            <a:r>
              <a:rPr lang="es-AR" sz="1200"/>
              <a:t> de las organizaciones han adoptado agentes de IA, pero </a:t>
            </a:r>
            <a:r>
              <a:rPr lang="es-AR" sz="1200" b="1"/>
              <a:t>42%</a:t>
            </a:r>
            <a:r>
              <a:rPr lang="es-AR" sz="1200"/>
              <a:t> planea hacerlo en los próximos 12 meses.</a:t>
            </a:r>
            <a:br>
              <a:rPr lang="es-AR" sz="1200"/>
            </a:br>
            <a:r>
              <a:rPr lang="es-AR" sz="1200" b="1"/>
              <a:t>88%</a:t>
            </a:r>
            <a:r>
              <a:rPr lang="es-AR" sz="1200"/>
              <a:t> de los líderes de IT que exploran agentes de IA se enfocan en agentes conversacionales.</a:t>
            </a:r>
          </a:p>
          <a:p>
            <a:endParaRPr lang="es-AR" sz="1200"/>
          </a:p>
          <a:p>
            <a:r>
              <a:rPr lang="es-AR" sz="1200"/>
              <a:t>Datos Adicionales Informe Gartner:</a:t>
            </a:r>
          </a:p>
          <a:p>
            <a:endParaRPr lang="es-AR" sz="1200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Impacto Laboral y Competenci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El rediseño de roles y puestos implica un esfuerzo </a:t>
            </a:r>
            <a:r>
              <a:rPr lang="es-AR" sz="1200" b="1">
                <a:solidFill>
                  <a:schemeClr val="bg1"/>
                </a:solidFill>
              </a:rPr>
              <a:t>20 veces mayor</a:t>
            </a:r>
            <a:r>
              <a:rPr lang="es-AR" sz="1200">
                <a:solidFill>
                  <a:schemeClr val="bg1"/>
                </a:solidFill>
              </a:rPr>
              <a:t> que los despidos o contrataciones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a gestión de IA facilita el </a:t>
            </a:r>
            <a:r>
              <a:rPr lang="es-AR" sz="1200" err="1">
                <a:solidFill>
                  <a:schemeClr val="bg1"/>
                </a:solidFill>
              </a:rPr>
              <a:t>reskilling</a:t>
            </a:r>
            <a:r>
              <a:rPr lang="es-AR" sz="1200">
                <a:solidFill>
                  <a:schemeClr val="bg1"/>
                </a:solidFill>
              </a:rPr>
              <a:t>/</a:t>
            </a:r>
            <a:r>
              <a:rPr lang="es-AR" sz="1200" err="1">
                <a:solidFill>
                  <a:schemeClr val="bg1"/>
                </a:solidFill>
              </a:rPr>
              <a:t>upskilling</a:t>
            </a:r>
            <a:r>
              <a:rPr lang="es-AR" sz="1200">
                <a:solidFill>
                  <a:schemeClr val="bg1"/>
                </a:solidFill>
              </a:rPr>
              <a:t> y la adaptación de la fuerza labora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30, </a:t>
            </a:r>
            <a:r>
              <a:rPr lang="es-AR" sz="1200" b="1">
                <a:solidFill>
                  <a:schemeClr val="bg1"/>
                </a:solidFill>
              </a:rPr>
              <a:t>75%</a:t>
            </a:r>
            <a:r>
              <a:rPr lang="es-AR" sz="1200">
                <a:solidFill>
                  <a:schemeClr val="bg1"/>
                </a:solidFill>
              </a:rPr>
              <a:t> del trabajo IT será realizado por humanos aumentados con IA y </a:t>
            </a:r>
            <a:r>
              <a:rPr lang="es-AR" sz="1200" b="1">
                <a:solidFill>
                  <a:schemeClr val="bg1"/>
                </a:solidFill>
              </a:rPr>
              <a:t>25%</a:t>
            </a:r>
            <a:r>
              <a:rPr lang="es-AR" sz="1200">
                <a:solidFill>
                  <a:schemeClr val="bg1"/>
                </a:solidFill>
              </a:rPr>
              <a:t> por IA autónom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Una plataforma propia prepara a la organización para este futuro, gestionando la transición de manera ordenad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Soberanía Digital y Dependenc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27, el </a:t>
            </a:r>
            <a:r>
              <a:rPr lang="es-AR" sz="1200" b="1">
                <a:solidFill>
                  <a:schemeClr val="bg1"/>
                </a:solidFill>
              </a:rPr>
              <a:t>35%</a:t>
            </a:r>
            <a:r>
              <a:rPr lang="es-AR" sz="1200">
                <a:solidFill>
                  <a:schemeClr val="bg1"/>
                </a:solidFill>
              </a:rPr>
              <a:t> de los países estarán “atados” a plataformas de IA específicas de la región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Desarrollar una plataforma propia reduce la dependencia de proveedores externos y fortalece la soberanía digital.</a:t>
            </a:r>
          </a:p>
          <a:p>
            <a:endParaRPr lang="es-AR" sz="120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2AF990E6-1A42-3F94-A8F9-CC13BF7D9C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3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154A9134-CAE7-4FD1-8E10-99C806C98A6F}" type="slidenum">
              <a:rPr lang="es-AR" sz="1200">
                <a:solidFill>
                  <a:prstClr val="black"/>
                </a:solidFill>
                <a:latin typeface="Aptos" panose="02110004020202020204"/>
              </a:rPr>
              <a:pPr defTabSz="9043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2</a:t>
            </a:fld>
            <a:endParaRPr lang="es-AR" sz="120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5888237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751DBD-4E0A-3BD6-D88C-3770492D84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75377007-DB69-8209-2B1C-DCF30EFF01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30861E80-FA50-175D-A5CD-49D51933BF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AR"/>
              <a:t>“Las métricas del informe Gartner muestran que la adopción de IA genera productividad, pero aún no logra un retorno claro ni una gestión eficiente de costos y calidad. Centralizar los casos de uso en una plataforma agentica propia nos permitirá evolucionar, optimizar y medir el impacto de la IA, anticipándonos a tendencias globales y fortaleciendo nuestra autonomía tecnológica.”</a:t>
            </a:r>
          </a:p>
          <a:p>
            <a:endParaRPr lang="es-AR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Proceso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84%</a:t>
            </a:r>
            <a:r>
              <a:rPr lang="es-AR" sz="1200">
                <a:solidFill>
                  <a:schemeClr val="bg1"/>
                </a:solidFill>
              </a:rPr>
              <a:t> de </a:t>
            </a:r>
            <a:r>
              <a:rPr lang="es-AR" sz="1200" err="1">
                <a:solidFill>
                  <a:schemeClr val="bg1"/>
                </a:solidFill>
              </a:rPr>
              <a:t>CIOs</a:t>
            </a:r>
            <a:r>
              <a:rPr lang="es-AR" sz="1200">
                <a:solidFill>
                  <a:schemeClr val="bg1"/>
                </a:solidFill>
              </a:rPr>
              <a:t> y líderes de IT no tienen procesos formales para rastrear la exactitud de la I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os casos de uso en una plataforma propia facilita la implementación de métricas y controles de calida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or cada herramienta de IA adquirida, existen </a:t>
            </a:r>
            <a:r>
              <a:rPr lang="es-AR" sz="1200" b="1">
                <a:solidFill>
                  <a:schemeClr val="bg1"/>
                </a:solidFill>
              </a:rPr>
              <a:t>10 costos ocultos</a:t>
            </a:r>
            <a:r>
              <a:rPr lang="es-AR" sz="1200">
                <a:solidFill>
                  <a:schemeClr val="bg1"/>
                </a:solidFill>
              </a:rPr>
              <a:t> asociados.</a:t>
            </a:r>
            <a:br>
              <a:rPr lang="es-AR" sz="1200">
                <a:solidFill>
                  <a:schemeClr val="bg1"/>
                </a:solidFill>
              </a:rPr>
            </a:br>
            <a:endParaRPr lang="es-AR"/>
          </a:p>
          <a:p>
            <a:r>
              <a:rPr lang="es-AR"/>
              <a:t>Costos y retorno de la IA</a:t>
            </a:r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74%</a:t>
            </a:r>
            <a:r>
              <a:rPr lang="es-AR" sz="1200"/>
              <a:t> de los </a:t>
            </a:r>
            <a:r>
              <a:rPr lang="es-AR" sz="1200" err="1"/>
              <a:t>CFOs</a:t>
            </a:r>
            <a:r>
              <a:rPr lang="es-AR" sz="1200"/>
              <a:t> reportan ganancias de productividad con IA, pero solo </a:t>
            </a:r>
            <a:r>
              <a:rPr lang="es-AR" sz="1200" b="1"/>
              <a:t>11%</a:t>
            </a:r>
            <a:r>
              <a:rPr lang="es-AR" sz="1200"/>
              <a:t> percibe un ROI claro.</a:t>
            </a:r>
          </a:p>
          <a:p>
            <a:endParaRPr lang="es-AR"/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Adopción y Preparación</a:t>
            </a:r>
          </a:p>
          <a:p>
            <a:r>
              <a:rPr lang="es-AR" sz="1200"/>
              <a:t>Solo </a:t>
            </a:r>
            <a:r>
              <a:rPr lang="es-AR" sz="1200" b="1"/>
              <a:t>17%</a:t>
            </a:r>
            <a:r>
              <a:rPr lang="es-AR" sz="1200"/>
              <a:t> de las organizaciones han adoptado agentes de IA, pero </a:t>
            </a:r>
            <a:r>
              <a:rPr lang="es-AR" sz="1200" b="1"/>
              <a:t>42%</a:t>
            </a:r>
            <a:r>
              <a:rPr lang="es-AR" sz="1200"/>
              <a:t> planea hacerlo en los próximos 12 meses.</a:t>
            </a:r>
            <a:br>
              <a:rPr lang="es-AR" sz="1200"/>
            </a:br>
            <a:r>
              <a:rPr lang="es-AR" sz="1200" b="1"/>
              <a:t>88%</a:t>
            </a:r>
            <a:r>
              <a:rPr lang="es-AR" sz="1200"/>
              <a:t> de los líderes de IT que exploran agentes de IA se enfocan en agentes conversacionales.</a:t>
            </a:r>
          </a:p>
          <a:p>
            <a:endParaRPr lang="es-AR" sz="1200"/>
          </a:p>
          <a:p>
            <a:r>
              <a:rPr lang="es-AR" sz="1200"/>
              <a:t>Datos Adicionales Informe Gartner:</a:t>
            </a:r>
          </a:p>
          <a:p>
            <a:endParaRPr lang="es-AR" sz="1200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Impacto Laboral y Competenci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El rediseño de roles y puestos implica un esfuerzo </a:t>
            </a:r>
            <a:r>
              <a:rPr lang="es-AR" sz="1200" b="1">
                <a:solidFill>
                  <a:schemeClr val="bg1"/>
                </a:solidFill>
              </a:rPr>
              <a:t>20 veces mayor</a:t>
            </a:r>
            <a:r>
              <a:rPr lang="es-AR" sz="1200">
                <a:solidFill>
                  <a:schemeClr val="bg1"/>
                </a:solidFill>
              </a:rPr>
              <a:t> que los despidos o contrataciones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a gestión de IA facilita el </a:t>
            </a:r>
            <a:r>
              <a:rPr lang="es-AR" sz="1200" err="1">
                <a:solidFill>
                  <a:schemeClr val="bg1"/>
                </a:solidFill>
              </a:rPr>
              <a:t>reskilling</a:t>
            </a:r>
            <a:r>
              <a:rPr lang="es-AR" sz="1200">
                <a:solidFill>
                  <a:schemeClr val="bg1"/>
                </a:solidFill>
              </a:rPr>
              <a:t>/</a:t>
            </a:r>
            <a:r>
              <a:rPr lang="es-AR" sz="1200" err="1">
                <a:solidFill>
                  <a:schemeClr val="bg1"/>
                </a:solidFill>
              </a:rPr>
              <a:t>upskilling</a:t>
            </a:r>
            <a:r>
              <a:rPr lang="es-AR" sz="1200">
                <a:solidFill>
                  <a:schemeClr val="bg1"/>
                </a:solidFill>
              </a:rPr>
              <a:t> y la adaptación de la fuerza labora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30, </a:t>
            </a:r>
            <a:r>
              <a:rPr lang="es-AR" sz="1200" b="1">
                <a:solidFill>
                  <a:schemeClr val="bg1"/>
                </a:solidFill>
              </a:rPr>
              <a:t>75%</a:t>
            </a:r>
            <a:r>
              <a:rPr lang="es-AR" sz="1200">
                <a:solidFill>
                  <a:schemeClr val="bg1"/>
                </a:solidFill>
              </a:rPr>
              <a:t> del trabajo IT será realizado por humanos aumentados con IA y </a:t>
            </a:r>
            <a:r>
              <a:rPr lang="es-AR" sz="1200" b="1">
                <a:solidFill>
                  <a:schemeClr val="bg1"/>
                </a:solidFill>
              </a:rPr>
              <a:t>25%</a:t>
            </a:r>
            <a:r>
              <a:rPr lang="es-AR" sz="1200">
                <a:solidFill>
                  <a:schemeClr val="bg1"/>
                </a:solidFill>
              </a:rPr>
              <a:t> por IA autónom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Una plataforma propia prepara a la organización para este futuro, gestionando la transición de manera ordenad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Soberanía Digital y Dependenc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27, el </a:t>
            </a:r>
            <a:r>
              <a:rPr lang="es-AR" sz="1200" b="1">
                <a:solidFill>
                  <a:schemeClr val="bg1"/>
                </a:solidFill>
              </a:rPr>
              <a:t>35%</a:t>
            </a:r>
            <a:r>
              <a:rPr lang="es-AR" sz="1200">
                <a:solidFill>
                  <a:schemeClr val="bg1"/>
                </a:solidFill>
              </a:rPr>
              <a:t> de los países estarán “atados” a plataformas de IA específicas de la región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Desarrollar una plataforma propia reduce la dependencia de proveedores externos y fortalece la soberanía digital.</a:t>
            </a:r>
          </a:p>
          <a:p>
            <a:endParaRPr lang="es-AR" sz="120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1E9B14B-B40F-00D4-856F-CED9E97D04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3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154A9134-CAE7-4FD1-8E10-99C806C98A6F}" type="slidenum">
              <a:rPr lang="es-AR" sz="1200">
                <a:solidFill>
                  <a:prstClr val="black"/>
                </a:solidFill>
                <a:latin typeface="Aptos" panose="02110004020202020204"/>
              </a:rPr>
              <a:pPr defTabSz="9043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3</a:t>
            </a:fld>
            <a:endParaRPr lang="es-AR" sz="120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1737766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4E6348-A7AE-C958-F1A4-D43CDD9C6E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D9907E23-BD8D-7B74-C01C-D58C2B81CF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B9AE18FD-3F4A-9F19-D7C9-6FA89CB82A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AR"/>
              <a:t>“Las métricas del informe Gartner muestran que la adopción de IA genera productividad, pero aún no logra un retorno claro ni una gestión eficiente de costos y calidad. Centralizar los casos de uso en una plataforma agentica propia nos permitirá evolucionar, optimizar y medir el impacto de la IA, anticipándonos a tendencias globales y fortaleciendo nuestra autonomía tecnológica.”</a:t>
            </a:r>
          </a:p>
          <a:p>
            <a:endParaRPr lang="es-AR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Proceso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84%</a:t>
            </a:r>
            <a:r>
              <a:rPr lang="es-AR" sz="1200">
                <a:solidFill>
                  <a:schemeClr val="bg1"/>
                </a:solidFill>
              </a:rPr>
              <a:t> de </a:t>
            </a:r>
            <a:r>
              <a:rPr lang="es-AR" sz="1200" err="1">
                <a:solidFill>
                  <a:schemeClr val="bg1"/>
                </a:solidFill>
              </a:rPr>
              <a:t>CIOs</a:t>
            </a:r>
            <a:r>
              <a:rPr lang="es-AR" sz="1200">
                <a:solidFill>
                  <a:schemeClr val="bg1"/>
                </a:solidFill>
              </a:rPr>
              <a:t> y líderes de IT no tienen procesos formales para rastrear la exactitud de la I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os casos de uso en una plataforma propia facilita la implementación de métricas y controles de calida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or cada herramienta de IA adquirida, existen </a:t>
            </a:r>
            <a:r>
              <a:rPr lang="es-AR" sz="1200" b="1">
                <a:solidFill>
                  <a:schemeClr val="bg1"/>
                </a:solidFill>
              </a:rPr>
              <a:t>10 costos ocultos</a:t>
            </a:r>
            <a:r>
              <a:rPr lang="es-AR" sz="1200">
                <a:solidFill>
                  <a:schemeClr val="bg1"/>
                </a:solidFill>
              </a:rPr>
              <a:t> asociados.</a:t>
            </a:r>
            <a:br>
              <a:rPr lang="es-AR" sz="1200">
                <a:solidFill>
                  <a:schemeClr val="bg1"/>
                </a:solidFill>
              </a:rPr>
            </a:br>
            <a:endParaRPr lang="es-AR"/>
          </a:p>
          <a:p>
            <a:r>
              <a:rPr lang="es-AR"/>
              <a:t>Costos y retorno de la IA</a:t>
            </a:r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74%</a:t>
            </a:r>
            <a:r>
              <a:rPr lang="es-AR" sz="1200"/>
              <a:t> de los </a:t>
            </a:r>
            <a:r>
              <a:rPr lang="es-AR" sz="1200" err="1"/>
              <a:t>CFOs</a:t>
            </a:r>
            <a:r>
              <a:rPr lang="es-AR" sz="1200"/>
              <a:t> reportan ganancias de productividad con IA, pero solo </a:t>
            </a:r>
            <a:r>
              <a:rPr lang="es-AR" sz="1200" b="1"/>
              <a:t>11%</a:t>
            </a:r>
            <a:r>
              <a:rPr lang="es-AR" sz="1200"/>
              <a:t> percibe un ROI claro.</a:t>
            </a:r>
          </a:p>
          <a:p>
            <a:endParaRPr lang="es-AR"/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Adopción y Preparación</a:t>
            </a:r>
          </a:p>
          <a:p>
            <a:r>
              <a:rPr lang="es-AR" sz="1200"/>
              <a:t>Solo </a:t>
            </a:r>
            <a:r>
              <a:rPr lang="es-AR" sz="1200" b="1"/>
              <a:t>17%</a:t>
            </a:r>
            <a:r>
              <a:rPr lang="es-AR" sz="1200"/>
              <a:t> de las organizaciones han adoptado agentes de IA, pero </a:t>
            </a:r>
            <a:r>
              <a:rPr lang="es-AR" sz="1200" b="1"/>
              <a:t>42%</a:t>
            </a:r>
            <a:r>
              <a:rPr lang="es-AR" sz="1200"/>
              <a:t> planea hacerlo en los próximos 12 meses.</a:t>
            </a:r>
            <a:br>
              <a:rPr lang="es-AR" sz="1200"/>
            </a:br>
            <a:r>
              <a:rPr lang="es-AR" sz="1200" b="1"/>
              <a:t>88%</a:t>
            </a:r>
            <a:r>
              <a:rPr lang="es-AR" sz="1200"/>
              <a:t> de los líderes de IT que exploran agentes de IA se enfocan en agentes conversacionales.</a:t>
            </a:r>
          </a:p>
          <a:p>
            <a:endParaRPr lang="es-AR" sz="1200"/>
          </a:p>
          <a:p>
            <a:r>
              <a:rPr lang="es-AR" sz="1200"/>
              <a:t>Datos Adicionales Informe Gartner:</a:t>
            </a:r>
          </a:p>
          <a:p>
            <a:endParaRPr lang="es-AR" sz="1200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Impacto Laboral y Competenci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El rediseño de roles y puestos implica un esfuerzo </a:t>
            </a:r>
            <a:r>
              <a:rPr lang="es-AR" sz="1200" b="1">
                <a:solidFill>
                  <a:schemeClr val="bg1"/>
                </a:solidFill>
              </a:rPr>
              <a:t>20 veces mayor</a:t>
            </a:r>
            <a:r>
              <a:rPr lang="es-AR" sz="1200">
                <a:solidFill>
                  <a:schemeClr val="bg1"/>
                </a:solidFill>
              </a:rPr>
              <a:t> que los despidos o contrataciones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a gestión de IA facilita el </a:t>
            </a:r>
            <a:r>
              <a:rPr lang="es-AR" sz="1200" err="1">
                <a:solidFill>
                  <a:schemeClr val="bg1"/>
                </a:solidFill>
              </a:rPr>
              <a:t>reskilling</a:t>
            </a:r>
            <a:r>
              <a:rPr lang="es-AR" sz="1200">
                <a:solidFill>
                  <a:schemeClr val="bg1"/>
                </a:solidFill>
              </a:rPr>
              <a:t>/</a:t>
            </a:r>
            <a:r>
              <a:rPr lang="es-AR" sz="1200" err="1">
                <a:solidFill>
                  <a:schemeClr val="bg1"/>
                </a:solidFill>
              </a:rPr>
              <a:t>upskilling</a:t>
            </a:r>
            <a:r>
              <a:rPr lang="es-AR" sz="1200">
                <a:solidFill>
                  <a:schemeClr val="bg1"/>
                </a:solidFill>
              </a:rPr>
              <a:t> y la adaptación de la fuerza labora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30, </a:t>
            </a:r>
            <a:r>
              <a:rPr lang="es-AR" sz="1200" b="1">
                <a:solidFill>
                  <a:schemeClr val="bg1"/>
                </a:solidFill>
              </a:rPr>
              <a:t>75%</a:t>
            </a:r>
            <a:r>
              <a:rPr lang="es-AR" sz="1200">
                <a:solidFill>
                  <a:schemeClr val="bg1"/>
                </a:solidFill>
              </a:rPr>
              <a:t> del trabajo IT será realizado por humanos aumentados con IA y </a:t>
            </a:r>
            <a:r>
              <a:rPr lang="es-AR" sz="1200" b="1">
                <a:solidFill>
                  <a:schemeClr val="bg1"/>
                </a:solidFill>
              </a:rPr>
              <a:t>25%</a:t>
            </a:r>
            <a:r>
              <a:rPr lang="es-AR" sz="1200">
                <a:solidFill>
                  <a:schemeClr val="bg1"/>
                </a:solidFill>
              </a:rPr>
              <a:t> por IA autónom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Una plataforma propia prepara a la organización para este futuro, gestionando la transición de manera ordenad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Soberanía Digital y Dependenc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27, el </a:t>
            </a:r>
            <a:r>
              <a:rPr lang="es-AR" sz="1200" b="1">
                <a:solidFill>
                  <a:schemeClr val="bg1"/>
                </a:solidFill>
              </a:rPr>
              <a:t>35%</a:t>
            </a:r>
            <a:r>
              <a:rPr lang="es-AR" sz="1200">
                <a:solidFill>
                  <a:schemeClr val="bg1"/>
                </a:solidFill>
              </a:rPr>
              <a:t> de los países estarán “atados” a plataformas de IA específicas de la región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Desarrollar una plataforma propia reduce la dependencia de proveedores externos y fortalece la soberanía digital.</a:t>
            </a:r>
          </a:p>
          <a:p>
            <a:endParaRPr lang="es-AR" sz="120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A1E90E0-DF5E-1720-A3DB-9D32B2CA11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3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154A9134-CAE7-4FD1-8E10-99C806C98A6F}" type="slidenum">
              <a:rPr lang="es-AR" sz="1200">
                <a:solidFill>
                  <a:prstClr val="black"/>
                </a:solidFill>
                <a:latin typeface="Aptos" panose="02110004020202020204"/>
              </a:rPr>
              <a:pPr defTabSz="9043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5</a:t>
            </a:fld>
            <a:endParaRPr lang="es-AR" sz="120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93642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E2375-F1B1-284C-A827-B0E603FDBDD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2197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CD4074-7F8C-A893-77DC-FF89749A70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C9F3DFD2-F878-D7B6-EA86-65378FBCD9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033DE040-6A92-7D78-D0B6-5BD95FCED7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AR"/>
              <a:t>“Las métricas del informe Gartner muestran que la adopción de IA genera productividad, pero aún no logra un retorno claro ni una gestión eficiente de costos y calidad. Centralizar los casos de uso en una plataforma agentica propia nos permitirá evolucionar, optimizar y medir el impacto de la IA, anticipándonos a tendencias globales y fortaleciendo nuestra autonomía tecnológica.”</a:t>
            </a:r>
          </a:p>
          <a:p>
            <a:endParaRPr lang="es-AR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Proceso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84%</a:t>
            </a:r>
            <a:r>
              <a:rPr lang="es-AR" sz="1200">
                <a:solidFill>
                  <a:schemeClr val="bg1"/>
                </a:solidFill>
              </a:rPr>
              <a:t> de </a:t>
            </a:r>
            <a:r>
              <a:rPr lang="es-AR" sz="1200" err="1">
                <a:solidFill>
                  <a:schemeClr val="bg1"/>
                </a:solidFill>
              </a:rPr>
              <a:t>CIOs</a:t>
            </a:r>
            <a:r>
              <a:rPr lang="es-AR" sz="1200">
                <a:solidFill>
                  <a:schemeClr val="bg1"/>
                </a:solidFill>
              </a:rPr>
              <a:t> y líderes de IT no tienen procesos formales para rastrear la exactitud de la I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os casos de uso en una plataforma propia facilita la implementación de métricas y controles de calida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or cada herramienta de IA adquirida, existen </a:t>
            </a:r>
            <a:r>
              <a:rPr lang="es-AR" sz="1200" b="1">
                <a:solidFill>
                  <a:schemeClr val="bg1"/>
                </a:solidFill>
              </a:rPr>
              <a:t>10 costos ocultos</a:t>
            </a:r>
            <a:r>
              <a:rPr lang="es-AR" sz="1200">
                <a:solidFill>
                  <a:schemeClr val="bg1"/>
                </a:solidFill>
              </a:rPr>
              <a:t> asociados.</a:t>
            </a:r>
            <a:br>
              <a:rPr lang="es-AR" sz="1200">
                <a:solidFill>
                  <a:schemeClr val="bg1"/>
                </a:solidFill>
              </a:rPr>
            </a:br>
            <a:endParaRPr lang="es-AR"/>
          </a:p>
          <a:p>
            <a:r>
              <a:rPr lang="es-AR"/>
              <a:t>Costos y retorno de la IA</a:t>
            </a:r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74%</a:t>
            </a:r>
            <a:r>
              <a:rPr lang="es-AR" sz="1200"/>
              <a:t> de los </a:t>
            </a:r>
            <a:r>
              <a:rPr lang="es-AR" sz="1200" err="1"/>
              <a:t>CFOs</a:t>
            </a:r>
            <a:r>
              <a:rPr lang="es-AR" sz="1200"/>
              <a:t> reportan ganancias de productividad con IA, pero solo </a:t>
            </a:r>
            <a:r>
              <a:rPr lang="es-AR" sz="1200" b="1"/>
              <a:t>11%</a:t>
            </a:r>
            <a:r>
              <a:rPr lang="es-AR" sz="1200"/>
              <a:t> percibe un ROI claro.</a:t>
            </a:r>
          </a:p>
          <a:p>
            <a:endParaRPr lang="es-AR"/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Adopción y Preparación</a:t>
            </a:r>
          </a:p>
          <a:p>
            <a:r>
              <a:rPr lang="es-AR" sz="1200"/>
              <a:t>Solo </a:t>
            </a:r>
            <a:r>
              <a:rPr lang="es-AR" sz="1200" b="1"/>
              <a:t>17%</a:t>
            </a:r>
            <a:r>
              <a:rPr lang="es-AR" sz="1200"/>
              <a:t> de las organizaciones han adoptado agentes de IA, pero </a:t>
            </a:r>
            <a:r>
              <a:rPr lang="es-AR" sz="1200" b="1"/>
              <a:t>42%</a:t>
            </a:r>
            <a:r>
              <a:rPr lang="es-AR" sz="1200"/>
              <a:t> planea hacerlo en los próximos 12 meses.</a:t>
            </a:r>
            <a:br>
              <a:rPr lang="es-AR" sz="1200"/>
            </a:br>
            <a:r>
              <a:rPr lang="es-AR" sz="1200" b="1"/>
              <a:t>88%</a:t>
            </a:r>
            <a:r>
              <a:rPr lang="es-AR" sz="1200"/>
              <a:t> de los líderes de IT que exploran agentes de IA se enfocan en agentes conversacionales.</a:t>
            </a:r>
          </a:p>
          <a:p>
            <a:endParaRPr lang="es-AR" sz="1200"/>
          </a:p>
          <a:p>
            <a:r>
              <a:rPr lang="es-AR" sz="1200"/>
              <a:t>Datos Adicionales Informe Gartner:</a:t>
            </a:r>
          </a:p>
          <a:p>
            <a:endParaRPr lang="es-AR" sz="1200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Impacto Laboral y Competenci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El rediseño de roles y puestos implica un esfuerzo </a:t>
            </a:r>
            <a:r>
              <a:rPr lang="es-AR" sz="1200" b="1">
                <a:solidFill>
                  <a:schemeClr val="bg1"/>
                </a:solidFill>
              </a:rPr>
              <a:t>20 veces mayor</a:t>
            </a:r>
            <a:r>
              <a:rPr lang="es-AR" sz="1200">
                <a:solidFill>
                  <a:schemeClr val="bg1"/>
                </a:solidFill>
              </a:rPr>
              <a:t> que los despidos o contrataciones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a gestión de IA facilita el </a:t>
            </a:r>
            <a:r>
              <a:rPr lang="es-AR" sz="1200" err="1">
                <a:solidFill>
                  <a:schemeClr val="bg1"/>
                </a:solidFill>
              </a:rPr>
              <a:t>reskilling</a:t>
            </a:r>
            <a:r>
              <a:rPr lang="es-AR" sz="1200">
                <a:solidFill>
                  <a:schemeClr val="bg1"/>
                </a:solidFill>
              </a:rPr>
              <a:t>/</a:t>
            </a:r>
            <a:r>
              <a:rPr lang="es-AR" sz="1200" err="1">
                <a:solidFill>
                  <a:schemeClr val="bg1"/>
                </a:solidFill>
              </a:rPr>
              <a:t>upskilling</a:t>
            </a:r>
            <a:r>
              <a:rPr lang="es-AR" sz="1200">
                <a:solidFill>
                  <a:schemeClr val="bg1"/>
                </a:solidFill>
              </a:rPr>
              <a:t> y la adaptación de la fuerza labora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30, </a:t>
            </a:r>
            <a:r>
              <a:rPr lang="es-AR" sz="1200" b="1">
                <a:solidFill>
                  <a:schemeClr val="bg1"/>
                </a:solidFill>
              </a:rPr>
              <a:t>75%</a:t>
            </a:r>
            <a:r>
              <a:rPr lang="es-AR" sz="1200">
                <a:solidFill>
                  <a:schemeClr val="bg1"/>
                </a:solidFill>
              </a:rPr>
              <a:t> del trabajo IT será realizado por humanos aumentados con IA y </a:t>
            </a:r>
            <a:r>
              <a:rPr lang="es-AR" sz="1200" b="1">
                <a:solidFill>
                  <a:schemeClr val="bg1"/>
                </a:solidFill>
              </a:rPr>
              <a:t>25%</a:t>
            </a:r>
            <a:r>
              <a:rPr lang="es-AR" sz="1200">
                <a:solidFill>
                  <a:schemeClr val="bg1"/>
                </a:solidFill>
              </a:rPr>
              <a:t> por IA autónom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Una plataforma propia prepara a la organización para este futuro, gestionando la transición de manera ordenad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Soberanía Digital y Dependenc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27, el </a:t>
            </a:r>
            <a:r>
              <a:rPr lang="es-AR" sz="1200" b="1">
                <a:solidFill>
                  <a:schemeClr val="bg1"/>
                </a:solidFill>
              </a:rPr>
              <a:t>35%</a:t>
            </a:r>
            <a:r>
              <a:rPr lang="es-AR" sz="1200">
                <a:solidFill>
                  <a:schemeClr val="bg1"/>
                </a:solidFill>
              </a:rPr>
              <a:t> de los países estarán “atados” a plataformas de IA específicas de la región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Desarrollar una plataforma propia reduce la dependencia de proveedores externos y fortalece la soberanía digital.</a:t>
            </a:r>
          </a:p>
          <a:p>
            <a:endParaRPr lang="es-AR" sz="120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C1780E9C-71A3-E4FA-DCE4-E531D7739F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3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154A9134-CAE7-4FD1-8E10-99C806C98A6F}" type="slidenum">
              <a:rPr lang="es-AR" sz="1200">
                <a:solidFill>
                  <a:prstClr val="black"/>
                </a:solidFill>
                <a:latin typeface="Aptos" panose="02110004020202020204"/>
              </a:rPr>
              <a:pPr defTabSz="9043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9</a:t>
            </a:fld>
            <a:endParaRPr lang="es-AR" sz="120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0296139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A20BCF-95E0-E206-47D6-52D403F3E4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AA995375-939B-B4C6-8915-920F823B4D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AB0EA37E-60B9-EFEF-7B1D-77EBBA473A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4F899F5-280B-8C6B-EF63-9125C9C3C9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F8E2375-F1B1-284C-A827-B0E603FDBDD8}" type="slidenum">
              <a:rPr lang="en-US" sz="1200">
                <a:solidFill>
                  <a:prstClr val="black"/>
                </a:solidFill>
                <a:latin typeface="Calibri" panose="020F0502020204030204"/>
              </a:rPr>
              <a:pPr defTabSz="90427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0</a:t>
            </a:fld>
            <a:endParaRPr lang="en-US" sz="12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091938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9FA615-DC7B-F49E-3190-DA0465072A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7556BDF4-BCAC-CBB4-4278-AE5777D469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B7A55822-A5D7-7C67-D7E0-06C2FA399A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1EC58359-F7E0-B249-81EB-57B08CBEB9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F8E2375-F1B1-284C-A827-B0E603FDBDD8}" type="slidenum">
              <a:rPr lang="en-US" sz="1200">
                <a:solidFill>
                  <a:prstClr val="black"/>
                </a:solidFill>
                <a:latin typeface="Calibri" panose="020F0502020204030204"/>
              </a:rPr>
              <a:pPr defTabSz="90427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1</a:t>
            </a:fld>
            <a:endParaRPr lang="en-US" sz="12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57964959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94D518-BA22-F962-4E15-A70BB2657E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E52C4D3B-1481-1517-3F6D-41DD6FCDED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DF9113B2-44BC-B6A2-834F-B4155EB710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AR"/>
              <a:t>“Las métricas del informe Gartner muestran que la adopción de IA genera productividad, pero aún no logra un retorno claro ni una gestión eficiente de costos y calidad. Centralizar los casos de uso en una plataforma agentica propia nos permitirá evolucionar, optimizar y medir el impacto de la IA, anticipándonos a tendencias globales y fortaleciendo nuestra autonomía tecnológica.”</a:t>
            </a:r>
          </a:p>
          <a:p>
            <a:endParaRPr lang="es-AR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Proceso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84%</a:t>
            </a:r>
            <a:r>
              <a:rPr lang="es-AR" sz="1200">
                <a:solidFill>
                  <a:schemeClr val="bg1"/>
                </a:solidFill>
              </a:rPr>
              <a:t> de </a:t>
            </a:r>
            <a:r>
              <a:rPr lang="es-AR" sz="1200" err="1">
                <a:solidFill>
                  <a:schemeClr val="bg1"/>
                </a:solidFill>
              </a:rPr>
              <a:t>CIOs</a:t>
            </a:r>
            <a:r>
              <a:rPr lang="es-AR" sz="1200">
                <a:solidFill>
                  <a:schemeClr val="bg1"/>
                </a:solidFill>
              </a:rPr>
              <a:t> y líderes de IT no tienen procesos formales para rastrear la exactitud de la I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os casos de uso en una plataforma propia facilita la implementación de métricas y controles de calida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or cada herramienta de IA adquirida, existen </a:t>
            </a:r>
            <a:r>
              <a:rPr lang="es-AR" sz="1200" b="1">
                <a:solidFill>
                  <a:schemeClr val="bg1"/>
                </a:solidFill>
              </a:rPr>
              <a:t>10 costos ocultos</a:t>
            </a:r>
            <a:r>
              <a:rPr lang="es-AR" sz="1200">
                <a:solidFill>
                  <a:schemeClr val="bg1"/>
                </a:solidFill>
              </a:rPr>
              <a:t> asociados.</a:t>
            </a:r>
            <a:br>
              <a:rPr lang="es-AR" sz="1200">
                <a:solidFill>
                  <a:schemeClr val="bg1"/>
                </a:solidFill>
              </a:rPr>
            </a:br>
            <a:endParaRPr lang="es-AR"/>
          </a:p>
          <a:p>
            <a:r>
              <a:rPr lang="es-AR"/>
              <a:t>Costos y retorno de la IA</a:t>
            </a:r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74%</a:t>
            </a:r>
            <a:r>
              <a:rPr lang="es-AR" sz="1200"/>
              <a:t> de los </a:t>
            </a:r>
            <a:r>
              <a:rPr lang="es-AR" sz="1200" err="1"/>
              <a:t>CFOs</a:t>
            </a:r>
            <a:r>
              <a:rPr lang="es-AR" sz="1200"/>
              <a:t> reportan ganancias de productividad con IA, pero solo </a:t>
            </a:r>
            <a:r>
              <a:rPr lang="es-AR" sz="1200" b="1"/>
              <a:t>11%</a:t>
            </a:r>
            <a:r>
              <a:rPr lang="es-AR" sz="1200"/>
              <a:t> percibe un ROI claro.</a:t>
            </a:r>
          </a:p>
          <a:p>
            <a:endParaRPr lang="es-AR"/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Adopción y Preparación</a:t>
            </a:r>
          </a:p>
          <a:p>
            <a:r>
              <a:rPr lang="es-AR" sz="1200"/>
              <a:t>Solo </a:t>
            </a:r>
            <a:r>
              <a:rPr lang="es-AR" sz="1200" b="1"/>
              <a:t>17%</a:t>
            </a:r>
            <a:r>
              <a:rPr lang="es-AR" sz="1200"/>
              <a:t> de las organizaciones han adoptado agentes de IA, pero </a:t>
            </a:r>
            <a:r>
              <a:rPr lang="es-AR" sz="1200" b="1"/>
              <a:t>42%</a:t>
            </a:r>
            <a:r>
              <a:rPr lang="es-AR" sz="1200"/>
              <a:t> planea hacerlo en los próximos 12 meses.</a:t>
            </a:r>
            <a:br>
              <a:rPr lang="es-AR" sz="1200"/>
            </a:br>
            <a:r>
              <a:rPr lang="es-AR" sz="1200" b="1"/>
              <a:t>88%</a:t>
            </a:r>
            <a:r>
              <a:rPr lang="es-AR" sz="1200"/>
              <a:t> de los líderes de IT que exploran agentes de IA se enfocan en agentes conversacionales.</a:t>
            </a:r>
          </a:p>
          <a:p>
            <a:endParaRPr lang="es-AR" sz="1200"/>
          </a:p>
          <a:p>
            <a:r>
              <a:rPr lang="es-AR" sz="1200"/>
              <a:t>Datos Adicionales Informe Gartner:</a:t>
            </a:r>
          </a:p>
          <a:p>
            <a:endParaRPr lang="es-AR" sz="1200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Impacto Laboral y Competenci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El rediseño de roles y puestos implica un esfuerzo </a:t>
            </a:r>
            <a:r>
              <a:rPr lang="es-AR" sz="1200" b="1">
                <a:solidFill>
                  <a:schemeClr val="bg1"/>
                </a:solidFill>
              </a:rPr>
              <a:t>20 veces mayor</a:t>
            </a:r>
            <a:r>
              <a:rPr lang="es-AR" sz="1200">
                <a:solidFill>
                  <a:schemeClr val="bg1"/>
                </a:solidFill>
              </a:rPr>
              <a:t> que los despidos o contrataciones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a gestión de IA facilita el </a:t>
            </a:r>
            <a:r>
              <a:rPr lang="es-AR" sz="1200" err="1">
                <a:solidFill>
                  <a:schemeClr val="bg1"/>
                </a:solidFill>
              </a:rPr>
              <a:t>reskilling</a:t>
            </a:r>
            <a:r>
              <a:rPr lang="es-AR" sz="1200">
                <a:solidFill>
                  <a:schemeClr val="bg1"/>
                </a:solidFill>
              </a:rPr>
              <a:t>/</a:t>
            </a:r>
            <a:r>
              <a:rPr lang="es-AR" sz="1200" err="1">
                <a:solidFill>
                  <a:schemeClr val="bg1"/>
                </a:solidFill>
              </a:rPr>
              <a:t>upskilling</a:t>
            </a:r>
            <a:r>
              <a:rPr lang="es-AR" sz="1200">
                <a:solidFill>
                  <a:schemeClr val="bg1"/>
                </a:solidFill>
              </a:rPr>
              <a:t> y la adaptación de la fuerza labora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30, </a:t>
            </a:r>
            <a:r>
              <a:rPr lang="es-AR" sz="1200" b="1">
                <a:solidFill>
                  <a:schemeClr val="bg1"/>
                </a:solidFill>
              </a:rPr>
              <a:t>75%</a:t>
            </a:r>
            <a:r>
              <a:rPr lang="es-AR" sz="1200">
                <a:solidFill>
                  <a:schemeClr val="bg1"/>
                </a:solidFill>
              </a:rPr>
              <a:t> del trabajo IT será realizado por humanos aumentados con IA y </a:t>
            </a:r>
            <a:r>
              <a:rPr lang="es-AR" sz="1200" b="1">
                <a:solidFill>
                  <a:schemeClr val="bg1"/>
                </a:solidFill>
              </a:rPr>
              <a:t>25%</a:t>
            </a:r>
            <a:r>
              <a:rPr lang="es-AR" sz="1200">
                <a:solidFill>
                  <a:schemeClr val="bg1"/>
                </a:solidFill>
              </a:rPr>
              <a:t> por IA autónom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Una plataforma propia prepara a la organización para este futuro, gestionando la transición de manera ordenad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Soberanía Digital y Dependenc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27, el </a:t>
            </a:r>
            <a:r>
              <a:rPr lang="es-AR" sz="1200" b="1">
                <a:solidFill>
                  <a:schemeClr val="bg1"/>
                </a:solidFill>
              </a:rPr>
              <a:t>35%</a:t>
            </a:r>
            <a:r>
              <a:rPr lang="es-AR" sz="1200">
                <a:solidFill>
                  <a:schemeClr val="bg1"/>
                </a:solidFill>
              </a:rPr>
              <a:t> de los países estarán “atados” a plataformas de IA específicas de la región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Desarrollar una plataforma propia reduce la dependencia de proveedores externos y fortalece la soberanía digital.</a:t>
            </a:r>
          </a:p>
          <a:p>
            <a:endParaRPr lang="es-AR" sz="120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2747FF5-AA44-57C1-0A10-969695D8CA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3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154A9134-CAE7-4FD1-8E10-99C806C98A6F}" type="slidenum">
              <a:rPr lang="es-AR" sz="1200">
                <a:solidFill>
                  <a:prstClr val="black"/>
                </a:solidFill>
                <a:latin typeface="Aptos" panose="02110004020202020204"/>
              </a:rPr>
              <a:pPr defTabSz="9043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7</a:t>
            </a:fld>
            <a:endParaRPr lang="es-AR" sz="120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33960014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F8E2375-F1B1-284C-A827-B0E603FDBDD8}" type="slidenum">
              <a:rPr lang="en-US" sz="1200">
                <a:solidFill>
                  <a:prstClr val="black"/>
                </a:solidFill>
                <a:latin typeface="Calibri" panose="020F0502020204030204"/>
              </a:rPr>
              <a:pPr defTabSz="90427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9</a:t>
            </a:fld>
            <a:endParaRPr lang="en-US" sz="12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7707767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DD698B-E90F-8F9C-4BB1-8D4F05E422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5A0D9680-68D0-C7F0-E4CE-58A62BC0CFD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D7EF5B3E-B3C3-8BD6-D2AE-A5CA8650CC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AR"/>
              <a:t>“Las métricas del informe Gartner muestran que la adopción de IA genera productividad, pero aún no logra un retorno claro ni una gestión eficiente de costos y calidad. Centralizar los casos de uso en una plataforma agentica propia nos permitirá evolucionar, optimizar y medir el impacto de la IA, anticipándonos a tendencias globales y fortaleciendo nuestra autonomía tecnológica.”</a:t>
            </a:r>
          </a:p>
          <a:p>
            <a:endParaRPr lang="es-AR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Proceso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84%</a:t>
            </a:r>
            <a:r>
              <a:rPr lang="es-AR" sz="1200">
                <a:solidFill>
                  <a:schemeClr val="bg1"/>
                </a:solidFill>
              </a:rPr>
              <a:t> de </a:t>
            </a:r>
            <a:r>
              <a:rPr lang="es-AR" sz="1200" err="1">
                <a:solidFill>
                  <a:schemeClr val="bg1"/>
                </a:solidFill>
              </a:rPr>
              <a:t>CIOs</a:t>
            </a:r>
            <a:r>
              <a:rPr lang="es-AR" sz="1200">
                <a:solidFill>
                  <a:schemeClr val="bg1"/>
                </a:solidFill>
              </a:rPr>
              <a:t> y líderes de IT no tienen procesos formales para rastrear la exactitud de la I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os casos de uso en una plataforma propia facilita la implementación de métricas y controles de calida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or cada herramienta de IA adquirida, existen </a:t>
            </a:r>
            <a:r>
              <a:rPr lang="es-AR" sz="1200" b="1">
                <a:solidFill>
                  <a:schemeClr val="bg1"/>
                </a:solidFill>
              </a:rPr>
              <a:t>10 costos ocultos</a:t>
            </a:r>
            <a:r>
              <a:rPr lang="es-AR" sz="1200">
                <a:solidFill>
                  <a:schemeClr val="bg1"/>
                </a:solidFill>
              </a:rPr>
              <a:t> asociados.</a:t>
            </a:r>
            <a:br>
              <a:rPr lang="es-AR" sz="1200">
                <a:solidFill>
                  <a:schemeClr val="bg1"/>
                </a:solidFill>
              </a:rPr>
            </a:br>
            <a:endParaRPr lang="es-AR"/>
          </a:p>
          <a:p>
            <a:r>
              <a:rPr lang="es-AR"/>
              <a:t>Costos y retorno de la IA</a:t>
            </a:r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74%</a:t>
            </a:r>
            <a:r>
              <a:rPr lang="es-AR" sz="1200"/>
              <a:t> de los </a:t>
            </a:r>
            <a:r>
              <a:rPr lang="es-AR" sz="1200" err="1"/>
              <a:t>CFOs</a:t>
            </a:r>
            <a:r>
              <a:rPr lang="es-AR" sz="1200"/>
              <a:t> reportan ganancias de productividad con IA, pero solo </a:t>
            </a:r>
            <a:r>
              <a:rPr lang="es-AR" sz="1200" b="1"/>
              <a:t>11%</a:t>
            </a:r>
            <a:r>
              <a:rPr lang="es-AR" sz="1200"/>
              <a:t> percibe un ROI claro.</a:t>
            </a:r>
          </a:p>
          <a:p>
            <a:endParaRPr lang="es-AR"/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Adopción y Preparación</a:t>
            </a:r>
          </a:p>
          <a:p>
            <a:r>
              <a:rPr lang="es-AR" sz="1200"/>
              <a:t>Solo </a:t>
            </a:r>
            <a:r>
              <a:rPr lang="es-AR" sz="1200" b="1"/>
              <a:t>17%</a:t>
            </a:r>
            <a:r>
              <a:rPr lang="es-AR" sz="1200"/>
              <a:t> de las organizaciones han adoptado agentes de IA, pero </a:t>
            </a:r>
            <a:r>
              <a:rPr lang="es-AR" sz="1200" b="1"/>
              <a:t>42%</a:t>
            </a:r>
            <a:r>
              <a:rPr lang="es-AR" sz="1200"/>
              <a:t> planea hacerlo en los próximos 12 meses.</a:t>
            </a:r>
            <a:br>
              <a:rPr lang="es-AR" sz="1200"/>
            </a:br>
            <a:r>
              <a:rPr lang="es-AR" sz="1200" b="1"/>
              <a:t>88%</a:t>
            </a:r>
            <a:r>
              <a:rPr lang="es-AR" sz="1200"/>
              <a:t> de los líderes de IT que exploran agentes de IA se enfocan en agentes conversacionales.</a:t>
            </a:r>
          </a:p>
          <a:p>
            <a:endParaRPr lang="es-AR" sz="1200"/>
          </a:p>
          <a:p>
            <a:r>
              <a:rPr lang="es-AR" sz="1200"/>
              <a:t>Datos Adicionales Informe Gartner:</a:t>
            </a:r>
          </a:p>
          <a:p>
            <a:endParaRPr lang="es-AR" sz="1200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Impacto Laboral y Competenci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El rediseño de roles y puestos implica un esfuerzo </a:t>
            </a:r>
            <a:r>
              <a:rPr lang="es-AR" sz="1200" b="1">
                <a:solidFill>
                  <a:schemeClr val="bg1"/>
                </a:solidFill>
              </a:rPr>
              <a:t>20 veces mayor</a:t>
            </a:r>
            <a:r>
              <a:rPr lang="es-AR" sz="1200">
                <a:solidFill>
                  <a:schemeClr val="bg1"/>
                </a:solidFill>
              </a:rPr>
              <a:t> que los despidos o contrataciones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a gestión de IA facilita el </a:t>
            </a:r>
            <a:r>
              <a:rPr lang="es-AR" sz="1200" err="1">
                <a:solidFill>
                  <a:schemeClr val="bg1"/>
                </a:solidFill>
              </a:rPr>
              <a:t>reskilling</a:t>
            </a:r>
            <a:r>
              <a:rPr lang="es-AR" sz="1200">
                <a:solidFill>
                  <a:schemeClr val="bg1"/>
                </a:solidFill>
              </a:rPr>
              <a:t>/</a:t>
            </a:r>
            <a:r>
              <a:rPr lang="es-AR" sz="1200" err="1">
                <a:solidFill>
                  <a:schemeClr val="bg1"/>
                </a:solidFill>
              </a:rPr>
              <a:t>upskilling</a:t>
            </a:r>
            <a:r>
              <a:rPr lang="es-AR" sz="1200">
                <a:solidFill>
                  <a:schemeClr val="bg1"/>
                </a:solidFill>
              </a:rPr>
              <a:t> y la adaptación de la fuerza labora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30, </a:t>
            </a:r>
            <a:r>
              <a:rPr lang="es-AR" sz="1200" b="1">
                <a:solidFill>
                  <a:schemeClr val="bg1"/>
                </a:solidFill>
              </a:rPr>
              <a:t>75%</a:t>
            </a:r>
            <a:r>
              <a:rPr lang="es-AR" sz="1200">
                <a:solidFill>
                  <a:schemeClr val="bg1"/>
                </a:solidFill>
              </a:rPr>
              <a:t> del trabajo IT será realizado por humanos aumentados con IA y </a:t>
            </a:r>
            <a:r>
              <a:rPr lang="es-AR" sz="1200" b="1">
                <a:solidFill>
                  <a:schemeClr val="bg1"/>
                </a:solidFill>
              </a:rPr>
              <a:t>25%</a:t>
            </a:r>
            <a:r>
              <a:rPr lang="es-AR" sz="1200">
                <a:solidFill>
                  <a:schemeClr val="bg1"/>
                </a:solidFill>
              </a:rPr>
              <a:t> por IA autónom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Una plataforma propia prepara a la organización para este futuro, gestionando la transición de manera ordenad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Soberanía Digital y Dependenc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27, el </a:t>
            </a:r>
            <a:r>
              <a:rPr lang="es-AR" sz="1200" b="1">
                <a:solidFill>
                  <a:schemeClr val="bg1"/>
                </a:solidFill>
              </a:rPr>
              <a:t>35%</a:t>
            </a:r>
            <a:r>
              <a:rPr lang="es-AR" sz="1200">
                <a:solidFill>
                  <a:schemeClr val="bg1"/>
                </a:solidFill>
              </a:rPr>
              <a:t> de los países estarán “atados” a plataformas de IA específicas de la región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Desarrollar una plataforma propia reduce la dependencia de proveedores externos y fortalece la soberanía digital.</a:t>
            </a:r>
          </a:p>
          <a:p>
            <a:endParaRPr lang="es-AR" sz="120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D565140-D9C1-CA0A-08EF-C34CD744AB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3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154A9134-CAE7-4FD1-8E10-99C806C98A6F}" type="slidenum">
              <a:rPr lang="es-AR" sz="1200">
                <a:solidFill>
                  <a:prstClr val="black"/>
                </a:solidFill>
                <a:latin typeface="Aptos" panose="02110004020202020204"/>
              </a:rPr>
              <a:pPr defTabSz="9043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35</a:t>
            </a:fld>
            <a:endParaRPr lang="es-AR" sz="120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6198024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FD33F9-61D3-718E-2732-B1179041AD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E9E48152-3886-C5E6-195A-EC0DEE7348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15802CAE-BDBE-52CA-BD2A-D1A12D83E3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434EEBC-A165-35CC-A497-562507A7B35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028F805-8009-40C2-86B0-C5BB0D4B0CEE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79118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ECFDBA-185C-6FE6-80D3-395314B671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B8F21E4C-5046-C3C7-4F9F-7CCE2E285E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76076502-E5B8-199A-2C14-0A045E423D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C2478CB-C7E9-A7F7-6E49-31A507D861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E2375-F1B1-284C-A827-B0E603FDBDD8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448183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761A4E-B3F0-473C-B10D-ADE3BF2B21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000A4CA1-F67A-2C20-A84C-35D07129FB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5DB7CD45-0949-1D13-5926-78CA685BF6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58EDEB3F-BB0E-502C-6CD9-3EB9E0F940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5245E-479D-4B19-9EED-492E9B52A969}" type="slidenum">
              <a:rPr lang="es-AR" smtClean="0"/>
              <a:t>55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10808106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76ABCB-BD1D-3292-D00E-F0468ABC25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55A30D60-C529-0812-8A5A-0D41A44C16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745085CF-EB40-75DD-6F9B-7527BDE905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00C59D7-A3CE-B8DD-06E2-041C62FF1D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F8E2375-F1B1-284C-A827-B0E603FDBDD8}" type="slidenum">
              <a:rPr lang="en-US" sz="1200">
                <a:solidFill>
                  <a:prstClr val="black"/>
                </a:solidFill>
                <a:latin typeface="Calibri" panose="020F0502020204030204"/>
              </a:rPr>
              <a:pPr defTabSz="90427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56</a:t>
            </a:fld>
            <a:endParaRPr lang="en-US" sz="12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55134652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AF5BB9-6496-9CC3-49AD-D45B9453FC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803EBAE-DB88-13CB-4BBC-C67A98D489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1DC1DAA2-449A-8021-F602-8927A5E39C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86DDE9B2-2380-D0FE-111E-E9A1B266DB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3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0C080CDE-5C72-42D9-823A-820C92254C28}" type="slidenum">
              <a:rPr lang="es-AR" sz="1200">
                <a:solidFill>
                  <a:prstClr val="black"/>
                </a:solidFill>
                <a:latin typeface="Aptos" panose="02110004020202020204"/>
              </a:rPr>
              <a:pPr defTabSz="9043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58</a:t>
            </a:fld>
            <a:endParaRPr lang="es-AR" sz="120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03129949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008434-A96C-F9B0-A8F5-383481D1C0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12D72B8C-A161-AF2F-EEE2-E1A2366699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31005049-4E3F-0F0E-C5C8-BA270E34BB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CB063C0-F6A4-CFDD-8088-0CD9C3D79A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F8E2375-F1B1-284C-A827-B0E603FDBDD8}" type="slidenum">
              <a:rPr lang="en-US" sz="1200">
                <a:solidFill>
                  <a:prstClr val="black"/>
                </a:solidFill>
                <a:latin typeface="Calibri" panose="020F0502020204030204"/>
              </a:rPr>
              <a:pPr defTabSz="90427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62</a:t>
            </a:fld>
            <a:endParaRPr lang="en-US" sz="12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4615854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3B942D-631E-602B-0A94-3DE27AD083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DE4B40B-3703-5B7B-E49E-6C4658A0B6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CD625D96-29EB-5211-FFDA-2466DCFD79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44F41CF-A325-C1EF-DAD6-1FD64B859B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F8E2375-F1B1-284C-A827-B0E603FDBDD8}" type="slidenum">
              <a:rPr lang="en-US" sz="1200">
                <a:solidFill>
                  <a:prstClr val="black"/>
                </a:solidFill>
                <a:latin typeface="Calibri" panose="020F0502020204030204"/>
              </a:rPr>
              <a:pPr defTabSz="90427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63</a:t>
            </a:fld>
            <a:endParaRPr lang="en-US" sz="12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03328387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4E66FB-B1A6-715D-EC32-E1F6DA89B7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744CF3BF-A0ED-55EB-17C1-EF23B28C65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8ABA2187-EAF6-AE48-87A1-331AB370B5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B45F35D-53C9-F020-C697-C4BD5356B3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F8E2375-F1B1-284C-A827-B0E603FDBDD8}" type="slidenum">
              <a:rPr lang="en-US" sz="1200">
                <a:solidFill>
                  <a:prstClr val="black"/>
                </a:solidFill>
                <a:latin typeface="Calibri" panose="020F0502020204030204"/>
              </a:rPr>
              <a:pPr defTabSz="90427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64</a:t>
            </a:fld>
            <a:endParaRPr lang="en-US" sz="12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8501202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FECA13-99F6-DD69-28B6-CED9CC1F54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DA0100A2-422F-3A89-8617-CEBC96C940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8F5AEE26-7824-709B-805B-961DE44618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66C5186-BDB5-8F82-5BB7-48B7C5EEE3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F8E2375-F1B1-284C-A827-B0E603FDBDD8}" type="slidenum">
              <a:rPr lang="en-US" sz="1200">
                <a:solidFill>
                  <a:prstClr val="black"/>
                </a:solidFill>
                <a:latin typeface="Calibri" panose="020F0502020204030204"/>
              </a:rPr>
              <a:pPr defTabSz="90427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65</a:t>
            </a:fld>
            <a:endParaRPr lang="en-US" sz="12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4526800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58F6F9-19A9-1029-7B07-165FDECBC7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E28E87BB-C3A9-4FB9-712D-7CAA346006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21C8CF0E-5326-7AB6-69BF-7AF6332CB08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59215F1-977C-23BF-E53B-C10EDC75DF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E2375-F1B1-284C-A827-B0E603FDBDD8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66060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028F805-8009-40C2-86B0-C5BB0D4B0CEE}" type="slidenum">
              <a:rPr lang="en-US" smtClean="0"/>
              <a:pPr>
                <a:defRPr/>
              </a:pPr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7243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4D848E-C6D5-7F07-6C54-9FA7F040E7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CFF8C417-BD43-00F0-4D90-8F435FF172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F78A466-2718-FA52-CFE5-9C3D130186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AR"/>
              <a:t>“Las métricas del informe Gartner muestran que la adopción de IA genera productividad, pero aún no logra un retorno claro ni una gestión eficiente de costos y calidad. Centralizar los casos de uso en una plataforma agentica propia nos permitirá evolucionar, optimizar y medir el impacto de la IA, anticipándonos a tendencias globales y fortaleciendo nuestra autonomía tecnológica.”</a:t>
            </a:r>
          </a:p>
          <a:p>
            <a:endParaRPr lang="es-AR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Proceso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84%</a:t>
            </a:r>
            <a:r>
              <a:rPr lang="es-AR" sz="1200">
                <a:solidFill>
                  <a:schemeClr val="bg1"/>
                </a:solidFill>
              </a:rPr>
              <a:t> de </a:t>
            </a:r>
            <a:r>
              <a:rPr lang="es-AR" sz="1200" err="1">
                <a:solidFill>
                  <a:schemeClr val="bg1"/>
                </a:solidFill>
              </a:rPr>
              <a:t>CIOs</a:t>
            </a:r>
            <a:r>
              <a:rPr lang="es-AR" sz="1200">
                <a:solidFill>
                  <a:schemeClr val="bg1"/>
                </a:solidFill>
              </a:rPr>
              <a:t> y líderes de IT no tienen procesos formales para rastrear la exactitud de la I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os casos de uso en una plataforma propia facilita la implementación de métricas y controles de calida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or cada herramienta de IA adquirida, existen </a:t>
            </a:r>
            <a:r>
              <a:rPr lang="es-AR" sz="1200" b="1">
                <a:solidFill>
                  <a:schemeClr val="bg1"/>
                </a:solidFill>
              </a:rPr>
              <a:t>10 costos ocultos</a:t>
            </a:r>
            <a:r>
              <a:rPr lang="es-AR" sz="1200">
                <a:solidFill>
                  <a:schemeClr val="bg1"/>
                </a:solidFill>
              </a:rPr>
              <a:t> asociados.</a:t>
            </a:r>
            <a:br>
              <a:rPr lang="es-AR" sz="1200">
                <a:solidFill>
                  <a:schemeClr val="bg1"/>
                </a:solidFill>
              </a:rPr>
            </a:br>
            <a:endParaRPr lang="es-AR"/>
          </a:p>
          <a:p>
            <a:r>
              <a:rPr lang="es-AR"/>
              <a:t>Costos y retorno de la IA</a:t>
            </a:r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74%</a:t>
            </a:r>
            <a:r>
              <a:rPr lang="es-AR" sz="1200"/>
              <a:t> de los </a:t>
            </a:r>
            <a:r>
              <a:rPr lang="es-AR" sz="1200" err="1"/>
              <a:t>CFOs</a:t>
            </a:r>
            <a:r>
              <a:rPr lang="es-AR" sz="1200"/>
              <a:t> reportan ganancias de productividad con IA, pero solo </a:t>
            </a:r>
            <a:r>
              <a:rPr lang="es-AR" sz="1200" b="1"/>
              <a:t>11%</a:t>
            </a:r>
            <a:r>
              <a:rPr lang="es-AR" sz="1200"/>
              <a:t> percibe un ROI claro.</a:t>
            </a:r>
          </a:p>
          <a:p>
            <a:endParaRPr lang="es-AR"/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Adopción y Preparación</a:t>
            </a:r>
          </a:p>
          <a:p>
            <a:r>
              <a:rPr lang="es-AR" sz="1200"/>
              <a:t>Solo </a:t>
            </a:r>
            <a:r>
              <a:rPr lang="es-AR" sz="1200" b="1"/>
              <a:t>17%</a:t>
            </a:r>
            <a:r>
              <a:rPr lang="es-AR" sz="1200"/>
              <a:t> de las organizaciones han adoptado agentes de IA, pero </a:t>
            </a:r>
            <a:r>
              <a:rPr lang="es-AR" sz="1200" b="1"/>
              <a:t>42%</a:t>
            </a:r>
            <a:r>
              <a:rPr lang="es-AR" sz="1200"/>
              <a:t> planea hacerlo en los próximos 12 meses.</a:t>
            </a:r>
            <a:br>
              <a:rPr lang="es-AR" sz="1200"/>
            </a:br>
            <a:r>
              <a:rPr lang="es-AR" sz="1200" b="1"/>
              <a:t>88%</a:t>
            </a:r>
            <a:r>
              <a:rPr lang="es-AR" sz="1200"/>
              <a:t> de los líderes de IT que exploran agentes de IA se enfocan en agentes conversacionales.</a:t>
            </a:r>
          </a:p>
          <a:p>
            <a:endParaRPr lang="es-AR" sz="1200"/>
          </a:p>
          <a:p>
            <a:r>
              <a:rPr lang="es-AR" sz="1200"/>
              <a:t>Datos Adicionales Informe Gartner:</a:t>
            </a:r>
          </a:p>
          <a:p>
            <a:endParaRPr lang="es-AR" sz="1200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Impacto Laboral y Competenci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El rediseño de roles y puestos implica un esfuerzo </a:t>
            </a:r>
            <a:r>
              <a:rPr lang="es-AR" sz="1200" b="1">
                <a:solidFill>
                  <a:schemeClr val="bg1"/>
                </a:solidFill>
              </a:rPr>
              <a:t>20 veces mayor</a:t>
            </a:r>
            <a:r>
              <a:rPr lang="es-AR" sz="1200">
                <a:solidFill>
                  <a:schemeClr val="bg1"/>
                </a:solidFill>
              </a:rPr>
              <a:t> que los despidos o contrataciones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a gestión de IA facilita el </a:t>
            </a:r>
            <a:r>
              <a:rPr lang="es-AR" sz="1200" err="1">
                <a:solidFill>
                  <a:schemeClr val="bg1"/>
                </a:solidFill>
              </a:rPr>
              <a:t>reskilling</a:t>
            </a:r>
            <a:r>
              <a:rPr lang="es-AR" sz="1200">
                <a:solidFill>
                  <a:schemeClr val="bg1"/>
                </a:solidFill>
              </a:rPr>
              <a:t>/</a:t>
            </a:r>
            <a:r>
              <a:rPr lang="es-AR" sz="1200" err="1">
                <a:solidFill>
                  <a:schemeClr val="bg1"/>
                </a:solidFill>
              </a:rPr>
              <a:t>upskilling</a:t>
            </a:r>
            <a:r>
              <a:rPr lang="es-AR" sz="1200">
                <a:solidFill>
                  <a:schemeClr val="bg1"/>
                </a:solidFill>
              </a:rPr>
              <a:t> y la adaptación de la fuerza labora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30, </a:t>
            </a:r>
            <a:r>
              <a:rPr lang="es-AR" sz="1200" b="1">
                <a:solidFill>
                  <a:schemeClr val="bg1"/>
                </a:solidFill>
              </a:rPr>
              <a:t>75%</a:t>
            </a:r>
            <a:r>
              <a:rPr lang="es-AR" sz="1200">
                <a:solidFill>
                  <a:schemeClr val="bg1"/>
                </a:solidFill>
              </a:rPr>
              <a:t> del trabajo IT será realizado por humanos aumentados con IA y </a:t>
            </a:r>
            <a:r>
              <a:rPr lang="es-AR" sz="1200" b="1">
                <a:solidFill>
                  <a:schemeClr val="bg1"/>
                </a:solidFill>
              </a:rPr>
              <a:t>25%</a:t>
            </a:r>
            <a:r>
              <a:rPr lang="es-AR" sz="1200">
                <a:solidFill>
                  <a:schemeClr val="bg1"/>
                </a:solidFill>
              </a:rPr>
              <a:t> por IA autónom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Una plataforma propia prepara a la organización para este futuro, gestionando la transición de manera ordenad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Soberanía Digital y Dependenc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27, el </a:t>
            </a:r>
            <a:r>
              <a:rPr lang="es-AR" sz="1200" b="1">
                <a:solidFill>
                  <a:schemeClr val="bg1"/>
                </a:solidFill>
              </a:rPr>
              <a:t>35%</a:t>
            </a:r>
            <a:r>
              <a:rPr lang="es-AR" sz="1200">
                <a:solidFill>
                  <a:schemeClr val="bg1"/>
                </a:solidFill>
              </a:rPr>
              <a:t> de los países estarán “atados” a plataformas de IA específicas de la región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Desarrollar una plataforma propia reduce la dependencia de proveedores externos y fortalece la soberanía digital.</a:t>
            </a:r>
          </a:p>
          <a:p>
            <a:endParaRPr lang="es-AR" sz="120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E445683-9A9C-B1D6-569A-931B74E8E8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3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154A9134-CAE7-4FD1-8E10-99C806C98A6F}" type="slidenum">
              <a:rPr lang="es-AR" sz="1200">
                <a:solidFill>
                  <a:prstClr val="black"/>
                </a:solidFill>
                <a:latin typeface="Aptos" panose="02110004020202020204"/>
              </a:rPr>
              <a:pPr defTabSz="9043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5</a:t>
            </a:fld>
            <a:endParaRPr lang="es-AR" sz="120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56199088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E2375-F1B1-284C-A827-B0E603FDBDD8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92657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307528-4FB5-0C09-322A-6BF1939240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F77E1ADA-83CE-BD98-338E-D37A5E9EA3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C5B4C204-F54B-5CB0-9B5F-59F812C570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sz="120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F7A9B3D-A51B-1CC6-2C1C-BEB2EDB8AF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4A9134-CAE7-4FD1-8E10-99C806C98A6F}" type="slidenum">
              <a:rPr lang="es-AR" smtClean="0"/>
              <a:t>72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53900820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2F18AF-F00D-14C6-93D0-3BECF20E49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8FE0E4A3-DD87-E8EA-A121-DDB5514DA0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993500A-43C8-E188-904A-8B8484E080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45DEBFA-A581-C056-5E65-D17A304581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F8E2375-F1B1-284C-A827-B0E603FDBDD8}" type="slidenum">
              <a:rPr lang="en-US" sz="1200">
                <a:solidFill>
                  <a:prstClr val="black"/>
                </a:solidFill>
                <a:latin typeface="Calibri" panose="020F0502020204030204"/>
              </a:rPr>
              <a:pPr defTabSz="90427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80</a:t>
            </a:fld>
            <a:endParaRPr lang="en-US" sz="12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973706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0300D7-B93C-BB83-C139-C2F055EBE0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16321F3-986F-BCA2-7A7B-5D46135DCE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4813" y="1230313"/>
            <a:ext cx="5895975" cy="3317875"/>
          </a:xfrm>
        </p:spPr>
        <p:txBody>
          <a:bodyPr/>
          <a:lstStyle/>
          <a:p>
            <a:endParaRPr lang="es-AR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5AB20701-DB62-AF49-D717-BAF07444EE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3BADED6-1072-6308-05CF-BC6133234B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3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26C28A9-686A-4831-B2B2-513426A58C1C}" type="slidenum">
              <a:rPr lang="es-AR" sz="1200">
                <a:solidFill>
                  <a:prstClr val="black"/>
                </a:solidFill>
                <a:latin typeface="Aptos" panose="02110004020202020204"/>
              </a:rPr>
              <a:pPr defTabSz="9043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6</a:t>
            </a:fld>
            <a:endParaRPr lang="es-AR" sz="120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087161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B1BA73-1ADE-6BF8-3971-7032EF95A0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DB3388AE-8328-9350-08B2-470ECC6F38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4813" y="1230313"/>
            <a:ext cx="5895975" cy="3317875"/>
          </a:xfrm>
        </p:spPr>
        <p:txBody>
          <a:bodyPr/>
          <a:lstStyle/>
          <a:p>
            <a:endParaRPr lang="es-AR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91202D12-E7D9-726B-82C1-D1FA742C70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AF68FB38-6CAC-2542-E1B2-B662B9173B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3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26C28A9-686A-4831-B2B2-513426A58C1C}" type="slidenum">
              <a:rPr lang="es-AR" sz="1200">
                <a:solidFill>
                  <a:prstClr val="black"/>
                </a:solidFill>
                <a:latin typeface="Aptos" panose="02110004020202020204"/>
              </a:rPr>
              <a:pPr defTabSz="9043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7</a:t>
            </a:fld>
            <a:endParaRPr lang="es-AR" sz="120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888627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D826A0-6132-8E64-6D15-2C31122FFF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8CB93EB4-F68A-7251-279B-A5C4238BC6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C3A338DB-7B80-9B91-33AA-0A078D6F3F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AR"/>
              <a:t>“Las métricas del informe Gartner muestran que la adopción de IA genera productividad, pero aún no logra un retorno claro ni una gestión eficiente de costos y calidad. Centralizar los casos de uso en una plataforma agentica propia nos permitirá evolucionar, optimizar y medir el impacto de la IA, anticipándonos a tendencias globales y fortaleciendo nuestra autonomía tecnológica.”</a:t>
            </a:r>
          </a:p>
          <a:p>
            <a:endParaRPr lang="es-AR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Proceso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84%</a:t>
            </a:r>
            <a:r>
              <a:rPr lang="es-AR" sz="1200">
                <a:solidFill>
                  <a:schemeClr val="bg1"/>
                </a:solidFill>
              </a:rPr>
              <a:t> de </a:t>
            </a:r>
            <a:r>
              <a:rPr lang="es-AR" sz="1200" err="1">
                <a:solidFill>
                  <a:schemeClr val="bg1"/>
                </a:solidFill>
              </a:rPr>
              <a:t>CIOs</a:t>
            </a:r>
            <a:r>
              <a:rPr lang="es-AR" sz="1200">
                <a:solidFill>
                  <a:schemeClr val="bg1"/>
                </a:solidFill>
              </a:rPr>
              <a:t> y líderes de IT no tienen procesos formales para rastrear la exactitud de la I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os casos de uso en una plataforma propia facilita la implementación de métricas y controles de calida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or cada herramienta de IA adquirida, existen </a:t>
            </a:r>
            <a:r>
              <a:rPr lang="es-AR" sz="1200" b="1">
                <a:solidFill>
                  <a:schemeClr val="bg1"/>
                </a:solidFill>
              </a:rPr>
              <a:t>10 costos ocultos</a:t>
            </a:r>
            <a:r>
              <a:rPr lang="es-AR" sz="1200">
                <a:solidFill>
                  <a:schemeClr val="bg1"/>
                </a:solidFill>
              </a:rPr>
              <a:t> asociados.</a:t>
            </a:r>
            <a:br>
              <a:rPr lang="es-AR" sz="1200">
                <a:solidFill>
                  <a:schemeClr val="bg1"/>
                </a:solidFill>
              </a:rPr>
            </a:br>
            <a:endParaRPr lang="es-AR"/>
          </a:p>
          <a:p>
            <a:r>
              <a:rPr lang="es-AR"/>
              <a:t>Costos y retorno de la IA</a:t>
            </a:r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74%</a:t>
            </a:r>
            <a:r>
              <a:rPr lang="es-AR" sz="1200"/>
              <a:t> de los </a:t>
            </a:r>
            <a:r>
              <a:rPr lang="es-AR" sz="1200" err="1"/>
              <a:t>CFOs</a:t>
            </a:r>
            <a:r>
              <a:rPr lang="es-AR" sz="1200"/>
              <a:t> reportan ganancias de productividad con IA, pero solo </a:t>
            </a:r>
            <a:r>
              <a:rPr lang="es-AR" sz="1200" b="1"/>
              <a:t>11%</a:t>
            </a:r>
            <a:r>
              <a:rPr lang="es-AR" sz="1200"/>
              <a:t> percibe un ROI claro.</a:t>
            </a:r>
          </a:p>
          <a:p>
            <a:endParaRPr lang="es-AR"/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Adopción y Preparación</a:t>
            </a:r>
          </a:p>
          <a:p>
            <a:r>
              <a:rPr lang="es-AR" sz="1200"/>
              <a:t>Solo </a:t>
            </a:r>
            <a:r>
              <a:rPr lang="es-AR" sz="1200" b="1"/>
              <a:t>17%</a:t>
            </a:r>
            <a:r>
              <a:rPr lang="es-AR" sz="1200"/>
              <a:t> de las organizaciones han adoptado agentes de IA, pero </a:t>
            </a:r>
            <a:r>
              <a:rPr lang="es-AR" sz="1200" b="1"/>
              <a:t>42%</a:t>
            </a:r>
            <a:r>
              <a:rPr lang="es-AR" sz="1200"/>
              <a:t> planea hacerlo en los próximos 12 meses.</a:t>
            </a:r>
            <a:br>
              <a:rPr lang="es-AR" sz="1200"/>
            </a:br>
            <a:r>
              <a:rPr lang="es-AR" sz="1200" b="1"/>
              <a:t>88%</a:t>
            </a:r>
            <a:r>
              <a:rPr lang="es-AR" sz="1200"/>
              <a:t> de los líderes de IT que exploran agentes de IA se enfocan en agentes conversacionales.</a:t>
            </a:r>
          </a:p>
          <a:p>
            <a:endParaRPr lang="es-AR" sz="1200"/>
          </a:p>
          <a:p>
            <a:r>
              <a:rPr lang="es-AR" sz="1200"/>
              <a:t>Datos Adicionales Informe Gartner:</a:t>
            </a:r>
          </a:p>
          <a:p>
            <a:endParaRPr lang="es-AR" sz="1200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Impacto Laboral y Competenci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El rediseño de roles y puestos implica un esfuerzo </a:t>
            </a:r>
            <a:r>
              <a:rPr lang="es-AR" sz="1200" b="1">
                <a:solidFill>
                  <a:schemeClr val="bg1"/>
                </a:solidFill>
              </a:rPr>
              <a:t>20 veces mayor</a:t>
            </a:r>
            <a:r>
              <a:rPr lang="es-AR" sz="1200">
                <a:solidFill>
                  <a:schemeClr val="bg1"/>
                </a:solidFill>
              </a:rPr>
              <a:t> que los despidos o contrataciones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a gestión de IA facilita el </a:t>
            </a:r>
            <a:r>
              <a:rPr lang="es-AR" sz="1200" err="1">
                <a:solidFill>
                  <a:schemeClr val="bg1"/>
                </a:solidFill>
              </a:rPr>
              <a:t>reskilling</a:t>
            </a:r>
            <a:r>
              <a:rPr lang="es-AR" sz="1200">
                <a:solidFill>
                  <a:schemeClr val="bg1"/>
                </a:solidFill>
              </a:rPr>
              <a:t>/</a:t>
            </a:r>
            <a:r>
              <a:rPr lang="es-AR" sz="1200" err="1">
                <a:solidFill>
                  <a:schemeClr val="bg1"/>
                </a:solidFill>
              </a:rPr>
              <a:t>upskilling</a:t>
            </a:r>
            <a:r>
              <a:rPr lang="es-AR" sz="1200">
                <a:solidFill>
                  <a:schemeClr val="bg1"/>
                </a:solidFill>
              </a:rPr>
              <a:t> y la adaptación de la fuerza labora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30, </a:t>
            </a:r>
            <a:r>
              <a:rPr lang="es-AR" sz="1200" b="1">
                <a:solidFill>
                  <a:schemeClr val="bg1"/>
                </a:solidFill>
              </a:rPr>
              <a:t>75%</a:t>
            </a:r>
            <a:r>
              <a:rPr lang="es-AR" sz="1200">
                <a:solidFill>
                  <a:schemeClr val="bg1"/>
                </a:solidFill>
              </a:rPr>
              <a:t> del trabajo IT será realizado por humanos aumentados con IA y </a:t>
            </a:r>
            <a:r>
              <a:rPr lang="es-AR" sz="1200" b="1">
                <a:solidFill>
                  <a:schemeClr val="bg1"/>
                </a:solidFill>
              </a:rPr>
              <a:t>25%</a:t>
            </a:r>
            <a:r>
              <a:rPr lang="es-AR" sz="1200">
                <a:solidFill>
                  <a:schemeClr val="bg1"/>
                </a:solidFill>
              </a:rPr>
              <a:t> por IA autónom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Una plataforma propia prepara a la organización para este futuro, gestionando la transición de manera ordenad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Soberanía Digital y Dependenc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27, el </a:t>
            </a:r>
            <a:r>
              <a:rPr lang="es-AR" sz="1200" b="1">
                <a:solidFill>
                  <a:schemeClr val="bg1"/>
                </a:solidFill>
              </a:rPr>
              <a:t>35%</a:t>
            </a:r>
            <a:r>
              <a:rPr lang="es-AR" sz="1200">
                <a:solidFill>
                  <a:schemeClr val="bg1"/>
                </a:solidFill>
              </a:rPr>
              <a:t> de los países estarán “atados” a plataformas de IA específicas de la región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Desarrollar una plataforma propia reduce la dependencia de proveedores externos y fortalece la soberanía digital.</a:t>
            </a:r>
          </a:p>
          <a:p>
            <a:endParaRPr lang="es-AR" sz="120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39B4588-4D69-14F7-078D-14BC9CC816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3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154A9134-CAE7-4FD1-8E10-99C806C98A6F}" type="slidenum">
              <a:rPr lang="es-AR" sz="1200">
                <a:solidFill>
                  <a:prstClr val="black"/>
                </a:solidFill>
                <a:latin typeface="Aptos" panose="02110004020202020204"/>
              </a:rPr>
              <a:pPr defTabSz="9043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8</a:t>
            </a:fld>
            <a:endParaRPr lang="es-AR" sz="120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8385870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2CBC0A-860D-447D-AE77-5C2FAC605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76C692AC-25B1-D402-E05F-7CE7D5057B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5EB21646-4AEE-0A10-D1E1-E8D5F80621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AR"/>
              <a:t>“Las métricas del informe Gartner muestran que la adopción de IA genera productividad, pero aún no logra un retorno claro ni una gestión eficiente de costos y calidad. Centralizar los casos de uso en una plataforma agentica propia nos permitirá evolucionar, optimizar y medir el impacto de la IA, anticipándonos a tendencias globales y fortaleciendo nuestra autonomía tecnológica.”</a:t>
            </a:r>
          </a:p>
          <a:p>
            <a:endParaRPr lang="es-AR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Proceso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84%</a:t>
            </a:r>
            <a:r>
              <a:rPr lang="es-AR" sz="1200">
                <a:solidFill>
                  <a:schemeClr val="bg1"/>
                </a:solidFill>
              </a:rPr>
              <a:t> de </a:t>
            </a:r>
            <a:r>
              <a:rPr lang="es-AR" sz="1200" err="1">
                <a:solidFill>
                  <a:schemeClr val="bg1"/>
                </a:solidFill>
              </a:rPr>
              <a:t>CIOs</a:t>
            </a:r>
            <a:r>
              <a:rPr lang="es-AR" sz="1200">
                <a:solidFill>
                  <a:schemeClr val="bg1"/>
                </a:solidFill>
              </a:rPr>
              <a:t> y líderes de IT no tienen procesos formales para rastrear la exactitud de la I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os casos de uso en una plataforma propia facilita la implementación de métricas y controles de calida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or cada herramienta de IA adquirida, existen </a:t>
            </a:r>
            <a:r>
              <a:rPr lang="es-AR" sz="1200" b="1">
                <a:solidFill>
                  <a:schemeClr val="bg1"/>
                </a:solidFill>
              </a:rPr>
              <a:t>10 costos ocultos</a:t>
            </a:r>
            <a:r>
              <a:rPr lang="es-AR" sz="1200">
                <a:solidFill>
                  <a:schemeClr val="bg1"/>
                </a:solidFill>
              </a:rPr>
              <a:t> asociados.</a:t>
            </a:r>
            <a:br>
              <a:rPr lang="es-AR" sz="1200">
                <a:solidFill>
                  <a:schemeClr val="bg1"/>
                </a:solidFill>
              </a:rPr>
            </a:br>
            <a:endParaRPr lang="es-AR"/>
          </a:p>
          <a:p>
            <a:r>
              <a:rPr lang="es-AR"/>
              <a:t>Costos y retorno de la IA</a:t>
            </a:r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74%</a:t>
            </a:r>
            <a:r>
              <a:rPr lang="es-AR" sz="1200"/>
              <a:t> de los </a:t>
            </a:r>
            <a:r>
              <a:rPr lang="es-AR" sz="1200" err="1"/>
              <a:t>CFOs</a:t>
            </a:r>
            <a:r>
              <a:rPr lang="es-AR" sz="1200"/>
              <a:t> reportan ganancias de productividad con IA, pero solo </a:t>
            </a:r>
            <a:r>
              <a:rPr lang="es-AR" sz="1200" b="1"/>
              <a:t>11%</a:t>
            </a:r>
            <a:r>
              <a:rPr lang="es-AR" sz="1200"/>
              <a:t> percibe un ROI claro.</a:t>
            </a:r>
          </a:p>
          <a:p>
            <a:endParaRPr lang="es-AR"/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Adopción y Preparación</a:t>
            </a:r>
          </a:p>
          <a:p>
            <a:r>
              <a:rPr lang="es-AR" sz="1200"/>
              <a:t>Solo </a:t>
            </a:r>
            <a:r>
              <a:rPr lang="es-AR" sz="1200" b="1"/>
              <a:t>17%</a:t>
            </a:r>
            <a:r>
              <a:rPr lang="es-AR" sz="1200"/>
              <a:t> de las organizaciones han adoptado agentes de IA, pero </a:t>
            </a:r>
            <a:r>
              <a:rPr lang="es-AR" sz="1200" b="1"/>
              <a:t>42%</a:t>
            </a:r>
            <a:r>
              <a:rPr lang="es-AR" sz="1200"/>
              <a:t> planea hacerlo en los próximos 12 meses.</a:t>
            </a:r>
            <a:br>
              <a:rPr lang="es-AR" sz="1200"/>
            </a:br>
            <a:r>
              <a:rPr lang="es-AR" sz="1200" b="1"/>
              <a:t>88%</a:t>
            </a:r>
            <a:r>
              <a:rPr lang="es-AR" sz="1200"/>
              <a:t> de los líderes de IT que exploran agentes de IA se enfocan en agentes conversacionales.</a:t>
            </a:r>
          </a:p>
          <a:p>
            <a:endParaRPr lang="es-AR" sz="1200"/>
          </a:p>
          <a:p>
            <a:r>
              <a:rPr lang="es-AR" sz="1200"/>
              <a:t>Datos Adicionales Informe Gartner:</a:t>
            </a:r>
          </a:p>
          <a:p>
            <a:endParaRPr lang="es-AR" sz="1200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Impacto Laboral y Competenci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El rediseño de roles y puestos implica un esfuerzo </a:t>
            </a:r>
            <a:r>
              <a:rPr lang="es-AR" sz="1200" b="1">
                <a:solidFill>
                  <a:schemeClr val="bg1"/>
                </a:solidFill>
              </a:rPr>
              <a:t>20 veces mayor</a:t>
            </a:r>
            <a:r>
              <a:rPr lang="es-AR" sz="1200">
                <a:solidFill>
                  <a:schemeClr val="bg1"/>
                </a:solidFill>
              </a:rPr>
              <a:t> que los despidos o contrataciones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a gestión de IA facilita el </a:t>
            </a:r>
            <a:r>
              <a:rPr lang="es-AR" sz="1200" err="1">
                <a:solidFill>
                  <a:schemeClr val="bg1"/>
                </a:solidFill>
              </a:rPr>
              <a:t>reskilling</a:t>
            </a:r>
            <a:r>
              <a:rPr lang="es-AR" sz="1200">
                <a:solidFill>
                  <a:schemeClr val="bg1"/>
                </a:solidFill>
              </a:rPr>
              <a:t>/</a:t>
            </a:r>
            <a:r>
              <a:rPr lang="es-AR" sz="1200" err="1">
                <a:solidFill>
                  <a:schemeClr val="bg1"/>
                </a:solidFill>
              </a:rPr>
              <a:t>upskilling</a:t>
            </a:r>
            <a:r>
              <a:rPr lang="es-AR" sz="1200">
                <a:solidFill>
                  <a:schemeClr val="bg1"/>
                </a:solidFill>
              </a:rPr>
              <a:t> y la adaptación de la fuerza labora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30, </a:t>
            </a:r>
            <a:r>
              <a:rPr lang="es-AR" sz="1200" b="1">
                <a:solidFill>
                  <a:schemeClr val="bg1"/>
                </a:solidFill>
              </a:rPr>
              <a:t>75%</a:t>
            </a:r>
            <a:r>
              <a:rPr lang="es-AR" sz="1200">
                <a:solidFill>
                  <a:schemeClr val="bg1"/>
                </a:solidFill>
              </a:rPr>
              <a:t> del trabajo IT será realizado por humanos aumentados con IA y </a:t>
            </a:r>
            <a:r>
              <a:rPr lang="es-AR" sz="1200" b="1">
                <a:solidFill>
                  <a:schemeClr val="bg1"/>
                </a:solidFill>
              </a:rPr>
              <a:t>25%</a:t>
            </a:r>
            <a:r>
              <a:rPr lang="es-AR" sz="1200">
                <a:solidFill>
                  <a:schemeClr val="bg1"/>
                </a:solidFill>
              </a:rPr>
              <a:t> por IA autónom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Una plataforma propia prepara a la organización para este futuro, gestionando la transición de manera ordenad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Soberanía Digital y Dependenc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27, el </a:t>
            </a:r>
            <a:r>
              <a:rPr lang="es-AR" sz="1200" b="1">
                <a:solidFill>
                  <a:schemeClr val="bg1"/>
                </a:solidFill>
              </a:rPr>
              <a:t>35%</a:t>
            </a:r>
            <a:r>
              <a:rPr lang="es-AR" sz="1200">
                <a:solidFill>
                  <a:schemeClr val="bg1"/>
                </a:solidFill>
              </a:rPr>
              <a:t> de los países estarán “atados” a plataformas de IA específicas de la región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Desarrollar una plataforma propia reduce la dependencia de proveedores externos y fortalece la soberanía digital.</a:t>
            </a:r>
          </a:p>
          <a:p>
            <a:endParaRPr lang="es-AR" sz="120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C75DCF8-EBC6-96B0-F8D5-D91B487C62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3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154A9134-CAE7-4FD1-8E10-99C806C98A6F}" type="slidenum">
              <a:rPr lang="es-AR" sz="1200">
                <a:solidFill>
                  <a:prstClr val="black"/>
                </a:solidFill>
                <a:latin typeface="Aptos" panose="02110004020202020204"/>
              </a:rPr>
              <a:pPr defTabSz="9043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9</a:t>
            </a:fld>
            <a:endParaRPr lang="es-AR" sz="120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9158909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354864-09ED-1723-3FBB-0ACB63E139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42661394-C0E3-4D56-AF67-68A08857A7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13BF0EC8-2469-3AF0-CCC9-ED0DAADAB5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AR"/>
              <a:t>“Las métricas del informe Gartner muestran que la adopción de IA genera productividad, pero aún no logra un retorno claro ni una gestión eficiente de costos y calidad. Centralizar los casos de uso en una plataforma agentica propia nos permitirá evolucionar, optimizar y medir el impacto de la IA, anticipándonos a tendencias globales y fortaleciendo nuestra autonomía tecnológica.”</a:t>
            </a:r>
          </a:p>
          <a:p>
            <a:endParaRPr lang="es-AR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Proceso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84%</a:t>
            </a:r>
            <a:r>
              <a:rPr lang="es-AR" sz="1200">
                <a:solidFill>
                  <a:schemeClr val="bg1"/>
                </a:solidFill>
              </a:rPr>
              <a:t> de </a:t>
            </a:r>
            <a:r>
              <a:rPr lang="es-AR" sz="1200" err="1">
                <a:solidFill>
                  <a:schemeClr val="bg1"/>
                </a:solidFill>
              </a:rPr>
              <a:t>CIOs</a:t>
            </a:r>
            <a:r>
              <a:rPr lang="es-AR" sz="1200">
                <a:solidFill>
                  <a:schemeClr val="bg1"/>
                </a:solidFill>
              </a:rPr>
              <a:t> y líderes de IT no tienen procesos formales para rastrear la exactitud de la I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os casos de uso en una plataforma propia facilita la implementación de métricas y controles de calida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or cada herramienta de IA adquirida, existen </a:t>
            </a:r>
            <a:r>
              <a:rPr lang="es-AR" sz="1200" b="1">
                <a:solidFill>
                  <a:schemeClr val="bg1"/>
                </a:solidFill>
              </a:rPr>
              <a:t>10 costos ocultos</a:t>
            </a:r>
            <a:r>
              <a:rPr lang="es-AR" sz="1200">
                <a:solidFill>
                  <a:schemeClr val="bg1"/>
                </a:solidFill>
              </a:rPr>
              <a:t> asociados.</a:t>
            </a:r>
            <a:br>
              <a:rPr lang="es-AR" sz="1200">
                <a:solidFill>
                  <a:schemeClr val="bg1"/>
                </a:solidFill>
              </a:rPr>
            </a:br>
            <a:endParaRPr lang="es-AR"/>
          </a:p>
          <a:p>
            <a:r>
              <a:rPr lang="es-AR"/>
              <a:t>Costos y retorno de la IA</a:t>
            </a:r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74%</a:t>
            </a:r>
            <a:r>
              <a:rPr lang="es-AR" sz="1200"/>
              <a:t> de los </a:t>
            </a:r>
            <a:r>
              <a:rPr lang="es-AR" sz="1200" err="1"/>
              <a:t>CFOs</a:t>
            </a:r>
            <a:r>
              <a:rPr lang="es-AR" sz="1200"/>
              <a:t> reportan ganancias de productividad con IA, pero solo </a:t>
            </a:r>
            <a:r>
              <a:rPr lang="es-AR" sz="1200" b="1"/>
              <a:t>11%</a:t>
            </a:r>
            <a:r>
              <a:rPr lang="es-AR" sz="1200"/>
              <a:t> percibe un ROI claro.</a:t>
            </a:r>
          </a:p>
          <a:p>
            <a:endParaRPr lang="es-AR"/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Adopción y Preparación</a:t>
            </a:r>
          </a:p>
          <a:p>
            <a:r>
              <a:rPr lang="es-AR" sz="1200"/>
              <a:t>Solo </a:t>
            </a:r>
            <a:r>
              <a:rPr lang="es-AR" sz="1200" b="1"/>
              <a:t>17%</a:t>
            </a:r>
            <a:r>
              <a:rPr lang="es-AR" sz="1200"/>
              <a:t> de las organizaciones han adoptado agentes de IA, pero </a:t>
            </a:r>
            <a:r>
              <a:rPr lang="es-AR" sz="1200" b="1"/>
              <a:t>42%</a:t>
            </a:r>
            <a:r>
              <a:rPr lang="es-AR" sz="1200"/>
              <a:t> planea hacerlo en los próximos 12 meses.</a:t>
            </a:r>
            <a:br>
              <a:rPr lang="es-AR" sz="1200"/>
            </a:br>
            <a:r>
              <a:rPr lang="es-AR" sz="1200" b="1"/>
              <a:t>88%</a:t>
            </a:r>
            <a:r>
              <a:rPr lang="es-AR" sz="1200"/>
              <a:t> de los líderes de IT que exploran agentes de IA se enfocan en agentes conversacionales.</a:t>
            </a:r>
          </a:p>
          <a:p>
            <a:endParaRPr lang="es-AR" sz="1200"/>
          </a:p>
          <a:p>
            <a:r>
              <a:rPr lang="es-AR" sz="1200"/>
              <a:t>Datos Adicionales Informe Gartner:</a:t>
            </a:r>
          </a:p>
          <a:p>
            <a:endParaRPr lang="es-AR" sz="1200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Impacto Laboral y Competenci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El rediseño de roles y puestos implica un esfuerzo </a:t>
            </a:r>
            <a:r>
              <a:rPr lang="es-AR" sz="1200" b="1">
                <a:solidFill>
                  <a:schemeClr val="bg1"/>
                </a:solidFill>
              </a:rPr>
              <a:t>20 veces mayor</a:t>
            </a:r>
            <a:r>
              <a:rPr lang="es-AR" sz="1200">
                <a:solidFill>
                  <a:schemeClr val="bg1"/>
                </a:solidFill>
              </a:rPr>
              <a:t> que los despidos o contrataciones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a gestión de IA facilita el </a:t>
            </a:r>
            <a:r>
              <a:rPr lang="es-AR" sz="1200" err="1">
                <a:solidFill>
                  <a:schemeClr val="bg1"/>
                </a:solidFill>
              </a:rPr>
              <a:t>reskilling</a:t>
            </a:r>
            <a:r>
              <a:rPr lang="es-AR" sz="1200">
                <a:solidFill>
                  <a:schemeClr val="bg1"/>
                </a:solidFill>
              </a:rPr>
              <a:t>/</a:t>
            </a:r>
            <a:r>
              <a:rPr lang="es-AR" sz="1200" err="1">
                <a:solidFill>
                  <a:schemeClr val="bg1"/>
                </a:solidFill>
              </a:rPr>
              <a:t>upskilling</a:t>
            </a:r>
            <a:r>
              <a:rPr lang="es-AR" sz="1200">
                <a:solidFill>
                  <a:schemeClr val="bg1"/>
                </a:solidFill>
              </a:rPr>
              <a:t> y la adaptación de la fuerza labora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30, </a:t>
            </a:r>
            <a:r>
              <a:rPr lang="es-AR" sz="1200" b="1">
                <a:solidFill>
                  <a:schemeClr val="bg1"/>
                </a:solidFill>
              </a:rPr>
              <a:t>75%</a:t>
            </a:r>
            <a:r>
              <a:rPr lang="es-AR" sz="1200">
                <a:solidFill>
                  <a:schemeClr val="bg1"/>
                </a:solidFill>
              </a:rPr>
              <a:t> del trabajo IT será realizado por humanos aumentados con IA y </a:t>
            </a:r>
            <a:r>
              <a:rPr lang="es-AR" sz="1200" b="1">
                <a:solidFill>
                  <a:schemeClr val="bg1"/>
                </a:solidFill>
              </a:rPr>
              <a:t>25%</a:t>
            </a:r>
            <a:r>
              <a:rPr lang="es-AR" sz="1200">
                <a:solidFill>
                  <a:schemeClr val="bg1"/>
                </a:solidFill>
              </a:rPr>
              <a:t> por IA autónom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Una plataforma propia prepara a la organización para este futuro, gestionando la transición de manera ordenad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Soberanía Digital y Dependenc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27, el </a:t>
            </a:r>
            <a:r>
              <a:rPr lang="es-AR" sz="1200" b="1">
                <a:solidFill>
                  <a:schemeClr val="bg1"/>
                </a:solidFill>
              </a:rPr>
              <a:t>35%</a:t>
            </a:r>
            <a:r>
              <a:rPr lang="es-AR" sz="1200">
                <a:solidFill>
                  <a:schemeClr val="bg1"/>
                </a:solidFill>
              </a:rPr>
              <a:t> de los países estarán “atados” a plataformas de IA específicas de la región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Desarrollar una plataforma propia reduce la dependencia de proveedores externos y fortalece la soberanía digital.</a:t>
            </a:r>
          </a:p>
          <a:p>
            <a:endParaRPr lang="es-AR" sz="120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2B2D9189-EB20-9206-DA67-86F5CFD251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3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154A9134-CAE7-4FD1-8E10-99C806C98A6F}" type="slidenum">
              <a:rPr lang="es-AR" sz="1200">
                <a:solidFill>
                  <a:prstClr val="black"/>
                </a:solidFill>
                <a:latin typeface="Aptos" panose="02110004020202020204"/>
              </a:rPr>
              <a:pPr defTabSz="9043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0</a:t>
            </a:fld>
            <a:endParaRPr lang="es-AR" sz="120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127452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E7E93C-3A4C-16B0-FB63-C164FC9B63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D8E2636-79D1-2B07-F357-2BEC856E59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2243138-F06A-2118-6FC6-F08BAFF8F6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AR"/>
              <a:t>“Las métricas del informe Gartner muestran que la adopción de IA genera productividad, pero aún no logra un retorno claro ni una gestión eficiente de costos y calidad. Centralizar los casos de uso en una plataforma agentica propia nos permitirá evolucionar, optimizar y medir el impacto de la IA, anticipándonos a tendencias globales y fortaleciendo nuestra autonomía tecnológica.”</a:t>
            </a:r>
          </a:p>
          <a:p>
            <a:endParaRPr lang="es-AR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Proceso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84%</a:t>
            </a:r>
            <a:r>
              <a:rPr lang="es-AR" sz="1200">
                <a:solidFill>
                  <a:schemeClr val="bg1"/>
                </a:solidFill>
              </a:rPr>
              <a:t> de </a:t>
            </a:r>
            <a:r>
              <a:rPr lang="es-AR" sz="1200" err="1">
                <a:solidFill>
                  <a:schemeClr val="bg1"/>
                </a:solidFill>
              </a:rPr>
              <a:t>CIOs</a:t>
            </a:r>
            <a:r>
              <a:rPr lang="es-AR" sz="1200">
                <a:solidFill>
                  <a:schemeClr val="bg1"/>
                </a:solidFill>
              </a:rPr>
              <a:t> y líderes de IT no tienen procesos formales para rastrear la exactitud de la I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os casos de uso en una plataforma propia facilita la implementación de métricas y controles de calida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or cada herramienta de IA adquirida, existen </a:t>
            </a:r>
            <a:r>
              <a:rPr lang="es-AR" sz="1200" b="1">
                <a:solidFill>
                  <a:schemeClr val="bg1"/>
                </a:solidFill>
              </a:rPr>
              <a:t>10 costos ocultos</a:t>
            </a:r>
            <a:r>
              <a:rPr lang="es-AR" sz="1200">
                <a:solidFill>
                  <a:schemeClr val="bg1"/>
                </a:solidFill>
              </a:rPr>
              <a:t> asociados.</a:t>
            </a:r>
            <a:br>
              <a:rPr lang="es-AR" sz="1200">
                <a:solidFill>
                  <a:schemeClr val="bg1"/>
                </a:solidFill>
              </a:rPr>
            </a:br>
            <a:endParaRPr lang="es-AR"/>
          </a:p>
          <a:p>
            <a:r>
              <a:rPr lang="es-AR"/>
              <a:t>Costos y retorno de la IA</a:t>
            </a:r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74%</a:t>
            </a:r>
            <a:r>
              <a:rPr lang="es-AR" sz="1200"/>
              <a:t> de los </a:t>
            </a:r>
            <a:r>
              <a:rPr lang="es-AR" sz="1200" err="1"/>
              <a:t>CFOs</a:t>
            </a:r>
            <a:r>
              <a:rPr lang="es-AR" sz="1200"/>
              <a:t> reportan ganancias de productividad con IA, pero solo </a:t>
            </a:r>
            <a:r>
              <a:rPr lang="es-AR" sz="1200" b="1"/>
              <a:t>11%</a:t>
            </a:r>
            <a:r>
              <a:rPr lang="es-AR" sz="1200"/>
              <a:t> percibe un ROI claro.</a:t>
            </a:r>
          </a:p>
          <a:p>
            <a:endParaRPr lang="es-AR"/>
          </a:p>
          <a:p>
            <a:pPr defTabSz="904342" eaLnBrk="1" fontAlgn="auto" hangingPunct="1">
              <a:spcAft>
                <a:spcPts val="0"/>
              </a:spcAft>
              <a:defRPr/>
            </a:pPr>
            <a:r>
              <a:rPr lang="es-AR" sz="1200" b="1"/>
              <a:t>Adopción y Preparación</a:t>
            </a:r>
          </a:p>
          <a:p>
            <a:r>
              <a:rPr lang="es-AR" sz="1200"/>
              <a:t>Solo </a:t>
            </a:r>
            <a:r>
              <a:rPr lang="es-AR" sz="1200" b="1"/>
              <a:t>17%</a:t>
            </a:r>
            <a:r>
              <a:rPr lang="es-AR" sz="1200"/>
              <a:t> de las organizaciones han adoptado agentes de IA, pero </a:t>
            </a:r>
            <a:r>
              <a:rPr lang="es-AR" sz="1200" b="1"/>
              <a:t>42%</a:t>
            </a:r>
            <a:r>
              <a:rPr lang="es-AR" sz="1200"/>
              <a:t> planea hacerlo en los próximos 12 meses.</a:t>
            </a:r>
            <a:br>
              <a:rPr lang="es-AR" sz="1200"/>
            </a:br>
            <a:r>
              <a:rPr lang="es-AR" sz="1200" b="1"/>
              <a:t>88%</a:t>
            </a:r>
            <a:r>
              <a:rPr lang="es-AR" sz="1200"/>
              <a:t> de los líderes de IT que exploran agentes de IA se enfocan en agentes conversacionales.</a:t>
            </a:r>
          </a:p>
          <a:p>
            <a:endParaRPr lang="es-AR" sz="1200"/>
          </a:p>
          <a:p>
            <a:r>
              <a:rPr lang="es-AR" sz="1200"/>
              <a:t>Datos Adicionales Informe Gartner:</a:t>
            </a:r>
          </a:p>
          <a:p>
            <a:endParaRPr lang="es-AR" sz="1200"/>
          </a:p>
          <a:p>
            <a:pPr>
              <a:buNone/>
            </a:pPr>
            <a:r>
              <a:rPr lang="es-AR" sz="1200" b="1">
                <a:solidFill>
                  <a:schemeClr val="bg1"/>
                </a:solidFill>
              </a:rPr>
              <a:t>Impacto Laboral y Competenci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El rediseño de roles y puestos implica un esfuerzo </a:t>
            </a:r>
            <a:r>
              <a:rPr lang="es-AR" sz="1200" b="1">
                <a:solidFill>
                  <a:schemeClr val="bg1"/>
                </a:solidFill>
              </a:rPr>
              <a:t>20 veces mayor</a:t>
            </a:r>
            <a:r>
              <a:rPr lang="es-AR" sz="1200">
                <a:solidFill>
                  <a:schemeClr val="bg1"/>
                </a:solidFill>
              </a:rPr>
              <a:t> que los despidos o contrataciones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Centralizar la gestión de IA facilita el </a:t>
            </a:r>
            <a:r>
              <a:rPr lang="es-AR" sz="1200" err="1">
                <a:solidFill>
                  <a:schemeClr val="bg1"/>
                </a:solidFill>
              </a:rPr>
              <a:t>reskilling</a:t>
            </a:r>
            <a:r>
              <a:rPr lang="es-AR" sz="1200">
                <a:solidFill>
                  <a:schemeClr val="bg1"/>
                </a:solidFill>
              </a:rPr>
              <a:t>/</a:t>
            </a:r>
            <a:r>
              <a:rPr lang="es-AR" sz="1200" err="1">
                <a:solidFill>
                  <a:schemeClr val="bg1"/>
                </a:solidFill>
              </a:rPr>
              <a:t>upskilling</a:t>
            </a:r>
            <a:r>
              <a:rPr lang="es-AR" sz="1200">
                <a:solidFill>
                  <a:schemeClr val="bg1"/>
                </a:solidFill>
              </a:rPr>
              <a:t> y la adaptación de la fuerza labora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30, </a:t>
            </a:r>
            <a:r>
              <a:rPr lang="es-AR" sz="1200" b="1">
                <a:solidFill>
                  <a:schemeClr val="bg1"/>
                </a:solidFill>
              </a:rPr>
              <a:t>75%</a:t>
            </a:r>
            <a:r>
              <a:rPr lang="es-AR" sz="1200">
                <a:solidFill>
                  <a:schemeClr val="bg1"/>
                </a:solidFill>
              </a:rPr>
              <a:t> del trabajo IT será realizado por humanos aumentados con IA y </a:t>
            </a:r>
            <a:r>
              <a:rPr lang="es-AR" sz="1200" b="1">
                <a:solidFill>
                  <a:schemeClr val="bg1"/>
                </a:solidFill>
              </a:rPr>
              <a:t>25%</a:t>
            </a:r>
            <a:r>
              <a:rPr lang="es-AR" sz="1200">
                <a:solidFill>
                  <a:schemeClr val="bg1"/>
                </a:solidFill>
              </a:rPr>
              <a:t> por IA autónoma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Una plataforma propia prepara a la organización para este futuro, gestionando la transición de manera ordenad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 b="1">
                <a:solidFill>
                  <a:schemeClr val="bg1"/>
                </a:solidFill>
              </a:rPr>
              <a:t>Soberanía Digital y Dependenc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AR" sz="1200">
                <a:solidFill>
                  <a:schemeClr val="bg1"/>
                </a:solidFill>
              </a:rPr>
              <a:t>Para 2027, el </a:t>
            </a:r>
            <a:r>
              <a:rPr lang="es-AR" sz="1200" b="1">
                <a:solidFill>
                  <a:schemeClr val="bg1"/>
                </a:solidFill>
              </a:rPr>
              <a:t>35%</a:t>
            </a:r>
            <a:r>
              <a:rPr lang="es-AR" sz="1200">
                <a:solidFill>
                  <a:schemeClr val="bg1"/>
                </a:solidFill>
              </a:rPr>
              <a:t> de los países estarán “atados” a plataformas de IA específicas de la región.</a:t>
            </a:r>
            <a:br>
              <a:rPr lang="es-AR" sz="1200">
                <a:solidFill>
                  <a:schemeClr val="bg1"/>
                </a:solidFill>
              </a:rPr>
            </a:br>
            <a:r>
              <a:rPr lang="es-AR" sz="1200" i="1">
                <a:solidFill>
                  <a:schemeClr val="bg1"/>
                </a:solidFill>
              </a:rPr>
              <a:t>Justificación:</a:t>
            </a:r>
            <a:r>
              <a:rPr lang="es-AR" sz="1200">
                <a:solidFill>
                  <a:schemeClr val="bg1"/>
                </a:solidFill>
              </a:rPr>
              <a:t> Desarrollar una plataforma propia reduce la dependencia de proveedores externos y fortalece la soberanía digital.</a:t>
            </a:r>
          </a:p>
          <a:p>
            <a:endParaRPr lang="es-AR" sz="120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68F535E-F40A-6C6C-F212-266D6AD806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3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154A9134-CAE7-4FD1-8E10-99C806C98A6F}" type="slidenum">
              <a:rPr lang="es-AR" sz="1200">
                <a:solidFill>
                  <a:prstClr val="black"/>
                </a:solidFill>
                <a:latin typeface="Aptos" panose="02110004020202020204"/>
              </a:rPr>
              <a:pPr defTabSz="9043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1</a:t>
            </a:fld>
            <a:endParaRPr lang="es-AR" sz="120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4441557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mp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48036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 Teco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77F1C65E-0A7C-D248-8E43-AEFE42552671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B72462ED-C953-2989-9713-16A30FE9C301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bg1"/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4E98C214-FF07-AB8F-B0A5-9C8CA357E2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4" name="Slide Number Placeholder 24">
            <a:extLst>
              <a:ext uri="{FF2B5EF4-FFF2-40B4-BE49-F238E27FC236}">
                <a16:creationId xmlns:a16="http://schemas.microsoft.com/office/drawing/2014/main" id="{ED5D5708-39D3-99E4-F0D7-A41375E7E76C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8912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Seccion 0 -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9466295B-1549-8A8C-E910-4729DA077EAF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" name="Gráfico 3">
            <a:extLst>
              <a:ext uri="{FF2B5EF4-FFF2-40B4-BE49-F238E27FC236}">
                <a16:creationId xmlns:a16="http://schemas.microsoft.com/office/drawing/2014/main" id="{7A494811-0E75-BDB7-4025-CE2A5080EC5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661A38C2-5A98-FE62-4C16-387A5DFAED8B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6026E50-D8E3-B984-A5AF-AE25F431F47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2514FC1E-E41D-1550-10C5-CCC59E230B4C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7D03687B-55E3-853F-487D-A08CE47B7BA5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C6CB64AD-2EFA-9BFD-2116-4C3A7434591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A6ABAE67-0C19-5D09-579A-4ADAEB6F74C9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4F0F1AF8-99E1-46BD-BD88-426CA567AAD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DCE1F555-CCAA-46BA-B068-3ADDA16E54B4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E3A52441-2D72-555E-143F-F27092255D99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50DFB76F-DA30-BB98-5D3E-D6F7505FB34E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sp>
        <p:nvSpPr>
          <p:cNvPr id="24" name="Slide Number Placeholder 24">
            <a:extLst>
              <a:ext uri="{FF2B5EF4-FFF2-40B4-BE49-F238E27FC236}">
                <a16:creationId xmlns:a16="http://schemas.microsoft.com/office/drawing/2014/main" id="{698D4544-FC92-ADC8-8D5A-86111469BEA4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41A7B6A9-1874-E04A-8BFA-C57C86FEB9D2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618BAB85-EBE9-2A58-8CC5-DE9B258C99D8}"/>
              </a:ext>
            </a:extLst>
          </p:cNvPr>
          <p:cNvSpPr/>
          <p:nvPr userDrawn="1"/>
        </p:nvSpPr>
        <p:spPr>
          <a:xfrm>
            <a:off x="2791850" y="127925"/>
            <a:ext cx="919611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Transformación</a:t>
            </a:r>
            <a:b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Tecnológica y Cultural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0A36BDF1-9556-E131-67CF-A5DFFBA7634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02794" y="198211"/>
            <a:ext cx="139179" cy="36000"/>
            <a:chOff x="4907127" y="353637"/>
            <a:chExt cx="433742" cy="112191"/>
          </a:xfrm>
        </p:grpSpPr>
        <p:sp>
          <p:nvSpPr>
            <p:cNvPr id="6" name="Rectángulo 61">
              <a:extLst>
                <a:ext uri="{FF2B5EF4-FFF2-40B4-BE49-F238E27FC236}">
                  <a16:creationId xmlns:a16="http://schemas.microsoft.com/office/drawing/2014/main" id="{332D4F6C-C854-9B8E-9AB5-F3B81CC33A04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12" name="Conector recto 11">
              <a:extLst>
                <a:ext uri="{FF2B5EF4-FFF2-40B4-BE49-F238E27FC236}">
                  <a16:creationId xmlns:a16="http://schemas.microsoft.com/office/drawing/2014/main" id="{D3C6E4C0-B947-9EE6-8E48-2D67F78EE606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upo 32">
            <a:extLst>
              <a:ext uri="{FF2B5EF4-FFF2-40B4-BE49-F238E27FC236}">
                <a16:creationId xmlns:a16="http://schemas.microsoft.com/office/drawing/2014/main" id="{FF24EF21-4CC4-5E67-F962-CC504621747F}"/>
              </a:ext>
            </a:extLst>
          </p:cNvPr>
          <p:cNvGrpSpPr/>
          <p:nvPr userDrawn="1"/>
        </p:nvGrpSpPr>
        <p:grpSpPr>
          <a:xfrm>
            <a:off x="2487446" y="93783"/>
            <a:ext cx="236474" cy="236230"/>
            <a:chOff x="3955161" y="1943655"/>
            <a:chExt cx="1169097" cy="1167892"/>
          </a:xfrm>
        </p:grpSpPr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4D03AA15-8AE5-B1FF-BF13-3747FD2FB1B3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3528AA55-3602-A8A7-77EB-A9F38CAEAE8D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7" name="Forma libre 26">
              <a:extLst>
                <a:ext uri="{FF2B5EF4-FFF2-40B4-BE49-F238E27FC236}">
                  <a16:creationId xmlns:a16="http://schemas.microsoft.com/office/drawing/2014/main" id="{9996BB25-719B-0608-BA46-9129D58E9073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8" name="Forma libre 27">
              <a:extLst>
                <a:ext uri="{FF2B5EF4-FFF2-40B4-BE49-F238E27FC236}">
                  <a16:creationId xmlns:a16="http://schemas.microsoft.com/office/drawing/2014/main" id="{2C214D35-F85B-3B7C-04A0-7216365AFD15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03677177-0C66-9347-DDFD-D337FB78FB12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1D02383F-468A-6688-5F4F-45D9E8B8E335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E87CFC35-F088-1CBC-2B5C-4DC6ADD159C8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16" name="Redondear rectángulo de esquina del mismo lado 15">
            <a:extLst>
              <a:ext uri="{FF2B5EF4-FFF2-40B4-BE49-F238E27FC236}">
                <a16:creationId xmlns:a16="http://schemas.microsoft.com/office/drawing/2014/main" id="{E56D6CAA-6CA8-D5A5-C1C5-2FEB47D70F3C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0999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Seccion 0 -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C65B748C-4107-A917-12CE-5227E7C739EC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10FF7797-8408-1CEA-A3DB-E9C8AD152F19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E646F3F7-BB44-5429-2E41-9B8C7B6BB06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E8D63273-DEB2-8828-0931-0A1E8D31C73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9E9D669-A81C-93B6-EE62-1380273B236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395A0C3D-5DB7-60D7-450B-D9D1BAC776E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7D2A7BC-2695-33B7-71BA-94833AC45B3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B3D80A9-FFBC-BFD5-FDBA-E37720ECD544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B7C367D9-3F76-190C-F1DA-F7FE0823627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36C29421-6501-90CC-D239-B4DCB54E5E9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7" name="Rectángulo 36">
            <a:extLst>
              <a:ext uri="{FF2B5EF4-FFF2-40B4-BE49-F238E27FC236}">
                <a16:creationId xmlns:a16="http://schemas.microsoft.com/office/drawing/2014/main" id="{61EB6CE6-2159-EDD7-DA34-AD2989D559B8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4EF41660-685E-B27A-40A2-E230A404FC13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9DFC758A-81E4-F9EC-AB8B-AC5395E4658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 3">
            <a:extLst>
              <a:ext uri="{FF2B5EF4-FFF2-40B4-BE49-F238E27FC236}">
                <a16:creationId xmlns:a16="http://schemas.microsoft.com/office/drawing/2014/main" id="{29F61288-B3AF-F52C-C2BC-EC4FF59351E2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grpSp>
        <p:nvGrpSpPr>
          <p:cNvPr id="19" name="Grupo 18">
            <a:extLst>
              <a:ext uri="{FF2B5EF4-FFF2-40B4-BE49-F238E27FC236}">
                <a16:creationId xmlns:a16="http://schemas.microsoft.com/office/drawing/2014/main" id="{159DB18F-0B18-5B0E-0B74-7A32228E508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02794" y="198211"/>
            <a:ext cx="139179" cy="36000"/>
            <a:chOff x="4907127" y="353637"/>
            <a:chExt cx="433742" cy="112191"/>
          </a:xfrm>
        </p:grpSpPr>
        <p:sp>
          <p:nvSpPr>
            <p:cNvPr id="20" name="Rectángulo 61">
              <a:extLst>
                <a:ext uri="{FF2B5EF4-FFF2-40B4-BE49-F238E27FC236}">
                  <a16:creationId xmlns:a16="http://schemas.microsoft.com/office/drawing/2014/main" id="{297DF91A-859B-E8ED-F9DA-016AF44A3512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21" name="Conector recto 20">
              <a:extLst>
                <a:ext uri="{FF2B5EF4-FFF2-40B4-BE49-F238E27FC236}">
                  <a16:creationId xmlns:a16="http://schemas.microsoft.com/office/drawing/2014/main" id="{4DEDBE5C-588A-546E-F56D-A59260F5DD24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upo 5">
            <a:extLst>
              <a:ext uri="{FF2B5EF4-FFF2-40B4-BE49-F238E27FC236}">
                <a16:creationId xmlns:a16="http://schemas.microsoft.com/office/drawing/2014/main" id="{4CEBBF95-1286-ADD7-3496-3F293BCBFEAF}"/>
              </a:ext>
            </a:extLst>
          </p:cNvPr>
          <p:cNvGrpSpPr/>
          <p:nvPr userDrawn="1"/>
        </p:nvGrpSpPr>
        <p:grpSpPr>
          <a:xfrm>
            <a:off x="2487446" y="93783"/>
            <a:ext cx="236474" cy="236230"/>
            <a:chOff x="3955161" y="1943655"/>
            <a:chExt cx="1169097" cy="1167892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E333BB41-2DBB-1464-886B-5856B53D30D7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F5402855-3BC9-A7A3-ED65-C8F5C01233B7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D0855738-682F-6ED9-46AB-832F36E67401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9B0BE686-273F-331F-7904-30A289E18CF7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8306DE9B-D254-B313-415E-6377BD9D6D16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2" name="Forma libre 11">
              <a:extLst>
                <a:ext uri="{FF2B5EF4-FFF2-40B4-BE49-F238E27FC236}">
                  <a16:creationId xmlns:a16="http://schemas.microsoft.com/office/drawing/2014/main" id="{8B920DC2-CFEA-3E8B-9193-95A1471A24DD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447A4D9D-BC53-BA81-E6D0-52780D0292B3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14" name="Rectángulo 13">
            <a:extLst>
              <a:ext uri="{FF2B5EF4-FFF2-40B4-BE49-F238E27FC236}">
                <a16:creationId xmlns:a16="http://schemas.microsoft.com/office/drawing/2014/main" id="{FEFCC8B2-2751-F145-8A5A-65488301D510}"/>
              </a:ext>
            </a:extLst>
          </p:cNvPr>
          <p:cNvSpPr/>
          <p:nvPr userDrawn="1"/>
        </p:nvSpPr>
        <p:spPr>
          <a:xfrm>
            <a:off x="2791850" y="127925"/>
            <a:ext cx="919611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Transformación</a:t>
            </a:r>
            <a:b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Tecnológica y Cultural</a:t>
            </a:r>
          </a:p>
        </p:txBody>
      </p:sp>
      <p:sp>
        <p:nvSpPr>
          <p:cNvPr id="15" name="Redondear rectángulo de esquina del mismo lado 14">
            <a:extLst>
              <a:ext uri="{FF2B5EF4-FFF2-40B4-BE49-F238E27FC236}">
                <a16:creationId xmlns:a16="http://schemas.microsoft.com/office/drawing/2014/main" id="{C8460EB3-6380-3D3A-D75A-77A392788C1E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3487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Seccion 0 -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9466295B-1549-8A8C-E910-4729DA077EAF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" name="Gráfico 3">
            <a:extLst>
              <a:ext uri="{FF2B5EF4-FFF2-40B4-BE49-F238E27FC236}">
                <a16:creationId xmlns:a16="http://schemas.microsoft.com/office/drawing/2014/main" id="{7A494811-0E75-BDB7-4025-CE2A5080EC5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661A38C2-5A98-FE62-4C16-387A5DFAED8B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6026E50-D8E3-B984-A5AF-AE25F431F47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2514FC1E-E41D-1550-10C5-CCC59E230B4C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7D03687B-55E3-853F-487D-A08CE47B7BA5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C6CB64AD-2EFA-9BFD-2116-4C3A7434591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A6ABAE67-0C19-5D09-579A-4ADAEB6F74C9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4F0F1AF8-99E1-46BD-BD88-426CA567AAD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DCE1F555-CCAA-46BA-B068-3ADDA16E54B4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E3A52441-2D72-555E-143F-F27092255D99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50DFB76F-DA30-BB98-5D3E-D6F7505FB34E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sp>
        <p:nvSpPr>
          <p:cNvPr id="24" name="Slide Number Placeholder 24">
            <a:extLst>
              <a:ext uri="{FF2B5EF4-FFF2-40B4-BE49-F238E27FC236}">
                <a16:creationId xmlns:a16="http://schemas.microsoft.com/office/drawing/2014/main" id="{698D4544-FC92-ADC8-8D5A-86111469BEA4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41A7B6A9-1874-E04A-8BFA-C57C86FEB9D2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upo 4">
            <a:extLst>
              <a:ext uri="{FF2B5EF4-FFF2-40B4-BE49-F238E27FC236}">
                <a16:creationId xmlns:a16="http://schemas.microsoft.com/office/drawing/2014/main" id="{0A36BDF1-9556-E131-67CF-A5DFFBA7634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02794" y="198211"/>
            <a:ext cx="139179" cy="36000"/>
            <a:chOff x="4907127" y="353637"/>
            <a:chExt cx="433742" cy="112191"/>
          </a:xfrm>
        </p:grpSpPr>
        <p:sp>
          <p:nvSpPr>
            <p:cNvPr id="6" name="Rectángulo 61">
              <a:extLst>
                <a:ext uri="{FF2B5EF4-FFF2-40B4-BE49-F238E27FC236}">
                  <a16:creationId xmlns:a16="http://schemas.microsoft.com/office/drawing/2014/main" id="{332D4F6C-C854-9B8E-9AB5-F3B81CC33A04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12" name="Conector recto 11">
              <a:extLst>
                <a:ext uri="{FF2B5EF4-FFF2-40B4-BE49-F238E27FC236}">
                  <a16:creationId xmlns:a16="http://schemas.microsoft.com/office/drawing/2014/main" id="{D3C6E4C0-B947-9EE6-8E48-2D67F78EE606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upo 32">
            <a:extLst>
              <a:ext uri="{FF2B5EF4-FFF2-40B4-BE49-F238E27FC236}">
                <a16:creationId xmlns:a16="http://schemas.microsoft.com/office/drawing/2014/main" id="{FF24EF21-4CC4-5E67-F962-CC504621747F}"/>
              </a:ext>
            </a:extLst>
          </p:cNvPr>
          <p:cNvGrpSpPr/>
          <p:nvPr userDrawn="1"/>
        </p:nvGrpSpPr>
        <p:grpSpPr>
          <a:xfrm>
            <a:off x="2487446" y="93783"/>
            <a:ext cx="236474" cy="236230"/>
            <a:chOff x="3955161" y="1943655"/>
            <a:chExt cx="1169097" cy="1167892"/>
          </a:xfrm>
        </p:grpSpPr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4D03AA15-8AE5-B1FF-BF13-3747FD2FB1B3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3528AA55-3602-A8A7-77EB-A9F38CAEAE8D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7" name="Forma libre 26">
              <a:extLst>
                <a:ext uri="{FF2B5EF4-FFF2-40B4-BE49-F238E27FC236}">
                  <a16:creationId xmlns:a16="http://schemas.microsoft.com/office/drawing/2014/main" id="{9996BB25-719B-0608-BA46-9129D58E9073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8" name="Forma libre 27">
              <a:extLst>
                <a:ext uri="{FF2B5EF4-FFF2-40B4-BE49-F238E27FC236}">
                  <a16:creationId xmlns:a16="http://schemas.microsoft.com/office/drawing/2014/main" id="{2C214D35-F85B-3B7C-04A0-7216365AFD15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03677177-0C66-9347-DDFD-D337FB78FB12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1D02383F-468A-6688-5F4F-45D9E8B8E335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E87CFC35-F088-1CBC-2B5C-4DC6ADD159C8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16" name="Rectángulo 15">
            <a:extLst>
              <a:ext uri="{FF2B5EF4-FFF2-40B4-BE49-F238E27FC236}">
                <a16:creationId xmlns:a16="http://schemas.microsoft.com/office/drawing/2014/main" id="{0D16A0FB-8FE0-3B1C-D5D7-8FDEA358C2AD}"/>
              </a:ext>
            </a:extLst>
          </p:cNvPr>
          <p:cNvSpPr/>
          <p:nvPr userDrawn="1"/>
        </p:nvSpPr>
        <p:spPr>
          <a:xfrm>
            <a:off x="2791823" y="165933"/>
            <a:ext cx="457498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Regulación</a:t>
            </a:r>
          </a:p>
        </p:txBody>
      </p:sp>
      <p:sp>
        <p:nvSpPr>
          <p:cNvPr id="2" name="Redondear rectángulo de esquina del mismo lado 1">
            <a:extLst>
              <a:ext uri="{FF2B5EF4-FFF2-40B4-BE49-F238E27FC236}">
                <a16:creationId xmlns:a16="http://schemas.microsoft.com/office/drawing/2014/main" id="{C1F60689-8155-B12B-3E51-D8DCC2C3802C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8988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Seccion 0 -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C65B748C-4107-A917-12CE-5227E7C739EC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10FF7797-8408-1CEA-A3DB-E9C8AD152F19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E646F3F7-BB44-5429-2E41-9B8C7B6BB06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E8D63273-DEB2-8828-0931-0A1E8D31C73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9E9D669-A81C-93B6-EE62-1380273B236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395A0C3D-5DB7-60D7-450B-D9D1BAC776E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7D2A7BC-2695-33B7-71BA-94833AC45B3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B3D80A9-FFBC-BFD5-FDBA-E37720ECD544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B7C367D9-3F76-190C-F1DA-F7FE0823627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36C29421-6501-90CC-D239-B4DCB54E5E9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7" name="Rectángulo 36">
            <a:extLst>
              <a:ext uri="{FF2B5EF4-FFF2-40B4-BE49-F238E27FC236}">
                <a16:creationId xmlns:a16="http://schemas.microsoft.com/office/drawing/2014/main" id="{61EB6CE6-2159-EDD7-DA34-AD2989D559B8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4EF41660-685E-B27A-40A2-E230A404FC13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9DFC758A-81E4-F9EC-AB8B-AC5395E4658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 3">
            <a:extLst>
              <a:ext uri="{FF2B5EF4-FFF2-40B4-BE49-F238E27FC236}">
                <a16:creationId xmlns:a16="http://schemas.microsoft.com/office/drawing/2014/main" id="{29F61288-B3AF-F52C-C2BC-EC4FF59351E2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grpSp>
        <p:nvGrpSpPr>
          <p:cNvPr id="19" name="Grupo 18">
            <a:extLst>
              <a:ext uri="{FF2B5EF4-FFF2-40B4-BE49-F238E27FC236}">
                <a16:creationId xmlns:a16="http://schemas.microsoft.com/office/drawing/2014/main" id="{159DB18F-0B18-5B0E-0B74-7A32228E508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02794" y="198211"/>
            <a:ext cx="139179" cy="36000"/>
            <a:chOff x="4907127" y="353637"/>
            <a:chExt cx="433742" cy="112191"/>
          </a:xfrm>
        </p:grpSpPr>
        <p:sp>
          <p:nvSpPr>
            <p:cNvPr id="20" name="Rectángulo 61">
              <a:extLst>
                <a:ext uri="{FF2B5EF4-FFF2-40B4-BE49-F238E27FC236}">
                  <a16:creationId xmlns:a16="http://schemas.microsoft.com/office/drawing/2014/main" id="{297DF91A-859B-E8ED-F9DA-016AF44A3512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21" name="Conector recto 20">
              <a:extLst>
                <a:ext uri="{FF2B5EF4-FFF2-40B4-BE49-F238E27FC236}">
                  <a16:creationId xmlns:a16="http://schemas.microsoft.com/office/drawing/2014/main" id="{4DEDBE5C-588A-546E-F56D-A59260F5DD24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upo 13">
            <a:extLst>
              <a:ext uri="{FF2B5EF4-FFF2-40B4-BE49-F238E27FC236}">
                <a16:creationId xmlns:a16="http://schemas.microsoft.com/office/drawing/2014/main" id="{5E8D6B81-87DF-6967-1B09-8811154E046D}"/>
              </a:ext>
            </a:extLst>
          </p:cNvPr>
          <p:cNvGrpSpPr/>
          <p:nvPr userDrawn="1"/>
        </p:nvGrpSpPr>
        <p:grpSpPr>
          <a:xfrm>
            <a:off x="2487446" y="93783"/>
            <a:ext cx="236474" cy="236230"/>
            <a:chOff x="3955161" y="1943655"/>
            <a:chExt cx="1169097" cy="1167892"/>
          </a:xfrm>
        </p:grpSpPr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121A5D47-EF64-7565-CD54-B7CB42262692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335AB07F-C65E-49D8-BBB1-18777C5B940B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4F4B3815-27AF-247C-B24C-54934ABFF337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2" name="Forma libre 41">
              <a:extLst>
                <a:ext uri="{FF2B5EF4-FFF2-40B4-BE49-F238E27FC236}">
                  <a16:creationId xmlns:a16="http://schemas.microsoft.com/office/drawing/2014/main" id="{F16F0EAD-ABC7-A4B5-9EBD-3C5929FDFB99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3" name="Forma libre 42">
              <a:extLst>
                <a:ext uri="{FF2B5EF4-FFF2-40B4-BE49-F238E27FC236}">
                  <a16:creationId xmlns:a16="http://schemas.microsoft.com/office/drawing/2014/main" id="{B83D6C19-7F29-1C60-61F0-EC9ED8D3D2CE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4" name="Forma libre 43">
              <a:extLst>
                <a:ext uri="{FF2B5EF4-FFF2-40B4-BE49-F238E27FC236}">
                  <a16:creationId xmlns:a16="http://schemas.microsoft.com/office/drawing/2014/main" id="{5F4DD81A-1F16-DCFE-5BCC-49A71F5DEA8C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5" name="Forma libre 44">
              <a:extLst>
                <a:ext uri="{FF2B5EF4-FFF2-40B4-BE49-F238E27FC236}">
                  <a16:creationId xmlns:a16="http://schemas.microsoft.com/office/drawing/2014/main" id="{02E074F2-DD24-8157-8493-18BF26B7C221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46" name="Rectángulo 45">
            <a:extLst>
              <a:ext uri="{FF2B5EF4-FFF2-40B4-BE49-F238E27FC236}">
                <a16:creationId xmlns:a16="http://schemas.microsoft.com/office/drawing/2014/main" id="{2FF5D547-F2D4-06D4-0282-A40A645F5C68}"/>
              </a:ext>
            </a:extLst>
          </p:cNvPr>
          <p:cNvSpPr/>
          <p:nvPr userDrawn="1"/>
        </p:nvSpPr>
        <p:spPr>
          <a:xfrm>
            <a:off x="2791823" y="165933"/>
            <a:ext cx="457498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Regulación</a:t>
            </a:r>
          </a:p>
        </p:txBody>
      </p:sp>
      <p:sp>
        <p:nvSpPr>
          <p:cNvPr id="6" name="Redondear rectángulo de esquina del mismo lado 5">
            <a:extLst>
              <a:ext uri="{FF2B5EF4-FFF2-40B4-BE49-F238E27FC236}">
                <a16:creationId xmlns:a16="http://schemas.microsoft.com/office/drawing/2014/main" id="{09977C4A-6903-C328-FF1C-66B8FF1CE607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0797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Seccion 0 -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9466295B-1549-8A8C-E910-4729DA077EAF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" name="Gráfico 3">
            <a:extLst>
              <a:ext uri="{FF2B5EF4-FFF2-40B4-BE49-F238E27FC236}">
                <a16:creationId xmlns:a16="http://schemas.microsoft.com/office/drawing/2014/main" id="{7A494811-0E75-BDB7-4025-CE2A5080EC5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661A38C2-5A98-FE62-4C16-387A5DFAED8B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6026E50-D8E3-B984-A5AF-AE25F431F47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2514FC1E-E41D-1550-10C5-CCC59E230B4C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7D03687B-55E3-853F-487D-A08CE47B7BA5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C6CB64AD-2EFA-9BFD-2116-4C3A7434591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A6ABAE67-0C19-5D09-579A-4ADAEB6F74C9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4F0F1AF8-99E1-46BD-BD88-426CA567AAD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DCE1F555-CCAA-46BA-B068-3ADDA16E54B4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E3A52441-2D72-555E-143F-F27092255D99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50DFB76F-DA30-BB98-5D3E-D6F7505FB34E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sp>
        <p:nvSpPr>
          <p:cNvPr id="24" name="Slide Number Placeholder 24">
            <a:extLst>
              <a:ext uri="{FF2B5EF4-FFF2-40B4-BE49-F238E27FC236}">
                <a16:creationId xmlns:a16="http://schemas.microsoft.com/office/drawing/2014/main" id="{698D4544-FC92-ADC8-8D5A-86111469BEA4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41A7B6A9-1874-E04A-8BFA-C57C86FEB9D2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618BAB85-EBE9-2A58-8CC5-DE9B258C99D8}"/>
              </a:ext>
            </a:extLst>
          </p:cNvPr>
          <p:cNvSpPr/>
          <p:nvPr userDrawn="1"/>
        </p:nvSpPr>
        <p:spPr>
          <a:xfrm>
            <a:off x="2791850" y="127925"/>
            <a:ext cx="385555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Adecuar</a:t>
            </a:r>
            <a:b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el capital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0A36BDF1-9556-E131-67CF-A5DFFBA7634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02794" y="198211"/>
            <a:ext cx="139179" cy="36000"/>
            <a:chOff x="4907127" y="353637"/>
            <a:chExt cx="433742" cy="112191"/>
          </a:xfrm>
        </p:grpSpPr>
        <p:sp>
          <p:nvSpPr>
            <p:cNvPr id="6" name="Rectángulo 61">
              <a:extLst>
                <a:ext uri="{FF2B5EF4-FFF2-40B4-BE49-F238E27FC236}">
                  <a16:creationId xmlns:a16="http://schemas.microsoft.com/office/drawing/2014/main" id="{332D4F6C-C854-9B8E-9AB5-F3B81CC33A04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12" name="Conector recto 11">
              <a:extLst>
                <a:ext uri="{FF2B5EF4-FFF2-40B4-BE49-F238E27FC236}">
                  <a16:creationId xmlns:a16="http://schemas.microsoft.com/office/drawing/2014/main" id="{D3C6E4C0-B947-9EE6-8E48-2D67F78EE606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upo 32">
            <a:extLst>
              <a:ext uri="{FF2B5EF4-FFF2-40B4-BE49-F238E27FC236}">
                <a16:creationId xmlns:a16="http://schemas.microsoft.com/office/drawing/2014/main" id="{FF24EF21-4CC4-5E67-F962-CC504621747F}"/>
              </a:ext>
            </a:extLst>
          </p:cNvPr>
          <p:cNvGrpSpPr/>
          <p:nvPr userDrawn="1"/>
        </p:nvGrpSpPr>
        <p:grpSpPr>
          <a:xfrm>
            <a:off x="2487446" y="93783"/>
            <a:ext cx="236474" cy="236230"/>
            <a:chOff x="3955161" y="1943655"/>
            <a:chExt cx="1169097" cy="1167892"/>
          </a:xfrm>
        </p:grpSpPr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4D03AA15-8AE5-B1FF-BF13-3747FD2FB1B3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3528AA55-3602-A8A7-77EB-A9F38CAEAE8D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7" name="Forma libre 26">
              <a:extLst>
                <a:ext uri="{FF2B5EF4-FFF2-40B4-BE49-F238E27FC236}">
                  <a16:creationId xmlns:a16="http://schemas.microsoft.com/office/drawing/2014/main" id="{9996BB25-719B-0608-BA46-9129D58E9073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8" name="Forma libre 27">
              <a:extLst>
                <a:ext uri="{FF2B5EF4-FFF2-40B4-BE49-F238E27FC236}">
                  <a16:creationId xmlns:a16="http://schemas.microsoft.com/office/drawing/2014/main" id="{2C214D35-F85B-3B7C-04A0-7216365AFD15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03677177-0C66-9347-DDFD-D337FB78FB12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1D02383F-468A-6688-5F4F-45D9E8B8E335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E87CFC35-F088-1CBC-2B5C-4DC6ADD159C8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16" name="Redondear rectángulo de esquina del mismo lado 15">
            <a:extLst>
              <a:ext uri="{FF2B5EF4-FFF2-40B4-BE49-F238E27FC236}">
                <a16:creationId xmlns:a16="http://schemas.microsoft.com/office/drawing/2014/main" id="{8F7C40B7-A3A7-FC79-C5A1-917DB789BF21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73900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Seccion 0 -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C65B748C-4107-A917-12CE-5227E7C739EC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10FF7797-8408-1CEA-A3DB-E9C8AD152F19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E646F3F7-BB44-5429-2E41-9B8C7B6BB06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E8D63273-DEB2-8828-0931-0A1E8D31C73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9E9D669-A81C-93B6-EE62-1380273B236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395A0C3D-5DB7-60D7-450B-D9D1BAC776E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7D2A7BC-2695-33B7-71BA-94833AC45B3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B3D80A9-FFBC-BFD5-FDBA-E37720ECD544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B7C367D9-3F76-190C-F1DA-F7FE0823627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36C29421-6501-90CC-D239-B4DCB54E5E9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7" name="Rectángulo 36">
            <a:extLst>
              <a:ext uri="{FF2B5EF4-FFF2-40B4-BE49-F238E27FC236}">
                <a16:creationId xmlns:a16="http://schemas.microsoft.com/office/drawing/2014/main" id="{61EB6CE6-2159-EDD7-DA34-AD2989D559B8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4EF41660-685E-B27A-40A2-E230A404FC13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9DFC758A-81E4-F9EC-AB8B-AC5395E4658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 3">
            <a:extLst>
              <a:ext uri="{FF2B5EF4-FFF2-40B4-BE49-F238E27FC236}">
                <a16:creationId xmlns:a16="http://schemas.microsoft.com/office/drawing/2014/main" id="{29F61288-B3AF-F52C-C2BC-EC4FF59351E2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grpSp>
        <p:nvGrpSpPr>
          <p:cNvPr id="19" name="Grupo 18">
            <a:extLst>
              <a:ext uri="{FF2B5EF4-FFF2-40B4-BE49-F238E27FC236}">
                <a16:creationId xmlns:a16="http://schemas.microsoft.com/office/drawing/2014/main" id="{159DB18F-0B18-5B0E-0B74-7A32228E508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02794" y="198211"/>
            <a:ext cx="139179" cy="36000"/>
            <a:chOff x="4907127" y="353637"/>
            <a:chExt cx="433742" cy="112191"/>
          </a:xfrm>
        </p:grpSpPr>
        <p:sp>
          <p:nvSpPr>
            <p:cNvPr id="20" name="Rectángulo 61">
              <a:extLst>
                <a:ext uri="{FF2B5EF4-FFF2-40B4-BE49-F238E27FC236}">
                  <a16:creationId xmlns:a16="http://schemas.microsoft.com/office/drawing/2014/main" id="{297DF91A-859B-E8ED-F9DA-016AF44A3512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21" name="Conector recto 20">
              <a:extLst>
                <a:ext uri="{FF2B5EF4-FFF2-40B4-BE49-F238E27FC236}">
                  <a16:creationId xmlns:a16="http://schemas.microsoft.com/office/drawing/2014/main" id="{4DEDBE5C-588A-546E-F56D-A59260F5DD24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ángulo 13">
            <a:extLst>
              <a:ext uri="{FF2B5EF4-FFF2-40B4-BE49-F238E27FC236}">
                <a16:creationId xmlns:a16="http://schemas.microsoft.com/office/drawing/2014/main" id="{ED7CCFBF-65B1-4461-F4F9-7FC349913B3B}"/>
              </a:ext>
            </a:extLst>
          </p:cNvPr>
          <p:cNvSpPr/>
          <p:nvPr userDrawn="1"/>
        </p:nvSpPr>
        <p:spPr>
          <a:xfrm>
            <a:off x="2791850" y="127925"/>
            <a:ext cx="385555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Adecuar</a:t>
            </a:r>
            <a:b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el capital</a:t>
            </a: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B26C433D-DA59-3A91-7361-B4B01DD7558A}"/>
              </a:ext>
            </a:extLst>
          </p:cNvPr>
          <p:cNvGrpSpPr/>
          <p:nvPr userDrawn="1"/>
        </p:nvGrpSpPr>
        <p:grpSpPr>
          <a:xfrm>
            <a:off x="2487446" y="93783"/>
            <a:ext cx="236474" cy="236230"/>
            <a:chOff x="3955161" y="1943655"/>
            <a:chExt cx="1169097" cy="1167892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93BFCB8-B689-ED85-7FDC-231FD301C724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669F57BE-B6E5-81A8-285B-34C97FAAAA1C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2" name="Forma libre 41">
              <a:extLst>
                <a:ext uri="{FF2B5EF4-FFF2-40B4-BE49-F238E27FC236}">
                  <a16:creationId xmlns:a16="http://schemas.microsoft.com/office/drawing/2014/main" id="{FF7709FC-5D9E-B20E-D8FF-546E6DE125B5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3" name="Forma libre 42">
              <a:extLst>
                <a:ext uri="{FF2B5EF4-FFF2-40B4-BE49-F238E27FC236}">
                  <a16:creationId xmlns:a16="http://schemas.microsoft.com/office/drawing/2014/main" id="{3ECFCD8E-71A5-14BC-48CC-1B4322D7954B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4" name="Forma libre 43">
              <a:extLst>
                <a:ext uri="{FF2B5EF4-FFF2-40B4-BE49-F238E27FC236}">
                  <a16:creationId xmlns:a16="http://schemas.microsoft.com/office/drawing/2014/main" id="{CB4EA4A2-A076-4675-EDFD-1CC451F7C39B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5" name="Forma libre 44">
              <a:extLst>
                <a:ext uri="{FF2B5EF4-FFF2-40B4-BE49-F238E27FC236}">
                  <a16:creationId xmlns:a16="http://schemas.microsoft.com/office/drawing/2014/main" id="{0D6AAA04-3528-04FE-25A2-C1E37C5B173F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6" name="Forma libre 45">
              <a:extLst>
                <a:ext uri="{FF2B5EF4-FFF2-40B4-BE49-F238E27FC236}">
                  <a16:creationId xmlns:a16="http://schemas.microsoft.com/office/drawing/2014/main" id="{68BDD12A-BD02-5ABE-0997-28EB03289280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6" name="Redondear rectángulo de esquina del mismo lado 5">
            <a:extLst>
              <a:ext uri="{FF2B5EF4-FFF2-40B4-BE49-F238E27FC236}">
                <a16:creationId xmlns:a16="http://schemas.microsoft.com/office/drawing/2014/main" id="{3182C931-FE79-8612-936F-CCF28E780D81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1985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tegic Review 02 Visiion and Purp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51A44D3F-5349-B413-1045-52339CE24229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3" name="Rectángulo redondeado 2">
            <a:extLst>
              <a:ext uri="{FF2B5EF4-FFF2-40B4-BE49-F238E27FC236}">
                <a16:creationId xmlns:a16="http://schemas.microsoft.com/office/drawing/2014/main" id="{01CFC352-F5C9-59D7-0DCD-CC46A8A76C75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bg2"/>
              </a:gs>
              <a:gs pos="0">
                <a:schemeClr val="tx2"/>
              </a:gs>
            </a:gsLst>
            <a:lin ang="0" scaled="0"/>
          </a:gra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16" name="Gráfico 3">
            <a:extLst>
              <a:ext uri="{FF2B5EF4-FFF2-40B4-BE49-F238E27FC236}">
                <a16:creationId xmlns:a16="http://schemas.microsoft.com/office/drawing/2014/main" id="{661103A8-AAFE-CC0C-F300-6B5395FCF641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rgbClr val="FFFFFF"/>
          </a:solidFill>
        </p:grpSpPr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5A15FEF5-2A2D-4FA1-A195-F6DF2E0B66B3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8" name="Forma libre 17">
              <a:extLst>
                <a:ext uri="{FF2B5EF4-FFF2-40B4-BE49-F238E27FC236}">
                  <a16:creationId xmlns:a16="http://schemas.microsoft.com/office/drawing/2014/main" id="{E4F34473-AA5D-E3DC-BF85-7785ADFDD67D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BC7C0227-AE92-60D6-C651-8C2A83C273C3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4CBD66BF-BC0D-C1EE-5E1D-7618C608E78D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03916C68-0437-5662-23C8-6ECD9B842456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4" name="Forma libre 23">
              <a:extLst>
                <a:ext uri="{FF2B5EF4-FFF2-40B4-BE49-F238E27FC236}">
                  <a16:creationId xmlns:a16="http://schemas.microsoft.com/office/drawing/2014/main" id="{5767E712-B754-12CF-3332-9E0F37DB7056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5" name="Forma libre 24">
              <a:extLst>
                <a:ext uri="{FF2B5EF4-FFF2-40B4-BE49-F238E27FC236}">
                  <a16:creationId xmlns:a16="http://schemas.microsoft.com/office/drawing/2014/main" id="{A05F805B-934F-DA30-EE8D-6E20DF017B3B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6" name="Forma libre 25">
              <a:extLst>
                <a:ext uri="{FF2B5EF4-FFF2-40B4-BE49-F238E27FC236}">
                  <a16:creationId xmlns:a16="http://schemas.microsoft.com/office/drawing/2014/main" id="{43359977-D5DA-9F4D-9BBD-EF9DC4CF1792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7" name="Rectángulo 26">
            <a:extLst>
              <a:ext uri="{FF2B5EF4-FFF2-40B4-BE49-F238E27FC236}">
                <a16:creationId xmlns:a16="http://schemas.microsoft.com/office/drawing/2014/main" id="{C0C9ADFB-A48D-449D-1E8E-0703A0B11B5D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rgbClr val="FFFFFF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4" name="Slide Number Placeholder 24">
            <a:extLst>
              <a:ext uri="{FF2B5EF4-FFF2-40B4-BE49-F238E27FC236}">
                <a16:creationId xmlns:a16="http://schemas.microsoft.com/office/drawing/2014/main" id="{5E538870-06B1-DA73-76F1-515A90C79891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0B8F3F3F-07DF-4808-4872-89C24FE48A97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64785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cion 0 -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ángulo 21">
            <a:extLst>
              <a:ext uri="{FF2B5EF4-FFF2-40B4-BE49-F238E27FC236}">
                <a16:creationId xmlns:a16="http://schemas.microsoft.com/office/drawing/2014/main" id="{5ADF1828-321E-3C2F-CE7A-8BE64C2E0E7E}"/>
              </a:ext>
            </a:extLst>
          </p:cNvPr>
          <p:cNvSpPr/>
          <p:nvPr userDrawn="1"/>
        </p:nvSpPr>
        <p:spPr>
          <a:xfrm>
            <a:off x="0" y="0"/>
            <a:ext cx="9144000" cy="5143499"/>
          </a:xfrm>
          <a:prstGeom prst="rect">
            <a:avLst/>
          </a:prstGeom>
          <a:gradFill>
            <a:gsLst>
              <a:gs pos="50000">
                <a:schemeClr val="bg2">
                  <a:alpha val="10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C65B748C-4107-A917-12CE-5227E7C739EC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10FF7797-8408-1CEA-A3DB-E9C8AD152F19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E646F3F7-BB44-5429-2E41-9B8C7B6BB06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E8D63273-DEB2-8828-0931-0A1E8D31C73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9E9D669-A81C-93B6-EE62-1380273B236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395A0C3D-5DB7-60D7-450B-D9D1BAC776E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7D2A7BC-2695-33B7-71BA-94833AC45B3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B3D80A9-FFBC-BFD5-FDBA-E37720ECD544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B7C367D9-3F76-190C-F1DA-F7FE0823627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36C29421-6501-90CC-D239-B4DCB54E5E9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7" name="Rectángulo 36">
            <a:extLst>
              <a:ext uri="{FF2B5EF4-FFF2-40B4-BE49-F238E27FC236}">
                <a16:creationId xmlns:a16="http://schemas.microsoft.com/office/drawing/2014/main" id="{61EB6CE6-2159-EDD7-DA34-AD2989D559B8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77996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tegic Review 01 Business Context Interna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>
            <a:extLst>
              <a:ext uri="{FF2B5EF4-FFF2-40B4-BE49-F238E27FC236}">
                <a16:creationId xmlns:a16="http://schemas.microsoft.com/office/drawing/2014/main" id="{CA5949C0-872A-B686-65CD-80222FED2FD3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10" name="Rectángulo redondeado 9">
            <a:extLst>
              <a:ext uri="{FF2B5EF4-FFF2-40B4-BE49-F238E27FC236}">
                <a16:creationId xmlns:a16="http://schemas.microsoft.com/office/drawing/2014/main" id="{D3CDD53A-78FA-EDC5-6A21-DE62D318A6E7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bg2"/>
              </a:gs>
              <a:gs pos="0">
                <a:schemeClr val="tx2"/>
              </a:gs>
            </a:gsLst>
            <a:lin ang="0" scaled="0"/>
          </a:gra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11" name="Gráfico 3">
            <a:extLst>
              <a:ext uri="{FF2B5EF4-FFF2-40B4-BE49-F238E27FC236}">
                <a16:creationId xmlns:a16="http://schemas.microsoft.com/office/drawing/2014/main" id="{C090A074-0391-2C58-FE34-2B1E310E763B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rgbClr val="FFFFFF"/>
          </a:solidFill>
        </p:grpSpPr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5770D06F-0B56-690B-FC5A-73601854F30C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6" name="Forma libre 25">
              <a:extLst>
                <a:ext uri="{FF2B5EF4-FFF2-40B4-BE49-F238E27FC236}">
                  <a16:creationId xmlns:a16="http://schemas.microsoft.com/office/drawing/2014/main" id="{A38CADFD-CD99-EC83-3C1F-B96A2FEB195A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7" name="Forma libre 26">
              <a:extLst>
                <a:ext uri="{FF2B5EF4-FFF2-40B4-BE49-F238E27FC236}">
                  <a16:creationId xmlns:a16="http://schemas.microsoft.com/office/drawing/2014/main" id="{10F62923-0723-23D7-1A8F-B27FBC89712E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8" name="Forma libre 27">
              <a:extLst>
                <a:ext uri="{FF2B5EF4-FFF2-40B4-BE49-F238E27FC236}">
                  <a16:creationId xmlns:a16="http://schemas.microsoft.com/office/drawing/2014/main" id="{4FE84405-13C0-959D-FADD-F0545CA1AFEB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115C6448-6B11-61A0-CC14-C287720F001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DEE41398-91C7-3C6D-58B1-D4347FFC0DBC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4C1C7768-9738-01F2-040D-FD837FE0A1B3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544B4DF1-88C4-EFF6-605B-D10608EE4AB9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3" name="Rectángulo 32">
            <a:extLst>
              <a:ext uri="{FF2B5EF4-FFF2-40B4-BE49-F238E27FC236}">
                <a16:creationId xmlns:a16="http://schemas.microsoft.com/office/drawing/2014/main" id="{CFF4F9E9-AB93-BCEC-34BE-D85F3C10EDB6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rgbClr val="FFFFFF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B070D0E5-FE07-14D5-7793-E3032D8A43FA}"/>
              </a:ext>
            </a:extLst>
          </p:cNvPr>
          <p:cNvSpPr/>
          <p:nvPr userDrawn="1"/>
        </p:nvSpPr>
        <p:spPr>
          <a:xfrm rot="10800000" flipV="1">
            <a:off x="0" y="-1621"/>
            <a:ext cx="9144000" cy="505120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18" name="Slide Number Placeholder 24">
            <a:extLst>
              <a:ext uri="{FF2B5EF4-FFF2-40B4-BE49-F238E27FC236}">
                <a16:creationId xmlns:a16="http://schemas.microsoft.com/office/drawing/2014/main" id="{DFAC4515-A30A-EDF6-6DA1-801679BA5322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7AD5D7CC-3248-0FB4-F9E6-10F0C9F0364D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5107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rategic Review 01 Business Context International">
    <p:bg>
      <p:bgPr>
        <a:gradFill flip="none" rotWithShape="1">
          <a:gsLst>
            <a:gs pos="0">
              <a:schemeClr val="tx2">
                <a:lumMod val="75000"/>
                <a:lumOff val="25000"/>
              </a:schemeClr>
            </a:gs>
            <a:gs pos="100000">
              <a:schemeClr val="tx2"/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D79F3B00-BE12-953D-0A38-09EF21279BA6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4" name="Rectángulo redondeado 23">
            <a:extLst>
              <a:ext uri="{FF2B5EF4-FFF2-40B4-BE49-F238E27FC236}">
                <a16:creationId xmlns:a16="http://schemas.microsoft.com/office/drawing/2014/main" id="{06374FC1-2F7D-644E-E00C-A25EF4D46512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bg2"/>
              </a:gs>
              <a:gs pos="0">
                <a:schemeClr val="tx2"/>
              </a:gs>
            </a:gsLst>
            <a:lin ang="0" scaled="0"/>
          </a:gra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5" name="Gráfico 3">
            <a:extLst>
              <a:ext uri="{FF2B5EF4-FFF2-40B4-BE49-F238E27FC236}">
                <a16:creationId xmlns:a16="http://schemas.microsoft.com/office/drawing/2014/main" id="{2998748E-01EB-18DE-56C3-7576102BCCCD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rgbClr val="FFFFFF"/>
          </a:solidFill>
        </p:grpSpPr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63B1D255-AAF7-925E-727A-7869DE73D35D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A142608D-3758-4E30-D4DA-11D80FC528D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AEE41704-BD00-8FC0-C657-AF50C651F4B6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257CD2C9-ED3E-EF0F-AC5B-9D8E7BA64918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AFA6BEFD-B364-817A-7DFA-F3BC7ED2E5BB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7" name="Forma libre 36">
              <a:extLst>
                <a:ext uri="{FF2B5EF4-FFF2-40B4-BE49-F238E27FC236}">
                  <a16:creationId xmlns:a16="http://schemas.microsoft.com/office/drawing/2014/main" id="{2B216E36-9F90-882B-75A1-F17959B169C5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8" name="Forma libre 37">
              <a:extLst>
                <a:ext uri="{FF2B5EF4-FFF2-40B4-BE49-F238E27FC236}">
                  <a16:creationId xmlns:a16="http://schemas.microsoft.com/office/drawing/2014/main" id="{FD1EAA4E-B622-740A-FB34-3AC92A223B7E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9" name="Forma libre 38">
              <a:extLst>
                <a:ext uri="{FF2B5EF4-FFF2-40B4-BE49-F238E27FC236}">
                  <a16:creationId xmlns:a16="http://schemas.microsoft.com/office/drawing/2014/main" id="{66133B2E-7F68-ADA3-19B8-E23DF5C0CB69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40" name="Rectángulo 39">
            <a:extLst>
              <a:ext uri="{FF2B5EF4-FFF2-40B4-BE49-F238E27FC236}">
                <a16:creationId xmlns:a16="http://schemas.microsoft.com/office/drawing/2014/main" id="{8FEBC54C-F9C4-67F3-1AB4-B49F3F93AC61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rgbClr val="FFFFFF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43" name="Slide Number Placeholder 24">
            <a:extLst>
              <a:ext uri="{FF2B5EF4-FFF2-40B4-BE49-F238E27FC236}">
                <a16:creationId xmlns:a16="http://schemas.microsoft.com/office/drawing/2014/main" id="{121B2EA0-1265-7923-B787-DFBC18617498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rgbClr val="FFFFFF">
                    <a:alpha val="80000"/>
                  </a:srgb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rgbClr val="FFFFFF">
                  <a:alpha val="80000"/>
                </a:srgb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5EFFA468-794F-88B3-1E41-7716F04EBACA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7233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 Teco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ACE9414D-E89B-A346-98A0-9EDE787CD224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4FF56776-82A0-09DF-F559-370DF2480703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bg1"/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6B23EB18-6A81-E0F4-99D8-C1AC13353E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4" name="Slide Number Placeholder 24">
            <a:extLst>
              <a:ext uri="{FF2B5EF4-FFF2-40B4-BE49-F238E27FC236}">
                <a16:creationId xmlns:a16="http://schemas.microsoft.com/office/drawing/2014/main" id="{6088E895-E59C-8AD4-46E7-49B38D20C329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4077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rategic Review 01 Business Context International">
    <p:bg>
      <p:bgPr>
        <a:gradFill flip="none" rotWithShape="1">
          <a:gsLst>
            <a:gs pos="0">
              <a:schemeClr val="accent4">
                <a:lumMod val="40000"/>
                <a:lumOff val="60000"/>
              </a:schemeClr>
            </a:gs>
            <a:gs pos="100000">
              <a:schemeClr val="bg2">
                <a:lumMod val="5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6510D2E9-8859-183B-82E4-005CA519BBB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5" name="Rectángulo redondeado 4">
            <a:extLst>
              <a:ext uri="{FF2B5EF4-FFF2-40B4-BE49-F238E27FC236}">
                <a16:creationId xmlns:a16="http://schemas.microsoft.com/office/drawing/2014/main" id="{8089C316-87AE-E267-D065-A30F16FBCAE8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bg2"/>
              </a:gs>
              <a:gs pos="0">
                <a:schemeClr val="tx2"/>
              </a:gs>
            </a:gsLst>
            <a:lin ang="0" scaled="0"/>
          </a:gra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8" name="Gráfico 3">
            <a:extLst>
              <a:ext uri="{FF2B5EF4-FFF2-40B4-BE49-F238E27FC236}">
                <a16:creationId xmlns:a16="http://schemas.microsoft.com/office/drawing/2014/main" id="{26013EB8-CD41-D21D-D109-D331C90056C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rgbClr val="FFFFFF"/>
          </a:solidFill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44DF2949-1A28-2317-765E-26AF2860BD59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2" name="Forma libre 11">
              <a:extLst>
                <a:ext uri="{FF2B5EF4-FFF2-40B4-BE49-F238E27FC236}">
                  <a16:creationId xmlns:a16="http://schemas.microsoft.com/office/drawing/2014/main" id="{2FAB7EBA-5847-F207-7DCE-3D0FC9E8EC3E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63773407-15D0-6C3D-8756-3E201524A98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ECB438AC-AEE1-6D83-2E2B-3DFC2BC025C4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9D00F3F0-ACC0-D097-4443-367793A7231F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6886CC02-D418-B7EB-7585-FC92263FBC63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1" name="Forma libre 20">
              <a:extLst>
                <a:ext uri="{FF2B5EF4-FFF2-40B4-BE49-F238E27FC236}">
                  <a16:creationId xmlns:a16="http://schemas.microsoft.com/office/drawing/2014/main" id="{11123247-E94C-C8C7-188E-8374D4DF30C8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4" name="Forma libre 23">
              <a:extLst>
                <a:ext uri="{FF2B5EF4-FFF2-40B4-BE49-F238E27FC236}">
                  <a16:creationId xmlns:a16="http://schemas.microsoft.com/office/drawing/2014/main" id="{A8F075C8-E2E1-F71C-1F21-75DA6C4625BC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5" name="Rectángulo 24">
            <a:extLst>
              <a:ext uri="{FF2B5EF4-FFF2-40B4-BE49-F238E27FC236}">
                <a16:creationId xmlns:a16="http://schemas.microsoft.com/office/drawing/2014/main" id="{4DFEBB17-B89D-E3B6-EEC3-318B8C0E7FDC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rgbClr val="FFFFFF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42" name="Slide Number Placeholder 24">
            <a:extLst>
              <a:ext uri="{FF2B5EF4-FFF2-40B4-BE49-F238E27FC236}">
                <a16:creationId xmlns:a16="http://schemas.microsoft.com/office/drawing/2014/main" id="{21B22082-4E68-4A4C-3D8F-E2193DA2A6AA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rgbClr val="FFFFFF">
                    <a:alpha val="80000"/>
                  </a:srgb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rgbClr val="FFFFFF">
                  <a:alpha val="80000"/>
                </a:srgb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EDF4F44B-B0BE-A1A5-D46C-D771914DE090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8704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tegic Review 03 Strategic Challenges Rais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24">
            <a:extLst>
              <a:ext uri="{FF2B5EF4-FFF2-40B4-BE49-F238E27FC236}">
                <a16:creationId xmlns:a16="http://schemas.microsoft.com/office/drawing/2014/main" id="{2B768B11-C3CB-966D-7180-62B69FF45DB1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9734D3A4-851F-0BEE-91DF-996F7CB2D3EC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B4A7A1D4-E081-04FF-7FFB-59E8A79D9ADF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3" name="Rectángulo redondeado 2">
            <a:extLst>
              <a:ext uri="{FF2B5EF4-FFF2-40B4-BE49-F238E27FC236}">
                <a16:creationId xmlns:a16="http://schemas.microsoft.com/office/drawing/2014/main" id="{696833BD-9BC2-574F-6BA5-8F7FFF746CA5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bg2"/>
              </a:gs>
              <a:gs pos="0">
                <a:schemeClr val="tx2"/>
              </a:gs>
            </a:gsLst>
            <a:lin ang="0" scaled="0"/>
          </a:gra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15" name="Gráfico 3">
            <a:extLst>
              <a:ext uri="{FF2B5EF4-FFF2-40B4-BE49-F238E27FC236}">
                <a16:creationId xmlns:a16="http://schemas.microsoft.com/office/drawing/2014/main" id="{6B358A5D-76EE-6AB1-7FBC-AFEEF624EBFB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rgbClr val="FFFFFF"/>
          </a:solidFill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B463668D-67CB-1FA1-CC78-23AA0AAE55B6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B257B745-B226-41CE-E888-4FE8E91CB94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8" name="Forma libre 17">
              <a:extLst>
                <a:ext uri="{FF2B5EF4-FFF2-40B4-BE49-F238E27FC236}">
                  <a16:creationId xmlns:a16="http://schemas.microsoft.com/office/drawing/2014/main" id="{1614F60D-BFCD-4798-637A-BE9782CA0BE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15F0FE78-EC34-DF79-6EC4-1A431A1FDF84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12DA2588-196D-56DF-28A1-E09EF7AA4C7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4" name="Forma libre 23">
              <a:extLst>
                <a:ext uri="{FF2B5EF4-FFF2-40B4-BE49-F238E27FC236}">
                  <a16:creationId xmlns:a16="http://schemas.microsoft.com/office/drawing/2014/main" id="{0BB439D9-9745-014D-1FF5-14F84761E3A5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5" name="Forma libre 24">
              <a:extLst>
                <a:ext uri="{FF2B5EF4-FFF2-40B4-BE49-F238E27FC236}">
                  <a16:creationId xmlns:a16="http://schemas.microsoft.com/office/drawing/2014/main" id="{3A20636F-610E-5270-C65A-48F00108B23A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6" name="Forma libre 25">
              <a:extLst>
                <a:ext uri="{FF2B5EF4-FFF2-40B4-BE49-F238E27FC236}">
                  <a16:creationId xmlns:a16="http://schemas.microsoft.com/office/drawing/2014/main" id="{B68B1102-3B2A-32FA-18A7-E11FB205EBB8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7" name="Rectángulo 26">
            <a:extLst>
              <a:ext uri="{FF2B5EF4-FFF2-40B4-BE49-F238E27FC236}">
                <a16:creationId xmlns:a16="http://schemas.microsoft.com/office/drawing/2014/main" id="{4548F400-9D21-95A3-7898-DA9DA69D7037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rgbClr val="FFFFFF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47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Outlo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lide Number Placeholder 24">
            <a:extLst>
              <a:ext uri="{FF2B5EF4-FFF2-40B4-BE49-F238E27FC236}">
                <a16:creationId xmlns:a16="http://schemas.microsoft.com/office/drawing/2014/main" id="{CEBACED0-EDFD-F2B6-689F-68CA5B688BFE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3A35DCD2-6281-1F30-35AF-049DB4254429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750B97DF-A0E3-F417-24DB-34B2C98648AF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7" name="Rectángulo redondeado 6">
            <a:extLst>
              <a:ext uri="{FF2B5EF4-FFF2-40B4-BE49-F238E27FC236}">
                <a16:creationId xmlns:a16="http://schemas.microsoft.com/office/drawing/2014/main" id="{904CE151-C259-4D1E-0C48-10708D12F9A0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bg2"/>
              </a:gs>
              <a:gs pos="0">
                <a:schemeClr val="tx2"/>
              </a:gs>
            </a:gsLst>
            <a:lin ang="0" scaled="0"/>
          </a:gra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9" name="Gráfico 3">
            <a:extLst>
              <a:ext uri="{FF2B5EF4-FFF2-40B4-BE49-F238E27FC236}">
                <a16:creationId xmlns:a16="http://schemas.microsoft.com/office/drawing/2014/main" id="{2BBB974E-410C-8CEB-D65E-55A5735B36D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rgbClr val="FFFFFF"/>
          </a:solidFill>
        </p:grpSpPr>
        <p:sp>
          <p:nvSpPr>
            <p:cNvPr id="12" name="Forma libre 11">
              <a:extLst>
                <a:ext uri="{FF2B5EF4-FFF2-40B4-BE49-F238E27FC236}">
                  <a16:creationId xmlns:a16="http://schemas.microsoft.com/office/drawing/2014/main" id="{F8CD211D-DD1D-F37D-04BA-36C7128B8CDD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5A463E7A-E061-6E7E-CE85-AC8A3E76B933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1F6F51DA-D943-AE42-2BF7-8225CF6495D8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67E18C69-71EC-9634-E7FC-E7036BC0F4DD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4410555C-E98F-9FD1-5194-9D58A8ECD36A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94E961E0-3C74-FEDA-A8D9-80AE26A9C04B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8" name="Forma libre 17">
              <a:extLst>
                <a:ext uri="{FF2B5EF4-FFF2-40B4-BE49-F238E27FC236}">
                  <a16:creationId xmlns:a16="http://schemas.microsoft.com/office/drawing/2014/main" id="{4C006AB5-25AC-B10E-2979-2BA7BF048570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1" name="Forma libre 20">
              <a:extLst>
                <a:ext uri="{FF2B5EF4-FFF2-40B4-BE49-F238E27FC236}">
                  <a16:creationId xmlns:a16="http://schemas.microsoft.com/office/drawing/2014/main" id="{BD630BF1-7D3F-79E6-2EA1-1828640A95E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2" name="Rectángulo 21">
            <a:extLst>
              <a:ext uri="{FF2B5EF4-FFF2-40B4-BE49-F238E27FC236}">
                <a16:creationId xmlns:a16="http://schemas.microsoft.com/office/drawing/2014/main" id="{D23BEAFE-6BEB-61F0-6675-69164B9BA303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rgbClr val="FFFFFF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2998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ción 2 -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1673D28E-DED7-4048-8AFE-CCBFA10A009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9082A85A-3897-F5C4-8FF9-E941E29DD0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6DD68935-AAE4-CBBB-9468-A0432B42F112}"/>
              </a:ext>
            </a:extLst>
          </p:cNvPr>
          <p:cNvSpPr/>
          <p:nvPr userDrawn="1"/>
        </p:nvSpPr>
        <p:spPr>
          <a:xfrm>
            <a:off x="7642452" y="377002"/>
            <a:ext cx="4384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Visión y Propósito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B5A07FA7-DB21-FD8B-30AA-A664E404E39F}"/>
              </a:ext>
            </a:extLst>
          </p:cNvPr>
          <p:cNvGrpSpPr/>
          <p:nvPr userDrawn="1"/>
        </p:nvGrpSpPr>
        <p:grpSpPr>
          <a:xfrm>
            <a:off x="7348919" y="354270"/>
            <a:ext cx="199344" cy="199344"/>
            <a:chOff x="9408489" y="423661"/>
            <a:chExt cx="380492" cy="380492"/>
          </a:xfrm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47524EAB-D7AA-E80C-D65A-806FAF8CBDE9}"/>
                </a:ext>
              </a:extLst>
            </p:cNvPr>
            <p:cNvSpPr/>
            <p:nvPr/>
          </p:nvSpPr>
          <p:spPr>
            <a:xfrm>
              <a:off x="9478306" y="502186"/>
              <a:ext cx="251094" cy="2621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3"/>
                  </a:solidFill>
                  <a:latin typeface="Montserrat" pitchFamily="2" charset="77"/>
                  <a:ea typeface="Inter Light BETA" panose="020B0402030000000004" pitchFamily="34" charset="0"/>
                </a:rPr>
                <a:t>2</a:t>
              </a:r>
              <a:endParaRPr lang="es-AR" sz="900" b="1" spc="-8">
                <a:solidFill>
                  <a:schemeClr val="accent3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7" name="Elipse 6">
              <a:extLst>
                <a:ext uri="{FF2B5EF4-FFF2-40B4-BE49-F238E27FC236}">
                  <a16:creationId xmlns:a16="http://schemas.microsoft.com/office/drawing/2014/main" id="{AF68BDFE-9ED2-D59D-3159-D75AAA59EE76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3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ACBF9ADC-3DDC-E247-FB3D-1CD75CC00A98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6 | 2030</a:t>
            </a: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066C9FE7-254E-0F3E-3983-0BEBD2F1348F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21745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cion 1 -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7C87CB60-7D9B-0001-F39E-ACF91712C3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24BC87E6-291A-E4F8-F83B-E44F32F4760F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88768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A2075481-8EBC-7246-BB1A-147D25652B2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357E103D-990D-DD64-85AE-078B50CB8405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bg1"/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590709CC-E4B4-99FB-AE66-08F11E02AC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4" name="Slide Number Placeholder 24">
            <a:extLst>
              <a:ext uri="{FF2B5EF4-FFF2-40B4-BE49-F238E27FC236}">
                <a16:creationId xmlns:a16="http://schemas.microsoft.com/office/drawing/2014/main" id="{796FA212-6ACF-C004-3DE6-2A93D9DCC487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1336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cion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590709CC-E4B4-99FB-AE66-08F11E02AC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66D4AC12-25F2-CEF6-5B80-A490FFC52300}"/>
              </a:ext>
            </a:extLst>
          </p:cNvPr>
          <p:cNvSpPr/>
          <p:nvPr userDrawn="1"/>
        </p:nvSpPr>
        <p:spPr>
          <a:xfrm>
            <a:off x="7541648" y="377002"/>
            <a:ext cx="5927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rgbClr val="FFFFFF"/>
                </a:solidFill>
                <a:latin typeface="Montserrat Light" pitchFamily="2" charset="77"/>
                <a:ea typeface="Inter Light BETA" panose="020B0402030000000004" pitchFamily="34" charset="0"/>
              </a:rPr>
              <a:t>Contexto de Negocio</a:t>
            </a:r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790CB3B9-6213-8A84-A2E9-2BA2AA1550F1}"/>
              </a:ext>
            </a:extLst>
          </p:cNvPr>
          <p:cNvGrpSpPr/>
          <p:nvPr userDrawn="1"/>
        </p:nvGrpSpPr>
        <p:grpSpPr>
          <a:xfrm>
            <a:off x="7248116" y="354270"/>
            <a:ext cx="199344" cy="199344"/>
            <a:chOff x="9408489" y="423661"/>
            <a:chExt cx="380492" cy="380492"/>
          </a:xfrm>
        </p:grpSpPr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A8BCE09C-06AB-007B-113E-049D898B5936}"/>
                </a:ext>
              </a:extLst>
            </p:cNvPr>
            <p:cNvSpPr/>
            <p:nvPr/>
          </p:nvSpPr>
          <p:spPr>
            <a:xfrm>
              <a:off x="9478306" y="502186"/>
              <a:ext cx="251094" cy="2621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rgbClr val="FFFFFF"/>
                  </a:solidFill>
                  <a:latin typeface="Montserrat" pitchFamily="2" charset="77"/>
                  <a:ea typeface="Inter Light BETA" panose="020B0402030000000004" pitchFamily="34" charset="0"/>
                </a:rPr>
                <a:t>1</a:t>
              </a:r>
              <a:endParaRPr lang="es-AR" sz="900" b="1" spc="-8">
                <a:solidFill>
                  <a:srgbClr val="FFFFFF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10" name="Elipse 9">
              <a:extLst>
                <a:ext uri="{FF2B5EF4-FFF2-40B4-BE49-F238E27FC236}">
                  <a16:creationId xmlns:a16="http://schemas.microsoft.com/office/drawing/2014/main" id="{69758461-1A23-5B41-494B-1D13C941C4A5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rgbClr val="FFFFFF">
                  <a:alpha val="75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>
                <a:solidFill>
                  <a:srgbClr val="FFFFFF"/>
                </a:solidFill>
              </a:endParaRPr>
            </a:p>
          </p:txBody>
        </p:sp>
      </p:grpSp>
      <p:sp>
        <p:nvSpPr>
          <p:cNvPr id="11" name="Rectángulo 10">
            <a:extLst>
              <a:ext uri="{FF2B5EF4-FFF2-40B4-BE49-F238E27FC236}">
                <a16:creationId xmlns:a16="http://schemas.microsoft.com/office/drawing/2014/main" id="{03F7B8E1-084E-DF51-C0D6-B0EE6CEC8AD1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rgbClr val="FFFFFF"/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rgbClr val="FFFFFF"/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rgbClr val="FFFFFF"/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FF1B8F19-DF09-A2E1-5DC7-CD31BC12EBB0}"/>
              </a:ext>
            </a:extLst>
          </p:cNvPr>
          <p:cNvSpPr/>
          <p:nvPr userDrawn="1"/>
        </p:nvSpPr>
        <p:spPr>
          <a:xfrm>
            <a:off x="9103500" y="1"/>
            <a:ext cx="40500" cy="168468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5F0137A4-0E39-58F1-92F9-77366C113397}"/>
              </a:ext>
            </a:extLst>
          </p:cNvPr>
          <p:cNvSpPr/>
          <p:nvPr userDrawn="1"/>
        </p:nvSpPr>
        <p:spPr>
          <a:xfrm>
            <a:off x="9103500" y="1728730"/>
            <a:ext cx="40500" cy="1684688"/>
          </a:xfrm>
          <a:prstGeom prst="rect">
            <a:avLst/>
          </a:prstGeom>
          <a:solidFill>
            <a:srgbClr val="FFFFFF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AB96EEDF-1FE0-2263-1311-452C13AD531E}"/>
              </a:ext>
            </a:extLst>
          </p:cNvPr>
          <p:cNvSpPr/>
          <p:nvPr userDrawn="1"/>
        </p:nvSpPr>
        <p:spPr>
          <a:xfrm>
            <a:off x="9103500" y="3458812"/>
            <a:ext cx="40500" cy="1684688"/>
          </a:xfrm>
          <a:prstGeom prst="rect">
            <a:avLst/>
          </a:prstGeom>
          <a:solidFill>
            <a:srgbClr val="FFFFFF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B2F1B5C9-1B46-95A1-4955-07684A77E36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1E4D399E-D0C9-C81D-2FE3-CF2479B65FBD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03681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1 -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7C87CB60-7D9B-0001-F39E-ACF91712C3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B2B91CF0-0400-12D1-64D4-2030464A0B2F}"/>
              </a:ext>
            </a:extLst>
          </p:cNvPr>
          <p:cNvSpPr/>
          <p:nvPr userDrawn="1"/>
        </p:nvSpPr>
        <p:spPr>
          <a:xfrm>
            <a:off x="7541648" y="377002"/>
            <a:ext cx="5927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Contexto de Negocio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8B7AE032-9BDD-E0D3-11CB-509EEDFCA8F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upo 4">
            <a:extLst>
              <a:ext uri="{FF2B5EF4-FFF2-40B4-BE49-F238E27FC236}">
                <a16:creationId xmlns:a16="http://schemas.microsoft.com/office/drawing/2014/main" id="{4B763A1D-4C70-99FF-F36C-50C394AFE7EC}"/>
              </a:ext>
            </a:extLst>
          </p:cNvPr>
          <p:cNvGrpSpPr/>
          <p:nvPr userDrawn="1"/>
        </p:nvGrpSpPr>
        <p:grpSpPr>
          <a:xfrm>
            <a:off x="7248116" y="354270"/>
            <a:ext cx="199344" cy="199344"/>
            <a:chOff x="9408489" y="423661"/>
            <a:chExt cx="380492" cy="380492"/>
          </a:xfrm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DB3AFB48-279B-5A05-1648-F941E3A0A7CA}"/>
                </a:ext>
              </a:extLst>
            </p:cNvPr>
            <p:cNvSpPr/>
            <p:nvPr/>
          </p:nvSpPr>
          <p:spPr>
            <a:xfrm>
              <a:off x="9478306" y="502186"/>
              <a:ext cx="251094" cy="2621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2"/>
                  </a:solidFill>
                  <a:latin typeface="Montserrat" pitchFamily="2" charset="77"/>
                  <a:ea typeface="Inter Light BETA" panose="020B0402030000000004" pitchFamily="34" charset="0"/>
                </a:rPr>
                <a:t>1</a:t>
              </a:r>
              <a:endParaRPr lang="es-AR" sz="900" b="1" spc="-8">
                <a:solidFill>
                  <a:schemeClr val="accent2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7" name="Elipse 6">
              <a:extLst>
                <a:ext uri="{FF2B5EF4-FFF2-40B4-BE49-F238E27FC236}">
                  <a16:creationId xmlns:a16="http://schemas.microsoft.com/office/drawing/2014/main" id="{9238388A-A6BB-C359-671E-1074A8C4CA61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2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689CD099-C071-B820-0403-DCF7B918ADE5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93F12551-4CAB-FB94-5399-BA02260832A7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12" name="Rectángulo 11">
              <a:extLst>
                <a:ext uri="{FF2B5EF4-FFF2-40B4-BE49-F238E27FC236}">
                  <a16:creationId xmlns:a16="http://schemas.microsoft.com/office/drawing/2014/main" id="{B8C15DAC-04C7-E75D-DEAC-A6DF6F688F4E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E0E12BB4-9114-F908-B8C5-4C813686C197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864A1127-7102-1E16-FC53-674B8A4C9FF8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</p:grpSp>
      <p:sp>
        <p:nvSpPr>
          <p:cNvPr id="15" name="Slide Number Placeholder 24">
            <a:extLst>
              <a:ext uri="{FF2B5EF4-FFF2-40B4-BE49-F238E27FC236}">
                <a16:creationId xmlns:a16="http://schemas.microsoft.com/office/drawing/2014/main" id="{4CAAD235-D9BD-4354-012B-C85F44203D1D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90799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1 -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13">
            <a:extLst>
              <a:ext uri="{FF2B5EF4-FFF2-40B4-BE49-F238E27FC236}">
                <a16:creationId xmlns:a16="http://schemas.microsoft.com/office/drawing/2014/main" id="{F8CAD7CA-3B08-B246-BB4C-EF86CBA73333}"/>
              </a:ext>
            </a:extLst>
          </p:cNvPr>
          <p:cNvSpPr/>
          <p:nvPr userDrawn="1"/>
        </p:nvSpPr>
        <p:spPr>
          <a:xfrm>
            <a:off x="7541648" y="377002"/>
            <a:ext cx="5927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Contexto de Negocio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1673D28E-DED7-4048-8AFE-CCBFA10A009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o 15">
            <a:extLst>
              <a:ext uri="{FF2B5EF4-FFF2-40B4-BE49-F238E27FC236}">
                <a16:creationId xmlns:a16="http://schemas.microsoft.com/office/drawing/2014/main" id="{05906523-C985-B942-B83B-49C6E98A4B27}"/>
              </a:ext>
            </a:extLst>
          </p:cNvPr>
          <p:cNvGrpSpPr/>
          <p:nvPr userDrawn="1"/>
        </p:nvGrpSpPr>
        <p:grpSpPr>
          <a:xfrm>
            <a:off x="7248116" y="354270"/>
            <a:ext cx="199344" cy="199344"/>
            <a:chOff x="9408489" y="423661"/>
            <a:chExt cx="380492" cy="380492"/>
          </a:xfrm>
        </p:grpSpPr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D110D5E6-0A51-6E4B-B6E4-B59169F45E9C}"/>
                </a:ext>
              </a:extLst>
            </p:cNvPr>
            <p:cNvSpPr/>
            <p:nvPr/>
          </p:nvSpPr>
          <p:spPr>
            <a:xfrm>
              <a:off x="9478306" y="502186"/>
              <a:ext cx="251094" cy="2621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2"/>
                  </a:solidFill>
                  <a:latin typeface="Montserrat" pitchFamily="2" charset="77"/>
                  <a:ea typeface="Inter Light BETA" panose="020B0402030000000004" pitchFamily="34" charset="0"/>
                </a:rPr>
                <a:t>1</a:t>
              </a:r>
              <a:endParaRPr lang="es-AR" sz="900" b="1" spc="-8">
                <a:solidFill>
                  <a:schemeClr val="accent2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E9C78C9B-9B6A-4C40-A6A8-487106C6A223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2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sp>
        <p:nvSpPr>
          <p:cNvPr id="2" name="Rectángulo 1">
            <a:extLst>
              <a:ext uri="{FF2B5EF4-FFF2-40B4-BE49-F238E27FC236}">
                <a16:creationId xmlns:a16="http://schemas.microsoft.com/office/drawing/2014/main" id="{7D1C7D84-17E2-2F15-C102-19E481D22DBB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grpSp>
        <p:nvGrpSpPr>
          <p:cNvPr id="4" name="Grupo 3">
            <a:extLst>
              <a:ext uri="{FF2B5EF4-FFF2-40B4-BE49-F238E27FC236}">
                <a16:creationId xmlns:a16="http://schemas.microsoft.com/office/drawing/2014/main" id="{6D394407-6438-C3DA-6502-CB85299CF833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DB69B491-F891-6538-8729-47ED9D28E6D0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2E9DD683-D504-B4A5-0FC7-20D919D63751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FED8963C-C1BD-22AE-AE17-338D40E77AAB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CFF0E1B3-82BA-F158-1715-A13061D05700}"/>
              </a:ext>
            </a:extLst>
          </p:cNvPr>
          <p:cNvSpPr/>
          <p:nvPr userDrawn="1"/>
        </p:nvSpPr>
        <p:spPr>
          <a:xfrm>
            <a:off x="40501" y="0"/>
            <a:ext cx="634499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C1C6B8BD-230A-8ED9-7408-7E65F4A876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3" name="Slide Number Placeholder 24">
            <a:extLst>
              <a:ext uri="{FF2B5EF4-FFF2-40B4-BE49-F238E27FC236}">
                <a16:creationId xmlns:a16="http://schemas.microsoft.com/office/drawing/2014/main" id="{D2BB29D4-7369-8593-E1BD-0555CCA9EC87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62728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cion 1 -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7C87CB60-7D9B-0001-F39E-ACF91712C3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15" name="Rectángulo 14">
            <a:extLst>
              <a:ext uri="{FF2B5EF4-FFF2-40B4-BE49-F238E27FC236}">
                <a16:creationId xmlns:a16="http://schemas.microsoft.com/office/drawing/2014/main" id="{7F4F6B2A-554D-B0D5-F832-B3E98D28005A}"/>
              </a:ext>
            </a:extLst>
          </p:cNvPr>
          <p:cNvSpPr/>
          <p:nvPr userDrawn="1"/>
        </p:nvSpPr>
        <p:spPr>
          <a:xfrm>
            <a:off x="7541648" y="377002"/>
            <a:ext cx="5927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Contexto de Negocio</a:t>
            </a:r>
          </a:p>
        </p:txBody>
      </p: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2F792F2A-B316-8D8C-7670-69DDE1E597A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upo 16">
            <a:extLst>
              <a:ext uri="{FF2B5EF4-FFF2-40B4-BE49-F238E27FC236}">
                <a16:creationId xmlns:a16="http://schemas.microsoft.com/office/drawing/2014/main" id="{D2F8C0FC-FB1C-A0E6-55D1-A99C53940A32}"/>
              </a:ext>
            </a:extLst>
          </p:cNvPr>
          <p:cNvGrpSpPr/>
          <p:nvPr userDrawn="1"/>
        </p:nvGrpSpPr>
        <p:grpSpPr>
          <a:xfrm>
            <a:off x="7248116" y="354270"/>
            <a:ext cx="199344" cy="199344"/>
            <a:chOff x="9408489" y="423661"/>
            <a:chExt cx="380492" cy="380492"/>
          </a:xfrm>
        </p:grpSpPr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id="{10F993D9-B3F1-D308-06B8-FDBE2D378D6C}"/>
                </a:ext>
              </a:extLst>
            </p:cNvPr>
            <p:cNvSpPr/>
            <p:nvPr/>
          </p:nvSpPr>
          <p:spPr>
            <a:xfrm>
              <a:off x="9478306" y="502186"/>
              <a:ext cx="251094" cy="2621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2"/>
                  </a:solidFill>
                  <a:latin typeface="Montserrat" pitchFamily="2" charset="77"/>
                  <a:ea typeface="Inter Light BETA" panose="020B0402030000000004" pitchFamily="34" charset="0"/>
                </a:rPr>
                <a:t>1</a:t>
              </a:r>
              <a:endParaRPr lang="es-AR" sz="900" b="1" spc="-8">
                <a:solidFill>
                  <a:schemeClr val="accent2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19" name="Elipse 18">
              <a:extLst>
                <a:ext uri="{FF2B5EF4-FFF2-40B4-BE49-F238E27FC236}">
                  <a16:creationId xmlns:a16="http://schemas.microsoft.com/office/drawing/2014/main" id="{67B66EDC-BC10-654F-B53C-F0A9CAE32E3E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2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AD2EA799-70CD-39BF-1B0D-5E4B3C698C4F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0714F142-545B-56FE-0CAD-EBE3C71F3F4E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id="{28CBB9C7-DC8D-ACC1-0ACD-56C31A17B12B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C980AA3A-DA41-6F7B-193A-4CC3DCAB493A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0E3A6884-3206-04CF-8F92-9BF3D5A79354}"/>
              </a:ext>
            </a:extLst>
          </p:cNvPr>
          <p:cNvSpPr/>
          <p:nvPr userDrawn="1"/>
        </p:nvSpPr>
        <p:spPr>
          <a:xfrm>
            <a:off x="7541647" y="662751"/>
            <a:ext cx="992753" cy="882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b="1" i="0" spc="-8">
                <a:solidFill>
                  <a:schemeClr val="accent5"/>
                </a:solidFill>
                <a:latin typeface="Montserrat SemiBold" pitchFamily="2" charset="77"/>
                <a:ea typeface="Inter Light BETA" panose="020B0402030000000004" pitchFamily="34" charset="0"/>
              </a:rPr>
              <a:t>Internacional</a:t>
            </a: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1B829008-682A-A5BF-B3A3-CACF8A9A3367}"/>
              </a:ext>
            </a:extLst>
          </p:cNvPr>
          <p:cNvSpPr>
            <a:spLocks noChangeAspect="1"/>
          </p:cNvSpPr>
          <p:nvPr userDrawn="1"/>
        </p:nvSpPr>
        <p:spPr>
          <a:xfrm>
            <a:off x="7320788" y="676831"/>
            <a:ext cx="54000" cy="54000"/>
          </a:xfrm>
          <a:prstGeom prst="rect">
            <a:avLst/>
          </a:prstGeom>
          <a:solidFill>
            <a:schemeClr val="accent5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AFB36978-BCE8-89E4-5F4C-E4598874C57B}"/>
              </a:ext>
            </a:extLst>
          </p:cNvPr>
          <p:cNvSpPr/>
          <p:nvPr userDrawn="1"/>
        </p:nvSpPr>
        <p:spPr>
          <a:xfrm>
            <a:off x="9054098" y="0"/>
            <a:ext cx="40500" cy="83610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AR" sz="670"/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AB962387-014B-53AE-5128-6AC01BEC029F}"/>
              </a:ext>
            </a:extLst>
          </p:cNvPr>
          <p:cNvSpPr/>
          <p:nvPr userDrawn="1"/>
        </p:nvSpPr>
        <p:spPr>
          <a:xfrm>
            <a:off x="9054098" y="847227"/>
            <a:ext cx="40500" cy="836109"/>
          </a:xfrm>
          <a:prstGeom prst="rect">
            <a:avLst/>
          </a:prstGeom>
          <a:solidFill>
            <a:srgbClr val="FFFFF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AC28DFA3-2947-C06C-AEAA-8C7899E2F923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sp>
        <p:nvSpPr>
          <p:cNvPr id="4" name="Slide Number Placeholder 24">
            <a:extLst>
              <a:ext uri="{FF2B5EF4-FFF2-40B4-BE49-F238E27FC236}">
                <a16:creationId xmlns:a16="http://schemas.microsoft.com/office/drawing/2014/main" id="{B0B515D7-B73F-3FB0-0800-D2CC453C4807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53688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cion 1 -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13">
            <a:extLst>
              <a:ext uri="{FF2B5EF4-FFF2-40B4-BE49-F238E27FC236}">
                <a16:creationId xmlns:a16="http://schemas.microsoft.com/office/drawing/2014/main" id="{F8CAD7CA-3B08-B246-BB4C-EF86CBA73333}"/>
              </a:ext>
            </a:extLst>
          </p:cNvPr>
          <p:cNvSpPr/>
          <p:nvPr userDrawn="1"/>
        </p:nvSpPr>
        <p:spPr>
          <a:xfrm>
            <a:off x="7541648" y="377002"/>
            <a:ext cx="5927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Contexto de Negocio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1673D28E-DED7-4048-8AFE-CCBFA10A009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o 15">
            <a:extLst>
              <a:ext uri="{FF2B5EF4-FFF2-40B4-BE49-F238E27FC236}">
                <a16:creationId xmlns:a16="http://schemas.microsoft.com/office/drawing/2014/main" id="{05906523-C985-B942-B83B-49C6E98A4B27}"/>
              </a:ext>
            </a:extLst>
          </p:cNvPr>
          <p:cNvGrpSpPr/>
          <p:nvPr userDrawn="1"/>
        </p:nvGrpSpPr>
        <p:grpSpPr>
          <a:xfrm>
            <a:off x="7248116" y="354270"/>
            <a:ext cx="199344" cy="199344"/>
            <a:chOff x="9408489" y="423661"/>
            <a:chExt cx="380492" cy="380492"/>
          </a:xfrm>
        </p:grpSpPr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D110D5E6-0A51-6E4B-B6E4-B59169F45E9C}"/>
                </a:ext>
              </a:extLst>
            </p:cNvPr>
            <p:cNvSpPr/>
            <p:nvPr/>
          </p:nvSpPr>
          <p:spPr>
            <a:xfrm>
              <a:off x="9478306" y="502186"/>
              <a:ext cx="251094" cy="2621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2"/>
                  </a:solidFill>
                  <a:latin typeface="Montserrat" pitchFamily="2" charset="77"/>
                  <a:ea typeface="Inter Light BETA" panose="020B0402030000000004" pitchFamily="34" charset="0"/>
                </a:rPr>
                <a:t>1</a:t>
              </a:r>
              <a:endParaRPr lang="es-AR" sz="900" b="1" spc="-8">
                <a:solidFill>
                  <a:schemeClr val="accent2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E9C78C9B-9B6A-4C40-A6A8-487106C6A223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2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grpSp>
        <p:nvGrpSpPr>
          <p:cNvPr id="4" name="Grupo 3">
            <a:extLst>
              <a:ext uri="{FF2B5EF4-FFF2-40B4-BE49-F238E27FC236}">
                <a16:creationId xmlns:a16="http://schemas.microsoft.com/office/drawing/2014/main" id="{6D394407-6438-C3DA-6502-CB85299CF833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DB69B491-F891-6538-8729-47ED9D28E6D0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2E9DD683-D504-B4A5-0FC7-20D919D63751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FED8963C-C1BD-22AE-AE17-338D40E77AAB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CFF0E1B3-82BA-F158-1715-A13061D05700}"/>
              </a:ext>
            </a:extLst>
          </p:cNvPr>
          <p:cNvSpPr/>
          <p:nvPr userDrawn="1"/>
        </p:nvSpPr>
        <p:spPr>
          <a:xfrm>
            <a:off x="1" y="0"/>
            <a:ext cx="674999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C1C6B8BD-230A-8ED9-7408-7E65F4A876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37" name="Rectángulo 36">
            <a:extLst>
              <a:ext uri="{FF2B5EF4-FFF2-40B4-BE49-F238E27FC236}">
                <a16:creationId xmlns:a16="http://schemas.microsoft.com/office/drawing/2014/main" id="{C5FC9A4F-BC80-1E05-3D69-9FB594DA2F18}"/>
              </a:ext>
            </a:extLst>
          </p:cNvPr>
          <p:cNvSpPr/>
          <p:nvPr userDrawn="1"/>
        </p:nvSpPr>
        <p:spPr>
          <a:xfrm>
            <a:off x="7541647" y="662751"/>
            <a:ext cx="992753" cy="882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b="1" i="0" spc="-8">
                <a:solidFill>
                  <a:schemeClr val="accent5"/>
                </a:solidFill>
                <a:latin typeface="Montserrat SemiBold" pitchFamily="2" charset="77"/>
                <a:ea typeface="Inter Light BETA" panose="020B0402030000000004" pitchFamily="34" charset="0"/>
              </a:rPr>
              <a:t>Internacional</a:t>
            </a: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EBF3EFDE-369E-D9BD-DE60-A0CE6FA3D42B}"/>
              </a:ext>
            </a:extLst>
          </p:cNvPr>
          <p:cNvSpPr>
            <a:spLocks noChangeAspect="1"/>
          </p:cNvSpPr>
          <p:nvPr userDrawn="1"/>
        </p:nvSpPr>
        <p:spPr>
          <a:xfrm>
            <a:off x="7320788" y="676831"/>
            <a:ext cx="54000" cy="54000"/>
          </a:xfrm>
          <a:prstGeom prst="rect">
            <a:avLst/>
          </a:prstGeom>
          <a:solidFill>
            <a:schemeClr val="accent5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28C8D95A-8C7D-94FD-FBC0-1DF4502E0CBB}"/>
              </a:ext>
            </a:extLst>
          </p:cNvPr>
          <p:cNvSpPr/>
          <p:nvPr userDrawn="1"/>
        </p:nvSpPr>
        <p:spPr>
          <a:xfrm>
            <a:off x="9054098" y="0"/>
            <a:ext cx="40500" cy="83610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AR" sz="670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0116F30A-D804-F74F-DC40-D8023595CEE3}"/>
              </a:ext>
            </a:extLst>
          </p:cNvPr>
          <p:cNvSpPr/>
          <p:nvPr userDrawn="1"/>
        </p:nvSpPr>
        <p:spPr>
          <a:xfrm>
            <a:off x="9054098" y="847227"/>
            <a:ext cx="40500" cy="836109"/>
          </a:xfrm>
          <a:prstGeom prst="rect">
            <a:avLst/>
          </a:prstGeom>
          <a:solidFill>
            <a:srgbClr val="FFFFF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14BE10D5-5CB1-67EB-5DFE-8B1C41E75ECD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4F6F4C0E-C753-0196-8EC7-99AC5465ECD2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865EFA56-BED5-B030-6EE1-DD4D8FEE9B63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6402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cion 1 -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13">
            <a:extLst>
              <a:ext uri="{FF2B5EF4-FFF2-40B4-BE49-F238E27FC236}">
                <a16:creationId xmlns:a16="http://schemas.microsoft.com/office/drawing/2014/main" id="{F8CAD7CA-3B08-B246-BB4C-EF86CBA73333}"/>
              </a:ext>
            </a:extLst>
          </p:cNvPr>
          <p:cNvSpPr/>
          <p:nvPr userDrawn="1"/>
        </p:nvSpPr>
        <p:spPr>
          <a:xfrm>
            <a:off x="7541648" y="377002"/>
            <a:ext cx="5927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Contexto de Negocio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1673D28E-DED7-4048-8AFE-CCBFA10A009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o 15">
            <a:extLst>
              <a:ext uri="{FF2B5EF4-FFF2-40B4-BE49-F238E27FC236}">
                <a16:creationId xmlns:a16="http://schemas.microsoft.com/office/drawing/2014/main" id="{05906523-C985-B942-B83B-49C6E98A4B27}"/>
              </a:ext>
            </a:extLst>
          </p:cNvPr>
          <p:cNvGrpSpPr/>
          <p:nvPr userDrawn="1"/>
        </p:nvGrpSpPr>
        <p:grpSpPr>
          <a:xfrm>
            <a:off x="7248116" y="354270"/>
            <a:ext cx="199344" cy="199344"/>
            <a:chOff x="9408489" y="423661"/>
            <a:chExt cx="380492" cy="380492"/>
          </a:xfrm>
        </p:grpSpPr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D110D5E6-0A51-6E4B-B6E4-B59169F45E9C}"/>
                </a:ext>
              </a:extLst>
            </p:cNvPr>
            <p:cNvSpPr/>
            <p:nvPr/>
          </p:nvSpPr>
          <p:spPr>
            <a:xfrm>
              <a:off x="9478306" y="502186"/>
              <a:ext cx="251094" cy="2621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2"/>
                  </a:solidFill>
                  <a:latin typeface="Montserrat" pitchFamily="2" charset="77"/>
                  <a:ea typeface="Inter Light BETA" panose="020B0402030000000004" pitchFamily="34" charset="0"/>
                </a:rPr>
                <a:t>1</a:t>
              </a:r>
              <a:endParaRPr lang="es-AR" sz="900" b="1" spc="-8">
                <a:solidFill>
                  <a:schemeClr val="accent2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E9C78C9B-9B6A-4C40-A6A8-487106C6A223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2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grpSp>
        <p:nvGrpSpPr>
          <p:cNvPr id="4" name="Grupo 3">
            <a:extLst>
              <a:ext uri="{FF2B5EF4-FFF2-40B4-BE49-F238E27FC236}">
                <a16:creationId xmlns:a16="http://schemas.microsoft.com/office/drawing/2014/main" id="{6D394407-6438-C3DA-6502-CB85299CF833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DB69B491-F891-6538-8729-47ED9D28E6D0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2E9DD683-D504-B4A5-0FC7-20D919D63751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FED8963C-C1BD-22AE-AE17-338D40E77AAB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CFF0E1B3-82BA-F158-1715-A13061D05700}"/>
              </a:ext>
            </a:extLst>
          </p:cNvPr>
          <p:cNvSpPr/>
          <p:nvPr userDrawn="1"/>
        </p:nvSpPr>
        <p:spPr>
          <a:xfrm>
            <a:off x="1" y="0"/>
            <a:ext cx="674999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C1C6B8BD-230A-8ED9-7408-7E65F4A876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37" name="Rectángulo 36">
            <a:extLst>
              <a:ext uri="{FF2B5EF4-FFF2-40B4-BE49-F238E27FC236}">
                <a16:creationId xmlns:a16="http://schemas.microsoft.com/office/drawing/2014/main" id="{C5FC9A4F-BC80-1E05-3D69-9FB594DA2F18}"/>
              </a:ext>
            </a:extLst>
          </p:cNvPr>
          <p:cNvSpPr/>
          <p:nvPr userDrawn="1"/>
        </p:nvSpPr>
        <p:spPr>
          <a:xfrm>
            <a:off x="7541647" y="662751"/>
            <a:ext cx="992753" cy="882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b="1" i="0" spc="-8">
                <a:solidFill>
                  <a:schemeClr val="accent5"/>
                </a:solidFill>
                <a:latin typeface="Montserrat SemiBold" pitchFamily="2" charset="77"/>
                <a:ea typeface="Inter Light BETA" panose="020B0402030000000004" pitchFamily="34" charset="0"/>
              </a:rPr>
              <a:t>Internacional</a:t>
            </a: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EBF3EFDE-369E-D9BD-DE60-A0CE6FA3D42B}"/>
              </a:ext>
            </a:extLst>
          </p:cNvPr>
          <p:cNvSpPr>
            <a:spLocks noChangeAspect="1"/>
          </p:cNvSpPr>
          <p:nvPr userDrawn="1"/>
        </p:nvSpPr>
        <p:spPr>
          <a:xfrm>
            <a:off x="7320788" y="676831"/>
            <a:ext cx="54000" cy="54000"/>
          </a:xfrm>
          <a:prstGeom prst="rect">
            <a:avLst/>
          </a:prstGeom>
          <a:solidFill>
            <a:schemeClr val="accent5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28C8D95A-8C7D-94FD-FBC0-1DF4502E0CBB}"/>
              </a:ext>
            </a:extLst>
          </p:cNvPr>
          <p:cNvSpPr/>
          <p:nvPr userDrawn="1"/>
        </p:nvSpPr>
        <p:spPr>
          <a:xfrm>
            <a:off x="9054098" y="0"/>
            <a:ext cx="40500" cy="83610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AR" sz="670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0116F30A-D804-F74F-DC40-D8023595CEE3}"/>
              </a:ext>
            </a:extLst>
          </p:cNvPr>
          <p:cNvSpPr/>
          <p:nvPr userDrawn="1"/>
        </p:nvSpPr>
        <p:spPr>
          <a:xfrm>
            <a:off x="9054098" y="847227"/>
            <a:ext cx="40500" cy="836109"/>
          </a:xfrm>
          <a:prstGeom prst="rect">
            <a:avLst/>
          </a:prstGeom>
          <a:solidFill>
            <a:srgbClr val="FFFFF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14BE10D5-5CB1-67EB-5DFE-8B1C41E75ECD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4AFF6175-9753-0AA1-F797-AA2F876B56E8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DAADF5A9-DCF8-1FA6-92B6-57B711C46BB5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57808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Tec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02F4A353-53C5-0745-94C0-C172C545CADE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sp>
        <p:nvSpPr>
          <p:cNvPr id="8" name="Slide Number Placeholder 24">
            <a:extLst>
              <a:ext uri="{FF2B5EF4-FFF2-40B4-BE49-F238E27FC236}">
                <a16:creationId xmlns:a16="http://schemas.microsoft.com/office/drawing/2014/main" id="{AEDD53C5-86DA-4B44-BD7F-682A0C165725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4468500"/>
            <a:ext cx="0" cy="6750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9039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cion 1 -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7C87CB60-7D9B-0001-F39E-ACF91712C3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DC1D7673-11A2-1ED8-B36D-52FDF4BA880F}"/>
              </a:ext>
            </a:extLst>
          </p:cNvPr>
          <p:cNvSpPr/>
          <p:nvPr userDrawn="1"/>
        </p:nvSpPr>
        <p:spPr>
          <a:xfrm>
            <a:off x="7541648" y="377002"/>
            <a:ext cx="5927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Contexto de Negocio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9551854C-AA12-0A03-C1E0-FAF77C67BE1D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upo 4">
            <a:extLst>
              <a:ext uri="{FF2B5EF4-FFF2-40B4-BE49-F238E27FC236}">
                <a16:creationId xmlns:a16="http://schemas.microsoft.com/office/drawing/2014/main" id="{CB557876-0540-C50F-2CFA-B69D56D3CFFB}"/>
              </a:ext>
            </a:extLst>
          </p:cNvPr>
          <p:cNvGrpSpPr/>
          <p:nvPr userDrawn="1"/>
        </p:nvGrpSpPr>
        <p:grpSpPr>
          <a:xfrm>
            <a:off x="7248116" y="354270"/>
            <a:ext cx="199344" cy="199344"/>
            <a:chOff x="9408489" y="423661"/>
            <a:chExt cx="380492" cy="380492"/>
          </a:xfrm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DD28C8C0-DC32-4F66-50C9-780CD20BDB33}"/>
                </a:ext>
              </a:extLst>
            </p:cNvPr>
            <p:cNvSpPr/>
            <p:nvPr/>
          </p:nvSpPr>
          <p:spPr>
            <a:xfrm>
              <a:off x="9478306" y="502186"/>
              <a:ext cx="251094" cy="2621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2"/>
                  </a:solidFill>
                  <a:latin typeface="Montserrat" pitchFamily="2" charset="77"/>
                  <a:ea typeface="Inter Light BETA" panose="020B0402030000000004" pitchFamily="34" charset="0"/>
                </a:rPr>
                <a:t>1</a:t>
              </a:r>
              <a:endParaRPr lang="es-AR" sz="900" b="1" spc="-8">
                <a:solidFill>
                  <a:schemeClr val="accent2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7" name="Elipse 6">
              <a:extLst>
                <a:ext uri="{FF2B5EF4-FFF2-40B4-BE49-F238E27FC236}">
                  <a16:creationId xmlns:a16="http://schemas.microsoft.com/office/drawing/2014/main" id="{9C45E6CE-B917-6D83-460D-ED40A7B9242F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2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grpSp>
        <p:nvGrpSpPr>
          <p:cNvPr id="11" name="Grupo 10">
            <a:extLst>
              <a:ext uri="{FF2B5EF4-FFF2-40B4-BE49-F238E27FC236}">
                <a16:creationId xmlns:a16="http://schemas.microsoft.com/office/drawing/2014/main" id="{485B36B4-12F6-17B1-7757-35355F0DC86E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12" name="Rectángulo 11">
              <a:extLst>
                <a:ext uri="{FF2B5EF4-FFF2-40B4-BE49-F238E27FC236}">
                  <a16:creationId xmlns:a16="http://schemas.microsoft.com/office/drawing/2014/main" id="{FDD4D396-5B21-E225-EA24-F29DD2950C8E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30D60BF9-B293-3CA7-67E5-EEE22B1B4D6D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28754224-4122-E6D8-B1E5-76499E4B240F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</p:grpSp>
      <p:sp>
        <p:nvSpPr>
          <p:cNvPr id="30" name="Rectángulo 29">
            <a:extLst>
              <a:ext uri="{FF2B5EF4-FFF2-40B4-BE49-F238E27FC236}">
                <a16:creationId xmlns:a16="http://schemas.microsoft.com/office/drawing/2014/main" id="{60A75E18-520C-82CF-9BE5-32AA74F363E3}"/>
              </a:ext>
            </a:extLst>
          </p:cNvPr>
          <p:cNvSpPr/>
          <p:nvPr userDrawn="1"/>
        </p:nvSpPr>
        <p:spPr>
          <a:xfrm>
            <a:off x="7541647" y="662751"/>
            <a:ext cx="992753" cy="882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b="1" i="0" spc="-8">
                <a:solidFill>
                  <a:srgbClr val="FF945A"/>
                </a:solidFill>
                <a:latin typeface="Montserrat SemiBold" pitchFamily="2" charset="77"/>
                <a:ea typeface="Inter Light BETA" panose="020B0402030000000004" pitchFamily="34" charset="0"/>
              </a:rPr>
              <a:t>Local</a:t>
            </a: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83600045-84D6-A748-8770-BB84969E2385}"/>
              </a:ext>
            </a:extLst>
          </p:cNvPr>
          <p:cNvSpPr>
            <a:spLocks noChangeAspect="1"/>
          </p:cNvSpPr>
          <p:nvPr userDrawn="1"/>
        </p:nvSpPr>
        <p:spPr>
          <a:xfrm>
            <a:off x="7320788" y="676831"/>
            <a:ext cx="54000" cy="54000"/>
          </a:xfrm>
          <a:prstGeom prst="rect">
            <a:avLst/>
          </a:prstGeom>
          <a:solidFill>
            <a:srgbClr val="FF945A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7599B4C7-7E7C-175F-64E2-C5F4B8F89EF7}"/>
              </a:ext>
            </a:extLst>
          </p:cNvPr>
          <p:cNvSpPr/>
          <p:nvPr userDrawn="1"/>
        </p:nvSpPr>
        <p:spPr>
          <a:xfrm>
            <a:off x="9054098" y="0"/>
            <a:ext cx="40500" cy="836108"/>
          </a:xfrm>
          <a:prstGeom prst="rect">
            <a:avLst/>
          </a:prstGeom>
          <a:solidFill>
            <a:srgbClr val="FFFFF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AR" sz="670"/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7B255778-2B44-A9E6-91D8-B544FABA3066}"/>
              </a:ext>
            </a:extLst>
          </p:cNvPr>
          <p:cNvSpPr/>
          <p:nvPr userDrawn="1"/>
        </p:nvSpPr>
        <p:spPr>
          <a:xfrm>
            <a:off x="9054098" y="848579"/>
            <a:ext cx="40500" cy="836109"/>
          </a:xfrm>
          <a:prstGeom prst="rect">
            <a:avLst/>
          </a:prstGeom>
          <a:solidFill>
            <a:srgbClr val="FF94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AR" sz="670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F22026CD-F3F2-EEDE-1C7F-FD2F0D140C73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sp>
        <p:nvSpPr>
          <p:cNvPr id="10" name="Slide Number Placeholder 24">
            <a:extLst>
              <a:ext uri="{FF2B5EF4-FFF2-40B4-BE49-F238E27FC236}">
                <a16:creationId xmlns:a16="http://schemas.microsoft.com/office/drawing/2014/main" id="{2036077A-BC51-6834-524B-01645F74BC91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65451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cion 1 -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13">
            <a:extLst>
              <a:ext uri="{FF2B5EF4-FFF2-40B4-BE49-F238E27FC236}">
                <a16:creationId xmlns:a16="http://schemas.microsoft.com/office/drawing/2014/main" id="{F8CAD7CA-3B08-B246-BB4C-EF86CBA73333}"/>
              </a:ext>
            </a:extLst>
          </p:cNvPr>
          <p:cNvSpPr/>
          <p:nvPr userDrawn="1"/>
        </p:nvSpPr>
        <p:spPr>
          <a:xfrm>
            <a:off x="7541648" y="377002"/>
            <a:ext cx="5927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Contexto de Negocio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1673D28E-DED7-4048-8AFE-CCBFA10A009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o 15">
            <a:extLst>
              <a:ext uri="{FF2B5EF4-FFF2-40B4-BE49-F238E27FC236}">
                <a16:creationId xmlns:a16="http://schemas.microsoft.com/office/drawing/2014/main" id="{05906523-C985-B942-B83B-49C6E98A4B27}"/>
              </a:ext>
            </a:extLst>
          </p:cNvPr>
          <p:cNvGrpSpPr/>
          <p:nvPr userDrawn="1"/>
        </p:nvGrpSpPr>
        <p:grpSpPr>
          <a:xfrm>
            <a:off x="7248116" y="354270"/>
            <a:ext cx="199344" cy="199344"/>
            <a:chOff x="9408489" y="423661"/>
            <a:chExt cx="380492" cy="380492"/>
          </a:xfrm>
        </p:grpSpPr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D110D5E6-0A51-6E4B-B6E4-B59169F45E9C}"/>
                </a:ext>
              </a:extLst>
            </p:cNvPr>
            <p:cNvSpPr/>
            <p:nvPr/>
          </p:nvSpPr>
          <p:spPr>
            <a:xfrm>
              <a:off x="9478306" y="502186"/>
              <a:ext cx="251094" cy="2621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2"/>
                  </a:solidFill>
                  <a:latin typeface="Montserrat" pitchFamily="2" charset="77"/>
                  <a:ea typeface="Inter Light BETA" panose="020B0402030000000004" pitchFamily="34" charset="0"/>
                </a:rPr>
                <a:t>1</a:t>
              </a:r>
              <a:endParaRPr lang="es-AR" sz="900" b="1" spc="-8">
                <a:solidFill>
                  <a:schemeClr val="accent2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E9C78C9B-9B6A-4C40-A6A8-487106C6A223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2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grpSp>
        <p:nvGrpSpPr>
          <p:cNvPr id="4" name="Grupo 3">
            <a:extLst>
              <a:ext uri="{FF2B5EF4-FFF2-40B4-BE49-F238E27FC236}">
                <a16:creationId xmlns:a16="http://schemas.microsoft.com/office/drawing/2014/main" id="{6D394407-6438-C3DA-6502-CB85299CF833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DB69B491-F891-6538-8729-47ED9D28E6D0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2E9DD683-D504-B4A5-0FC7-20D919D63751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FED8963C-C1BD-22AE-AE17-338D40E77AAB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CFF0E1B3-82BA-F158-1715-A13061D05700}"/>
              </a:ext>
            </a:extLst>
          </p:cNvPr>
          <p:cNvSpPr/>
          <p:nvPr userDrawn="1"/>
        </p:nvSpPr>
        <p:spPr>
          <a:xfrm>
            <a:off x="40501" y="0"/>
            <a:ext cx="634499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C1C6B8BD-230A-8ED9-7408-7E65F4A876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33" name="Rectángulo 32">
            <a:extLst>
              <a:ext uri="{FF2B5EF4-FFF2-40B4-BE49-F238E27FC236}">
                <a16:creationId xmlns:a16="http://schemas.microsoft.com/office/drawing/2014/main" id="{4DD77444-BEAF-D69D-7E0E-E234D1165E02}"/>
              </a:ext>
            </a:extLst>
          </p:cNvPr>
          <p:cNvSpPr/>
          <p:nvPr userDrawn="1"/>
        </p:nvSpPr>
        <p:spPr>
          <a:xfrm>
            <a:off x="7541647" y="662751"/>
            <a:ext cx="992753" cy="882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b="1" i="0" spc="-8">
                <a:solidFill>
                  <a:srgbClr val="FF945A"/>
                </a:solidFill>
                <a:latin typeface="Montserrat SemiBold" pitchFamily="2" charset="77"/>
                <a:ea typeface="Inter Light BETA" panose="020B0402030000000004" pitchFamily="34" charset="0"/>
              </a:rPr>
              <a:t>Local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36B517CC-10BD-E01E-D954-380BBAEABE68}"/>
              </a:ext>
            </a:extLst>
          </p:cNvPr>
          <p:cNvSpPr>
            <a:spLocks noChangeAspect="1"/>
          </p:cNvSpPr>
          <p:nvPr userDrawn="1"/>
        </p:nvSpPr>
        <p:spPr>
          <a:xfrm>
            <a:off x="7320788" y="676831"/>
            <a:ext cx="54000" cy="54000"/>
          </a:xfrm>
          <a:prstGeom prst="rect">
            <a:avLst/>
          </a:prstGeom>
          <a:solidFill>
            <a:srgbClr val="FF945A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0D7D6BA9-E8FC-0F3F-6A24-01381A4145AD}"/>
              </a:ext>
            </a:extLst>
          </p:cNvPr>
          <p:cNvSpPr/>
          <p:nvPr userDrawn="1"/>
        </p:nvSpPr>
        <p:spPr>
          <a:xfrm>
            <a:off x="9054098" y="0"/>
            <a:ext cx="40500" cy="836108"/>
          </a:xfrm>
          <a:prstGeom prst="rect">
            <a:avLst/>
          </a:prstGeom>
          <a:solidFill>
            <a:srgbClr val="FFFFF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AR" sz="670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29840294-D68E-1B64-1F5A-1BF35DCD1149}"/>
              </a:ext>
            </a:extLst>
          </p:cNvPr>
          <p:cNvSpPr/>
          <p:nvPr userDrawn="1"/>
        </p:nvSpPr>
        <p:spPr>
          <a:xfrm>
            <a:off x="9054098" y="848579"/>
            <a:ext cx="40500" cy="836109"/>
          </a:xfrm>
          <a:prstGeom prst="rect">
            <a:avLst/>
          </a:prstGeom>
          <a:solidFill>
            <a:srgbClr val="FF94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AR" sz="67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AD40491B-FB1C-A133-25B2-F94FDDE1F1C0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B56B4710-B745-9E80-5AC9-0CD3722587FC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3642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A2075481-8EBC-7246-BB1A-147D25652B2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357E103D-990D-DD64-85AE-078B50CB8405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bg1"/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590709CC-E4B4-99FB-AE66-08F11E02AC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4" name="Slide Number Placeholder 24">
            <a:extLst>
              <a:ext uri="{FF2B5EF4-FFF2-40B4-BE49-F238E27FC236}">
                <a16:creationId xmlns:a16="http://schemas.microsoft.com/office/drawing/2014/main" id="{3F282F7D-DA0A-B349-4A35-13654DF12F55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57989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ón 2 -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D09B8736-9469-B1BF-A58A-D54C01877D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C06F2BCB-D568-C9DC-0BDD-EDC017104B4A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06875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ón 2 -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1673D28E-DED7-4048-8AFE-CCBFA10A009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9082A85A-3897-F5C4-8FF9-E941E29DD0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6DD68935-AAE4-CBBB-9468-A0432B42F112}"/>
              </a:ext>
            </a:extLst>
          </p:cNvPr>
          <p:cNvSpPr/>
          <p:nvPr userDrawn="1"/>
        </p:nvSpPr>
        <p:spPr>
          <a:xfrm>
            <a:off x="7642452" y="377002"/>
            <a:ext cx="4384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Visión y Propósito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B5A07FA7-DB21-FD8B-30AA-A664E404E39F}"/>
              </a:ext>
            </a:extLst>
          </p:cNvPr>
          <p:cNvGrpSpPr/>
          <p:nvPr userDrawn="1"/>
        </p:nvGrpSpPr>
        <p:grpSpPr>
          <a:xfrm>
            <a:off x="7348919" y="354270"/>
            <a:ext cx="199344" cy="199344"/>
            <a:chOff x="9408489" y="423661"/>
            <a:chExt cx="380492" cy="380492"/>
          </a:xfrm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47524EAB-D7AA-E80C-D65A-806FAF8CBDE9}"/>
                </a:ext>
              </a:extLst>
            </p:cNvPr>
            <p:cNvSpPr/>
            <p:nvPr/>
          </p:nvSpPr>
          <p:spPr>
            <a:xfrm>
              <a:off x="9478306" y="502186"/>
              <a:ext cx="251094" cy="2621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3"/>
                  </a:solidFill>
                  <a:latin typeface="Montserrat" pitchFamily="2" charset="77"/>
                  <a:ea typeface="Inter Light BETA" panose="020B0402030000000004" pitchFamily="34" charset="0"/>
                </a:rPr>
                <a:t>2</a:t>
              </a:r>
              <a:endParaRPr lang="es-AR" sz="900" b="1" spc="-8">
                <a:solidFill>
                  <a:schemeClr val="accent3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7" name="Elipse 6">
              <a:extLst>
                <a:ext uri="{FF2B5EF4-FFF2-40B4-BE49-F238E27FC236}">
                  <a16:creationId xmlns:a16="http://schemas.microsoft.com/office/drawing/2014/main" id="{AF68BDFE-9ED2-D59D-3159-D75AAA59EE76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3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ACBF9ADC-3DDC-E247-FB3D-1CD75CC00A98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066C9FE7-254E-0F3E-3983-0BEBD2F1348F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88818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2-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4">
            <a:extLst>
              <a:ext uri="{FF2B5EF4-FFF2-40B4-BE49-F238E27FC236}">
                <a16:creationId xmlns:a16="http://schemas.microsoft.com/office/drawing/2014/main" id="{AEDD53C5-86DA-4B44-BD7F-682A0C165725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727276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727276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1673D28E-DED7-4048-8AFE-CCBFA10A009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DA859D1F-D6FE-0C49-B6BA-539AC57A107A}"/>
              </a:ext>
            </a:extLst>
          </p:cNvPr>
          <p:cNvSpPr/>
          <p:nvPr userDrawn="1"/>
        </p:nvSpPr>
        <p:spPr>
          <a:xfrm>
            <a:off x="7642452" y="377002"/>
            <a:ext cx="4384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Visión y Propósito</a:t>
            </a:r>
          </a:p>
        </p:txBody>
      </p:sp>
      <p:grpSp>
        <p:nvGrpSpPr>
          <p:cNvPr id="31" name="Grupo 30">
            <a:extLst>
              <a:ext uri="{FF2B5EF4-FFF2-40B4-BE49-F238E27FC236}">
                <a16:creationId xmlns:a16="http://schemas.microsoft.com/office/drawing/2014/main" id="{665C0BC2-30A3-B74C-A6A5-B5083652E4A3}"/>
              </a:ext>
            </a:extLst>
          </p:cNvPr>
          <p:cNvGrpSpPr/>
          <p:nvPr userDrawn="1"/>
        </p:nvGrpSpPr>
        <p:grpSpPr>
          <a:xfrm>
            <a:off x="7348919" y="354270"/>
            <a:ext cx="199344" cy="199344"/>
            <a:chOff x="9408489" y="423661"/>
            <a:chExt cx="380492" cy="380492"/>
          </a:xfrm>
        </p:grpSpPr>
        <p:sp>
          <p:nvSpPr>
            <p:cNvPr id="32" name="Rectángulo 31">
              <a:extLst>
                <a:ext uri="{FF2B5EF4-FFF2-40B4-BE49-F238E27FC236}">
                  <a16:creationId xmlns:a16="http://schemas.microsoft.com/office/drawing/2014/main" id="{26CB3E22-8B25-9045-BB65-686F50D8626B}"/>
                </a:ext>
              </a:extLst>
            </p:cNvPr>
            <p:cNvSpPr/>
            <p:nvPr/>
          </p:nvSpPr>
          <p:spPr>
            <a:xfrm>
              <a:off x="9478306" y="502186"/>
              <a:ext cx="251094" cy="2621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3"/>
                  </a:solidFill>
                  <a:latin typeface="Montserrat" pitchFamily="2" charset="77"/>
                  <a:ea typeface="Inter Light BETA" panose="020B0402030000000004" pitchFamily="34" charset="0"/>
                </a:rPr>
                <a:t>2</a:t>
              </a:r>
              <a:endParaRPr lang="es-AR" sz="900" b="1" spc="-8">
                <a:solidFill>
                  <a:schemeClr val="accent3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33" name="Elipse 32">
              <a:extLst>
                <a:ext uri="{FF2B5EF4-FFF2-40B4-BE49-F238E27FC236}">
                  <a16:creationId xmlns:a16="http://schemas.microsoft.com/office/drawing/2014/main" id="{DEBA5776-7594-8944-90ED-68D19B785605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3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pic>
        <p:nvPicPr>
          <p:cNvPr id="3" name="Gráfico 2">
            <a:extLst>
              <a:ext uri="{FF2B5EF4-FFF2-40B4-BE49-F238E27FC236}">
                <a16:creationId xmlns:a16="http://schemas.microsoft.com/office/drawing/2014/main" id="{AA4FEF1D-8068-977A-3E43-1BE690739D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grpSp>
        <p:nvGrpSpPr>
          <p:cNvPr id="4" name="Grupo 3">
            <a:extLst>
              <a:ext uri="{FF2B5EF4-FFF2-40B4-BE49-F238E27FC236}">
                <a16:creationId xmlns:a16="http://schemas.microsoft.com/office/drawing/2014/main" id="{78BA94F7-B57B-A22B-4267-D552851AAEFA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A628A33F-73EE-A50F-D2E8-8EB03F243834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AR" sz="670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5F75AB8F-9883-AC6A-8FFC-01737A35FF74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21057AD4-F656-AB1B-FD7D-EE32B41D9081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286BC8D5-179E-40A7-65F4-57980BA0EFA0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</p:spTree>
    <p:extLst>
      <p:ext uri="{BB962C8B-B14F-4D97-AF65-F5344CB8AC3E}">
        <p14:creationId xmlns:p14="http://schemas.microsoft.com/office/powerpoint/2010/main" val="29991206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ción 2 -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>
            <a:extLst>
              <a:ext uri="{FF2B5EF4-FFF2-40B4-BE49-F238E27FC236}">
                <a16:creationId xmlns:a16="http://schemas.microsoft.com/office/drawing/2014/main" id="{56556026-970A-3244-807E-071EEDB3F88B}"/>
              </a:ext>
            </a:extLst>
          </p:cNvPr>
          <p:cNvSpPr/>
          <p:nvPr userDrawn="1"/>
        </p:nvSpPr>
        <p:spPr>
          <a:xfrm>
            <a:off x="40501" y="0"/>
            <a:ext cx="634499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49C1E516-8B19-73B5-E497-D2983CE72F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12" name="Slide Number Placeholder 24">
            <a:extLst>
              <a:ext uri="{FF2B5EF4-FFF2-40B4-BE49-F238E27FC236}">
                <a16:creationId xmlns:a16="http://schemas.microsoft.com/office/drawing/2014/main" id="{648BA7DE-D139-7B97-E693-8D4DC38A1C3A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90E08C4-6212-33D6-7B7B-2D64EC8BDE5B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:a16="http://schemas.microsoft.com/office/drawing/2014/main" id="{65643504-EFF1-9F3C-CFF4-7DF5656C66BD}"/>
              </a:ext>
            </a:extLst>
          </p:cNvPr>
          <p:cNvSpPr/>
          <p:nvPr userDrawn="1"/>
        </p:nvSpPr>
        <p:spPr>
          <a:xfrm>
            <a:off x="7642452" y="377002"/>
            <a:ext cx="4384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Visión y Propósito</a:t>
            </a: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D9EDB6A2-567E-3286-8D3E-FAB17CBB7DAE}"/>
              </a:ext>
            </a:extLst>
          </p:cNvPr>
          <p:cNvGrpSpPr/>
          <p:nvPr userDrawn="1"/>
        </p:nvGrpSpPr>
        <p:grpSpPr>
          <a:xfrm>
            <a:off x="7348919" y="354270"/>
            <a:ext cx="199344" cy="199344"/>
            <a:chOff x="9408489" y="423661"/>
            <a:chExt cx="380492" cy="380492"/>
          </a:xfrm>
        </p:grpSpPr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AC32203A-283F-1CD8-E99F-8863DE00C1AE}"/>
                </a:ext>
              </a:extLst>
            </p:cNvPr>
            <p:cNvSpPr/>
            <p:nvPr/>
          </p:nvSpPr>
          <p:spPr>
            <a:xfrm>
              <a:off x="9478306" y="502186"/>
              <a:ext cx="251094" cy="2621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3"/>
                  </a:solidFill>
                  <a:latin typeface="Montserrat" pitchFamily="2" charset="77"/>
                  <a:ea typeface="Inter Light BETA" panose="020B0402030000000004" pitchFamily="34" charset="0"/>
                </a:rPr>
                <a:t>2</a:t>
              </a:r>
              <a:endParaRPr lang="es-AR" sz="900" b="1" spc="-8">
                <a:solidFill>
                  <a:schemeClr val="accent3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A13584E6-56B0-489A-C912-97E0867EC697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3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grpSp>
        <p:nvGrpSpPr>
          <p:cNvPr id="20" name="Grupo 19">
            <a:extLst>
              <a:ext uri="{FF2B5EF4-FFF2-40B4-BE49-F238E27FC236}">
                <a16:creationId xmlns:a16="http://schemas.microsoft.com/office/drawing/2014/main" id="{E5167308-3B6F-CC1E-E74A-7F95C39A99BE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1084DF17-37AA-8699-6F35-90C469E543C4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AR" sz="670"/>
            </a:p>
          </p:txBody>
        </p:sp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605BF264-9FCC-CE1D-84E7-F073C343147E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id="{ACE656E8-AAC5-ADFB-5418-D41EFCD67465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</p:grpSp>
      <p:sp>
        <p:nvSpPr>
          <p:cNvPr id="2" name="Rectángulo 1">
            <a:extLst>
              <a:ext uri="{FF2B5EF4-FFF2-40B4-BE49-F238E27FC236}">
                <a16:creationId xmlns:a16="http://schemas.microsoft.com/office/drawing/2014/main" id="{C13ACDB5-D559-BFDA-2D1F-A5F757EAEEDC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</p:spTree>
    <p:extLst>
      <p:ext uri="{BB962C8B-B14F-4D97-AF65-F5344CB8AC3E}">
        <p14:creationId xmlns:p14="http://schemas.microsoft.com/office/powerpoint/2010/main" val="15425845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4">
            <a:extLst>
              <a:ext uri="{FF2B5EF4-FFF2-40B4-BE49-F238E27FC236}">
                <a16:creationId xmlns:a16="http://schemas.microsoft.com/office/drawing/2014/main" id="{AEDD53C5-86DA-4B44-BD7F-682A0C165725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A2075481-8EBC-7246-BB1A-147D25652B2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357E103D-990D-DD64-85AE-078B50CB8405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bg1"/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590709CC-E4B4-99FB-AE66-08F11E02AC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4582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3 -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4">
            <a:extLst>
              <a:ext uri="{FF2B5EF4-FFF2-40B4-BE49-F238E27FC236}">
                <a16:creationId xmlns:a16="http://schemas.microsoft.com/office/drawing/2014/main" id="{AEDD53C5-86DA-4B44-BD7F-682A0C165725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727276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727276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91D05A05-6467-A115-F424-5A07AD7D17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7127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3 -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4">
            <a:extLst>
              <a:ext uri="{FF2B5EF4-FFF2-40B4-BE49-F238E27FC236}">
                <a16:creationId xmlns:a16="http://schemas.microsoft.com/office/drawing/2014/main" id="{AEDD53C5-86DA-4B44-BD7F-682A0C165725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727276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727276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1673D28E-DED7-4048-8AFE-CCBFA10A009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89563BF4-7808-FE4A-967A-840CBBA88F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CFBB5E9B-20AD-EA55-6729-CB09884CAFC0}"/>
              </a:ext>
            </a:extLst>
          </p:cNvPr>
          <p:cNvSpPr/>
          <p:nvPr userDrawn="1"/>
        </p:nvSpPr>
        <p:spPr>
          <a:xfrm>
            <a:off x="7167660" y="377002"/>
            <a:ext cx="9275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Desafíos Estratégicos Planteados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78BD7B2E-0C08-5B80-5524-E73F5C764902}"/>
              </a:ext>
            </a:extLst>
          </p:cNvPr>
          <p:cNvGrpSpPr/>
          <p:nvPr userDrawn="1"/>
        </p:nvGrpSpPr>
        <p:grpSpPr>
          <a:xfrm>
            <a:off x="6874127" y="354270"/>
            <a:ext cx="199344" cy="199344"/>
            <a:chOff x="9408489" y="423661"/>
            <a:chExt cx="380492" cy="380492"/>
          </a:xfrm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F132768A-B66A-E759-6AA8-194DBFAEF1AF}"/>
                </a:ext>
              </a:extLst>
            </p:cNvPr>
            <p:cNvSpPr/>
            <p:nvPr/>
          </p:nvSpPr>
          <p:spPr>
            <a:xfrm>
              <a:off x="9486699" y="502186"/>
              <a:ext cx="251094" cy="2621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4"/>
                  </a:solidFill>
                  <a:latin typeface="Montserrat" pitchFamily="2" charset="77"/>
                  <a:ea typeface="Inter Light BETA" panose="020B0402030000000004" pitchFamily="34" charset="0"/>
                </a:rPr>
                <a:t>3</a:t>
              </a:r>
              <a:endParaRPr lang="es-AR" sz="900" b="1" spc="-8">
                <a:solidFill>
                  <a:schemeClr val="accent4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7" name="Elipse 6">
              <a:extLst>
                <a:ext uri="{FF2B5EF4-FFF2-40B4-BE49-F238E27FC236}">
                  <a16:creationId xmlns:a16="http://schemas.microsoft.com/office/drawing/2014/main" id="{40E37A84-05B0-61E1-DAB2-480DBD33A4CD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4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014784E1-470C-FA4B-F0FA-5D7E6CD1685D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</p:spTree>
    <p:extLst>
      <p:ext uri="{BB962C8B-B14F-4D97-AF65-F5344CB8AC3E}">
        <p14:creationId xmlns:p14="http://schemas.microsoft.com/office/powerpoint/2010/main" val="14114050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Teco +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02F4A353-53C5-0745-94C0-C172C545CADE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sp>
        <p:nvSpPr>
          <p:cNvPr id="8" name="Slide Number Placeholder 24">
            <a:extLst>
              <a:ext uri="{FF2B5EF4-FFF2-40B4-BE49-F238E27FC236}">
                <a16:creationId xmlns:a16="http://schemas.microsoft.com/office/drawing/2014/main" id="{AEDD53C5-86DA-4B44-BD7F-682A0C165725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4468500"/>
            <a:ext cx="0" cy="6750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áfico 1">
            <a:extLst>
              <a:ext uri="{FF2B5EF4-FFF2-40B4-BE49-F238E27FC236}">
                <a16:creationId xmlns:a16="http://schemas.microsoft.com/office/drawing/2014/main" id="{440E77B2-AC5A-4D7F-3008-95874CB278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964" y="304666"/>
            <a:ext cx="976817" cy="337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01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3 -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4">
            <a:extLst>
              <a:ext uri="{FF2B5EF4-FFF2-40B4-BE49-F238E27FC236}">
                <a16:creationId xmlns:a16="http://schemas.microsoft.com/office/drawing/2014/main" id="{AEDD53C5-86DA-4B44-BD7F-682A0C165725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727276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727276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:a16="http://schemas.microsoft.com/office/drawing/2014/main" id="{F8CAD7CA-3B08-B246-BB4C-EF86CBA73333}"/>
              </a:ext>
            </a:extLst>
          </p:cNvPr>
          <p:cNvSpPr/>
          <p:nvPr userDrawn="1"/>
        </p:nvSpPr>
        <p:spPr>
          <a:xfrm>
            <a:off x="7167660" y="377002"/>
            <a:ext cx="9275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Desafíos Estratégicos Planteados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1673D28E-DED7-4048-8AFE-CCBFA10A009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o 15">
            <a:extLst>
              <a:ext uri="{FF2B5EF4-FFF2-40B4-BE49-F238E27FC236}">
                <a16:creationId xmlns:a16="http://schemas.microsoft.com/office/drawing/2014/main" id="{05906523-C985-B942-B83B-49C6E98A4B27}"/>
              </a:ext>
            </a:extLst>
          </p:cNvPr>
          <p:cNvGrpSpPr/>
          <p:nvPr userDrawn="1"/>
        </p:nvGrpSpPr>
        <p:grpSpPr>
          <a:xfrm>
            <a:off x="6874127" y="354270"/>
            <a:ext cx="199344" cy="199344"/>
            <a:chOff x="9408489" y="423661"/>
            <a:chExt cx="380492" cy="380492"/>
          </a:xfrm>
        </p:grpSpPr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D110D5E6-0A51-6E4B-B6E4-B59169F45E9C}"/>
                </a:ext>
              </a:extLst>
            </p:cNvPr>
            <p:cNvSpPr/>
            <p:nvPr/>
          </p:nvSpPr>
          <p:spPr>
            <a:xfrm>
              <a:off x="9486699" y="502186"/>
              <a:ext cx="251094" cy="2621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4"/>
                  </a:solidFill>
                  <a:latin typeface="Montserrat" pitchFamily="2" charset="77"/>
                  <a:ea typeface="Inter Light BETA" panose="020B0402030000000004" pitchFamily="34" charset="0"/>
                </a:rPr>
                <a:t>3</a:t>
              </a:r>
              <a:endParaRPr lang="es-AR" sz="900" b="1" spc="-8">
                <a:solidFill>
                  <a:schemeClr val="accent4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E9C78C9B-9B6A-4C40-A6A8-487106C6A223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4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CDE7B53A-2D29-B4DE-3C24-DBAA783291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grpSp>
        <p:nvGrpSpPr>
          <p:cNvPr id="4" name="Grupo 3">
            <a:extLst>
              <a:ext uri="{FF2B5EF4-FFF2-40B4-BE49-F238E27FC236}">
                <a16:creationId xmlns:a16="http://schemas.microsoft.com/office/drawing/2014/main" id="{8478B874-8E1A-29AC-E78E-C1F829B0F29C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D88833F9-AF5C-71DB-FDAE-61C1703645B0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AR" sz="670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47072151-030D-7BC4-20FA-EFB1BEF5C73A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292D455D-5B83-F2D5-B7CA-5F48ABD5BBFA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77150A67-75D8-ED88-E36A-6A71B3133E7C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</p:spTree>
    <p:extLst>
      <p:ext uri="{BB962C8B-B14F-4D97-AF65-F5344CB8AC3E}">
        <p14:creationId xmlns:p14="http://schemas.microsoft.com/office/powerpoint/2010/main" val="28826755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cion 3 -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>
            <a:extLst>
              <a:ext uri="{FF2B5EF4-FFF2-40B4-BE49-F238E27FC236}">
                <a16:creationId xmlns:a16="http://schemas.microsoft.com/office/drawing/2014/main" id="{7EDA012C-E02B-8E6E-B1A6-A7D946E8992D}"/>
              </a:ext>
            </a:extLst>
          </p:cNvPr>
          <p:cNvSpPr/>
          <p:nvPr userDrawn="1"/>
        </p:nvSpPr>
        <p:spPr>
          <a:xfrm>
            <a:off x="40501" y="0"/>
            <a:ext cx="634499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51601F98-2FF5-6450-CB2F-05D39D899F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12" name="Slide Number Placeholder 24">
            <a:extLst>
              <a:ext uri="{FF2B5EF4-FFF2-40B4-BE49-F238E27FC236}">
                <a16:creationId xmlns:a16="http://schemas.microsoft.com/office/drawing/2014/main" id="{19BF925F-308E-E1AB-3AD9-D1F06C0E6A81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9934DC1F-B1EF-19A3-9D09-7152E0C424B1}"/>
              </a:ext>
            </a:extLst>
          </p:cNvPr>
          <p:cNvSpPr/>
          <p:nvPr userDrawn="1"/>
        </p:nvSpPr>
        <p:spPr>
          <a:xfrm>
            <a:off x="7167660" y="377002"/>
            <a:ext cx="9275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Desafíos Estratégicos Planteados</a:t>
            </a: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DF9A2EC6-4ED4-38B2-DE13-0814B4F14264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o 15">
            <a:extLst>
              <a:ext uri="{FF2B5EF4-FFF2-40B4-BE49-F238E27FC236}">
                <a16:creationId xmlns:a16="http://schemas.microsoft.com/office/drawing/2014/main" id="{A76A0D13-E69F-9ECC-54C2-7934DD6D9B6C}"/>
              </a:ext>
            </a:extLst>
          </p:cNvPr>
          <p:cNvGrpSpPr/>
          <p:nvPr userDrawn="1"/>
        </p:nvGrpSpPr>
        <p:grpSpPr>
          <a:xfrm>
            <a:off x="6874127" y="354270"/>
            <a:ext cx="199344" cy="199344"/>
            <a:chOff x="9408489" y="423661"/>
            <a:chExt cx="380492" cy="380492"/>
          </a:xfrm>
        </p:grpSpPr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B503A391-306B-193A-D68F-192A7E219DBD}"/>
                </a:ext>
              </a:extLst>
            </p:cNvPr>
            <p:cNvSpPr/>
            <p:nvPr/>
          </p:nvSpPr>
          <p:spPr>
            <a:xfrm>
              <a:off x="9486699" y="502186"/>
              <a:ext cx="251094" cy="2621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4"/>
                  </a:solidFill>
                  <a:latin typeface="Montserrat" pitchFamily="2" charset="77"/>
                  <a:ea typeface="Inter Light BETA" panose="020B0402030000000004" pitchFamily="34" charset="0"/>
                </a:rPr>
                <a:t>3</a:t>
              </a:r>
              <a:endParaRPr lang="es-AR" sz="900" b="1" spc="-8">
                <a:solidFill>
                  <a:schemeClr val="accent4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71E1E911-0671-C647-F54F-DD3292911E86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4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grpSp>
        <p:nvGrpSpPr>
          <p:cNvPr id="20" name="Grupo 19">
            <a:extLst>
              <a:ext uri="{FF2B5EF4-FFF2-40B4-BE49-F238E27FC236}">
                <a16:creationId xmlns:a16="http://schemas.microsoft.com/office/drawing/2014/main" id="{8735C356-92E4-6463-3CC4-AED0BA05B965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D632A5DC-994F-E2E1-8543-A7A7BCCA9D5D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AR" sz="670"/>
            </a:p>
          </p:txBody>
        </p:sp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D6AEBD80-B951-CA5A-338F-59D0C9D4296D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id="{FFB52E36-7EFA-64A1-FFF2-8A818F71AF72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</p:grpSp>
      <p:sp>
        <p:nvSpPr>
          <p:cNvPr id="3" name="Rectángulo 2">
            <a:extLst>
              <a:ext uri="{FF2B5EF4-FFF2-40B4-BE49-F238E27FC236}">
                <a16:creationId xmlns:a16="http://schemas.microsoft.com/office/drawing/2014/main" id="{6EBB7B56-19B7-C679-1CE3-BC9FC8510A97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</p:spTree>
    <p:extLst>
      <p:ext uri="{BB962C8B-B14F-4D97-AF65-F5344CB8AC3E}">
        <p14:creationId xmlns:p14="http://schemas.microsoft.com/office/powerpoint/2010/main" val="20919451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cion 1 -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13">
            <a:extLst>
              <a:ext uri="{FF2B5EF4-FFF2-40B4-BE49-F238E27FC236}">
                <a16:creationId xmlns:a16="http://schemas.microsoft.com/office/drawing/2014/main" id="{F8CAD7CA-3B08-B246-BB4C-EF86CBA73333}"/>
              </a:ext>
            </a:extLst>
          </p:cNvPr>
          <p:cNvSpPr/>
          <p:nvPr userDrawn="1"/>
        </p:nvSpPr>
        <p:spPr>
          <a:xfrm>
            <a:off x="7541648" y="377002"/>
            <a:ext cx="5927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Contexto de Negocio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1673D28E-DED7-4048-8AFE-CCBFA10A009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o 15">
            <a:extLst>
              <a:ext uri="{FF2B5EF4-FFF2-40B4-BE49-F238E27FC236}">
                <a16:creationId xmlns:a16="http://schemas.microsoft.com/office/drawing/2014/main" id="{05906523-C985-B942-B83B-49C6E98A4B27}"/>
              </a:ext>
            </a:extLst>
          </p:cNvPr>
          <p:cNvGrpSpPr/>
          <p:nvPr userDrawn="1"/>
        </p:nvGrpSpPr>
        <p:grpSpPr>
          <a:xfrm>
            <a:off x="7248116" y="354270"/>
            <a:ext cx="199344" cy="199344"/>
            <a:chOff x="9408489" y="423661"/>
            <a:chExt cx="380492" cy="380492"/>
          </a:xfrm>
        </p:grpSpPr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D110D5E6-0A51-6E4B-B6E4-B59169F45E9C}"/>
                </a:ext>
              </a:extLst>
            </p:cNvPr>
            <p:cNvSpPr/>
            <p:nvPr/>
          </p:nvSpPr>
          <p:spPr>
            <a:xfrm>
              <a:off x="9478306" y="502186"/>
              <a:ext cx="251094" cy="2621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2"/>
                  </a:solidFill>
                  <a:latin typeface="Montserrat" pitchFamily="2" charset="77"/>
                  <a:ea typeface="Inter Light BETA" panose="020B0402030000000004" pitchFamily="34" charset="0"/>
                </a:rPr>
                <a:t>1</a:t>
              </a:r>
              <a:endParaRPr lang="es-AR" sz="900" b="1" spc="-8">
                <a:solidFill>
                  <a:schemeClr val="accent2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E9C78C9B-9B6A-4C40-A6A8-487106C6A223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2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grpSp>
        <p:nvGrpSpPr>
          <p:cNvPr id="4" name="Grupo 3">
            <a:extLst>
              <a:ext uri="{FF2B5EF4-FFF2-40B4-BE49-F238E27FC236}">
                <a16:creationId xmlns:a16="http://schemas.microsoft.com/office/drawing/2014/main" id="{6D394407-6438-C3DA-6502-CB85299CF833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DB69B491-F891-6538-8729-47ED9D28E6D0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2E9DD683-D504-B4A5-0FC7-20D919D63751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FED8963C-C1BD-22AE-AE17-338D40E77AAB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CFF0E1B3-82BA-F158-1715-A13061D05700}"/>
              </a:ext>
            </a:extLst>
          </p:cNvPr>
          <p:cNvSpPr/>
          <p:nvPr userDrawn="1"/>
        </p:nvSpPr>
        <p:spPr>
          <a:xfrm>
            <a:off x="40501" y="0"/>
            <a:ext cx="634499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C1C6B8BD-230A-8ED9-7408-7E65F4A876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12" name="Slide Number Placeholder 24">
            <a:extLst>
              <a:ext uri="{FF2B5EF4-FFF2-40B4-BE49-F238E27FC236}">
                <a16:creationId xmlns:a16="http://schemas.microsoft.com/office/drawing/2014/main" id="{2CC20526-819D-BAE8-2976-40266E5CE357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4D47574E-C34E-52D9-3656-CEBD47BFEC66}"/>
              </a:ext>
            </a:extLst>
          </p:cNvPr>
          <p:cNvGrpSpPr/>
          <p:nvPr userDrawn="1"/>
        </p:nvGrpSpPr>
        <p:grpSpPr>
          <a:xfrm>
            <a:off x="9066005" y="0"/>
            <a:ext cx="40500" cy="1683336"/>
            <a:chOff x="8207350" y="0"/>
            <a:chExt cx="54000" cy="6858000"/>
          </a:xfrm>
        </p:grpSpPr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873B2324-0E69-3A91-EE92-1D6AFDA7669D}"/>
                </a:ext>
              </a:extLst>
            </p:cNvPr>
            <p:cNvSpPr/>
            <p:nvPr userDrawn="1"/>
          </p:nvSpPr>
          <p:spPr>
            <a:xfrm>
              <a:off x="8207350" y="0"/>
              <a:ext cx="54000" cy="1681200"/>
            </a:xfrm>
            <a:prstGeom prst="rect">
              <a:avLst/>
            </a:prstGeom>
            <a:solidFill>
              <a:srgbClr val="FFFFFF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AR" sz="670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78F0248A-C644-ACC0-104F-2BF58564ACAF}"/>
                </a:ext>
              </a:extLst>
            </p:cNvPr>
            <p:cNvSpPr/>
            <p:nvPr userDrawn="1"/>
          </p:nvSpPr>
          <p:spPr>
            <a:xfrm>
              <a:off x="8207350" y="1725150"/>
              <a:ext cx="54000" cy="1681200"/>
            </a:xfrm>
            <a:prstGeom prst="rect">
              <a:avLst/>
            </a:prstGeom>
            <a:solidFill>
              <a:srgbClr val="FFFFFF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79F1BD9F-0199-AB57-D363-59BEFA645C82}"/>
                </a:ext>
              </a:extLst>
            </p:cNvPr>
            <p:cNvSpPr/>
            <p:nvPr userDrawn="1"/>
          </p:nvSpPr>
          <p:spPr>
            <a:xfrm>
              <a:off x="8207350" y="3451650"/>
              <a:ext cx="54000" cy="1681200"/>
            </a:xfrm>
            <a:prstGeom prst="rect">
              <a:avLst/>
            </a:prstGeom>
            <a:solidFill>
              <a:srgbClr val="FF94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BE539490-C4D1-FEBA-5D3A-8C7D2E9B4F88}"/>
                </a:ext>
              </a:extLst>
            </p:cNvPr>
            <p:cNvSpPr/>
            <p:nvPr userDrawn="1"/>
          </p:nvSpPr>
          <p:spPr>
            <a:xfrm>
              <a:off x="8207350" y="5176800"/>
              <a:ext cx="54000" cy="1681200"/>
            </a:xfrm>
            <a:prstGeom prst="rect">
              <a:avLst/>
            </a:prstGeom>
            <a:solidFill>
              <a:srgbClr val="FFFFFF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</p:grpSp>
      <p:sp>
        <p:nvSpPr>
          <p:cNvPr id="33" name="Rectángulo 32">
            <a:extLst>
              <a:ext uri="{FF2B5EF4-FFF2-40B4-BE49-F238E27FC236}">
                <a16:creationId xmlns:a16="http://schemas.microsoft.com/office/drawing/2014/main" id="{0AEAF929-921A-6DDC-95D8-F4183D0DABDE}"/>
              </a:ext>
            </a:extLst>
          </p:cNvPr>
          <p:cNvSpPr/>
          <p:nvPr userDrawn="1"/>
        </p:nvSpPr>
        <p:spPr>
          <a:xfrm>
            <a:off x="7541647" y="662751"/>
            <a:ext cx="992753" cy="882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b="1" i="0" spc="-8">
                <a:solidFill>
                  <a:srgbClr val="FF945A"/>
                </a:solidFill>
                <a:latin typeface="Montserrat SemiBold" pitchFamily="2" charset="77"/>
                <a:ea typeface="Inter Light BETA" panose="020B0402030000000004" pitchFamily="34" charset="0"/>
              </a:rPr>
              <a:t>Mercado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4FDA21C5-E36B-4515-5EC1-E5147FF79823}"/>
              </a:ext>
            </a:extLst>
          </p:cNvPr>
          <p:cNvSpPr>
            <a:spLocks noChangeAspect="1"/>
          </p:cNvSpPr>
          <p:nvPr userDrawn="1"/>
        </p:nvSpPr>
        <p:spPr>
          <a:xfrm>
            <a:off x="7320788" y="676831"/>
            <a:ext cx="54000" cy="54000"/>
          </a:xfrm>
          <a:prstGeom prst="rect">
            <a:avLst/>
          </a:prstGeom>
          <a:solidFill>
            <a:srgbClr val="FF945A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CDE6AFE8-1CD1-4169-2EB7-AB2E8DE04109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</p:spTree>
    <p:extLst>
      <p:ext uri="{BB962C8B-B14F-4D97-AF65-F5344CB8AC3E}">
        <p14:creationId xmlns:p14="http://schemas.microsoft.com/office/powerpoint/2010/main" val="34159101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cion 1 -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13">
            <a:extLst>
              <a:ext uri="{FF2B5EF4-FFF2-40B4-BE49-F238E27FC236}">
                <a16:creationId xmlns:a16="http://schemas.microsoft.com/office/drawing/2014/main" id="{F8CAD7CA-3B08-B246-BB4C-EF86CBA73333}"/>
              </a:ext>
            </a:extLst>
          </p:cNvPr>
          <p:cNvSpPr/>
          <p:nvPr userDrawn="1"/>
        </p:nvSpPr>
        <p:spPr>
          <a:xfrm>
            <a:off x="7541648" y="377002"/>
            <a:ext cx="5927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Contexto de Negocio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1673D28E-DED7-4048-8AFE-CCBFA10A009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o 15">
            <a:extLst>
              <a:ext uri="{FF2B5EF4-FFF2-40B4-BE49-F238E27FC236}">
                <a16:creationId xmlns:a16="http://schemas.microsoft.com/office/drawing/2014/main" id="{05906523-C985-B942-B83B-49C6E98A4B27}"/>
              </a:ext>
            </a:extLst>
          </p:cNvPr>
          <p:cNvGrpSpPr/>
          <p:nvPr userDrawn="1"/>
        </p:nvGrpSpPr>
        <p:grpSpPr>
          <a:xfrm>
            <a:off x="7248116" y="354270"/>
            <a:ext cx="199344" cy="199344"/>
            <a:chOff x="9408489" y="423661"/>
            <a:chExt cx="380492" cy="380492"/>
          </a:xfrm>
        </p:grpSpPr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D110D5E6-0A51-6E4B-B6E4-B59169F45E9C}"/>
                </a:ext>
              </a:extLst>
            </p:cNvPr>
            <p:cNvSpPr/>
            <p:nvPr/>
          </p:nvSpPr>
          <p:spPr>
            <a:xfrm>
              <a:off x="9478306" y="502186"/>
              <a:ext cx="251094" cy="2621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2"/>
                  </a:solidFill>
                  <a:latin typeface="Montserrat" pitchFamily="2" charset="77"/>
                  <a:ea typeface="Inter Light BETA" panose="020B0402030000000004" pitchFamily="34" charset="0"/>
                </a:rPr>
                <a:t>1</a:t>
              </a:r>
              <a:endParaRPr lang="es-AR" sz="900" b="1" spc="-8">
                <a:solidFill>
                  <a:schemeClr val="accent2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E9C78C9B-9B6A-4C40-A6A8-487106C6A223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2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grpSp>
        <p:nvGrpSpPr>
          <p:cNvPr id="4" name="Grupo 3">
            <a:extLst>
              <a:ext uri="{FF2B5EF4-FFF2-40B4-BE49-F238E27FC236}">
                <a16:creationId xmlns:a16="http://schemas.microsoft.com/office/drawing/2014/main" id="{6D394407-6438-C3DA-6502-CB85299CF833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DB69B491-F891-6538-8729-47ED9D28E6D0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2E9DD683-D504-B4A5-0FC7-20D919D63751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FED8963C-C1BD-22AE-AE17-338D40E77AAB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CFF0E1B3-82BA-F158-1715-A13061D05700}"/>
              </a:ext>
            </a:extLst>
          </p:cNvPr>
          <p:cNvSpPr/>
          <p:nvPr userDrawn="1"/>
        </p:nvSpPr>
        <p:spPr>
          <a:xfrm>
            <a:off x="40501" y="0"/>
            <a:ext cx="634499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C1C6B8BD-230A-8ED9-7408-7E65F4A876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12" name="Slide Number Placeholder 24">
            <a:extLst>
              <a:ext uri="{FF2B5EF4-FFF2-40B4-BE49-F238E27FC236}">
                <a16:creationId xmlns:a16="http://schemas.microsoft.com/office/drawing/2014/main" id="{2CC20526-819D-BAE8-2976-40266E5CE357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4D47574E-C34E-52D9-3656-CEBD47BFEC66}"/>
              </a:ext>
            </a:extLst>
          </p:cNvPr>
          <p:cNvGrpSpPr/>
          <p:nvPr userDrawn="1"/>
        </p:nvGrpSpPr>
        <p:grpSpPr>
          <a:xfrm>
            <a:off x="9066005" y="0"/>
            <a:ext cx="40500" cy="1683336"/>
            <a:chOff x="8207350" y="0"/>
            <a:chExt cx="54000" cy="6858000"/>
          </a:xfrm>
        </p:grpSpPr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873B2324-0E69-3A91-EE92-1D6AFDA7669D}"/>
                </a:ext>
              </a:extLst>
            </p:cNvPr>
            <p:cNvSpPr/>
            <p:nvPr userDrawn="1"/>
          </p:nvSpPr>
          <p:spPr>
            <a:xfrm>
              <a:off x="8207350" y="0"/>
              <a:ext cx="54000" cy="1681200"/>
            </a:xfrm>
            <a:prstGeom prst="rect">
              <a:avLst/>
            </a:prstGeom>
            <a:solidFill>
              <a:srgbClr val="FFFFFF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AR" sz="670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78F0248A-C644-ACC0-104F-2BF58564ACAF}"/>
                </a:ext>
              </a:extLst>
            </p:cNvPr>
            <p:cNvSpPr/>
            <p:nvPr userDrawn="1"/>
          </p:nvSpPr>
          <p:spPr>
            <a:xfrm>
              <a:off x="8207350" y="1725150"/>
              <a:ext cx="54000" cy="1681200"/>
            </a:xfrm>
            <a:prstGeom prst="rect">
              <a:avLst/>
            </a:prstGeom>
            <a:solidFill>
              <a:srgbClr val="FFFFFF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79F1BD9F-0199-AB57-D363-59BEFA645C82}"/>
                </a:ext>
              </a:extLst>
            </p:cNvPr>
            <p:cNvSpPr/>
            <p:nvPr userDrawn="1"/>
          </p:nvSpPr>
          <p:spPr>
            <a:xfrm>
              <a:off x="8207350" y="3451650"/>
              <a:ext cx="54000" cy="1681200"/>
            </a:xfrm>
            <a:prstGeom prst="rect">
              <a:avLst/>
            </a:prstGeom>
            <a:solidFill>
              <a:srgbClr val="FFFFFF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BE539490-C4D1-FEBA-5D3A-8C7D2E9B4F88}"/>
                </a:ext>
              </a:extLst>
            </p:cNvPr>
            <p:cNvSpPr/>
            <p:nvPr userDrawn="1"/>
          </p:nvSpPr>
          <p:spPr>
            <a:xfrm>
              <a:off x="8207350" y="5176800"/>
              <a:ext cx="54000" cy="16812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670"/>
            </a:p>
          </p:txBody>
        </p:sp>
      </p:grpSp>
      <p:sp>
        <p:nvSpPr>
          <p:cNvPr id="35" name="Rectángulo 34">
            <a:extLst>
              <a:ext uri="{FF2B5EF4-FFF2-40B4-BE49-F238E27FC236}">
                <a16:creationId xmlns:a16="http://schemas.microsoft.com/office/drawing/2014/main" id="{F1DB239A-9EAB-688F-2218-3362605FDA20}"/>
              </a:ext>
            </a:extLst>
          </p:cNvPr>
          <p:cNvSpPr/>
          <p:nvPr userDrawn="1"/>
        </p:nvSpPr>
        <p:spPr>
          <a:xfrm>
            <a:off x="7541647" y="662751"/>
            <a:ext cx="992753" cy="882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b="1" i="0" spc="-8">
                <a:solidFill>
                  <a:schemeClr val="accent6"/>
                </a:solidFill>
                <a:latin typeface="Montserrat SemiBold" pitchFamily="2" charset="77"/>
                <a:ea typeface="Inter Light BETA" panose="020B0402030000000004" pitchFamily="34" charset="0"/>
              </a:rPr>
              <a:t>Customer Fullfillment</a:t>
            </a: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18F12948-3E07-FC98-4DA6-80E38AE67832}"/>
              </a:ext>
            </a:extLst>
          </p:cNvPr>
          <p:cNvSpPr>
            <a:spLocks noChangeAspect="1"/>
          </p:cNvSpPr>
          <p:nvPr userDrawn="1"/>
        </p:nvSpPr>
        <p:spPr>
          <a:xfrm>
            <a:off x="7320788" y="676831"/>
            <a:ext cx="54000" cy="54000"/>
          </a:xfrm>
          <a:prstGeom prst="rect">
            <a:avLst/>
          </a:prstGeom>
          <a:solidFill>
            <a:schemeClr val="accent6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E5F628E6-0A96-8569-3AAA-C550743F186C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</p:spTree>
    <p:extLst>
      <p:ext uri="{BB962C8B-B14F-4D97-AF65-F5344CB8AC3E}">
        <p14:creationId xmlns:p14="http://schemas.microsoft.com/office/powerpoint/2010/main" val="3193229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mp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83370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Tec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02F4A353-53C5-0745-94C0-C172C545CADE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sp>
        <p:nvSpPr>
          <p:cNvPr id="8" name="Slide Number Placeholder 24">
            <a:extLst>
              <a:ext uri="{FF2B5EF4-FFF2-40B4-BE49-F238E27FC236}">
                <a16:creationId xmlns:a16="http://schemas.microsoft.com/office/drawing/2014/main" id="{AEDD53C5-86DA-4B44-BD7F-682A0C165725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4468500"/>
            <a:ext cx="0" cy="6750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93509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Teco +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02F4A353-53C5-0745-94C0-C172C545CADE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sp>
        <p:nvSpPr>
          <p:cNvPr id="8" name="Slide Number Placeholder 24">
            <a:extLst>
              <a:ext uri="{FF2B5EF4-FFF2-40B4-BE49-F238E27FC236}">
                <a16:creationId xmlns:a16="http://schemas.microsoft.com/office/drawing/2014/main" id="{AEDD53C5-86DA-4B44-BD7F-682A0C165725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4468500"/>
            <a:ext cx="0" cy="6750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áfico 1">
            <a:extLst>
              <a:ext uri="{FF2B5EF4-FFF2-40B4-BE49-F238E27FC236}">
                <a16:creationId xmlns:a16="http://schemas.microsoft.com/office/drawing/2014/main" id="{440E77B2-AC5A-4D7F-3008-95874CB278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964" y="304666"/>
            <a:ext cx="976817" cy="337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099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Teco + logo + titul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02F4A353-53C5-0745-94C0-C172C545CADE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sp>
        <p:nvSpPr>
          <p:cNvPr id="8" name="Slide Number Placeholder 24">
            <a:extLst>
              <a:ext uri="{FF2B5EF4-FFF2-40B4-BE49-F238E27FC236}">
                <a16:creationId xmlns:a16="http://schemas.microsoft.com/office/drawing/2014/main" id="{AEDD53C5-86DA-4B44-BD7F-682A0C165725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4468500"/>
            <a:ext cx="0" cy="6750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67A90580-387C-574D-A03E-7E8EDE0CAD3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áfico 1">
            <a:extLst>
              <a:ext uri="{FF2B5EF4-FFF2-40B4-BE49-F238E27FC236}">
                <a16:creationId xmlns:a16="http://schemas.microsoft.com/office/drawing/2014/main" id="{CB8596E1-EEFA-93E5-8154-CFF79B5A4A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964" y="304666"/>
            <a:ext cx="976817" cy="337610"/>
          </a:xfrm>
          <a:prstGeom prst="rect">
            <a:avLst/>
          </a:prstGeom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8F13CD0E-F89F-FFE7-F05C-F421EE4DFA81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</p:spTree>
    <p:extLst>
      <p:ext uri="{BB962C8B-B14F-4D97-AF65-F5344CB8AC3E}">
        <p14:creationId xmlns:p14="http://schemas.microsoft.com/office/powerpoint/2010/main" val="177300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0 -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2D734B03-E6E8-458E-91A1-2B9894EC74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776FCDA4-B20E-476F-3C03-28B9577DA344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94828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0 -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rgbClr val="3C0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1B2F60AB-B23E-9D43-97E8-3E70C43E4004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C9C14DCC-8287-7245-93AE-C44BCD477F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áfico 1">
            <a:extLst>
              <a:ext uri="{FF2B5EF4-FFF2-40B4-BE49-F238E27FC236}">
                <a16:creationId xmlns:a16="http://schemas.microsoft.com/office/drawing/2014/main" id="{A8CED2F8-34A2-2495-3C42-97550E4814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3" name="Slide Number Placeholder 24">
            <a:extLst>
              <a:ext uri="{FF2B5EF4-FFF2-40B4-BE49-F238E27FC236}">
                <a16:creationId xmlns:a16="http://schemas.microsoft.com/office/drawing/2014/main" id="{7195CC55-9FCF-41EB-6E11-EDB8BC17A97D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95084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Teco + logo + titul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02F4A353-53C5-0745-94C0-C172C545CADE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sp>
        <p:nvSpPr>
          <p:cNvPr id="8" name="Slide Number Placeholder 24">
            <a:extLst>
              <a:ext uri="{FF2B5EF4-FFF2-40B4-BE49-F238E27FC236}">
                <a16:creationId xmlns:a16="http://schemas.microsoft.com/office/drawing/2014/main" id="{AEDD53C5-86DA-4B44-BD7F-682A0C165725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4468500"/>
            <a:ext cx="0" cy="6750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67A90580-387C-574D-A03E-7E8EDE0CAD3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áfico 1">
            <a:extLst>
              <a:ext uri="{FF2B5EF4-FFF2-40B4-BE49-F238E27FC236}">
                <a16:creationId xmlns:a16="http://schemas.microsoft.com/office/drawing/2014/main" id="{CB8596E1-EEFA-93E5-8154-CFF79B5A4A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964" y="304666"/>
            <a:ext cx="976817" cy="337610"/>
          </a:xfrm>
          <a:prstGeom prst="rect">
            <a:avLst/>
          </a:prstGeom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8F13CD0E-F89F-FFE7-F05C-F421EE4DFA81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</p:spTree>
    <p:extLst>
      <p:ext uri="{BB962C8B-B14F-4D97-AF65-F5344CB8AC3E}">
        <p14:creationId xmlns:p14="http://schemas.microsoft.com/office/powerpoint/2010/main" val="21171098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cion 1 -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>
            <a:extLst>
              <a:ext uri="{FF2B5EF4-FFF2-40B4-BE49-F238E27FC236}">
                <a16:creationId xmlns:a16="http://schemas.microsoft.com/office/drawing/2014/main" id="{CFF0E1B3-82BA-F158-1715-A13061D05700}"/>
              </a:ext>
            </a:extLst>
          </p:cNvPr>
          <p:cNvSpPr/>
          <p:nvPr userDrawn="1"/>
        </p:nvSpPr>
        <p:spPr>
          <a:xfrm>
            <a:off x="40501" y="0"/>
            <a:ext cx="634499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C1C6B8BD-230A-8ED9-7408-7E65F4A876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3" name="Slide Number Placeholder 24">
            <a:extLst>
              <a:ext uri="{FF2B5EF4-FFF2-40B4-BE49-F238E27FC236}">
                <a16:creationId xmlns:a16="http://schemas.microsoft.com/office/drawing/2014/main" id="{D2BB29D4-7369-8593-E1BD-0555CCA9EC87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47496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 Tec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A2075481-8EBC-7246-BB1A-147D25652B2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357E103D-990D-DD64-85AE-078B50CB8405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bg1"/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590709CC-E4B4-99FB-AE66-08F11E02AC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4" name="Slide Number Placeholder 24">
            <a:extLst>
              <a:ext uri="{FF2B5EF4-FFF2-40B4-BE49-F238E27FC236}">
                <a16:creationId xmlns:a16="http://schemas.microsoft.com/office/drawing/2014/main" id="{9D4F74BF-4F46-0BD3-B267-5BF395DD5EB2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17287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 Teco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4F3833DD-CE23-F442-B342-74518506EAA0}"/>
              </a:ext>
            </a:extLst>
          </p:cNvPr>
          <p:cNvSpPr/>
          <p:nvPr userDrawn="1"/>
        </p:nvSpPr>
        <p:spPr>
          <a:xfrm>
            <a:off x="40500" y="0"/>
            <a:ext cx="634500" cy="5143500"/>
          </a:xfrm>
          <a:prstGeom prst="rect">
            <a:avLst/>
          </a:prstGeom>
          <a:solidFill>
            <a:schemeClr val="tx1">
              <a:alpha val="15000"/>
            </a:schemeClr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C1E37B89-EBDE-6E44-A9DC-6ACF0B972F12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9C8A9E78-20BB-F042-AE86-4F4A89D924FF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ángulo 2">
            <a:extLst>
              <a:ext uri="{FF2B5EF4-FFF2-40B4-BE49-F238E27FC236}">
                <a16:creationId xmlns:a16="http://schemas.microsoft.com/office/drawing/2014/main" id="{490AA1EF-1D74-39DE-F4FD-2EE5F8D342DF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bg1"/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DE425AD6-2D77-EB77-B777-4F4D0F4FA5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5" name="Slide Number Placeholder 24">
            <a:extLst>
              <a:ext uri="{FF2B5EF4-FFF2-40B4-BE49-F238E27FC236}">
                <a16:creationId xmlns:a16="http://schemas.microsoft.com/office/drawing/2014/main" id="{D878FBCE-32FB-1706-DDCD-3FC536F8F23A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1810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 Teco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77F1C65E-0A7C-D248-8E43-AEFE42552671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B72462ED-C953-2989-9713-16A30FE9C301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bg1"/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4E98C214-FF07-AB8F-B0A5-9C8CA357E2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4" name="Slide Number Placeholder 24">
            <a:extLst>
              <a:ext uri="{FF2B5EF4-FFF2-40B4-BE49-F238E27FC236}">
                <a16:creationId xmlns:a16="http://schemas.microsoft.com/office/drawing/2014/main" id="{ED5D5708-39D3-99E4-F0D7-A41375E7E76C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0587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 Teco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ACE9414D-E89B-A346-98A0-9EDE787CD224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4FF56776-82A0-09DF-F559-370DF2480703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bg1"/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6B23EB18-6A81-E0F4-99D8-C1AC13353E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4" name="Slide Number Placeholder 24">
            <a:extLst>
              <a:ext uri="{FF2B5EF4-FFF2-40B4-BE49-F238E27FC236}">
                <a16:creationId xmlns:a16="http://schemas.microsoft.com/office/drawing/2014/main" id="{6088E895-E59C-8AD4-46E7-49B38D20C329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32751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cion 1 -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7C87CB60-7D9B-0001-F39E-ACF91712C3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24BC87E6-291A-E4F8-F83B-E44F32F4760F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465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A2075481-8EBC-7246-BB1A-147D25652B2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357E103D-990D-DD64-85AE-078B50CB8405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bg1"/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590709CC-E4B4-99FB-AE66-08F11E02AC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4" name="Slide Number Placeholder 24">
            <a:extLst>
              <a:ext uri="{FF2B5EF4-FFF2-40B4-BE49-F238E27FC236}">
                <a16:creationId xmlns:a16="http://schemas.microsoft.com/office/drawing/2014/main" id="{796FA212-6ACF-C004-3DE6-2A93D9DCC487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6751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cion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590709CC-E4B4-99FB-AE66-08F11E02AC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66D4AC12-25F2-CEF6-5B80-A490FFC52300}"/>
              </a:ext>
            </a:extLst>
          </p:cNvPr>
          <p:cNvSpPr/>
          <p:nvPr userDrawn="1"/>
        </p:nvSpPr>
        <p:spPr>
          <a:xfrm>
            <a:off x="7541648" y="377002"/>
            <a:ext cx="5927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rgbClr val="FFFFFF"/>
                </a:solidFill>
                <a:latin typeface="Montserrat Light" pitchFamily="2" charset="77"/>
                <a:ea typeface="Inter Light BETA" panose="020B0402030000000004" pitchFamily="34" charset="0"/>
              </a:rPr>
              <a:t>Contexto de Negocio</a:t>
            </a:r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790CB3B9-6213-8A84-A2E9-2BA2AA1550F1}"/>
              </a:ext>
            </a:extLst>
          </p:cNvPr>
          <p:cNvGrpSpPr/>
          <p:nvPr userDrawn="1"/>
        </p:nvGrpSpPr>
        <p:grpSpPr>
          <a:xfrm>
            <a:off x="7248116" y="354270"/>
            <a:ext cx="199344" cy="199345"/>
            <a:chOff x="9408489" y="423661"/>
            <a:chExt cx="380492" cy="380492"/>
          </a:xfrm>
        </p:grpSpPr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A8BCE09C-06AB-007B-113E-049D898B5936}"/>
                </a:ext>
              </a:extLst>
            </p:cNvPr>
            <p:cNvSpPr/>
            <p:nvPr/>
          </p:nvSpPr>
          <p:spPr>
            <a:xfrm>
              <a:off x="9478306" y="502183"/>
              <a:ext cx="251094" cy="26215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rgbClr val="FFFFFF"/>
                  </a:solidFill>
                  <a:latin typeface="Montserrat" pitchFamily="2" charset="77"/>
                  <a:ea typeface="Inter Light BETA" panose="020B0402030000000004" pitchFamily="34" charset="0"/>
                </a:rPr>
                <a:t>1</a:t>
              </a:r>
              <a:endParaRPr lang="es-AR" sz="900" b="1" spc="-8">
                <a:solidFill>
                  <a:srgbClr val="FFFFFF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10" name="Elipse 9">
              <a:extLst>
                <a:ext uri="{FF2B5EF4-FFF2-40B4-BE49-F238E27FC236}">
                  <a16:creationId xmlns:a16="http://schemas.microsoft.com/office/drawing/2014/main" id="{69758461-1A23-5B41-494B-1D13C941C4A5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rgbClr val="FFFFFF">
                  <a:alpha val="75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>
                <a:solidFill>
                  <a:srgbClr val="FFFFFF"/>
                </a:solidFill>
              </a:endParaRPr>
            </a:p>
          </p:txBody>
        </p:sp>
      </p:grpSp>
      <p:sp>
        <p:nvSpPr>
          <p:cNvPr id="11" name="Rectángulo 10">
            <a:extLst>
              <a:ext uri="{FF2B5EF4-FFF2-40B4-BE49-F238E27FC236}">
                <a16:creationId xmlns:a16="http://schemas.microsoft.com/office/drawing/2014/main" id="{03F7B8E1-084E-DF51-C0D6-B0EE6CEC8AD1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rgbClr val="FFFFFF"/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rgbClr val="FFFFFF"/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rgbClr val="FFFFFF"/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FF1B8F19-DF09-A2E1-5DC7-CD31BC12EBB0}"/>
              </a:ext>
            </a:extLst>
          </p:cNvPr>
          <p:cNvSpPr/>
          <p:nvPr userDrawn="1"/>
        </p:nvSpPr>
        <p:spPr>
          <a:xfrm>
            <a:off x="9103500" y="1"/>
            <a:ext cx="40500" cy="168468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5F0137A4-0E39-58F1-92F9-77366C113397}"/>
              </a:ext>
            </a:extLst>
          </p:cNvPr>
          <p:cNvSpPr/>
          <p:nvPr userDrawn="1"/>
        </p:nvSpPr>
        <p:spPr>
          <a:xfrm>
            <a:off x="9103500" y="1728731"/>
            <a:ext cx="40500" cy="1684688"/>
          </a:xfrm>
          <a:prstGeom prst="rect">
            <a:avLst/>
          </a:prstGeom>
          <a:solidFill>
            <a:srgbClr val="FFFFFF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AB96EEDF-1FE0-2263-1311-452C13AD531E}"/>
              </a:ext>
            </a:extLst>
          </p:cNvPr>
          <p:cNvSpPr/>
          <p:nvPr userDrawn="1"/>
        </p:nvSpPr>
        <p:spPr>
          <a:xfrm>
            <a:off x="9103500" y="3458813"/>
            <a:ext cx="40500" cy="1684688"/>
          </a:xfrm>
          <a:prstGeom prst="rect">
            <a:avLst/>
          </a:prstGeom>
          <a:solidFill>
            <a:srgbClr val="FFFFFF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B2F1B5C9-1B46-95A1-4955-07684A77E36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1E4D399E-D0C9-C81D-2FE3-CF2479B65FBD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5282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1 -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7C87CB60-7D9B-0001-F39E-ACF91712C3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B2B91CF0-0400-12D1-64D4-2030464A0B2F}"/>
              </a:ext>
            </a:extLst>
          </p:cNvPr>
          <p:cNvSpPr/>
          <p:nvPr userDrawn="1"/>
        </p:nvSpPr>
        <p:spPr>
          <a:xfrm>
            <a:off x="7541648" y="377002"/>
            <a:ext cx="5927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Contexto de Negocio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8B7AE032-9BDD-E0D3-11CB-509EEDFCA8F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upo 4">
            <a:extLst>
              <a:ext uri="{FF2B5EF4-FFF2-40B4-BE49-F238E27FC236}">
                <a16:creationId xmlns:a16="http://schemas.microsoft.com/office/drawing/2014/main" id="{4B763A1D-4C70-99FF-F36C-50C394AFE7EC}"/>
              </a:ext>
            </a:extLst>
          </p:cNvPr>
          <p:cNvGrpSpPr/>
          <p:nvPr userDrawn="1"/>
        </p:nvGrpSpPr>
        <p:grpSpPr>
          <a:xfrm>
            <a:off x="7248116" y="354270"/>
            <a:ext cx="199344" cy="199345"/>
            <a:chOff x="9408489" y="423661"/>
            <a:chExt cx="380492" cy="380492"/>
          </a:xfrm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DB3AFB48-279B-5A05-1648-F941E3A0A7CA}"/>
                </a:ext>
              </a:extLst>
            </p:cNvPr>
            <p:cNvSpPr/>
            <p:nvPr/>
          </p:nvSpPr>
          <p:spPr>
            <a:xfrm>
              <a:off x="9478306" y="502183"/>
              <a:ext cx="251094" cy="26215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2"/>
                  </a:solidFill>
                  <a:latin typeface="Montserrat" pitchFamily="2" charset="77"/>
                  <a:ea typeface="Inter Light BETA" panose="020B0402030000000004" pitchFamily="34" charset="0"/>
                </a:rPr>
                <a:t>1</a:t>
              </a:r>
              <a:endParaRPr lang="es-AR" sz="900" b="1" spc="-8">
                <a:solidFill>
                  <a:schemeClr val="accent2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7" name="Elipse 6">
              <a:extLst>
                <a:ext uri="{FF2B5EF4-FFF2-40B4-BE49-F238E27FC236}">
                  <a16:creationId xmlns:a16="http://schemas.microsoft.com/office/drawing/2014/main" id="{9238388A-A6BB-C359-671E-1074A8C4CA61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2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689CD099-C071-B820-0403-DCF7B918ADE5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93F12551-4CAB-FB94-5399-BA02260832A7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12" name="Rectángulo 11">
              <a:extLst>
                <a:ext uri="{FF2B5EF4-FFF2-40B4-BE49-F238E27FC236}">
                  <a16:creationId xmlns:a16="http://schemas.microsoft.com/office/drawing/2014/main" id="{B8C15DAC-04C7-E75D-DEAC-A6DF6F688F4E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E0E12BB4-9114-F908-B8C5-4C813686C197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864A1127-7102-1E16-FC53-674B8A4C9FF8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</p:grpSp>
      <p:sp>
        <p:nvSpPr>
          <p:cNvPr id="15" name="Slide Number Placeholder 24">
            <a:extLst>
              <a:ext uri="{FF2B5EF4-FFF2-40B4-BE49-F238E27FC236}">
                <a16:creationId xmlns:a16="http://schemas.microsoft.com/office/drawing/2014/main" id="{4CAAD235-D9BD-4354-012B-C85F44203D1D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8551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1 -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13">
            <a:extLst>
              <a:ext uri="{FF2B5EF4-FFF2-40B4-BE49-F238E27FC236}">
                <a16:creationId xmlns:a16="http://schemas.microsoft.com/office/drawing/2014/main" id="{F8CAD7CA-3B08-B246-BB4C-EF86CBA73333}"/>
              </a:ext>
            </a:extLst>
          </p:cNvPr>
          <p:cNvSpPr/>
          <p:nvPr userDrawn="1"/>
        </p:nvSpPr>
        <p:spPr>
          <a:xfrm>
            <a:off x="7541648" y="377002"/>
            <a:ext cx="5927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Contexto de Negocio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1673D28E-DED7-4048-8AFE-CCBFA10A009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o 15">
            <a:extLst>
              <a:ext uri="{FF2B5EF4-FFF2-40B4-BE49-F238E27FC236}">
                <a16:creationId xmlns:a16="http://schemas.microsoft.com/office/drawing/2014/main" id="{05906523-C985-B942-B83B-49C6E98A4B27}"/>
              </a:ext>
            </a:extLst>
          </p:cNvPr>
          <p:cNvGrpSpPr/>
          <p:nvPr userDrawn="1"/>
        </p:nvGrpSpPr>
        <p:grpSpPr>
          <a:xfrm>
            <a:off x="7248116" y="354270"/>
            <a:ext cx="199344" cy="199345"/>
            <a:chOff x="9408489" y="423661"/>
            <a:chExt cx="380492" cy="380492"/>
          </a:xfrm>
        </p:grpSpPr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D110D5E6-0A51-6E4B-B6E4-B59169F45E9C}"/>
                </a:ext>
              </a:extLst>
            </p:cNvPr>
            <p:cNvSpPr/>
            <p:nvPr/>
          </p:nvSpPr>
          <p:spPr>
            <a:xfrm>
              <a:off x="9478306" y="502183"/>
              <a:ext cx="251094" cy="26215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2"/>
                  </a:solidFill>
                  <a:latin typeface="Montserrat" pitchFamily="2" charset="77"/>
                  <a:ea typeface="Inter Light BETA" panose="020B0402030000000004" pitchFamily="34" charset="0"/>
                </a:rPr>
                <a:t>1</a:t>
              </a:r>
              <a:endParaRPr lang="es-AR" sz="900" b="1" spc="-8">
                <a:solidFill>
                  <a:schemeClr val="accent2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E9C78C9B-9B6A-4C40-A6A8-487106C6A223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2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sp>
        <p:nvSpPr>
          <p:cNvPr id="2" name="Rectángulo 1">
            <a:extLst>
              <a:ext uri="{FF2B5EF4-FFF2-40B4-BE49-F238E27FC236}">
                <a16:creationId xmlns:a16="http://schemas.microsoft.com/office/drawing/2014/main" id="{7D1C7D84-17E2-2F15-C102-19E481D22DBB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grpSp>
        <p:nvGrpSpPr>
          <p:cNvPr id="4" name="Grupo 3">
            <a:extLst>
              <a:ext uri="{FF2B5EF4-FFF2-40B4-BE49-F238E27FC236}">
                <a16:creationId xmlns:a16="http://schemas.microsoft.com/office/drawing/2014/main" id="{6D394407-6438-C3DA-6502-CB85299CF833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DB69B491-F891-6538-8729-47ED9D28E6D0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2E9DD683-D504-B4A5-0FC7-20D919D63751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FED8963C-C1BD-22AE-AE17-338D40E77AAB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CFF0E1B3-82BA-F158-1715-A13061D05700}"/>
              </a:ext>
            </a:extLst>
          </p:cNvPr>
          <p:cNvSpPr/>
          <p:nvPr userDrawn="1"/>
        </p:nvSpPr>
        <p:spPr>
          <a:xfrm>
            <a:off x="40501" y="0"/>
            <a:ext cx="634499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C1C6B8BD-230A-8ED9-7408-7E65F4A876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3" name="Slide Number Placeholder 24">
            <a:extLst>
              <a:ext uri="{FF2B5EF4-FFF2-40B4-BE49-F238E27FC236}">
                <a16:creationId xmlns:a16="http://schemas.microsoft.com/office/drawing/2014/main" id="{D2BB29D4-7369-8593-E1BD-0555CCA9EC87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3724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0 -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2D734B03-E6E8-458E-91A1-2B9894EC74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776FCDA4-B20E-476F-3C03-28B9577DA344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51974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cion 1 -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7C87CB60-7D9B-0001-F39E-ACF91712C3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15" name="Rectángulo 14">
            <a:extLst>
              <a:ext uri="{FF2B5EF4-FFF2-40B4-BE49-F238E27FC236}">
                <a16:creationId xmlns:a16="http://schemas.microsoft.com/office/drawing/2014/main" id="{7F4F6B2A-554D-B0D5-F832-B3E98D28005A}"/>
              </a:ext>
            </a:extLst>
          </p:cNvPr>
          <p:cNvSpPr/>
          <p:nvPr userDrawn="1"/>
        </p:nvSpPr>
        <p:spPr>
          <a:xfrm>
            <a:off x="7541648" y="377002"/>
            <a:ext cx="5927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Contexto de Negocio</a:t>
            </a:r>
          </a:p>
        </p:txBody>
      </p: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2F792F2A-B316-8D8C-7670-69DDE1E597A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upo 16">
            <a:extLst>
              <a:ext uri="{FF2B5EF4-FFF2-40B4-BE49-F238E27FC236}">
                <a16:creationId xmlns:a16="http://schemas.microsoft.com/office/drawing/2014/main" id="{D2F8C0FC-FB1C-A0E6-55D1-A99C53940A32}"/>
              </a:ext>
            </a:extLst>
          </p:cNvPr>
          <p:cNvGrpSpPr/>
          <p:nvPr userDrawn="1"/>
        </p:nvGrpSpPr>
        <p:grpSpPr>
          <a:xfrm>
            <a:off x="7248116" y="354270"/>
            <a:ext cx="199344" cy="199345"/>
            <a:chOff x="9408489" y="423661"/>
            <a:chExt cx="380492" cy="380492"/>
          </a:xfrm>
        </p:grpSpPr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id="{10F993D9-B3F1-D308-06B8-FDBE2D378D6C}"/>
                </a:ext>
              </a:extLst>
            </p:cNvPr>
            <p:cNvSpPr/>
            <p:nvPr/>
          </p:nvSpPr>
          <p:spPr>
            <a:xfrm>
              <a:off x="9478306" y="502183"/>
              <a:ext cx="251094" cy="26215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2"/>
                  </a:solidFill>
                  <a:latin typeface="Montserrat" pitchFamily="2" charset="77"/>
                  <a:ea typeface="Inter Light BETA" panose="020B0402030000000004" pitchFamily="34" charset="0"/>
                </a:rPr>
                <a:t>1</a:t>
              </a:r>
              <a:endParaRPr lang="es-AR" sz="900" b="1" spc="-8">
                <a:solidFill>
                  <a:schemeClr val="accent2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19" name="Elipse 18">
              <a:extLst>
                <a:ext uri="{FF2B5EF4-FFF2-40B4-BE49-F238E27FC236}">
                  <a16:creationId xmlns:a16="http://schemas.microsoft.com/office/drawing/2014/main" id="{67B66EDC-BC10-654F-B53C-F0A9CAE32E3E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2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AD2EA799-70CD-39BF-1B0D-5E4B3C698C4F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0714F142-545B-56FE-0CAD-EBE3C71F3F4E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id="{28CBB9C7-DC8D-ACC1-0ACD-56C31A17B12B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C980AA3A-DA41-6F7B-193A-4CC3DCAB493A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0E3A6884-3206-04CF-8F92-9BF3D5A79354}"/>
              </a:ext>
            </a:extLst>
          </p:cNvPr>
          <p:cNvSpPr/>
          <p:nvPr userDrawn="1"/>
        </p:nvSpPr>
        <p:spPr>
          <a:xfrm>
            <a:off x="7541647" y="662752"/>
            <a:ext cx="992753" cy="882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b="1" i="0" spc="-8">
                <a:solidFill>
                  <a:schemeClr val="accent5"/>
                </a:solidFill>
                <a:latin typeface="Montserrat SemiBold" pitchFamily="2" charset="77"/>
                <a:ea typeface="Inter Light BETA" panose="020B0402030000000004" pitchFamily="34" charset="0"/>
              </a:rPr>
              <a:t>Internacional</a:t>
            </a: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1B829008-682A-A5BF-B3A3-CACF8A9A3367}"/>
              </a:ext>
            </a:extLst>
          </p:cNvPr>
          <p:cNvSpPr>
            <a:spLocks noChangeAspect="1"/>
          </p:cNvSpPr>
          <p:nvPr userDrawn="1"/>
        </p:nvSpPr>
        <p:spPr>
          <a:xfrm>
            <a:off x="7320788" y="676831"/>
            <a:ext cx="54000" cy="54000"/>
          </a:xfrm>
          <a:prstGeom prst="rect">
            <a:avLst/>
          </a:prstGeom>
          <a:solidFill>
            <a:schemeClr val="accent5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AFB36978-BCE8-89E4-5F4C-E4598874C57B}"/>
              </a:ext>
            </a:extLst>
          </p:cNvPr>
          <p:cNvSpPr/>
          <p:nvPr userDrawn="1"/>
        </p:nvSpPr>
        <p:spPr>
          <a:xfrm>
            <a:off x="9054098" y="0"/>
            <a:ext cx="40500" cy="83610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AR" sz="1350"/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AB962387-014B-53AE-5128-6AC01BEC029F}"/>
              </a:ext>
            </a:extLst>
          </p:cNvPr>
          <p:cNvSpPr/>
          <p:nvPr userDrawn="1"/>
        </p:nvSpPr>
        <p:spPr>
          <a:xfrm>
            <a:off x="9054098" y="847227"/>
            <a:ext cx="40500" cy="836109"/>
          </a:xfrm>
          <a:prstGeom prst="rect">
            <a:avLst/>
          </a:prstGeom>
          <a:solidFill>
            <a:srgbClr val="FFFFF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AC28DFA3-2947-C06C-AEAA-8C7899E2F923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sp>
        <p:nvSpPr>
          <p:cNvPr id="4" name="Slide Number Placeholder 24">
            <a:extLst>
              <a:ext uri="{FF2B5EF4-FFF2-40B4-BE49-F238E27FC236}">
                <a16:creationId xmlns:a16="http://schemas.microsoft.com/office/drawing/2014/main" id="{B0B515D7-B73F-3FB0-0800-D2CC453C4807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36861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cion 1 -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13">
            <a:extLst>
              <a:ext uri="{FF2B5EF4-FFF2-40B4-BE49-F238E27FC236}">
                <a16:creationId xmlns:a16="http://schemas.microsoft.com/office/drawing/2014/main" id="{F8CAD7CA-3B08-B246-BB4C-EF86CBA73333}"/>
              </a:ext>
            </a:extLst>
          </p:cNvPr>
          <p:cNvSpPr/>
          <p:nvPr userDrawn="1"/>
        </p:nvSpPr>
        <p:spPr>
          <a:xfrm>
            <a:off x="7541648" y="377002"/>
            <a:ext cx="5927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Contexto de Negocio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1673D28E-DED7-4048-8AFE-CCBFA10A009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o 15">
            <a:extLst>
              <a:ext uri="{FF2B5EF4-FFF2-40B4-BE49-F238E27FC236}">
                <a16:creationId xmlns:a16="http://schemas.microsoft.com/office/drawing/2014/main" id="{05906523-C985-B942-B83B-49C6E98A4B27}"/>
              </a:ext>
            </a:extLst>
          </p:cNvPr>
          <p:cNvGrpSpPr/>
          <p:nvPr userDrawn="1"/>
        </p:nvGrpSpPr>
        <p:grpSpPr>
          <a:xfrm>
            <a:off x="7248116" y="354270"/>
            <a:ext cx="199344" cy="199345"/>
            <a:chOff x="9408489" y="423661"/>
            <a:chExt cx="380492" cy="380492"/>
          </a:xfrm>
        </p:grpSpPr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D110D5E6-0A51-6E4B-B6E4-B59169F45E9C}"/>
                </a:ext>
              </a:extLst>
            </p:cNvPr>
            <p:cNvSpPr/>
            <p:nvPr/>
          </p:nvSpPr>
          <p:spPr>
            <a:xfrm>
              <a:off x="9478306" y="502183"/>
              <a:ext cx="251094" cy="26215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2"/>
                  </a:solidFill>
                  <a:latin typeface="Montserrat" pitchFamily="2" charset="77"/>
                  <a:ea typeface="Inter Light BETA" panose="020B0402030000000004" pitchFamily="34" charset="0"/>
                </a:rPr>
                <a:t>1</a:t>
              </a:r>
              <a:endParaRPr lang="es-AR" sz="900" b="1" spc="-8">
                <a:solidFill>
                  <a:schemeClr val="accent2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E9C78C9B-9B6A-4C40-A6A8-487106C6A223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2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grpSp>
        <p:nvGrpSpPr>
          <p:cNvPr id="4" name="Grupo 3">
            <a:extLst>
              <a:ext uri="{FF2B5EF4-FFF2-40B4-BE49-F238E27FC236}">
                <a16:creationId xmlns:a16="http://schemas.microsoft.com/office/drawing/2014/main" id="{6D394407-6438-C3DA-6502-CB85299CF833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DB69B491-F891-6538-8729-47ED9D28E6D0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2E9DD683-D504-B4A5-0FC7-20D919D63751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FED8963C-C1BD-22AE-AE17-338D40E77AAB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CFF0E1B3-82BA-F158-1715-A13061D05700}"/>
              </a:ext>
            </a:extLst>
          </p:cNvPr>
          <p:cNvSpPr/>
          <p:nvPr userDrawn="1"/>
        </p:nvSpPr>
        <p:spPr>
          <a:xfrm>
            <a:off x="1" y="0"/>
            <a:ext cx="674999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C1C6B8BD-230A-8ED9-7408-7E65F4A876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37" name="Rectángulo 36">
            <a:extLst>
              <a:ext uri="{FF2B5EF4-FFF2-40B4-BE49-F238E27FC236}">
                <a16:creationId xmlns:a16="http://schemas.microsoft.com/office/drawing/2014/main" id="{C5FC9A4F-BC80-1E05-3D69-9FB594DA2F18}"/>
              </a:ext>
            </a:extLst>
          </p:cNvPr>
          <p:cNvSpPr/>
          <p:nvPr userDrawn="1"/>
        </p:nvSpPr>
        <p:spPr>
          <a:xfrm>
            <a:off x="7541647" y="662752"/>
            <a:ext cx="992753" cy="882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b="1" i="0" spc="-8">
                <a:solidFill>
                  <a:schemeClr val="accent5"/>
                </a:solidFill>
                <a:latin typeface="Montserrat SemiBold" pitchFamily="2" charset="77"/>
                <a:ea typeface="Inter Light BETA" panose="020B0402030000000004" pitchFamily="34" charset="0"/>
              </a:rPr>
              <a:t>Internacional</a:t>
            </a: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EBF3EFDE-369E-D9BD-DE60-A0CE6FA3D42B}"/>
              </a:ext>
            </a:extLst>
          </p:cNvPr>
          <p:cNvSpPr>
            <a:spLocks noChangeAspect="1"/>
          </p:cNvSpPr>
          <p:nvPr userDrawn="1"/>
        </p:nvSpPr>
        <p:spPr>
          <a:xfrm>
            <a:off x="7320788" y="676831"/>
            <a:ext cx="54000" cy="54000"/>
          </a:xfrm>
          <a:prstGeom prst="rect">
            <a:avLst/>
          </a:prstGeom>
          <a:solidFill>
            <a:schemeClr val="accent5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28C8D95A-8C7D-94FD-FBC0-1DF4502E0CBB}"/>
              </a:ext>
            </a:extLst>
          </p:cNvPr>
          <p:cNvSpPr/>
          <p:nvPr userDrawn="1"/>
        </p:nvSpPr>
        <p:spPr>
          <a:xfrm>
            <a:off x="9054098" y="0"/>
            <a:ext cx="40500" cy="83610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AR" sz="1350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0116F30A-D804-F74F-DC40-D8023595CEE3}"/>
              </a:ext>
            </a:extLst>
          </p:cNvPr>
          <p:cNvSpPr/>
          <p:nvPr userDrawn="1"/>
        </p:nvSpPr>
        <p:spPr>
          <a:xfrm>
            <a:off x="9054098" y="847227"/>
            <a:ext cx="40500" cy="836109"/>
          </a:xfrm>
          <a:prstGeom prst="rect">
            <a:avLst/>
          </a:prstGeom>
          <a:solidFill>
            <a:srgbClr val="FFFFF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14BE10D5-5CB1-67EB-5DFE-8B1C41E75ECD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4F6F4C0E-C753-0196-8EC7-99AC5465ECD2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865EFA56-BED5-B030-6EE1-DD4D8FEE9B63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5690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cion 1 -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13">
            <a:extLst>
              <a:ext uri="{FF2B5EF4-FFF2-40B4-BE49-F238E27FC236}">
                <a16:creationId xmlns:a16="http://schemas.microsoft.com/office/drawing/2014/main" id="{F8CAD7CA-3B08-B246-BB4C-EF86CBA73333}"/>
              </a:ext>
            </a:extLst>
          </p:cNvPr>
          <p:cNvSpPr/>
          <p:nvPr userDrawn="1"/>
        </p:nvSpPr>
        <p:spPr>
          <a:xfrm>
            <a:off x="7541648" y="377002"/>
            <a:ext cx="5927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Contexto de Negocio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1673D28E-DED7-4048-8AFE-CCBFA10A009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o 15">
            <a:extLst>
              <a:ext uri="{FF2B5EF4-FFF2-40B4-BE49-F238E27FC236}">
                <a16:creationId xmlns:a16="http://schemas.microsoft.com/office/drawing/2014/main" id="{05906523-C985-B942-B83B-49C6E98A4B27}"/>
              </a:ext>
            </a:extLst>
          </p:cNvPr>
          <p:cNvGrpSpPr/>
          <p:nvPr userDrawn="1"/>
        </p:nvGrpSpPr>
        <p:grpSpPr>
          <a:xfrm>
            <a:off x="7248116" y="354270"/>
            <a:ext cx="199344" cy="199345"/>
            <a:chOff x="9408489" y="423661"/>
            <a:chExt cx="380492" cy="380492"/>
          </a:xfrm>
        </p:grpSpPr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D110D5E6-0A51-6E4B-B6E4-B59169F45E9C}"/>
                </a:ext>
              </a:extLst>
            </p:cNvPr>
            <p:cNvSpPr/>
            <p:nvPr/>
          </p:nvSpPr>
          <p:spPr>
            <a:xfrm>
              <a:off x="9478306" y="502183"/>
              <a:ext cx="251094" cy="26215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2"/>
                  </a:solidFill>
                  <a:latin typeface="Montserrat" pitchFamily="2" charset="77"/>
                  <a:ea typeface="Inter Light BETA" panose="020B0402030000000004" pitchFamily="34" charset="0"/>
                </a:rPr>
                <a:t>1</a:t>
              </a:r>
              <a:endParaRPr lang="es-AR" sz="900" b="1" spc="-8">
                <a:solidFill>
                  <a:schemeClr val="accent2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E9C78C9B-9B6A-4C40-A6A8-487106C6A223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2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grpSp>
        <p:nvGrpSpPr>
          <p:cNvPr id="4" name="Grupo 3">
            <a:extLst>
              <a:ext uri="{FF2B5EF4-FFF2-40B4-BE49-F238E27FC236}">
                <a16:creationId xmlns:a16="http://schemas.microsoft.com/office/drawing/2014/main" id="{6D394407-6438-C3DA-6502-CB85299CF833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DB69B491-F891-6538-8729-47ED9D28E6D0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2E9DD683-D504-B4A5-0FC7-20D919D63751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FED8963C-C1BD-22AE-AE17-338D40E77AAB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CFF0E1B3-82BA-F158-1715-A13061D05700}"/>
              </a:ext>
            </a:extLst>
          </p:cNvPr>
          <p:cNvSpPr/>
          <p:nvPr userDrawn="1"/>
        </p:nvSpPr>
        <p:spPr>
          <a:xfrm>
            <a:off x="1" y="0"/>
            <a:ext cx="674999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C1C6B8BD-230A-8ED9-7408-7E65F4A876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37" name="Rectángulo 36">
            <a:extLst>
              <a:ext uri="{FF2B5EF4-FFF2-40B4-BE49-F238E27FC236}">
                <a16:creationId xmlns:a16="http://schemas.microsoft.com/office/drawing/2014/main" id="{C5FC9A4F-BC80-1E05-3D69-9FB594DA2F18}"/>
              </a:ext>
            </a:extLst>
          </p:cNvPr>
          <p:cNvSpPr/>
          <p:nvPr userDrawn="1"/>
        </p:nvSpPr>
        <p:spPr>
          <a:xfrm>
            <a:off x="7541647" y="662752"/>
            <a:ext cx="992753" cy="882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b="1" i="0" spc="-8">
                <a:solidFill>
                  <a:schemeClr val="accent5"/>
                </a:solidFill>
                <a:latin typeface="Montserrat SemiBold" pitchFamily="2" charset="77"/>
                <a:ea typeface="Inter Light BETA" panose="020B0402030000000004" pitchFamily="34" charset="0"/>
              </a:rPr>
              <a:t>Internacional</a:t>
            </a: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EBF3EFDE-369E-D9BD-DE60-A0CE6FA3D42B}"/>
              </a:ext>
            </a:extLst>
          </p:cNvPr>
          <p:cNvSpPr>
            <a:spLocks noChangeAspect="1"/>
          </p:cNvSpPr>
          <p:nvPr userDrawn="1"/>
        </p:nvSpPr>
        <p:spPr>
          <a:xfrm>
            <a:off x="7320788" y="676831"/>
            <a:ext cx="54000" cy="54000"/>
          </a:xfrm>
          <a:prstGeom prst="rect">
            <a:avLst/>
          </a:prstGeom>
          <a:solidFill>
            <a:schemeClr val="accent5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28C8D95A-8C7D-94FD-FBC0-1DF4502E0CBB}"/>
              </a:ext>
            </a:extLst>
          </p:cNvPr>
          <p:cNvSpPr/>
          <p:nvPr userDrawn="1"/>
        </p:nvSpPr>
        <p:spPr>
          <a:xfrm>
            <a:off x="9054098" y="0"/>
            <a:ext cx="40500" cy="83610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AR" sz="1350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0116F30A-D804-F74F-DC40-D8023595CEE3}"/>
              </a:ext>
            </a:extLst>
          </p:cNvPr>
          <p:cNvSpPr/>
          <p:nvPr userDrawn="1"/>
        </p:nvSpPr>
        <p:spPr>
          <a:xfrm>
            <a:off x="9054098" y="847227"/>
            <a:ext cx="40500" cy="836109"/>
          </a:xfrm>
          <a:prstGeom prst="rect">
            <a:avLst/>
          </a:prstGeom>
          <a:solidFill>
            <a:srgbClr val="FFFFF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14BE10D5-5CB1-67EB-5DFE-8B1C41E75ECD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4AFF6175-9753-0AA1-F797-AA2F876B56E8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DAADF5A9-DCF8-1FA6-92B6-57B711C46BB5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56280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cion 1 -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7C87CB60-7D9B-0001-F39E-ACF91712C3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DC1D7673-11A2-1ED8-B36D-52FDF4BA880F}"/>
              </a:ext>
            </a:extLst>
          </p:cNvPr>
          <p:cNvSpPr/>
          <p:nvPr userDrawn="1"/>
        </p:nvSpPr>
        <p:spPr>
          <a:xfrm>
            <a:off x="7541648" y="377002"/>
            <a:ext cx="5927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Contexto de Negocio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9551854C-AA12-0A03-C1E0-FAF77C67BE1D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upo 4">
            <a:extLst>
              <a:ext uri="{FF2B5EF4-FFF2-40B4-BE49-F238E27FC236}">
                <a16:creationId xmlns:a16="http://schemas.microsoft.com/office/drawing/2014/main" id="{CB557876-0540-C50F-2CFA-B69D56D3CFFB}"/>
              </a:ext>
            </a:extLst>
          </p:cNvPr>
          <p:cNvGrpSpPr/>
          <p:nvPr userDrawn="1"/>
        </p:nvGrpSpPr>
        <p:grpSpPr>
          <a:xfrm>
            <a:off x="7248116" y="354270"/>
            <a:ext cx="199344" cy="199345"/>
            <a:chOff x="9408489" y="423661"/>
            <a:chExt cx="380492" cy="380492"/>
          </a:xfrm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DD28C8C0-DC32-4F66-50C9-780CD20BDB33}"/>
                </a:ext>
              </a:extLst>
            </p:cNvPr>
            <p:cNvSpPr/>
            <p:nvPr/>
          </p:nvSpPr>
          <p:spPr>
            <a:xfrm>
              <a:off x="9478306" y="502183"/>
              <a:ext cx="251094" cy="26215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2"/>
                  </a:solidFill>
                  <a:latin typeface="Montserrat" pitchFamily="2" charset="77"/>
                  <a:ea typeface="Inter Light BETA" panose="020B0402030000000004" pitchFamily="34" charset="0"/>
                </a:rPr>
                <a:t>1</a:t>
              </a:r>
              <a:endParaRPr lang="es-AR" sz="900" b="1" spc="-8">
                <a:solidFill>
                  <a:schemeClr val="accent2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7" name="Elipse 6">
              <a:extLst>
                <a:ext uri="{FF2B5EF4-FFF2-40B4-BE49-F238E27FC236}">
                  <a16:creationId xmlns:a16="http://schemas.microsoft.com/office/drawing/2014/main" id="{9C45E6CE-B917-6D83-460D-ED40A7B9242F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2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grpSp>
        <p:nvGrpSpPr>
          <p:cNvPr id="11" name="Grupo 10">
            <a:extLst>
              <a:ext uri="{FF2B5EF4-FFF2-40B4-BE49-F238E27FC236}">
                <a16:creationId xmlns:a16="http://schemas.microsoft.com/office/drawing/2014/main" id="{485B36B4-12F6-17B1-7757-35355F0DC86E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12" name="Rectángulo 11">
              <a:extLst>
                <a:ext uri="{FF2B5EF4-FFF2-40B4-BE49-F238E27FC236}">
                  <a16:creationId xmlns:a16="http://schemas.microsoft.com/office/drawing/2014/main" id="{FDD4D396-5B21-E225-EA24-F29DD2950C8E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30D60BF9-B293-3CA7-67E5-EEE22B1B4D6D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28754224-4122-E6D8-B1E5-76499E4B240F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</p:grpSp>
      <p:sp>
        <p:nvSpPr>
          <p:cNvPr id="30" name="Rectángulo 29">
            <a:extLst>
              <a:ext uri="{FF2B5EF4-FFF2-40B4-BE49-F238E27FC236}">
                <a16:creationId xmlns:a16="http://schemas.microsoft.com/office/drawing/2014/main" id="{60A75E18-520C-82CF-9BE5-32AA74F363E3}"/>
              </a:ext>
            </a:extLst>
          </p:cNvPr>
          <p:cNvSpPr/>
          <p:nvPr userDrawn="1"/>
        </p:nvSpPr>
        <p:spPr>
          <a:xfrm>
            <a:off x="7541647" y="662752"/>
            <a:ext cx="992753" cy="882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b="1" i="0" spc="-8">
                <a:solidFill>
                  <a:srgbClr val="FF945A"/>
                </a:solidFill>
                <a:latin typeface="Montserrat SemiBold" pitchFamily="2" charset="77"/>
                <a:ea typeface="Inter Light BETA" panose="020B0402030000000004" pitchFamily="34" charset="0"/>
              </a:rPr>
              <a:t>Local</a:t>
            </a: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83600045-84D6-A748-8770-BB84969E2385}"/>
              </a:ext>
            </a:extLst>
          </p:cNvPr>
          <p:cNvSpPr>
            <a:spLocks noChangeAspect="1"/>
          </p:cNvSpPr>
          <p:nvPr userDrawn="1"/>
        </p:nvSpPr>
        <p:spPr>
          <a:xfrm>
            <a:off x="7320788" y="676831"/>
            <a:ext cx="54000" cy="54000"/>
          </a:xfrm>
          <a:prstGeom prst="rect">
            <a:avLst/>
          </a:prstGeom>
          <a:solidFill>
            <a:srgbClr val="FF945A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7599B4C7-7E7C-175F-64E2-C5F4B8F89EF7}"/>
              </a:ext>
            </a:extLst>
          </p:cNvPr>
          <p:cNvSpPr/>
          <p:nvPr userDrawn="1"/>
        </p:nvSpPr>
        <p:spPr>
          <a:xfrm>
            <a:off x="9054098" y="0"/>
            <a:ext cx="40500" cy="836108"/>
          </a:xfrm>
          <a:prstGeom prst="rect">
            <a:avLst/>
          </a:prstGeom>
          <a:solidFill>
            <a:srgbClr val="FFFFF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AR" sz="1350"/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7B255778-2B44-A9E6-91D8-B544FABA3066}"/>
              </a:ext>
            </a:extLst>
          </p:cNvPr>
          <p:cNvSpPr/>
          <p:nvPr userDrawn="1"/>
        </p:nvSpPr>
        <p:spPr>
          <a:xfrm>
            <a:off x="9054098" y="848579"/>
            <a:ext cx="40500" cy="836109"/>
          </a:xfrm>
          <a:prstGeom prst="rect">
            <a:avLst/>
          </a:prstGeom>
          <a:solidFill>
            <a:srgbClr val="FF94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AR" sz="1350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F22026CD-F3F2-EEDE-1C7F-FD2F0D140C73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sp>
        <p:nvSpPr>
          <p:cNvPr id="10" name="Slide Number Placeholder 24">
            <a:extLst>
              <a:ext uri="{FF2B5EF4-FFF2-40B4-BE49-F238E27FC236}">
                <a16:creationId xmlns:a16="http://schemas.microsoft.com/office/drawing/2014/main" id="{2036077A-BC51-6834-524B-01645F74BC91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8565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cion 1 -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13">
            <a:extLst>
              <a:ext uri="{FF2B5EF4-FFF2-40B4-BE49-F238E27FC236}">
                <a16:creationId xmlns:a16="http://schemas.microsoft.com/office/drawing/2014/main" id="{F8CAD7CA-3B08-B246-BB4C-EF86CBA73333}"/>
              </a:ext>
            </a:extLst>
          </p:cNvPr>
          <p:cNvSpPr/>
          <p:nvPr userDrawn="1"/>
        </p:nvSpPr>
        <p:spPr>
          <a:xfrm>
            <a:off x="7541648" y="377002"/>
            <a:ext cx="5927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Contexto de Negocio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1673D28E-DED7-4048-8AFE-CCBFA10A009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o 15">
            <a:extLst>
              <a:ext uri="{FF2B5EF4-FFF2-40B4-BE49-F238E27FC236}">
                <a16:creationId xmlns:a16="http://schemas.microsoft.com/office/drawing/2014/main" id="{05906523-C985-B942-B83B-49C6E98A4B27}"/>
              </a:ext>
            </a:extLst>
          </p:cNvPr>
          <p:cNvGrpSpPr/>
          <p:nvPr userDrawn="1"/>
        </p:nvGrpSpPr>
        <p:grpSpPr>
          <a:xfrm>
            <a:off x="7248116" y="354270"/>
            <a:ext cx="199344" cy="199345"/>
            <a:chOff x="9408489" y="423661"/>
            <a:chExt cx="380492" cy="380492"/>
          </a:xfrm>
        </p:grpSpPr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D110D5E6-0A51-6E4B-B6E4-B59169F45E9C}"/>
                </a:ext>
              </a:extLst>
            </p:cNvPr>
            <p:cNvSpPr/>
            <p:nvPr/>
          </p:nvSpPr>
          <p:spPr>
            <a:xfrm>
              <a:off x="9478306" y="502183"/>
              <a:ext cx="251094" cy="26215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2"/>
                  </a:solidFill>
                  <a:latin typeface="Montserrat" pitchFamily="2" charset="77"/>
                  <a:ea typeface="Inter Light BETA" panose="020B0402030000000004" pitchFamily="34" charset="0"/>
                </a:rPr>
                <a:t>1</a:t>
              </a:r>
              <a:endParaRPr lang="es-AR" sz="900" b="1" spc="-8">
                <a:solidFill>
                  <a:schemeClr val="accent2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E9C78C9B-9B6A-4C40-A6A8-487106C6A223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2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grpSp>
        <p:nvGrpSpPr>
          <p:cNvPr id="4" name="Grupo 3">
            <a:extLst>
              <a:ext uri="{FF2B5EF4-FFF2-40B4-BE49-F238E27FC236}">
                <a16:creationId xmlns:a16="http://schemas.microsoft.com/office/drawing/2014/main" id="{6D394407-6438-C3DA-6502-CB85299CF833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DB69B491-F891-6538-8729-47ED9D28E6D0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2E9DD683-D504-B4A5-0FC7-20D919D63751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FED8963C-C1BD-22AE-AE17-338D40E77AAB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CFF0E1B3-82BA-F158-1715-A13061D05700}"/>
              </a:ext>
            </a:extLst>
          </p:cNvPr>
          <p:cNvSpPr/>
          <p:nvPr userDrawn="1"/>
        </p:nvSpPr>
        <p:spPr>
          <a:xfrm>
            <a:off x="40501" y="0"/>
            <a:ext cx="634499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C1C6B8BD-230A-8ED9-7408-7E65F4A876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33" name="Rectángulo 32">
            <a:extLst>
              <a:ext uri="{FF2B5EF4-FFF2-40B4-BE49-F238E27FC236}">
                <a16:creationId xmlns:a16="http://schemas.microsoft.com/office/drawing/2014/main" id="{4DD77444-BEAF-D69D-7E0E-E234D1165E02}"/>
              </a:ext>
            </a:extLst>
          </p:cNvPr>
          <p:cNvSpPr/>
          <p:nvPr userDrawn="1"/>
        </p:nvSpPr>
        <p:spPr>
          <a:xfrm>
            <a:off x="7541647" y="662752"/>
            <a:ext cx="992753" cy="882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b="1" i="0" spc="-8">
                <a:solidFill>
                  <a:srgbClr val="FF945A"/>
                </a:solidFill>
                <a:latin typeface="Montserrat SemiBold" pitchFamily="2" charset="77"/>
                <a:ea typeface="Inter Light BETA" panose="020B0402030000000004" pitchFamily="34" charset="0"/>
              </a:rPr>
              <a:t>Local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36B517CC-10BD-E01E-D954-380BBAEABE68}"/>
              </a:ext>
            </a:extLst>
          </p:cNvPr>
          <p:cNvSpPr>
            <a:spLocks noChangeAspect="1"/>
          </p:cNvSpPr>
          <p:nvPr userDrawn="1"/>
        </p:nvSpPr>
        <p:spPr>
          <a:xfrm>
            <a:off x="7320788" y="676831"/>
            <a:ext cx="54000" cy="54000"/>
          </a:xfrm>
          <a:prstGeom prst="rect">
            <a:avLst/>
          </a:prstGeom>
          <a:solidFill>
            <a:srgbClr val="FF945A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0D7D6BA9-E8FC-0F3F-6A24-01381A4145AD}"/>
              </a:ext>
            </a:extLst>
          </p:cNvPr>
          <p:cNvSpPr/>
          <p:nvPr userDrawn="1"/>
        </p:nvSpPr>
        <p:spPr>
          <a:xfrm>
            <a:off x="9054098" y="0"/>
            <a:ext cx="40500" cy="836108"/>
          </a:xfrm>
          <a:prstGeom prst="rect">
            <a:avLst/>
          </a:prstGeom>
          <a:solidFill>
            <a:srgbClr val="FFFFF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AR" sz="1350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29840294-D68E-1B64-1F5A-1BF35DCD1149}"/>
              </a:ext>
            </a:extLst>
          </p:cNvPr>
          <p:cNvSpPr/>
          <p:nvPr userDrawn="1"/>
        </p:nvSpPr>
        <p:spPr>
          <a:xfrm>
            <a:off x="9054098" y="848579"/>
            <a:ext cx="40500" cy="836109"/>
          </a:xfrm>
          <a:prstGeom prst="rect">
            <a:avLst/>
          </a:prstGeom>
          <a:solidFill>
            <a:srgbClr val="FF94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AR" sz="135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AD40491B-FB1C-A133-25B2-F94FDDE1F1C0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B56B4710-B745-9E80-5AC9-0CD3722587FC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43651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A2075481-8EBC-7246-BB1A-147D25652B2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357E103D-990D-DD64-85AE-078B50CB8405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bg1"/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590709CC-E4B4-99FB-AE66-08F11E02AC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4" name="Slide Number Placeholder 24">
            <a:extLst>
              <a:ext uri="{FF2B5EF4-FFF2-40B4-BE49-F238E27FC236}">
                <a16:creationId xmlns:a16="http://schemas.microsoft.com/office/drawing/2014/main" id="{3F282F7D-DA0A-B349-4A35-13654DF12F55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9588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ón 2 -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D09B8736-9469-B1BF-A58A-D54C01877D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C06F2BCB-D568-C9DC-0BDD-EDC017104B4A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6489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ón 2 -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1673D28E-DED7-4048-8AFE-CCBFA10A009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9082A85A-3897-F5C4-8FF9-E941E29DD0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6DD68935-AAE4-CBBB-9468-A0432B42F112}"/>
              </a:ext>
            </a:extLst>
          </p:cNvPr>
          <p:cNvSpPr/>
          <p:nvPr userDrawn="1"/>
        </p:nvSpPr>
        <p:spPr>
          <a:xfrm>
            <a:off x="7642452" y="377002"/>
            <a:ext cx="4384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Visión y Propósito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B5A07FA7-DB21-FD8B-30AA-A664E404E39F}"/>
              </a:ext>
            </a:extLst>
          </p:cNvPr>
          <p:cNvGrpSpPr/>
          <p:nvPr userDrawn="1"/>
        </p:nvGrpSpPr>
        <p:grpSpPr>
          <a:xfrm>
            <a:off x="7348919" y="354270"/>
            <a:ext cx="199344" cy="199345"/>
            <a:chOff x="9408489" y="423661"/>
            <a:chExt cx="380492" cy="380492"/>
          </a:xfrm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47524EAB-D7AA-E80C-D65A-806FAF8CBDE9}"/>
                </a:ext>
              </a:extLst>
            </p:cNvPr>
            <p:cNvSpPr/>
            <p:nvPr/>
          </p:nvSpPr>
          <p:spPr>
            <a:xfrm>
              <a:off x="9478306" y="502183"/>
              <a:ext cx="251094" cy="26215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3"/>
                  </a:solidFill>
                  <a:latin typeface="Montserrat" pitchFamily="2" charset="77"/>
                  <a:ea typeface="Inter Light BETA" panose="020B0402030000000004" pitchFamily="34" charset="0"/>
                </a:rPr>
                <a:t>2</a:t>
              </a:r>
              <a:endParaRPr lang="es-AR" sz="900" b="1" spc="-8">
                <a:solidFill>
                  <a:schemeClr val="accent3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7" name="Elipse 6">
              <a:extLst>
                <a:ext uri="{FF2B5EF4-FFF2-40B4-BE49-F238E27FC236}">
                  <a16:creationId xmlns:a16="http://schemas.microsoft.com/office/drawing/2014/main" id="{AF68BDFE-9ED2-D59D-3159-D75AAA59EE76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3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ACBF9ADC-3DDC-E247-FB3D-1CD75CC00A98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066C9FE7-254E-0F3E-3983-0BEBD2F1348F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95458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2-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4">
            <a:extLst>
              <a:ext uri="{FF2B5EF4-FFF2-40B4-BE49-F238E27FC236}">
                <a16:creationId xmlns:a16="http://schemas.microsoft.com/office/drawing/2014/main" id="{AEDD53C5-86DA-4B44-BD7F-682A0C165725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727276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727276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1673D28E-DED7-4048-8AFE-CCBFA10A009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DA859D1F-D6FE-0C49-B6BA-539AC57A107A}"/>
              </a:ext>
            </a:extLst>
          </p:cNvPr>
          <p:cNvSpPr/>
          <p:nvPr userDrawn="1"/>
        </p:nvSpPr>
        <p:spPr>
          <a:xfrm>
            <a:off x="7642452" y="377002"/>
            <a:ext cx="4384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Visión y Propósito</a:t>
            </a:r>
          </a:p>
        </p:txBody>
      </p:sp>
      <p:grpSp>
        <p:nvGrpSpPr>
          <p:cNvPr id="31" name="Grupo 30">
            <a:extLst>
              <a:ext uri="{FF2B5EF4-FFF2-40B4-BE49-F238E27FC236}">
                <a16:creationId xmlns:a16="http://schemas.microsoft.com/office/drawing/2014/main" id="{665C0BC2-30A3-B74C-A6A5-B5083652E4A3}"/>
              </a:ext>
            </a:extLst>
          </p:cNvPr>
          <p:cNvGrpSpPr/>
          <p:nvPr userDrawn="1"/>
        </p:nvGrpSpPr>
        <p:grpSpPr>
          <a:xfrm>
            <a:off x="7348919" y="354270"/>
            <a:ext cx="199344" cy="199345"/>
            <a:chOff x="9408489" y="423661"/>
            <a:chExt cx="380492" cy="380492"/>
          </a:xfrm>
        </p:grpSpPr>
        <p:sp>
          <p:nvSpPr>
            <p:cNvPr id="32" name="Rectángulo 31">
              <a:extLst>
                <a:ext uri="{FF2B5EF4-FFF2-40B4-BE49-F238E27FC236}">
                  <a16:creationId xmlns:a16="http://schemas.microsoft.com/office/drawing/2014/main" id="{26CB3E22-8B25-9045-BB65-686F50D8626B}"/>
                </a:ext>
              </a:extLst>
            </p:cNvPr>
            <p:cNvSpPr/>
            <p:nvPr/>
          </p:nvSpPr>
          <p:spPr>
            <a:xfrm>
              <a:off x="9478306" y="502183"/>
              <a:ext cx="251094" cy="26215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3"/>
                  </a:solidFill>
                  <a:latin typeface="Montserrat" pitchFamily="2" charset="77"/>
                  <a:ea typeface="Inter Light BETA" panose="020B0402030000000004" pitchFamily="34" charset="0"/>
                </a:rPr>
                <a:t>2</a:t>
              </a:r>
              <a:endParaRPr lang="es-AR" sz="900" b="1" spc="-8">
                <a:solidFill>
                  <a:schemeClr val="accent3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33" name="Elipse 32">
              <a:extLst>
                <a:ext uri="{FF2B5EF4-FFF2-40B4-BE49-F238E27FC236}">
                  <a16:creationId xmlns:a16="http://schemas.microsoft.com/office/drawing/2014/main" id="{DEBA5776-7594-8944-90ED-68D19B785605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3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pic>
        <p:nvPicPr>
          <p:cNvPr id="3" name="Gráfico 2">
            <a:extLst>
              <a:ext uri="{FF2B5EF4-FFF2-40B4-BE49-F238E27FC236}">
                <a16:creationId xmlns:a16="http://schemas.microsoft.com/office/drawing/2014/main" id="{AA4FEF1D-8068-977A-3E43-1BE690739D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grpSp>
        <p:nvGrpSpPr>
          <p:cNvPr id="4" name="Grupo 3">
            <a:extLst>
              <a:ext uri="{FF2B5EF4-FFF2-40B4-BE49-F238E27FC236}">
                <a16:creationId xmlns:a16="http://schemas.microsoft.com/office/drawing/2014/main" id="{78BA94F7-B57B-A22B-4267-D552851AAEFA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A628A33F-73EE-A50F-D2E8-8EB03F243834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AR" sz="1350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5F75AB8F-9883-AC6A-8FFC-01737A35FF74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21057AD4-F656-AB1B-FD7D-EE32B41D9081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286BC8D5-179E-40A7-65F4-57980BA0EFA0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</p:spTree>
    <p:extLst>
      <p:ext uri="{BB962C8B-B14F-4D97-AF65-F5344CB8AC3E}">
        <p14:creationId xmlns:p14="http://schemas.microsoft.com/office/powerpoint/2010/main" val="22653965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ción 2 -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>
            <a:extLst>
              <a:ext uri="{FF2B5EF4-FFF2-40B4-BE49-F238E27FC236}">
                <a16:creationId xmlns:a16="http://schemas.microsoft.com/office/drawing/2014/main" id="{56556026-970A-3244-807E-071EEDB3F88B}"/>
              </a:ext>
            </a:extLst>
          </p:cNvPr>
          <p:cNvSpPr/>
          <p:nvPr userDrawn="1"/>
        </p:nvSpPr>
        <p:spPr>
          <a:xfrm>
            <a:off x="40501" y="0"/>
            <a:ext cx="634499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49C1E516-8B19-73B5-E497-D2983CE72F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12" name="Slide Number Placeholder 24">
            <a:extLst>
              <a:ext uri="{FF2B5EF4-FFF2-40B4-BE49-F238E27FC236}">
                <a16:creationId xmlns:a16="http://schemas.microsoft.com/office/drawing/2014/main" id="{648BA7DE-D139-7B97-E693-8D4DC38A1C3A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90E08C4-6212-33D6-7B7B-2D64EC8BDE5B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:a16="http://schemas.microsoft.com/office/drawing/2014/main" id="{65643504-EFF1-9F3C-CFF4-7DF5656C66BD}"/>
              </a:ext>
            </a:extLst>
          </p:cNvPr>
          <p:cNvSpPr/>
          <p:nvPr userDrawn="1"/>
        </p:nvSpPr>
        <p:spPr>
          <a:xfrm>
            <a:off x="7642452" y="377002"/>
            <a:ext cx="4384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Visión y Propósito</a:t>
            </a: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D9EDB6A2-567E-3286-8D3E-FAB17CBB7DAE}"/>
              </a:ext>
            </a:extLst>
          </p:cNvPr>
          <p:cNvGrpSpPr/>
          <p:nvPr userDrawn="1"/>
        </p:nvGrpSpPr>
        <p:grpSpPr>
          <a:xfrm>
            <a:off x="7348919" y="354270"/>
            <a:ext cx="199344" cy="199345"/>
            <a:chOff x="9408489" y="423661"/>
            <a:chExt cx="380492" cy="380492"/>
          </a:xfrm>
        </p:grpSpPr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AC32203A-283F-1CD8-E99F-8863DE00C1AE}"/>
                </a:ext>
              </a:extLst>
            </p:cNvPr>
            <p:cNvSpPr/>
            <p:nvPr/>
          </p:nvSpPr>
          <p:spPr>
            <a:xfrm>
              <a:off x="9478306" y="502183"/>
              <a:ext cx="251094" cy="26215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3"/>
                  </a:solidFill>
                  <a:latin typeface="Montserrat" pitchFamily="2" charset="77"/>
                  <a:ea typeface="Inter Light BETA" panose="020B0402030000000004" pitchFamily="34" charset="0"/>
                </a:rPr>
                <a:t>2</a:t>
              </a:r>
              <a:endParaRPr lang="es-AR" sz="900" b="1" spc="-8">
                <a:solidFill>
                  <a:schemeClr val="accent3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A13584E6-56B0-489A-C912-97E0867EC697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3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grpSp>
        <p:nvGrpSpPr>
          <p:cNvPr id="20" name="Grupo 19">
            <a:extLst>
              <a:ext uri="{FF2B5EF4-FFF2-40B4-BE49-F238E27FC236}">
                <a16:creationId xmlns:a16="http://schemas.microsoft.com/office/drawing/2014/main" id="{E5167308-3B6F-CC1E-E74A-7F95C39A99BE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1084DF17-37AA-8699-6F35-90C469E543C4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AR" sz="1350"/>
            </a:p>
          </p:txBody>
        </p:sp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605BF264-9FCC-CE1D-84E7-F073C343147E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id="{ACE656E8-AAC5-ADFB-5418-D41EFCD67465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</p:grpSp>
      <p:sp>
        <p:nvSpPr>
          <p:cNvPr id="2" name="Rectángulo 1">
            <a:extLst>
              <a:ext uri="{FF2B5EF4-FFF2-40B4-BE49-F238E27FC236}">
                <a16:creationId xmlns:a16="http://schemas.microsoft.com/office/drawing/2014/main" id="{C13ACDB5-D559-BFDA-2D1F-A5F757EAEEDC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</p:spTree>
    <p:extLst>
      <p:ext uri="{BB962C8B-B14F-4D97-AF65-F5344CB8AC3E}">
        <p14:creationId xmlns:p14="http://schemas.microsoft.com/office/powerpoint/2010/main" val="3930877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0 -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rgbClr val="3C0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1B2F60AB-B23E-9D43-97E8-3E70C43E4004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C9C14DCC-8287-7245-93AE-C44BCD477F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áfico 1">
            <a:extLst>
              <a:ext uri="{FF2B5EF4-FFF2-40B4-BE49-F238E27FC236}">
                <a16:creationId xmlns:a16="http://schemas.microsoft.com/office/drawing/2014/main" id="{A8CED2F8-34A2-2495-3C42-97550E4814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3" name="Slide Number Placeholder 24">
            <a:extLst>
              <a:ext uri="{FF2B5EF4-FFF2-40B4-BE49-F238E27FC236}">
                <a16:creationId xmlns:a16="http://schemas.microsoft.com/office/drawing/2014/main" id="{7195CC55-9FCF-41EB-6E11-EDB8BC17A97D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12724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4">
            <a:extLst>
              <a:ext uri="{FF2B5EF4-FFF2-40B4-BE49-F238E27FC236}">
                <a16:creationId xmlns:a16="http://schemas.microsoft.com/office/drawing/2014/main" id="{AEDD53C5-86DA-4B44-BD7F-682A0C165725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A2075481-8EBC-7246-BB1A-147D25652B2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357E103D-990D-DD64-85AE-078B50CB8405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bg1"/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590709CC-E4B4-99FB-AE66-08F11E02AC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968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3 -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4">
            <a:extLst>
              <a:ext uri="{FF2B5EF4-FFF2-40B4-BE49-F238E27FC236}">
                <a16:creationId xmlns:a16="http://schemas.microsoft.com/office/drawing/2014/main" id="{AEDD53C5-86DA-4B44-BD7F-682A0C165725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727276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727276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91D05A05-6467-A115-F424-5A07AD7D17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490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3 -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4">
            <a:extLst>
              <a:ext uri="{FF2B5EF4-FFF2-40B4-BE49-F238E27FC236}">
                <a16:creationId xmlns:a16="http://schemas.microsoft.com/office/drawing/2014/main" id="{AEDD53C5-86DA-4B44-BD7F-682A0C165725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727276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727276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1673D28E-DED7-4048-8AFE-CCBFA10A009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89563BF4-7808-FE4A-967A-840CBBA88F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CFBB5E9B-20AD-EA55-6729-CB09884CAFC0}"/>
              </a:ext>
            </a:extLst>
          </p:cNvPr>
          <p:cNvSpPr/>
          <p:nvPr userDrawn="1"/>
        </p:nvSpPr>
        <p:spPr>
          <a:xfrm>
            <a:off x="7167661" y="377002"/>
            <a:ext cx="9275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Desafíos Estratégicos Planteados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78BD7B2E-0C08-5B80-5524-E73F5C764902}"/>
              </a:ext>
            </a:extLst>
          </p:cNvPr>
          <p:cNvGrpSpPr/>
          <p:nvPr userDrawn="1"/>
        </p:nvGrpSpPr>
        <p:grpSpPr>
          <a:xfrm>
            <a:off x="6874127" y="354270"/>
            <a:ext cx="199344" cy="199345"/>
            <a:chOff x="9408489" y="423661"/>
            <a:chExt cx="380492" cy="380492"/>
          </a:xfrm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F132768A-B66A-E759-6AA8-194DBFAEF1AF}"/>
                </a:ext>
              </a:extLst>
            </p:cNvPr>
            <p:cNvSpPr/>
            <p:nvPr/>
          </p:nvSpPr>
          <p:spPr>
            <a:xfrm>
              <a:off x="9486699" y="502183"/>
              <a:ext cx="251094" cy="26215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4"/>
                  </a:solidFill>
                  <a:latin typeface="Montserrat" pitchFamily="2" charset="77"/>
                  <a:ea typeface="Inter Light BETA" panose="020B0402030000000004" pitchFamily="34" charset="0"/>
                </a:rPr>
                <a:t>3</a:t>
              </a:r>
              <a:endParaRPr lang="es-AR" sz="900" b="1" spc="-8">
                <a:solidFill>
                  <a:schemeClr val="accent4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7" name="Elipse 6">
              <a:extLst>
                <a:ext uri="{FF2B5EF4-FFF2-40B4-BE49-F238E27FC236}">
                  <a16:creationId xmlns:a16="http://schemas.microsoft.com/office/drawing/2014/main" id="{40E37A84-05B0-61E1-DAB2-480DBD33A4CD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4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014784E1-470C-FA4B-F0FA-5D7E6CD1685D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</p:spTree>
    <p:extLst>
      <p:ext uri="{BB962C8B-B14F-4D97-AF65-F5344CB8AC3E}">
        <p14:creationId xmlns:p14="http://schemas.microsoft.com/office/powerpoint/2010/main" val="38892773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3 -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4">
            <a:extLst>
              <a:ext uri="{FF2B5EF4-FFF2-40B4-BE49-F238E27FC236}">
                <a16:creationId xmlns:a16="http://schemas.microsoft.com/office/drawing/2014/main" id="{AEDD53C5-86DA-4B44-BD7F-682A0C165725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727276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727276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:a16="http://schemas.microsoft.com/office/drawing/2014/main" id="{F8CAD7CA-3B08-B246-BB4C-EF86CBA73333}"/>
              </a:ext>
            </a:extLst>
          </p:cNvPr>
          <p:cNvSpPr/>
          <p:nvPr userDrawn="1"/>
        </p:nvSpPr>
        <p:spPr>
          <a:xfrm>
            <a:off x="7167661" y="377002"/>
            <a:ext cx="9275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Desafíos Estratégicos Planteados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1673D28E-DED7-4048-8AFE-CCBFA10A009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o 15">
            <a:extLst>
              <a:ext uri="{FF2B5EF4-FFF2-40B4-BE49-F238E27FC236}">
                <a16:creationId xmlns:a16="http://schemas.microsoft.com/office/drawing/2014/main" id="{05906523-C985-B942-B83B-49C6E98A4B27}"/>
              </a:ext>
            </a:extLst>
          </p:cNvPr>
          <p:cNvGrpSpPr/>
          <p:nvPr userDrawn="1"/>
        </p:nvGrpSpPr>
        <p:grpSpPr>
          <a:xfrm>
            <a:off x="6874127" y="354270"/>
            <a:ext cx="199344" cy="199345"/>
            <a:chOff x="9408489" y="423661"/>
            <a:chExt cx="380492" cy="380492"/>
          </a:xfrm>
        </p:grpSpPr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D110D5E6-0A51-6E4B-B6E4-B59169F45E9C}"/>
                </a:ext>
              </a:extLst>
            </p:cNvPr>
            <p:cNvSpPr/>
            <p:nvPr/>
          </p:nvSpPr>
          <p:spPr>
            <a:xfrm>
              <a:off x="9486699" y="502183"/>
              <a:ext cx="251094" cy="26215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4"/>
                  </a:solidFill>
                  <a:latin typeface="Montserrat" pitchFamily="2" charset="77"/>
                  <a:ea typeface="Inter Light BETA" panose="020B0402030000000004" pitchFamily="34" charset="0"/>
                </a:rPr>
                <a:t>3</a:t>
              </a:r>
              <a:endParaRPr lang="es-AR" sz="900" b="1" spc="-8">
                <a:solidFill>
                  <a:schemeClr val="accent4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E9C78C9B-9B6A-4C40-A6A8-487106C6A223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4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CDE7B53A-2D29-B4DE-3C24-DBAA783291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grpSp>
        <p:nvGrpSpPr>
          <p:cNvPr id="4" name="Grupo 3">
            <a:extLst>
              <a:ext uri="{FF2B5EF4-FFF2-40B4-BE49-F238E27FC236}">
                <a16:creationId xmlns:a16="http://schemas.microsoft.com/office/drawing/2014/main" id="{8478B874-8E1A-29AC-E78E-C1F829B0F29C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D88833F9-AF5C-71DB-FDAE-61C1703645B0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AR" sz="1350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47072151-030D-7BC4-20FA-EFB1BEF5C73A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292D455D-5B83-F2D5-B7CA-5F48ABD5BBFA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77150A67-75D8-ED88-E36A-6A71B3133E7C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</p:spTree>
    <p:extLst>
      <p:ext uri="{BB962C8B-B14F-4D97-AF65-F5344CB8AC3E}">
        <p14:creationId xmlns:p14="http://schemas.microsoft.com/office/powerpoint/2010/main" val="26457011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cion 3 -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>
            <a:extLst>
              <a:ext uri="{FF2B5EF4-FFF2-40B4-BE49-F238E27FC236}">
                <a16:creationId xmlns:a16="http://schemas.microsoft.com/office/drawing/2014/main" id="{7EDA012C-E02B-8E6E-B1A6-A7D946E8992D}"/>
              </a:ext>
            </a:extLst>
          </p:cNvPr>
          <p:cNvSpPr/>
          <p:nvPr userDrawn="1"/>
        </p:nvSpPr>
        <p:spPr>
          <a:xfrm>
            <a:off x="40501" y="0"/>
            <a:ext cx="634499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51601F98-2FF5-6450-CB2F-05D39D899F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12" name="Slide Number Placeholder 24">
            <a:extLst>
              <a:ext uri="{FF2B5EF4-FFF2-40B4-BE49-F238E27FC236}">
                <a16:creationId xmlns:a16="http://schemas.microsoft.com/office/drawing/2014/main" id="{19BF925F-308E-E1AB-3AD9-D1F06C0E6A81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9934DC1F-B1EF-19A3-9D09-7152E0C424B1}"/>
              </a:ext>
            </a:extLst>
          </p:cNvPr>
          <p:cNvSpPr/>
          <p:nvPr userDrawn="1"/>
        </p:nvSpPr>
        <p:spPr>
          <a:xfrm>
            <a:off x="7167661" y="377002"/>
            <a:ext cx="9275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Desafíos Estratégicos Planteados</a:t>
            </a: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DF9A2EC6-4ED4-38B2-DE13-0814B4F14264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o 15">
            <a:extLst>
              <a:ext uri="{FF2B5EF4-FFF2-40B4-BE49-F238E27FC236}">
                <a16:creationId xmlns:a16="http://schemas.microsoft.com/office/drawing/2014/main" id="{A76A0D13-E69F-9ECC-54C2-7934DD6D9B6C}"/>
              </a:ext>
            </a:extLst>
          </p:cNvPr>
          <p:cNvGrpSpPr/>
          <p:nvPr userDrawn="1"/>
        </p:nvGrpSpPr>
        <p:grpSpPr>
          <a:xfrm>
            <a:off x="6874127" y="354270"/>
            <a:ext cx="199344" cy="199345"/>
            <a:chOff x="9408489" y="423661"/>
            <a:chExt cx="380492" cy="380492"/>
          </a:xfrm>
        </p:grpSpPr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B503A391-306B-193A-D68F-192A7E219DBD}"/>
                </a:ext>
              </a:extLst>
            </p:cNvPr>
            <p:cNvSpPr/>
            <p:nvPr/>
          </p:nvSpPr>
          <p:spPr>
            <a:xfrm>
              <a:off x="9486699" y="502183"/>
              <a:ext cx="251094" cy="26215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4"/>
                  </a:solidFill>
                  <a:latin typeface="Montserrat" pitchFamily="2" charset="77"/>
                  <a:ea typeface="Inter Light BETA" panose="020B0402030000000004" pitchFamily="34" charset="0"/>
                </a:rPr>
                <a:t>3</a:t>
              </a:r>
              <a:endParaRPr lang="es-AR" sz="900" b="1" spc="-8">
                <a:solidFill>
                  <a:schemeClr val="accent4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71E1E911-0671-C647-F54F-DD3292911E86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4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grpSp>
        <p:nvGrpSpPr>
          <p:cNvPr id="20" name="Grupo 19">
            <a:extLst>
              <a:ext uri="{FF2B5EF4-FFF2-40B4-BE49-F238E27FC236}">
                <a16:creationId xmlns:a16="http://schemas.microsoft.com/office/drawing/2014/main" id="{8735C356-92E4-6463-3CC4-AED0BA05B965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D632A5DC-994F-E2E1-8543-A7A7BCCA9D5D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AR" sz="1350"/>
            </a:p>
          </p:txBody>
        </p:sp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D6AEBD80-B951-CA5A-338F-59D0C9D4296D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id="{FFB52E36-7EFA-64A1-FFF2-8A818F71AF72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</p:grpSp>
      <p:sp>
        <p:nvSpPr>
          <p:cNvPr id="3" name="Rectángulo 2">
            <a:extLst>
              <a:ext uri="{FF2B5EF4-FFF2-40B4-BE49-F238E27FC236}">
                <a16:creationId xmlns:a16="http://schemas.microsoft.com/office/drawing/2014/main" id="{6EBB7B56-19B7-C679-1CE3-BC9FC8510A97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</p:spTree>
    <p:extLst>
      <p:ext uri="{BB962C8B-B14F-4D97-AF65-F5344CB8AC3E}">
        <p14:creationId xmlns:p14="http://schemas.microsoft.com/office/powerpoint/2010/main" val="31086987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cion 1 -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13">
            <a:extLst>
              <a:ext uri="{FF2B5EF4-FFF2-40B4-BE49-F238E27FC236}">
                <a16:creationId xmlns:a16="http://schemas.microsoft.com/office/drawing/2014/main" id="{F8CAD7CA-3B08-B246-BB4C-EF86CBA73333}"/>
              </a:ext>
            </a:extLst>
          </p:cNvPr>
          <p:cNvSpPr/>
          <p:nvPr userDrawn="1"/>
        </p:nvSpPr>
        <p:spPr>
          <a:xfrm>
            <a:off x="7541648" y="377002"/>
            <a:ext cx="5927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Contexto de Negocio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1673D28E-DED7-4048-8AFE-CCBFA10A009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o 15">
            <a:extLst>
              <a:ext uri="{FF2B5EF4-FFF2-40B4-BE49-F238E27FC236}">
                <a16:creationId xmlns:a16="http://schemas.microsoft.com/office/drawing/2014/main" id="{05906523-C985-B942-B83B-49C6E98A4B27}"/>
              </a:ext>
            </a:extLst>
          </p:cNvPr>
          <p:cNvGrpSpPr/>
          <p:nvPr userDrawn="1"/>
        </p:nvGrpSpPr>
        <p:grpSpPr>
          <a:xfrm>
            <a:off x="7248116" y="354270"/>
            <a:ext cx="199344" cy="199345"/>
            <a:chOff x="9408489" y="423661"/>
            <a:chExt cx="380492" cy="380492"/>
          </a:xfrm>
        </p:grpSpPr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D110D5E6-0A51-6E4B-B6E4-B59169F45E9C}"/>
                </a:ext>
              </a:extLst>
            </p:cNvPr>
            <p:cNvSpPr/>
            <p:nvPr/>
          </p:nvSpPr>
          <p:spPr>
            <a:xfrm>
              <a:off x="9478306" y="502183"/>
              <a:ext cx="251094" cy="26215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2"/>
                  </a:solidFill>
                  <a:latin typeface="Montserrat" pitchFamily="2" charset="77"/>
                  <a:ea typeface="Inter Light BETA" panose="020B0402030000000004" pitchFamily="34" charset="0"/>
                </a:rPr>
                <a:t>1</a:t>
              </a:r>
              <a:endParaRPr lang="es-AR" sz="900" b="1" spc="-8">
                <a:solidFill>
                  <a:schemeClr val="accent2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E9C78C9B-9B6A-4C40-A6A8-487106C6A223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2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grpSp>
        <p:nvGrpSpPr>
          <p:cNvPr id="4" name="Grupo 3">
            <a:extLst>
              <a:ext uri="{FF2B5EF4-FFF2-40B4-BE49-F238E27FC236}">
                <a16:creationId xmlns:a16="http://schemas.microsoft.com/office/drawing/2014/main" id="{6D394407-6438-C3DA-6502-CB85299CF833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DB69B491-F891-6538-8729-47ED9D28E6D0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2E9DD683-D504-B4A5-0FC7-20D919D63751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FED8963C-C1BD-22AE-AE17-338D40E77AAB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CFF0E1B3-82BA-F158-1715-A13061D05700}"/>
              </a:ext>
            </a:extLst>
          </p:cNvPr>
          <p:cNvSpPr/>
          <p:nvPr userDrawn="1"/>
        </p:nvSpPr>
        <p:spPr>
          <a:xfrm>
            <a:off x="40501" y="0"/>
            <a:ext cx="634499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C1C6B8BD-230A-8ED9-7408-7E65F4A876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12" name="Slide Number Placeholder 24">
            <a:extLst>
              <a:ext uri="{FF2B5EF4-FFF2-40B4-BE49-F238E27FC236}">
                <a16:creationId xmlns:a16="http://schemas.microsoft.com/office/drawing/2014/main" id="{2CC20526-819D-BAE8-2976-40266E5CE357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4D47574E-C34E-52D9-3656-CEBD47BFEC66}"/>
              </a:ext>
            </a:extLst>
          </p:cNvPr>
          <p:cNvGrpSpPr/>
          <p:nvPr userDrawn="1"/>
        </p:nvGrpSpPr>
        <p:grpSpPr>
          <a:xfrm>
            <a:off x="9066005" y="0"/>
            <a:ext cx="40500" cy="1683336"/>
            <a:chOff x="8207350" y="0"/>
            <a:chExt cx="54000" cy="6858000"/>
          </a:xfrm>
        </p:grpSpPr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873B2324-0E69-3A91-EE92-1D6AFDA7669D}"/>
                </a:ext>
              </a:extLst>
            </p:cNvPr>
            <p:cNvSpPr/>
            <p:nvPr userDrawn="1"/>
          </p:nvSpPr>
          <p:spPr>
            <a:xfrm>
              <a:off x="8207350" y="0"/>
              <a:ext cx="54000" cy="1681200"/>
            </a:xfrm>
            <a:prstGeom prst="rect">
              <a:avLst/>
            </a:prstGeom>
            <a:solidFill>
              <a:srgbClr val="FFFFFF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AR" sz="1350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78F0248A-C644-ACC0-104F-2BF58564ACAF}"/>
                </a:ext>
              </a:extLst>
            </p:cNvPr>
            <p:cNvSpPr/>
            <p:nvPr userDrawn="1"/>
          </p:nvSpPr>
          <p:spPr>
            <a:xfrm>
              <a:off x="8207350" y="1725150"/>
              <a:ext cx="54000" cy="1681200"/>
            </a:xfrm>
            <a:prstGeom prst="rect">
              <a:avLst/>
            </a:prstGeom>
            <a:solidFill>
              <a:srgbClr val="FFFFFF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79F1BD9F-0199-AB57-D363-59BEFA645C82}"/>
                </a:ext>
              </a:extLst>
            </p:cNvPr>
            <p:cNvSpPr/>
            <p:nvPr userDrawn="1"/>
          </p:nvSpPr>
          <p:spPr>
            <a:xfrm>
              <a:off x="8207350" y="3451650"/>
              <a:ext cx="54000" cy="1681200"/>
            </a:xfrm>
            <a:prstGeom prst="rect">
              <a:avLst/>
            </a:prstGeom>
            <a:solidFill>
              <a:srgbClr val="FF94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BE539490-C4D1-FEBA-5D3A-8C7D2E9B4F88}"/>
                </a:ext>
              </a:extLst>
            </p:cNvPr>
            <p:cNvSpPr/>
            <p:nvPr userDrawn="1"/>
          </p:nvSpPr>
          <p:spPr>
            <a:xfrm>
              <a:off x="8207350" y="5176800"/>
              <a:ext cx="54000" cy="1681200"/>
            </a:xfrm>
            <a:prstGeom prst="rect">
              <a:avLst/>
            </a:prstGeom>
            <a:solidFill>
              <a:srgbClr val="FFFFFF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</p:grpSp>
      <p:sp>
        <p:nvSpPr>
          <p:cNvPr id="33" name="Rectángulo 32">
            <a:extLst>
              <a:ext uri="{FF2B5EF4-FFF2-40B4-BE49-F238E27FC236}">
                <a16:creationId xmlns:a16="http://schemas.microsoft.com/office/drawing/2014/main" id="{0AEAF929-921A-6DDC-95D8-F4183D0DABDE}"/>
              </a:ext>
            </a:extLst>
          </p:cNvPr>
          <p:cNvSpPr/>
          <p:nvPr userDrawn="1"/>
        </p:nvSpPr>
        <p:spPr>
          <a:xfrm>
            <a:off x="7541647" y="662752"/>
            <a:ext cx="992753" cy="882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b="1" i="0" spc="-8">
                <a:solidFill>
                  <a:srgbClr val="FF945A"/>
                </a:solidFill>
                <a:latin typeface="Montserrat SemiBold" pitchFamily="2" charset="77"/>
                <a:ea typeface="Inter Light BETA" panose="020B0402030000000004" pitchFamily="34" charset="0"/>
              </a:rPr>
              <a:t>Mercado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4FDA21C5-E36B-4515-5EC1-E5147FF79823}"/>
              </a:ext>
            </a:extLst>
          </p:cNvPr>
          <p:cNvSpPr>
            <a:spLocks noChangeAspect="1"/>
          </p:cNvSpPr>
          <p:nvPr userDrawn="1"/>
        </p:nvSpPr>
        <p:spPr>
          <a:xfrm>
            <a:off x="7320788" y="676831"/>
            <a:ext cx="54000" cy="54000"/>
          </a:xfrm>
          <a:prstGeom prst="rect">
            <a:avLst/>
          </a:prstGeom>
          <a:solidFill>
            <a:srgbClr val="FF945A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CDE6AFE8-1CD1-4169-2EB7-AB2E8DE04109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</p:spTree>
    <p:extLst>
      <p:ext uri="{BB962C8B-B14F-4D97-AF65-F5344CB8AC3E}">
        <p14:creationId xmlns:p14="http://schemas.microsoft.com/office/powerpoint/2010/main" val="25072502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cion 1 -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13">
            <a:extLst>
              <a:ext uri="{FF2B5EF4-FFF2-40B4-BE49-F238E27FC236}">
                <a16:creationId xmlns:a16="http://schemas.microsoft.com/office/drawing/2014/main" id="{F8CAD7CA-3B08-B246-BB4C-EF86CBA73333}"/>
              </a:ext>
            </a:extLst>
          </p:cNvPr>
          <p:cNvSpPr/>
          <p:nvPr userDrawn="1"/>
        </p:nvSpPr>
        <p:spPr>
          <a:xfrm>
            <a:off x="7541648" y="377002"/>
            <a:ext cx="592703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Contexto de Negocio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1673D28E-DED7-4048-8AFE-CCBFA10A009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1"/>
            <a:ext cx="0" cy="553588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o 15">
            <a:extLst>
              <a:ext uri="{FF2B5EF4-FFF2-40B4-BE49-F238E27FC236}">
                <a16:creationId xmlns:a16="http://schemas.microsoft.com/office/drawing/2014/main" id="{05906523-C985-B942-B83B-49C6E98A4B27}"/>
              </a:ext>
            </a:extLst>
          </p:cNvPr>
          <p:cNvGrpSpPr/>
          <p:nvPr userDrawn="1"/>
        </p:nvGrpSpPr>
        <p:grpSpPr>
          <a:xfrm>
            <a:off x="7248116" y="354270"/>
            <a:ext cx="199344" cy="199345"/>
            <a:chOff x="9408489" y="423661"/>
            <a:chExt cx="380492" cy="380492"/>
          </a:xfrm>
        </p:grpSpPr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D110D5E6-0A51-6E4B-B6E4-B59169F45E9C}"/>
                </a:ext>
              </a:extLst>
            </p:cNvPr>
            <p:cNvSpPr/>
            <p:nvPr/>
          </p:nvSpPr>
          <p:spPr>
            <a:xfrm>
              <a:off x="9478306" y="502183"/>
              <a:ext cx="251094" cy="26215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s-AR" sz="1050" b="1" spc="-8">
                  <a:solidFill>
                    <a:schemeClr val="accent2"/>
                  </a:solidFill>
                  <a:latin typeface="Montserrat" pitchFamily="2" charset="77"/>
                  <a:ea typeface="Inter Light BETA" panose="020B0402030000000004" pitchFamily="34" charset="0"/>
                </a:rPr>
                <a:t>1</a:t>
              </a:r>
              <a:endParaRPr lang="es-AR" sz="900" b="1" spc="-8">
                <a:solidFill>
                  <a:schemeClr val="accent2"/>
                </a:solidFill>
                <a:latin typeface="Montserrat" pitchFamily="2" charset="77"/>
                <a:ea typeface="Inter Light BETA" panose="020B0402030000000004" pitchFamily="34" charset="0"/>
              </a:endParaRP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E9C78C9B-9B6A-4C40-A6A8-487106C6A223}"/>
                </a:ext>
              </a:extLst>
            </p:cNvPr>
            <p:cNvSpPr/>
            <p:nvPr/>
          </p:nvSpPr>
          <p:spPr>
            <a:xfrm>
              <a:off x="9408489" y="423661"/>
              <a:ext cx="380492" cy="380492"/>
            </a:xfrm>
            <a:prstGeom prst="ellipse">
              <a:avLst/>
            </a:prstGeom>
            <a:ln w="6350">
              <a:solidFill>
                <a:schemeClr val="accent2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 sz="900"/>
            </a:p>
          </p:txBody>
        </p:sp>
      </p:grpSp>
      <p:grpSp>
        <p:nvGrpSpPr>
          <p:cNvPr id="4" name="Grupo 3">
            <a:extLst>
              <a:ext uri="{FF2B5EF4-FFF2-40B4-BE49-F238E27FC236}">
                <a16:creationId xmlns:a16="http://schemas.microsoft.com/office/drawing/2014/main" id="{6D394407-6438-C3DA-6502-CB85299CF833}"/>
              </a:ext>
            </a:extLst>
          </p:cNvPr>
          <p:cNvGrpSpPr/>
          <p:nvPr userDrawn="1"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DB69B491-F891-6538-8729-47ED9D28E6D0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2E9DD683-D504-B4A5-0FC7-20D919D63751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FED8963C-C1BD-22AE-AE17-338D40E77AAB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CFF0E1B3-82BA-F158-1715-A13061D05700}"/>
              </a:ext>
            </a:extLst>
          </p:cNvPr>
          <p:cNvSpPr/>
          <p:nvPr userDrawn="1"/>
        </p:nvSpPr>
        <p:spPr>
          <a:xfrm>
            <a:off x="40501" y="0"/>
            <a:ext cx="634499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C1C6B8BD-230A-8ED9-7408-7E65F4A876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12" name="Slide Number Placeholder 24">
            <a:extLst>
              <a:ext uri="{FF2B5EF4-FFF2-40B4-BE49-F238E27FC236}">
                <a16:creationId xmlns:a16="http://schemas.microsoft.com/office/drawing/2014/main" id="{2CC20526-819D-BAE8-2976-40266E5CE357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4D47574E-C34E-52D9-3656-CEBD47BFEC66}"/>
              </a:ext>
            </a:extLst>
          </p:cNvPr>
          <p:cNvGrpSpPr/>
          <p:nvPr userDrawn="1"/>
        </p:nvGrpSpPr>
        <p:grpSpPr>
          <a:xfrm>
            <a:off x="9066005" y="0"/>
            <a:ext cx="40500" cy="1683336"/>
            <a:chOff x="8207350" y="0"/>
            <a:chExt cx="54000" cy="6858000"/>
          </a:xfrm>
        </p:grpSpPr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873B2324-0E69-3A91-EE92-1D6AFDA7669D}"/>
                </a:ext>
              </a:extLst>
            </p:cNvPr>
            <p:cNvSpPr/>
            <p:nvPr userDrawn="1"/>
          </p:nvSpPr>
          <p:spPr>
            <a:xfrm>
              <a:off x="8207350" y="0"/>
              <a:ext cx="54000" cy="1681200"/>
            </a:xfrm>
            <a:prstGeom prst="rect">
              <a:avLst/>
            </a:prstGeom>
            <a:solidFill>
              <a:srgbClr val="FFFFFF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AR" sz="1350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78F0248A-C644-ACC0-104F-2BF58564ACAF}"/>
                </a:ext>
              </a:extLst>
            </p:cNvPr>
            <p:cNvSpPr/>
            <p:nvPr userDrawn="1"/>
          </p:nvSpPr>
          <p:spPr>
            <a:xfrm>
              <a:off x="8207350" y="1725150"/>
              <a:ext cx="54000" cy="1681200"/>
            </a:xfrm>
            <a:prstGeom prst="rect">
              <a:avLst/>
            </a:prstGeom>
            <a:solidFill>
              <a:srgbClr val="FFFFFF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79F1BD9F-0199-AB57-D363-59BEFA645C82}"/>
                </a:ext>
              </a:extLst>
            </p:cNvPr>
            <p:cNvSpPr/>
            <p:nvPr userDrawn="1"/>
          </p:nvSpPr>
          <p:spPr>
            <a:xfrm>
              <a:off x="8207350" y="3451650"/>
              <a:ext cx="54000" cy="1681200"/>
            </a:xfrm>
            <a:prstGeom prst="rect">
              <a:avLst/>
            </a:prstGeom>
            <a:solidFill>
              <a:srgbClr val="FFFFFF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BE539490-C4D1-FEBA-5D3A-8C7D2E9B4F88}"/>
                </a:ext>
              </a:extLst>
            </p:cNvPr>
            <p:cNvSpPr/>
            <p:nvPr userDrawn="1"/>
          </p:nvSpPr>
          <p:spPr>
            <a:xfrm>
              <a:off x="8207350" y="5176800"/>
              <a:ext cx="54000" cy="16812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1350"/>
            </a:p>
          </p:txBody>
        </p:sp>
      </p:grpSp>
      <p:sp>
        <p:nvSpPr>
          <p:cNvPr id="35" name="Rectángulo 34">
            <a:extLst>
              <a:ext uri="{FF2B5EF4-FFF2-40B4-BE49-F238E27FC236}">
                <a16:creationId xmlns:a16="http://schemas.microsoft.com/office/drawing/2014/main" id="{F1DB239A-9EAB-688F-2218-3362605FDA20}"/>
              </a:ext>
            </a:extLst>
          </p:cNvPr>
          <p:cNvSpPr/>
          <p:nvPr userDrawn="1"/>
        </p:nvSpPr>
        <p:spPr>
          <a:xfrm>
            <a:off x="7541647" y="662752"/>
            <a:ext cx="992753" cy="882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b="1" i="0" spc="-8">
                <a:solidFill>
                  <a:schemeClr val="accent6"/>
                </a:solidFill>
                <a:latin typeface="Montserrat SemiBold" pitchFamily="2" charset="77"/>
                <a:ea typeface="Inter Light BETA" panose="020B0402030000000004" pitchFamily="34" charset="0"/>
              </a:rPr>
              <a:t>Customer Fullfillment</a:t>
            </a: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18F12948-3E07-FC98-4DA6-80E38AE67832}"/>
              </a:ext>
            </a:extLst>
          </p:cNvPr>
          <p:cNvSpPr>
            <a:spLocks noChangeAspect="1"/>
          </p:cNvSpPr>
          <p:nvPr userDrawn="1"/>
        </p:nvSpPr>
        <p:spPr>
          <a:xfrm>
            <a:off x="7320788" y="676831"/>
            <a:ext cx="54000" cy="54000"/>
          </a:xfrm>
          <a:prstGeom prst="rect">
            <a:avLst/>
          </a:prstGeom>
          <a:solidFill>
            <a:schemeClr val="accent6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E5F628E6-0A96-8569-3AAA-C550743F186C}"/>
              </a:ext>
            </a:extLst>
          </p:cNvPr>
          <p:cNvSpPr/>
          <p:nvPr userDrawn="1"/>
        </p:nvSpPr>
        <p:spPr>
          <a:xfrm>
            <a:off x="8263441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tx1">
                    <a:lumMod val="75000"/>
                    <a:lumOff val="25000"/>
                  </a:schemeClr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</p:spTree>
    <p:extLst>
      <p:ext uri="{BB962C8B-B14F-4D97-AF65-F5344CB8AC3E}">
        <p14:creationId xmlns:p14="http://schemas.microsoft.com/office/powerpoint/2010/main" val="9116985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T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26362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31593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E2670C61-DA95-C71D-2FDE-59F5666FFE5F}"/>
              </a:ext>
            </a:extLst>
          </p:cNvPr>
          <p:cNvSpPr/>
          <p:nvPr userDrawn="1"/>
        </p:nvSpPr>
        <p:spPr>
          <a:xfrm>
            <a:off x="0" y="0"/>
            <a:ext cx="9143999" cy="1513936"/>
          </a:xfrm>
          <a:prstGeom prst="rect">
            <a:avLst/>
          </a:prstGeom>
          <a:gradFill>
            <a:gsLst>
              <a:gs pos="0">
                <a:schemeClr val="tx2">
                  <a:lumMod val="50000"/>
                </a:schemeClr>
              </a:gs>
              <a:gs pos="99000">
                <a:srgbClr val="000000"/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3893600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cion 1 -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>
            <a:extLst>
              <a:ext uri="{FF2B5EF4-FFF2-40B4-BE49-F238E27FC236}">
                <a16:creationId xmlns:a16="http://schemas.microsoft.com/office/drawing/2014/main" id="{CFF0E1B3-82BA-F158-1715-A13061D05700}"/>
              </a:ext>
            </a:extLst>
          </p:cNvPr>
          <p:cNvSpPr/>
          <p:nvPr userDrawn="1"/>
        </p:nvSpPr>
        <p:spPr>
          <a:xfrm>
            <a:off x="40501" y="0"/>
            <a:ext cx="634499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C1C6B8BD-230A-8ED9-7408-7E65F4A876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3" name="Slide Number Placeholder 24">
            <a:extLst>
              <a:ext uri="{FF2B5EF4-FFF2-40B4-BE49-F238E27FC236}">
                <a16:creationId xmlns:a16="http://schemas.microsoft.com/office/drawing/2014/main" id="{D2BB29D4-7369-8593-E1BD-0555CCA9EC87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90552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cion 0 -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redondeado 25">
            <a:extLst>
              <a:ext uri="{FF2B5EF4-FFF2-40B4-BE49-F238E27FC236}">
                <a16:creationId xmlns:a16="http://schemas.microsoft.com/office/drawing/2014/main" id="{4776639B-4F51-71BE-7221-0E3E31C2699B}"/>
              </a:ext>
            </a:extLst>
          </p:cNvPr>
          <p:cNvSpPr/>
          <p:nvPr userDrawn="1"/>
        </p:nvSpPr>
        <p:spPr>
          <a:xfrm>
            <a:off x="72000" y="79576"/>
            <a:ext cx="9000000" cy="4984348"/>
          </a:xfrm>
          <a:prstGeom prst="roundRect">
            <a:avLst>
              <a:gd name="adj" fmla="val 2617"/>
            </a:avLst>
          </a:prstGeom>
          <a:gradFill flip="none" rotWithShape="1">
            <a:gsLst>
              <a:gs pos="0">
                <a:schemeClr val="bg2"/>
              </a:gs>
              <a:gs pos="99000">
                <a:schemeClr val="tx2">
                  <a:lumMod val="90000"/>
                  <a:lumOff val="1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rgbClr val="FFFFFF"/>
              </a:solidFill>
            </a:endParaRPr>
          </a:p>
        </p:txBody>
      </p:sp>
      <p:grpSp>
        <p:nvGrpSpPr>
          <p:cNvPr id="37" name="Gráfico 3">
            <a:extLst>
              <a:ext uri="{FF2B5EF4-FFF2-40B4-BE49-F238E27FC236}">
                <a16:creationId xmlns:a16="http://schemas.microsoft.com/office/drawing/2014/main" id="{D117D971-9756-C78E-5BC8-FC0526564834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rgbClr val="FFFFFF"/>
          </a:solidFill>
        </p:grpSpPr>
        <p:sp>
          <p:nvSpPr>
            <p:cNvPr id="38" name="Forma libre 37">
              <a:extLst>
                <a:ext uri="{FF2B5EF4-FFF2-40B4-BE49-F238E27FC236}">
                  <a16:creationId xmlns:a16="http://schemas.microsoft.com/office/drawing/2014/main" id="{35C84342-6F94-626A-EC4D-AB0976AB387C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9" name="Forma libre 38">
              <a:extLst>
                <a:ext uri="{FF2B5EF4-FFF2-40B4-BE49-F238E27FC236}">
                  <a16:creationId xmlns:a16="http://schemas.microsoft.com/office/drawing/2014/main" id="{C09D6448-57B9-F53B-451B-B57B9D851496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0" name="Forma libre 39">
              <a:extLst>
                <a:ext uri="{FF2B5EF4-FFF2-40B4-BE49-F238E27FC236}">
                  <a16:creationId xmlns:a16="http://schemas.microsoft.com/office/drawing/2014/main" id="{49F42CEC-77A0-B0D4-A82C-4E87E6ED7709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1" name="Forma libre 40">
              <a:extLst>
                <a:ext uri="{FF2B5EF4-FFF2-40B4-BE49-F238E27FC236}">
                  <a16:creationId xmlns:a16="http://schemas.microsoft.com/office/drawing/2014/main" id="{F8D092D9-800D-4466-B1F1-8CF6E2969B1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2" name="Forma libre 41">
              <a:extLst>
                <a:ext uri="{FF2B5EF4-FFF2-40B4-BE49-F238E27FC236}">
                  <a16:creationId xmlns:a16="http://schemas.microsoft.com/office/drawing/2014/main" id="{5866A865-F247-F5C3-8A83-25260E09FB10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3" name="Forma libre 42">
              <a:extLst>
                <a:ext uri="{FF2B5EF4-FFF2-40B4-BE49-F238E27FC236}">
                  <a16:creationId xmlns:a16="http://schemas.microsoft.com/office/drawing/2014/main" id="{2422B2F6-8C19-F438-D6B5-2272BB169C83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4" name="Forma libre 43">
              <a:extLst>
                <a:ext uri="{FF2B5EF4-FFF2-40B4-BE49-F238E27FC236}">
                  <a16:creationId xmlns:a16="http://schemas.microsoft.com/office/drawing/2014/main" id="{CCB9C4F1-0FC4-4B85-13D3-88E01E146C68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5" name="Forma libre 44">
              <a:extLst>
                <a:ext uri="{FF2B5EF4-FFF2-40B4-BE49-F238E27FC236}">
                  <a16:creationId xmlns:a16="http://schemas.microsoft.com/office/drawing/2014/main" id="{5986E1BF-D350-6C0E-CA4C-B27F9106F4EC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46" name="Rectángulo 45">
            <a:extLst>
              <a:ext uri="{FF2B5EF4-FFF2-40B4-BE49-F238E27FC236}">
                <a16:creationId xmlns:a16="http://schemas.microsoft.com/office/drawing/2014/main" id="{778584F2-8784-2428-F6DB-80211ED8C4A5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rgbClr val="FFFFFF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1E1DFA2E-518B-CB1B-E880-5766F386FCA7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bg1"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bg1"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232A0A8D-C5AC-264D-D385-A2B4EB0180E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bg1"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89797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cion 0 -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redondeado 6">
            <a:extLst>
              <a:ext uri="{FF2B5EF4-FFF2-40B4-BE49-F238E27FC236}">
                <a16:creationId xmlns:a16="http://schemas.microsoft.com/office/drawing/2014/main" id="{FF410B0A-9B9E-76AC-7A7F-034D657DAED1}"/>
              </a:ext>
            </a:extLst>
          </p:cNvPr>
          <p:cNvSpPr/>
          <p:nvPr userDrawn="1"/>
        </p:nvSpPr>
        <p:spPr>
          <a:xfrm>
            <a:off x="72000" y="79576"/>
            <a:ext cx="9000000" cy="4984348"/>
          </a:xfrm>
          <a:prstGeom prst="roundRect">
            <a:avLst>
              <a:gd name="adj" fmla="val 2617"/>
            </a:avLst>
          </a:prstGeom>
          <a:gradFill flip="none" rotWithShape="1">
            <a:gsLst>
              <a:gs pos="0">
                <a:schemeClr val="accent4">
                  <a:lumMod val="95000"/>
                  <a:lumOff val="5000"/>
                </a:schemeClr>
              </a:gs>
              <a:gs pos="100000">
                <a:schemeClr val="accent4">
                  <a:lumMod val="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rgbClr val="FFFFFF"/>
              </a:solidFill>
            </a:endParaRPr>
          </a:p>
        </p:txBody>
      </p:sp>
      <p:grpSp>
        <p:nvGrpSpPr>
          <p:cNvPr id="13" name="Gráfico 3">
            <a:extLst>
              <a:ext uri="{FF2B5EF4-FFF2-40B4-BE49-F238E27FC236}">
                <a16:creationId xmlns:a16="http://schemas.microsoft.com/office/drawing/2014/main" id="{BB947AF9-33A5-D05B-DD49-445DEFE506C7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rgbClr val="FFFFFF"/>
          </a:solidFill>
        </p:grpSpPr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5467F19B-7B62-5D52-9E75-A7B88C56D4ED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E2E9B030-E0FD-2F1C-129E-063C6267AEAA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C72836EE-53F3-D38F-12C4-3F2B1E37A64E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8" name="Forma libre 17">
              <a:extLst>
                <a:ext uri="{FF2B5EF4-FFF2-40B4-BE49-F238E27FC236}">
                  <a16:creationId xmlns:a16="http://schemas.microsoft.com/office/drawing/2014/main" id="{69A303BD-92BE-2702-B44C-1BF32854B19F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D68A1568-8543-066D-17B3-2E16CE5B739D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FBAF87CB-9894-1DA6-5706-D5F619335BA6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1" name="Forma libre 20">
              <a:extLst>
                <a:ext uri="{FF2B5EF4-FFF2-40B4-BE49-F238E27FC236}">
                  <a16:creationId xmlns:a16="http://schemas.microsoft.com/office/drawing/2014/main" id="{DC62534A-EF5F-82AB-DC7D-3CB2B849C8FE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2" name="Forma libre 21">
              <a:extLst>
                <a:ext uri="{FF2B5EF4-FFF2-40B4-BE49-F238E27FC236}">
                  <a16:creationId xmlns:a16="http://schemas.microsoft.com/office/drawing/2014/main" id="{214C692E-123B-B0D7-ADAE-C2222F9051DC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3" name="Rectángulo 22">
            <a:extLst>
              <a:ext uri="{FF2B5EF4-FFF2-40B4-BE49-F238E27FC236}">
                <a16:creationId xmlns:a16="http://schemas.microsoft.com/office/drawing/2014/main" id="{D500358C-7605-68BA-2330-7DF2EDD83F44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rgbClr val="FFFFFF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05220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on 0 -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9466295B-1549-8A8C-E910-4729DA077EAF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" name="Gráfico 3">
            <a:extLst>
              <a:ext uri="{FF2B5EF4-FFF2-40B4-BE49-F238E27FC236}">
                <a16:creationId xmlns:a16="http://schemas.microsoft.com/office/drawing/2014/main" id="{7A494811-0E75-BDB7-4025-CE2A5080EC5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661A38C2-5A98-FE62-4C16-387A5DFAED8B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6026E50-D8E3-B984-A5AF-AE25F431F47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2514FC1E-E41D-1550-10C5-CCC59E230B4C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7D03687B-55E3-853F-487D-A08CE47B7BA5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C6CB64AD-2EFA-9BFD-2116-4C3A7434591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A6ABAE67-0C19-5D09-579A-4ADAEB6F74C9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4F0F1AF8-99E1-46BD-BD88-426CA567AAD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DCE1F555-CCAA-46BA-B068-3ADDA16E54B4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E3A52441-2D72-555E-143F-F27092255D99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57192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cion 0 -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C65B748C-4107-A917-12CE-5227E7C739EC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10FF7797-8408-1CEA-A3DB-E9C8AD152F19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E646F3F7-BB44-5429-2E41-9B8C7B6BB06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E8D63273-DEB2-8828-0931-0A1E8D31C73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9E9D669-A81C-93B6-EE62-1380273B236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395A0C3D-5DB7-60D7-450B-D9D1BAC776E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7D2A7BC-2695-33B7-71BA-94833AC45B3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B3D80A9-FFBC-BFD5-FDBA-E37720ECD544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B7C367D9-3F76-190C-F1DA-F7FE0823627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36C29421-6501-90CC-D239-B4DCB54E5E9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7" name="Rectángulo 36">
            <a:extLst>
              <a:ext uri="{FF2B5EF4-FFF2-40B4-BE49-F238E27FC236}">
                <a16:creationId xmlns:a16="http://schemas.microsoft.com/office/drawing/2014/main" id="{61EB6CE6-2159-EDD7-DA34-AD2989D559B8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4EF41660-685E-B27A-40A2-E230A404FC13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9DFC758A-81E4-F9EC-AB8B-AC5395E4658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72178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cion 0 -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9466295B-1549-8A8C-E910-4729DA077EAF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" name="Gráfico 3">
            <a:extLst>
              <a:ext uri="{FF2B5EF4-FFF2-40B4-BE49-F238E27FC236}">
                <a16:creationId xmlns:a16="http://schemas.microsoft.com/office/drawing/2014/main" id="{7A494811-0E75-BDB7-4025-CE2A5080EC5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661A38C2-5A98-FE62-4C16-387A5DFAED8B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6026E50-D8E3-B984-A5AF-AE25F431F47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2514FC1E-E41D-1550-10C5-CCC59E230B4C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7D03687B-55E3-853F-487D-A08CE47B7BA5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C6CB64AD-2EFA-9BFD-2116-4C3A7434591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A6ABAE67-0C19-5D09-579A-4ADAEB6F74C9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4F0F1AF8-99E1-46BD-BD88-426CA567AAD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DCE1F555-CCAA-46BA-B068-3ADDA16E54B4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E3A52441-2D72-555E-143F-F27092255D99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64513373-CF84-C8DB-8EAC-6A980B52CB12}"/>
              </a:ext>
            </a:extLst>
          </p:cNvPr>
          <p:cNvSpPr/>
          <p:nvPr userDrawn="1"/>
        </p:nvSpPr>
        <p:spPr>
          <a:xfrm>
            <a:off x="2054866" y="177003"/>
            <a:ext cx="539764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Internacional</a:t>
            </a:r>
          </a:p>
        </p:txBody>
      </p:sp>
      <p:grpSp>
        <p:nvGrpSpPr>
          <p:cNvPr id="21" name="Grupo 20">
            <a:extLst>
              <a:ext uri="{FF2B5EF4-FFF2-40B4-BE49-F238E27FC236}">
                <a16:creationId xmlns:a16="http://schemas.microsoft.com/office/drawing/2014/main" id="{D6367A30-38B6-700E-5325-655D289FC4B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642077" y="198211"/>
            <a:ext cx="139179" cy="36000"/>
            <a:chOff x="4907127" y="353637"/>
            <a:chExt cx="433742" cy="112191"/>
          </a:xfrm>
        </p:grpSpPr>
        <p:sp>
          <p:nvSpPr>
            <p:cNvPr id="22" name="Rectángulo 61">
              <a:extLst>
                <a:ext uri="{FF2B5EF4-FFF2-40B4-BE49-F238E27FC236}">
                  <a16:creationId xmlns:a16="http://schemas.microsoft.com/office/drawing/2014/main" id="{CF683BCA-E082-A364-A969-214F36C1EAC7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23" name="Conector recto 22">
              <a:extLst>
                <a:ext uri="{FF2B5EF4-FFF2-40B4-BE49-F238E27FC236}">
                  <a16:creationId xmlns:a16="http://schemas.microsoft.com/office/drawing/2014/main" id="{0A234F1C-66B7-34FA-FB01-3B50951335F2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tángulo 23">
            <a:extLst>
              <a:ext uri="{FF2B5EF4-FFF2-40B4-BE49-F238E27FC236}">
                <a16:creationId xmlns:a16="http://schemas.microsoft.com/office/drawing/2014/main" id="{19CB432E-4A93-15AC-64DC-C300EABDFDC9}"/>
              </a:ext>
            </a:extLst>
          </p:cNvPr>
          <p:cNvSpPr/>
          <p:nvPr userDrawn="1"/>
        </p:nvSpPr>
        <p:spPr>
          <a:xfrm>
            <a:off x="547970" y="166052"/>
            <a:ext cx="830933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Contexto de Negocio</a:t>
            </a:r>
          </a:p>
        </p:txBody>
      </p:sp>
      <p:sp>
        <p:nvSpPr>
          <p:cNvPr id="25" name="Redondear rectángulo de esquina del mismo lado 24">
            <a:extLst>
              <a:ext uri="{FF2B5EF4-FFF2-40B4-BE49-F238E27FC236}">
                <a16:creationId xmlns:a16="http://schemas.microsoft.com/office/drawing/2014/main" id="{1426691A-316B-1241-A97D-B437821967B0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27" name="Slide Number Placeholder 24">
            <a:extLst>
              <a:ext uri="{FF2B5EF4-FFF2-40B4-BE49-F238E27FC236}">
                <a16:creationId xmlns:a16="http://schemas.microsoft.com/office/drawing/2014/main" id="{0826033C-6BEC-870C-EA9B-7C3083000474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id="{8F9C8403-FCF5-4327-7D6C-BDE49E6CF219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95586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eccion 0 -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C65B748C-4107-A917-12CE-5227E7C739EC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10FF7797-8408-1CEA-A3DB-E9C8AD152F19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E646F3F7-BB44-5429-2E41-9B8C7B6BB06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E8D63273-DEB2-8828-0931-0A1E8D31C73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9E9D669-A81C-93B6-EE62-1380273B236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395A0C3D-5DB7-60D7-450B-D9D1BAC776E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7D2A7BC-2695-33B7-71BA-94833AC45B3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B3D80A9-FFBC-BFD5-FDBA-E37720ECD544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B7C367D9-3F76-190C-F1DA-F7FE0823627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36C29421-6501-90CC-D239-B4DCB54E5E9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7" name="Rectángulo 36">
            <a:extLst>
              <a:ext uri="{FF2B5EF4-FFF2-40B4-BE49-F238E27FC236}">
                <a16:creationId xmlns:a16="http://schemas.microsoft.com/office/drawing/2014/main" id="{61EB6CE6-2159-EDD7-DA34-AD2989D559B8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D97075E4-C33B-498B-0194-231A2F7EBF02}"/>
              </a:ext>
            </a:extLst>
          </p:cNvPr>
          <p:cNvSpPr/>
          <p:nvPr userDrawn="1"/>
        </p:nvSpPr>
        <p:spPr>
          <a:xfrm>
            <a:off x="2054866" y="177003"/>
            <a:ext cx="539764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Internacional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11602F65-F9D1-F6AF-1BCE-90364A3A6AE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642077" y="198211"/>
            <a:ext cx="139179" cy="36000"/>
            <a:chOff x="4907127" y="353637"/>
            <a:chExt cx="433742" cy="112191"/>
          </a:xfrm>
        </p:grpSpPr>
        <p:sp>
          <p:nvSpPr>
            <p:cNvPr id="4" name="Rectángulo 61">
              <a:extLst>
                <a:ext uri="{FF2B5EF4-FFF2-40B4-BE49-F238E27FC236}">
                  <a16:creationId xmlns:a16="http://schemas.microsoft.com/office/drawing/2014/main" id="{D3515206-60D5-5441-EC4B-8845427DA613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5" name="Conector recto 4">
              <a:extLst>
                <a:ext uri="{FF2B5EF4-FFF2-40B4-BE49-F238E27FC236}">
                  <a16:creationId xmlns:a16="http://schemas.microsoft.com/office/drawing/2014/main" id="{AD05A370-FDD2-CCAF-9C4E-7ED57480C439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Rectángulo 5">
            <a:extLst>
              <a:ext uri="{FF2B5EF4-FFF2-40B4-BE49-F238E27FC236}">
                <a16:creationId xmlns:a16="http://schemas.microsoft.com/office/drawing/2014/main" id="{2D1A6AA3-2073-040B-3CEE-608B3B616B0F}"/>
              </a:ext>
            </a:extLst>
          </p:cNvPr>
          <p:cNvSpPr/>
          <p:nvPr userDrawn="1"/>
        </p:nvSpPr>
        <p:spPr>
          <a:xfrm>
            <a:off x="547970" y="166052"/>
            <a:ext cx="830933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Contexto de Negocio</a:t>
            </a:r>
          </a:p>
        </p:txBody>
      </p:sp>
      <p:sp>
        <p:nvSpPr>
          <p:cNvPr id="8" name="Slide Number Placeholder 24">
            <a:extLst>
              <a:ext uri="{FF2B5EF4-FFF2-40B4-BE49-F238E27FC236}">
                <a16:creationId xmlns:a16="http://schemas.microsoft.com/office/drawing/2014/main" id="{2997EAFA-B296-25F4-B3BB-DB05758DA420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15738E20-9F06-74BD-A946-D25A5E97FEBF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dondear rectángulo de esquina del mismo lado 9">
            <a:extLst>
              <a:ext uri="{FF2B5EF4-FFF2-40B4-BE49-F238E27FC236}">
                <a16:creationId xmlns:a16="http://schemas.microsoft.com/office/drawing/2014/main" id="{B5D444D1-275E-184E-CDB8-46F5663BAB46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24571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cion 0 -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9466295B-1549-8A8C-E910-4729DA077EAF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" name="Gráfico 3">
            <a:extLst>
              <a:ext uri="{FF2B5EF4-FFF2-40B4-BE49-F238E27FC236}">
                <a16:creationId xmlns:a16="http://schemas.microsoft.com/office/drawing/2014/main" id="{7A494811-0E75-BDB7-4025-CE2A5080EC5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661A38C2-5A98-FE62-4C16-387A5DFAED8B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6026E50-D8E3-B984-A5AF-AE25F431F47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2514FC1E-E41D-1550-10C5-CCC59E230B4C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7D03687B-55E3-853F-487D-A08CE47B7BA5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C6CB64AD-2EFA-9BFD-2116-4C3A7434591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A6ABAE67-0C19-5D09-579A-4ADAEB6F74C9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4F0F1AF8-99E1-46BD-BD88-426CA567AAD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DCE1F555-CCAA-46BA-B068-3ADDA16E54B4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E3A52441-2D72-555E-143F-F27092255D99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64513373-CF84-C8DB-8EAC-6A980B52CB12}"/>
              </a:ext>
            </a:extLst>
          </p:cNvPr>
          <p:cNvSpPr/>
          <p:nvPr userDrawn="1"/>
        </p:nvSpPr>
        <p:spPr>
          <a:xfrm>
            <a:off x="2054866" y="177003"/>
            <a:ext cx="223138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Local</a:t>
            </a: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DF93FDBA-49FF-AA4C-54D6-6024A3645E7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642077" y="198211"/>
            <a:ext cx="139179" cy="36000"/>
            <a:chOff x="4907127" y="353637"/>
            <a:chExt cx="433742" cy="112191"/>
          </a:xfrm>
        </p:grpSpPr>
        <p:sp>
          <p:nvSpPr>
            <p:cNvPr id="17" name="Rectángulo 61">
              <a:extLst>
                <a:ext uri="{FF2B5EF4-FFF2-40B4-BE49-F238E27FC236}">
                  <a16:creationId xmlns:a16="http://schemas.microsoft.com/office/drawing/2014/main" id="{5CD0B30D-9B74-1620-9FD4-6E556F12AF31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18" name="Conector recto 17">
              <a:extLst>
                <a:ext uri="{FF2B5EF4-FFF2-40B4-BE49-F238E27FC236}">
                  <a16:creationId xmlns:a16="http://schemas.microsoft.com/office/drawing/2014/main" id="{093A889C-5AA1-F0AA-1420-27373735F325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Rectángulo 21">
            <a:extLst>
              <a:ext uri="{FF2B5EF4-FFF2-40B4-BE49-F238E27FC236}">
                <a16:creationId xmlns:a16="http://schemas.microsoft.com/office/drawing/2014/main" id="{77DDE7B0-D64E-8C7E-9719-459BE836961E}"/>
              </a:ext>
            </a:extLst>
          </p:cNvPr>
          <p:cNvSpPr/>
          <p:nvPr userDrawn="1"/>
        </p:nvSpPr>
        <p:spPr>
          <a:xfrm>
            <a:off x="547970" y="166052"/>
            <a:ext cx="830933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Contexto de Negocio</a:t>
            </a:r>
          </a:p>
        </p:txBody>
      </p:sp>
      <p:sp>
        <p:nvSpPr>
          <p:cNvPr id="27" name="Slide Number Placeholder 24">
            <a:extLst>
              <a:ext uri="{FF2B5EF4-FFF2-40B4-BE49-F238E27FC236}">
                <a16:creationId xmlns:a16="http://schemas.microsoft.com/office/drawing/2014/main" id="{21EAABD4-BCB3-E400-7E9D-6612C443A91E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id="{7AA8A4DA-7EA8-8DD1-F7C7-9399D018587A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dondear rectángulo de esquina del mismo lado 1">
            <a:extLst>
              <a:ext uri="{FF2B5EF4-FFF2-40B4-BE49-F238E27FC236}">
                <a16:creationId xmlns:a16="http://schemas.microsoft.com/office/drawing/2014/main" id="{944E01AF-20FE-121A-F5E3-9686E63A8CF9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6166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cion 0 -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C65B748C-4107-A917-12CE-5227E7C739EC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10FF7797-8408-1CEA-A3DB-E9C8AD152F19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E646F3F7-BB44-5429-2E41-9B8C7B6BB06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E8D63273-DEB2-8828-0931-0A1E8D31C73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9E9D669-A81C-93B6-EE62-1380273B236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395A0C3D-5DB7-60D7-450B-D9D1BAC776E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7D2A7BC-2695-33B7-71BA-94833AC45B3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B3D80A9-FFBC-BFD5-FDBA-E37720ECD544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B7C367D9-3F76-190C-F1DA-F7FE0823627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36C29421-6501-90CC-D239-B4DCB54E5E9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7" name="Rectángulo 36">
            <a:extLst>
              <a:ext uri="{FF2B5EF4-FFF2-40B4-BE49-F238E27FC236}">
                <a16:creationId xmlns:a16="http://schemas.microsoft.com/office/drawing/2014/main" id="{61EB6CE6-2159-EDD7-DA34-AD2989D559B8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4EF41660-685E-B27A-40A2-E230A404FC13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9DFC758A-81E4-F9EC-AB8B-AC5395E4658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 3">
            <a:extLst>
              <a:ext uri="{FF2B5EF4-FFF2-40B4-BE49-F238E27FC236}">
                <a16:creationId xmlns:a16="http://schemas.microsoft.com/office/drawing/2014/main" id="{11B1AF1C-96E1-25EF-0E13-97E69B83231A}"/>
              </a:ext>
            </a:extLst>
          </p:cNvPr>
          <p:cNvSpPr/>
          <p:nvPr userDrawn="1"/>
        </p:nvSpPr>
        <p:spPr>
          <a:xfrm>
            <a:off x="2054866" y="177003"/>
            <a:ext cx="223138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Local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1A1BF7A2-5788-E26E-A032-1F052352BB8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642077" y="198211"/>
            <a:ext cx="139179" cy="36000"/>
            <a:chOff x="4907127" y="353637"/>
            <a:chExt cx="433742" cy="112191"/>
          </a:xfrm>
        </p:grpSpPr>
        <p:sp>
          <p:nvSpPr>
            <p:cNvPr id="6" name="Rectángulo 61">
              <a:extLst>
                <a:ext uri="{FF2B5EF4-FFF2-40B4-BE49-F238E27FC236}">
                  <a16:creationId xmlns:a16="http://schemas.microsoft.com/office/drawing/2014/main" id="{2632EEB1-FA6E-4808-F562-3BC82480DE0A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7" name="Conector recto 6">
              <a:extLst>
                <a:ext uri="{FF2B5EF4-FFF2-40B4-BE49-F238E27FC236}">
                  <a16:creationId xmlns:a16="http://schemas.microsoft.com/office/drawing/2014/main" id="{06FEC6E2-D6DA-7E5F-08CC-BBCC60BE189E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tángulo 7">
            <a:extLst>
              <a:ext uri="{FF2B5EF4-FFF2-40B4-BE49-F238E27FC236}">
                <a16:creationId xmlns:a16="http://schemas.microsoft.com/office/drawing/2014/main" id="{5F3AF2C3-E10F-F4A2-79E8-420C9C6F1750}"/>
              </a:ext>
            </a:extLst>
          </p:cNvPr>
          <p:cNvSpPr/>
          <p:nvPr userDrawn="1"/>
        </p:nvSpPr>
        <p:spPr>
          <a:xfrm>
            <a:off x="547970" y="166052"/>
            <a:ext cx="830933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Contexto de Negocio</a:t>
            </a:r>
          </a:p>
        </p:txBody>
      </p:sp>
      <p:sp>
        <p:nvSpPr>
          <p:cNvPr id="10" name="Redondear rectángulo de esquina del mismo lado 9">
            <a:extLst>
              <a:ext uri="{FF2B5EF4-FFF2-40B4-BE49-F238E27FC236}">
                <a16:creationId xmlns:a16="http://schemas.microsoft.com/office/drawing/2014/main" id="{6ABDBEB9-F3F5-C6A1-6AFD-BC34B0CE11FB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5740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Seccion 0 -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>
            <a:extLst>
              <a:ext uri="{FF2B5EF4-FFF2-40B4-BE49-F238E27FC236}">
                <a16:creationId xmlns:a16="http://schemas.microsoft.com/office/drawing/2014/main" id="{7CF32733-F3A2-45D2-95AB-81230DF55AC6}"/>
              </a:ext>
            </a:extLst>
          </p:cNvPr>
          <p:cNvSpPr/>
          <p:nvPr userDrawn="1"/>
        </p:nvSpPr>
        <p:spPr>
          <a:xfrm>
            <a:off x="0" y="0"/>
            <a:ext cx="9143999" cy="5143499"/>
          </a:xfrm>
          <a:prstGeom prst="rect">
            <a:avLst/>
          </a:prstGeom>
          <a:solidFill>
            <a:srgbClr val="FFE70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C65B748C-4107-A917-12CE-5227E7C739EC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10FF7797-8408-1CEA-A3DB-E9C8AD152F19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E646F3F7-BB44-5429-2E41-9B8C7B6BB06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E8D63273-DEB2-8828-0931-0A1E8D31C73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9E9D669-A81C-93B6-EE62-1380273B236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395A0C3D-5DB7-60D7-450B-D9D1BAC776E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7D2A7BC-2695-33B7-71BA-94833AC45B3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B3D80A9-FFBC-BFD5-FDBA-E37720ECD544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B7C367D9-3F76-190C-F1DA-F7FE0823627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36C29421-6501-90CC-D239-B4DCB54E5E9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7" name="Rectángulo 36">
            <a:extLst>
              <a:ext uri="{FF2B5EF4-FFF2-40B4-BE49-F238E27FC236}">
                <a16:creationId xmlns:a16="http://schemas.microsoft.com/office/drawing/2014/main" id="{61EB6CE6-2159-EDD7-DA34-AD2989D559B8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4EF41660-685E-B27A-40A2-E230A404FC13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rgbClr val="002F6D">
                    <a:alpha val="80000"/>
                  </a:srgb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rgbClr val="002F6D">
                  <a:alpha val="80000"/>
                </a:srgb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9DFC758A-81E4-F9EC-AB8B-AC5395E4658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rgbClr val="002F6D">
                <a:alpha val="75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 3">
            <a:extLst>
              <a:ext uri="{FF2B5EF4-FFF2-40B4-BE49-F238E27FC236}">
                <a16:creationId xmlns:a16="http://schemas.microsoft.com/office/drawing/2014/main" id="{11B1AF1C-96E1-25EF-0E13-97E69B83231A}"/>
              </a:ext>
            </a:extLst>
          </p:cNvPr>
          <p:cNvSpPr/>
          <p:nvPr userDrawn="1"/>
        </p:nvSpPr>
        <p:spPr>
          <a:xfrm>
            <a:off x="2054866" y="177003"/>
            <a:ext cx="223138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Local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1A1BF7A2-5788-E26E-A032-1F052352BB8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642077" y="198211"/>
            <a:ext cx="139179" cy="36000"/>
            <a:chOff x="4907127" y="353637"/>
            <a:chExt cx="433742" cy="112191"/>
          </a:xfrm>
        </p:grpSpPr>
        <p:sp>
          <p:nvSpPr>
            <p:cNvPr id="6" name="Rectángulo 61">
              <a:extLst>
                <a:ext uri="{FF2B5EF4-FFF2-40B4-BE49-F238E27FC236}">
                  <a16:creationId xmlns:a16="http://schemas.microsoft.com/office/drawing/2014/main" id="{2632EEB1-FA6E-4808-F562-3BC82480DE0A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7" name="Conector recto 6">
              <a:extLst>
                <a:ext uri="{FF2B5EF4-FFF2-40B4-BE49-F238E27FC236}">
                  <a16:creationId xmlns:a16="http://schemas.microsoft.com/office/drawing/2014/main" id="{06FEC6E2-D6DA-7E5F-08CC-BBCC60BE189E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tángulo 7">
            <a:extLst>
              <a:ext uri="{FF2B5EF4-FFF2-40B4-BE49-F238E27FC236}">
                <a16:creationId xmlns:a16="http://schemas.microsoft.com/office/drawing/2014/main" id="{5F3AF2C3-E10F-F4A2-79E8-420C9C6F1750}"/>
              </a:ext>
            </a:extLst>
          </p:cNvPr>
          <p:cNvSpPr/>
          <p:nvPr userDrawn="1"/>
        </p:nvSpPr>
        <p:spPr>
          <a:xfrm>
            <a:off x="547970" y="166052"/>
            <a:ext cx="830933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Contexto de Negocio</a:t>
            </a:r>
          </a:p>
        </p:txBody>
      </p:sp>
      <p:sp>
        <p:nvSpPr>
          <p:cNvPr id="10" name="Redondear rectángulo de esquina del mismo lado 9">
            <a:extLst>
              <a:ext uri="{FF2B5EF4-FFF2-40B4-BE49-F238E27FC236}">
                <a16:creationId xmlns:a16="http://schemas.microsoft.com/office/drawing/2014/main" id="{6ABDBEB9-F3F5-C6A1-6AFD-BC34B0CE11FB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8327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ategic Review 01 Business Context International">
    <p:bg>
      <p:bgPr>
        <a:gradFill flip="none" rotWithShape="1">
          <a:gsLst>
            <a:gs pos="0">
              <a:schemeClr val="accent4">
                <a:lumMod val="40000"/>
                <a:lumOff val="60000"/>
              </a:schemeClr>
            </a:gs>
            <a:gs pos="100000">
              <a:schemeClr val="bg2">
                <a:lumMod val="5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24">
            <a:extLst>
              <a:ext uri="{FF2B5EF4-FFF2-40B4-BE49-F238E27FC236}">
                <a16:creationId xmlns:a16="http://schemas.microsoft.com/office/drawing/2014/main" id="{7FFE3A86-9FF1-3FE9-E458-90E7FA0269F5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rgbClr val="FFFFFF">
                    <a:alpha val="80000"/>
                  </a:srgb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rgbClr val="FFFFFF">
                  <a:alpha val="80000"/>
                </a:srgb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478FB663-F61F-5554-7ADD-4D24821F1BF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redondeado 1">
            <a:extLst>
              <a:ext uri="{FF2B5EF4-FFF2-40B4-BE49-F238E27FC236}">
                <a16:creationId xmlns:a16="http://schemas.microsoft.com/office/drawing/2014/main" id="{FC43D294-B585-032E-221F-3DF82973063C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7" name="Gráfico 3">
            <a:extLst>
              <a:ext uri="{FF2B5EF4-FFF2-40B4-BE49-F238E27FC236}">
                <a16:creationId xmlns:a16="http://schemas.microsoft.com/office/drawing/2014/main" id="{C079CF67-637E-A8F1-A9B6-4D02BFDF13BB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8F21B4E7-0AF7-E383-77F0-4794F32B611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B1775021-1B9E-5B04-E972-DCF3277A8CA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6B525A06-F2B4-355D-3636-4851129FEA41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6" name="Forma libre 25">
              <a:extLst>
                <a:ext uri="{FF2B5EF4-FFF2-40B4-BE49-F238E27FC236}">
                  <a16:creationId xmlns:a16="http://schemas.microsoft.com/office/drawing/2014/main" id="{B90DFB9A-89FF-E2C7-83E1-35029B88CE4C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7" name="Forma libre 26">
              <a:extLst>
                <a:ext uri="{FF2B5EF4-FFF2-40B4-BE49-F238E27FC236}">
                  <a16:creationId xmlns:a16="http://schemas.microsoft.com/office/drawing/2014/main" id="{94D803AA-91A0-BB99-6CB6-6F4985195F0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8" name="Forma libre 27">
              <a:extLst>
                <a:ext uri="{FF2B5EF4-FFF2-40B4-BE49-F238E27FC236}">
                  <a16:creationId xmlns:a16="http://schemas.microsoft.com/office/drawing/2014/main" id="{C6B89419-48D8-467B-0341-DCBDD4380A5D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C6C912C6-C3AD-48E4-2647-67BF1D24A0F5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D2ADAD61-1F4D-8281-DB40-CD86D9818C7E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1" name="Rectángulo 30">
            <a:extLst>
              <a:ext uri="{FF2B5EF4-FFF2-40B4-BE49-F238E27FC236}">
                <a16:creationId xmlns:a16="http://schemas.microsoft.com/office/drawing/2014/main" id="{CBF548F3-0988-D729-D3EC-DE1FF7FD3034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03E7ED8D-C6F7-8497-337F-1D337DD45A19}"/>
              </a:ext>
            </a:extLst>
          </p:cNvPr>
          <p:cNvSpPr/>
          <p:nvPr userDrawn="1"/>
        </p:nvSpPr>
        <p:spPr>
          <a:xfrm>
            <a:off x="2054866" y="177003"/>
            <a:ext cx="223138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Local</a:t>
            </a:r>
          </a:p>
        </p:txBody>
      </p:sp>
      <p:grpSp>
        <p:nvGrpSpPr>
          <p:cNvPr id="33" name="Grupo 32">
            <a:extLst>
              <a:ext uri="{FF2B5EF4-FFF2-40B4-BE49-F238E27FC236}">
                <a16:creationId xmlns:a16="http://schemas.microsoft.com/office/drawing/2014/main" id="{1DD54007-055B-9C94-96FD-9D23ADC66E3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642077" y="198211"/>
            <a:ext cx="139179" cy="36000"/>
            <a:chOff x="4907127" y="353637"/>
            <a:chExt cx="433742" cy="112191"/>
          </a:xfrm>
        </p:grpSpPr>
        <p:sp>
          <p:nvSpPr>
            <p:cNvPr id="34" name="Rectángulo 61">
              <a:extLst>
                <a:ext uri="{FF2B5EF4-FFF2-40B4-BE49-F238E27FC236}">
                  <a16:creationId xmlns:a16="http://schemas.microsoft.com/office/drawing/2014/main" id="{F80B6DCD-9BAF-58C4-1490-7AFEF3A0ED56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rgbClr val="FFFFFF"/>
                </a:solidFill>
              </a:endParaRPr>
            </a:p>
          </p:txBody>
        </p:sp>
        <p:cxnSp>
          <p:nvCxnSpPr>
            <p:cNvPr id="35" name="Conector recto 34">
              <a:extLst>
                <a:ext uri="{FF2B5EF4-FFF2-40B4-BE49-F238E27FC236}">
                  <a16:creationId xmlns:a16="http://schemas.microsoft.com/office/drawing/2014/main" id="{16180FCD-5D21-752F-852D-BBD61342AC27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rgbClr val="FFFFFF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Rectángulo 35">
            <a:extLst>
              <a:ext uri="{FF2B5EF4-FFF2-40B4-BE49-F238E27FC236}">
                <a16:creationId xmlns:a16="http://schemas.microsoft.com/office/drawing/2014/main" id="{B51438CA-9432-0C09-9B30-E5ABE6FF27A0}"/>
              </a:ext>
            </a:extLst>
          </p:cNvPr>
          <p:cNvSpPr/>
          <p:nvPr userDrawn="1"/>
        </p:nvSpPr>
        <p:spPr>
          <a:xfrm>
            <a:off x="547970" y="166052"/>
            <a:ext cx="830933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Contexto de Negocio</a:t>
            </a:r>
          </a:p>
        </p:txBody>
      </p:sp>
      <p:sp>
        <p:nvSpPr>
          <p:cNvPr id="3" name="Redondear rectángulo de esquina del mismo lado 2">
            <a:extLst>
              <a:ext uri="{FF2B5EF4-FFF2-40B4-BE49-F238E27FC236}">
                <a16:creationId xmlns:a16="http://schemas.microsoft.com/office/drawing/2014/main" id="{325698EA-5DCB-042B-C3AC-6ED73F2982E5}"/>
              </a:ext>
            </a:extLst>
          </p:cNvPr>
          <p:cNvSpPr/>
          <p:nvPr userDrawn="1"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2188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 Tec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F465080-26D5-7F46-8F7C-B576F213CC81}"/>
              </a:ext>
            </a:extLst>
          </p:cNvPr>
          <p:cNvCxnSpPr>
            <a:cxnSpLocks/>
          </p:cNvCxnSpPr>
          <p:nvPr userDrawn="1"/>
        </p:nvCxnSpPr>
        <p:spPr>
          <a:xfrm>
            <a:off x="675000" y="0"/>
            <a:ext cx="0" cy="5143500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D3C7CD5-23C4-F64B-B0C2-A0F1DB1AD023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A2075481-8EBC-7246-BB1A-147D25652B2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357E103D-990D-DD64-85AE-078B50CB8405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bg1"/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590709CC-E4B4-99FB-AE66-08F11E02AC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4" name="Slide Number Placeholder 24">
            <a:extLst>
              <a:ext uri="{FF2B5EF4-FFF2-40B4-BE49-F238E27FC236}">
                <a16:creationId xmlns:a16="http://schemas.microsoft.com/office/drawing/2014/main" id="{9D4F74BF-4F46-0BD3-B267-5BF395DD5EB2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66703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cion 0 -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9466295B-1549-8A8C-E910-4729DA077EAF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" name="Gráfico 3">
            <a:extLst>
              <a:ext uri="{FF2B5EF4-FFF2-40B4-BE49-F238E27FC236}">
                <a16:creationId xmlns:a16="http://schemas.microsoft.com/office/drawing/2014/main" id="{7A494811-0E75-BDB7-4025-CE2A5080EC5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661A38C2-5A98-FE62-4C16-387A5DFAED8B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6026E50-D8E3-B984-A5AF-AE25F431F47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2514FC1E-E41D-1550-10C5-CCC59E230B4C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7D03687B-55E3-853F-487D-A08CE47B7BA5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C6CB64AD-2EFA-9BFD-2116-4C3A7434591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A6ABAE67-0C19-5D09-579A-4ADAEB6F74C9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4F0F1AF8-99E1-46BD-BD88-426CA567AAD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DCE1F555-CCAA-46BA-B068-3ADDA16E54B4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E3A52441-2D72-555E-143F-F27092255D99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7D778770-CA25-91EC-1611-1706B774082E}"/>
              </a:ext>
            </a:extLst>
          </p:cNvPr>
          <p:cNvSpPr/>
          <p:nvPr userDrawn="1"/>
        </p:nvSpPr>
        <p:spPr>
          <a:xfrm>
            <a:off x="547970" y="166052"/>
            <a:ext cx="695575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Visión y Propósito</a:t>
            </a:r>
          </a:p>
        </p:txBody>
      </p:sp>
      <p:sp>
        <p:nvSpPr>
          <p:cNvPr id="22" name="Redondear rectángulo de esquina del mismo lado 21">
            <a:extLst>
              <a:ext uri="{FF2B5EF4-FFF2-40B4-BE49-F238E27FC236}">
                <a16:creationId xmlns:a16="http://schemas.microsoft.com/office/drawing/2014/main" id="{46F93A35-D0A0-F8B6-5BA9-9E6D239E41FD}"/>
              </a:ext>
            </a:extLst>
          </p:cNvPr>
          <p:cNvSpPr/>
          <p:nvPr userDrawn="1"/>
        </p:nvSpPr>
        <p:spPr>
          <a:xfrm>
            <a:off x="398274" y="0"/>
            <a:ext cx="10044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24" name="Slide Number Placeholder 24">
            <a:extLst>
              <a:ext uri="{FF2B5EF4-FFF2-40B4-BE49-F238E27FC236}">
                <a16:creationId xmlns:a16="http://schemas.microsoft.com/office/drawing/2014/main" id="{52055716-00B5-959E-D950-F205E5A7BBE2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8E202809-39C9-7472-AE16-41ACB51BA0F7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0411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eccion 0 -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C65B748C-4107-A917-12CE-5227E7C739EC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10FF7797-8408-1CEA-A3DB-E9C8AD152F19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E646F3F7-BB44-5429-2E41-9B8C7B6BB06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E8D63273-DEB2-8828-0931-0A1E8D31C73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9E9D669-A81C-93B6-EE62-1380273B236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395A0C3D-5DB7-60D7-450B-D9D1BAC776E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7D2A7BC-2695-33B7-71BA-94833AC45B3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B3D80A9-FFBC-BFD5-FDBA-E37720ECD544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B7C367D9-3F76-190C-F1DA-F7FE0823627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36C29421-6501-90CC-D239-B4DCB54E5E9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7" name="Rectángulo 36">
            <a:extLst>
              <a:ext uri="{FF2B5EF4-FFF2-40B4-BE49-F238E27FC236}">
                <a16:creationId xmlns:a16="http://schemas.microsoft.com/office/drawing/2014/main" id="{61EB6CE6-2159-EDD7-DA34-AD2989D559B8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4EF41660-685E-B27A-40A2-E230A404FC13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9DFC758A-81E4-F9EC-AB8B-AC5395E4658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ángulo 9">
            <a:extLst>
              <a:ext uri="{FF2B5EF4-FFF2-40B4-BE49-F238E27FC236}">
                <a16:creationId xmlns:a16="http://schemas.microsoft.com/office/drawing/2014/main" id="{D94606C3-B66C-C86A-0EAF-256DC8DCAD8D}"/>
              </a:ext>
            </a:extLst>
          </p:cNvPr>
          <p:cNvSpPr/>
          <p:nvPr userDrawn="1"/>
        </p:nvSpPr>
        <p:spPr>
          <a:xfrm>
            <a:off x="547970" y="166052"/>
            <a:ext cx="695575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Visión y Propósito</a:t>
            </a:r>
          </a:p>
        </p:txBody>
      </p:sp>
      <p:sp>
        <p:nvSpPr>
          <p:cNvPr id="4" name="Redondear rectángulo de esquina del mismo lado 3">
            <a:extLst>
              <a:ext uri="{FF2B5EF4-FFF2-40B4-BE49-F238E27FC236}">
                <a16:creationId xmlns:a16="http://schemas.microsoft.com/office/drawing/2014/main" id="{2C59BE18-A178-1FD8-61D3-6CF8B9F832AB}"/>
              </a:ext>
            </a:extLst>
          </p:cNvPr>
          <p:cNvSpPr/>
          <p:nvPr userDrawn="1"/>
        </p:nvSpPr>
        <p:spPr>
          <a:xfrm>
            <a:off x="398274" y="0"/>
            <a:ext cx="10044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29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Seccion 0 -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ángulo 20">
            <a:extLst>
              <a:ext uri="{FF2B5EF4-FFF2-40B4-BE49-F238E27FC236}">
                <a16:creationId xmlns:a16="http://schemas.microsoft.com/office/drawing/2014/main" id="{7D778770-CA25-91EC-1611-1706B774082E}"/>
              </a:ext>
            </a:extLst>
          </p:cNvPr>
          <p:cNvSpPr/>
          <p:nvPr userDrawn="1"/>
        </p:nvSpPr>
        <p:spPr>
          <a:xfrm>
            <a:off x="547970" y="166052"/>
            <a:ext cx="695575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Visión y Propósito</a:t>
            </a:r>
          </a:p>
        </p:txBody>
      </p:sp>
      <p:sp>
        <p:nvSpPr>
          <p:cNvPr id="22" name="Redondear rectángulo de esquina del mismo lado 21">
            <a:extLst>
              <a:ext uri="{FF2B5EF4-FFF2-40B4-BE49-F238E27FC236}">
                <a16:creationId xmlns:a16="http://schemas.microsoft.com/office/drawing/2014/main" id="{46F93A35-D0A0-F8B6-5BA9-9E6D239E41FD}"/>
              </a:ext>
            </a:extLst>
          </p:cNvPr>
          <p:cNvSpPr/>
          <p:nvPr userDrawn="1"/>
        </p:nvSpPr>
        <p:spPr>
          <a:xfrm>
            <a:off x="398274" y="0"/>
            <a:ext cx="10044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24" name="Slide Number Placeholder 24">
            <a:extLst>
              <a:ext uri="{FF2B5EF4-FFF2-40B4-BE49-F238E27FC236}">
                <a16:creationId xmlns:a16="http://schemas.microsoft.com/office/drawing/2014/main" id="{52055716-00B5-959E-D950-F205E5A7BBE2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8E202809-39C9-7472-AE16-41ACB51BA0F7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21330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cion 0 -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50DFB76F-DA30-BB98-5D3E-D6F7505FB34E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sp>
        <p:nvSpPr>
          <p:cNvPr id="22" name="Redondear rectángulo de esquina del mismo lado 21">
            <a:extLst>
              <a:ext uri="{FF2B5EF4-FFF2-40B4-BE49-F238E27FC236}">
                <a16:creationId xmlns:a16="http://schemas.microsoft.com/office/drawing/2014/main" id="{9578F8A5-3D51-AD33-B897-5A007D45DBA1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24" name="Slide Number Placeholder 24">
            <a:extLst>
              <a:ext uri="{FF2B5EF4-FFF2-40B4-BE49-F238E27FC236}">
                <a16:creationId xmlns:a16="http://schemas.microsoft.com/office/drawing/2014/main" id="{698D4544-FC92-ADC8-8D5A-86111469BEA4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41A7B6A9-1874-E04A-8BFA-C57C86FEB9D2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04BBA696-489D-A9D4-4F68-635690E4D175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58839976-931E-0869-3F97-607F13828135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C424AA2C-1EC8-69C5-FD20-30B50597EA7F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C7881804-72AF-E737-C6A8-27F0AFC4B59F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8D5A266A-F4C2-B618-8BA0-1BD22E67D039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49DF654B-6314-5490-4DD1-EC76F22814EB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E234661-B1B1-2526-9341-2D84FF576CFF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8906D266-245A-2E41-CBAB-DAB011B6B44E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6BD84086-73BA-1C4E-D3F2-89D43DFB65E8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7" name="Forma libre 36">
              <a:extLst>
                <a:ext uri="{FF2B5EF4-FFF2-40B4-BE49-F238E27FC236}">
                  <a16:creationId xmlns:a16="http://schemas.microsoft.com/office/drawing/2014/main" id="{364814AA-2F53-1FAA-B6C5-73DEBB854DAE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8" name="Rectángulo 37">
            <a:extLst>
              <a:ext uri="{FF2B5EF4-FFF2-40B4-BE49-F238E27FC236}">
                <a16:creationId xmlns:a16="http://schemas.microsoft.com/office/drawing/2014/main" id="{6DB00B48-6961-4B2B-C6BE-E4704BCB8673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16737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Seccion 0 -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50DFB76F-DA30-BB98-5D3E-D6F7505FB34E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sp>
        <p:nvSpPr>
          <p:cNvPr id="24" name="Slide Number Placeholder 24">
            <a:extLst>
              <a:ext uri="{FF2B5EF4-FFF2-40B4-BE49-F238E27FC236}">
                <a16:creationId xmlns:a16="http://schemas.microsoft.com/office/drawing/2014/main" id="{698D4544-FC92-ADC8-8D5A-86111469BEA4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41A7B6A9-1874-E04A-8BFA-C57C86FEB9D2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dondear rectángulo de esquina del mismo lado 1">
            <a:extLst>
              <a:ext uri="{FF2B5EF4-FFF2-40B4-BE49-F238E27FC236}">
                <a16:creationId xmlns:a16="http://schemas.microsoft.com/office/drawing/2014/main" id="{3C4CB8ED-9B20-79A7-8043-1CD52A983D5C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44845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eccion 0 -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C65B748C-4107-A917-12CE-5227E7C739EC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10FF7797-8408-1CEA-A3DB-E9C8AD152F19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E646F3F7-BB44-5429-2E41-9B8C7B6BB06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E8D63273-DEB2-8828-0931-0A1E8D31C73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9E9D669-A81C-93B6-EE62-1380273B236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395A0C3D-5DB7-60D7-450B-D9D1BAC776E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7D2A7BC-2695-33B7-71BA-94833AC45B3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B3D80A9-FFBC-BFD5-FDBA-E37720ECD544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B7C367D9-3F76-190C-F1DA-F7FE0823627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36C29421-6501-90CC-D239-B4DCB54E5E9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7" name="Rectángulo 36">
            <a:extLst>
              <a:ext uri="{FF2B5EF4-FFF2-40B4-BE49-F238E27FC236}">
                <a16:creationId xmlns:a16="http://schemas.microsoft.com/office/drawing/2014/main" id="{61EB6CE6-2159-EDD7-DA34-AD2989D559B8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4EF41660-685E-B27A-40A2-E230A404FC13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9DFC758A-81E4-F9EC-AB8B-AC5395E4658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 3">
            <a:extLst>
              <a:ext uri="{FF2B5EF4-FFF2-40B4-BE49-F238E27FC236}">
                <a16:creationId xmlns:a16="http://schemas.microsoft.com/office/drawing/2014/main" id="{29F61288-B3AF-F52C-C2BC-EC4FF59351E2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sp>
        <p:nvSpPr>
          <p:cNvPr id="6" name="Redondear rectángulo de esquina del mismo lado 5">
            <a:extLst>
              <a:ext uri="{FF2B5EF4-FFF2-40B4-BE49-F238E27FC236}">
                <a16:creationId xmlns:a16="http://schemas.microsoft.com/office/drawing/2014/main" id="{5BC56C37-68AD-C7E6-9833-CD48B72324D1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39023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eccion 0 -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9466295B-1549-8A8C-E910-4729DA077EAF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" name="Gráfico 3">
            <a:extLst>
              <a:ext uri="{FF2B5EF4-FFF2-40B4-BE49-F238E27FC236}">
                <a16:creationId xmlns:a16="http://schemas.microsoft.com/office/drawing/2014/main" id="{7A494811-0E75-BDB7-4025-CE2A5080EC5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661A38C2-5A98-FE62-4C16-387A5DFAED8B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6026E50-D8E3-B984-A5AF-AE25F431F47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2514FC1E-E41D-1550-10C5-CCC59E230B4C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7D03687B-55E3-853F-487D-A08CE47B7BA5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C6CB64AD-2EFA-9BFD-2116-4C3A7434591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A6ABAE67-0C19-5D09-579A-4ADAEB6F74C9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4F0F1AF8-99E1-46BD-BD88-426CA567AAD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DCE1F555-CCAA-46BA-B068-3ADDA16E54B4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E3A52441-2D72-555E-143F-F27092255D99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50DFB76F-DA30-BB98-5D3E-D6F7505FB34E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sp>
        <p:nvSpPr>
          <p:cNvPr id="24" name="Slide Number Placeholder 24">
            <a:extLst>
              <a:ext uri="{FF2B5EF4-FFF2-40B4-BE49-F238E27FC236}">
                <a16:creationId xmlns:a16="http://schemas.microsoft.com/office/drawing/2014/main" id="{698D4544-FC92-ADC8-8D5A-86111469BEA4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41A7B6A9-1874-E04A-8BFA-C57C86FEB9D2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618BAB85-EBE9-2A58-8CC5-DE9B258C99D8}"/>
              </a:ext>
            </a:extLst>
          </p:cNvPr>
          <p:cNvSpPr/>
          <p:nvPr userDrawn="1"/>
        </p:nvSpPr>
        <p:spPr>
          <a:xfrm>
            <a:off x="2791850" y="127925"/>
            <a:ext cx="827727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Evolucionar Nuestro</a:t>
            </a:r>
            <a:b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Negocio Core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0A36BDF1-9556-E131-67CF-A5DFFBA7634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02794" y="198211"/>
            <a:ext cx="139179" cy="36000"/>
            <a:chOff x="4907127" y="353637"/>
            <a:chExt cx="433742" cy="112191"/>
          </a:xfrm>
        </p:grpSpPr>
        <p:sp>
          <p:nvSpPr>
            <p:cNvPr id="6" name="Rectángulo 61">
              <a:extLst>
                <a:ext uri="{FF2B5EF4-FFF2-40B4-BE49-F238E27FC236}">
                  <a16:creationId xmlns:a16="http://schemas.microsoft.com/office/drawing/2014/main" id="{332D4F6C-C854-9B8E-9AB5-F3B81CC33A04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12" name="Conector recto 11">
              <a:extLst>
                <a:ext uri="{FF2B5EF4-FFF2-40B4-BE49-F238E27FC236}">
                  <a16:creationId xmlns:a16="http://schemas.microsoft.com/office/drawing/2014/main" id="{D3C6E4C0-B947-9EE6-8E48-2D67F78EE606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upo 33">
            <a:extLst>
              <a:ext uri="{FF2B5EF4-FFF2-40B4-BE49-F238E27FC236}">
                <a16:creationId xmlns:a16="http://schemas.microsoft.com/office/drawing/2014/main" id="{F47849E2-7B07-3B21-B692-E7AFAE14FC6B}"/>
              </a:ext>
            </a:extLst>
          </p:cNvPr>
          <p:cNvGrpSpPr/>
          <p:nvPr userDrawn="1"/>
        </p:nvGrpSpPr>
        <p:grpSpPr>
          <a:xfrm>
            <a:off x="2487446" y="93783"/>
            <a:ext cx="236474" cy="236230"/>
            <a:chOff x="3955161" y="1943655"/>
            <a:chExt cx="1169097" cy="1167892"/>
          </a:xfrm>
        </p:grpSpPr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0D8DB199-C670-6FE5-D487-CF0C128CBAC5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F1A186B7-A2C2-816B-8C8F-241AD2F6BF15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7" name="Forma libre 36">
              <a:extLst>
                <a:ext uri="{FF2B5EF4-FFF2-40B4-BE49-F238E27FC236}">
                  <a16:creationId xmlns:a16="http://schemas.microsoft.com/office/drawing/2014/main" id="{52666BDF-E6F7-F997-0B3F-ABE352627FCD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8" name="Forma libre 37">
              <a:extLst>
                <a:ext uri="{FF2B5EF4-FFF2-40B4-BE49-F238E27FC236}">
                  <a16:creationId xmlns:a16="http://schemas.microsoft.com/office/drawing/2014/main" id="{191D2AE3-2287-C8E9-C392-A057F3A57680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9" name="Forma libre 38">
              <a:extLst>
                <a:ext uri="{FF2B5EF4-FFF2-40B4-BE49-F238E27FC236}">
                  <a16:creationId xmlns:a16="http://schemas.microsoft.com/office/drawing/2014/main" id="{A522FB8D-E3F6-C4FA-480E-8114D6F1815D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0" name="Forma libre 39">
              <a:extLst>
                <a:ext uri="{FF2B5EF4-FFF2-40B4-BE49-F238E27FC236}">
                  <a16:creationId xmlns:a16="http://schemas.microsoft.com/office/drawing/2014/main" id="{040682D9-DB83-D215-35B2-F30EB0A7987D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1" name="Forma libre 40">
              <a:extLst>
                <a:ext uri="{FF2B5EF4-FFF2-40B4-BE49-F238E27FC236}">
                  <a16:creationId xmlns:a16="http://schemas.microsoft.com/office/drawing/2014/main" id="{CFBA7F2F-5DA5-E16C-F3FD-00BF94CC0E16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16" name="Redondear rectángulo de esquina del mismo lado 15">
            <a:extLst>
              <a:ext uri="{FF2B5EF4-FFF2-40B4-BE49-F238E27FC236}">
                <a16:creationId xmlns:a16="http://schemas.microsoft.com/office/drawing/2014/main" id="{9B7F1B34-715E-F5C1-84C8-D4F39D2BEA90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1152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Seccion 0 -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C65B748C-4107-A917-12CE-5227E7C739EC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10FF7797-8408-1CEA-A3DB-E9C8AD152F19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E646F3F7-BB44-5429-2E41-9B8C7B6BB06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E8D63273-DEB2-8828-0931-0A1E8D31C73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9E9D669-A81C-93B6-EE62-1380273B236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395A0C3D-5DB7-60D7-450B-D9D1BAC776E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7D2A7BC-2695-33B7-71BA-94833AC45B3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B3D80A9-FFBC-BFD5-FDBA-E37720ECD544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B7C367D9-3F76-190C-F1DA-F7FE0823627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36C29421-6501-90CC-D239-B4DCB54E5E9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7" name="Rectángulo 36">
            <a:extLst>
              <a:ext uri="{FF2B5EF4-FFF2-40B4-BE49-F238E27FC236}">
                <a16:creationId xmlns:a16="http://schemas.microsoft.com/office/drawing/2014/main" id="{61EB6CE6-2159-EDD7-DA34-AD2989D559B8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4EF41660-685E-B27A-40A2-E230A404FC13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9DFC758A-81E4-F9EC-AB8B-AC5395E4658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 3">
            <a:extLst>
              <a:ext uri="{FF2B5EF4-FFF2-40B4-BE49-F238E27FC236}">
                <a16:creationId xmlns:a16="http://schemas.microsoft.com/office/drawing/2014/main" id="{29F61288-B3AF-F52C-C2BC-EC4FF59351E2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299A14CF-40D7-67D7-C80E-3627A3E2B5A9}"/>
              </a:ext>
            </a:extLst>
          </p:cNvPr>
          <p:cNvSpPr/>
          <p:nvPr userDrawn="1"/>
        </p:nvSpPr>
        <p:spPr>
          <a:xfrm>
            <a:off x="2791850" y="127925"/>
            <a:ext cx="827727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Evolucionar Nuestro</a:t>
            </a:r>
            <a:b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Negocio Core</a:t>
            </a: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358E93DF-CB3D-047B-ACFE-3EBB87FD53A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02794" y="198211"/>
            <a:ext cx="139179" cy="36000"/>
            <a:chOff x="4907127" y="353637"/>
            <a:chExt cx="433742" cy="112191"/>
          </a:xfrm>
        </p:grpSpPr>
        <p:sp>
          <p:nvSpPr>
            <p:cNvPr id="8" name="Rectángulo 61">
              <a:extLst>
                <a:ext uri="{FF2B5EF4-FFF2-40B4-BE49-F238E27FC236}">
                  <a16:creationId xmlns:a16="http://schemas.microsoft.com/office/drawing/2014/main" id="{CF895ACC-4B4A-72BB-9CF7-3F420C011025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9" name="Conector recto 8">
              <a:extLst>
                <a:ext uri="{FF2B5EF4-FFF2-40B4-BE49-F238E27FC236}">
                  <a16:creationId xmlns:a16="http://schemas.microsoft.com/office/drawing/2014/main" id="{80820FD0-5705-08A5-840C-67BA75CAA2E9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o 17">
            <a:extLst>
              <a:ext uri="{FF2B5EF4-FFF2-40B4-BE49-F238E27FC236}">
                <a16:creationId xmlns:a16="http://schemas.microsoft.com/office/drawing/2014/main" id="{C1A6644E-3E3A-0EB1-B9F0-570992DC69FB}"/>
              </a:ext>
            </a:extLst>
          </p:cNvPr>
          <p:cNvGrpSpPr/>
          <p:nvPr userDrawn="1"/>
        </p:nvGrpSpPr>
        <p:grpSpPr>
          <a:xfrm>
            <a:off x="2487446" y="93783"/>
            <a:ext cx="236474" cy="236230"/>
            <a:chOff x="3955161" y="1943655"/>
            <a:chExt cx="1169097" cy="1167892"/>
          </a:xfrm>
        </p:grpSpPr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9F0BE9B5-434D-BC99-225E-09FEBA56F7FC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31DA8F0F-31B5-DEC5-BAFD-E32349EAE76C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1" name="Forma libre 20">
              <a:extLst>
                <a:ext uri="{FF2B5EF4-FFF2-40B4-BE49-F238E27FC236}">
                  <a16:creationId xmlns:a16="http://schemas.microsoft.com/office/drawing/2014/main" id="{C5C215FE-B7B0-205A-E037-2CB76E460998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2" name="Forma libre 21">
              <a:extLst>
                <a:ext uri="{FF2B5EF4-FFF2-40B4-BE49-F238E27FC236}">
                  <a16:creationId xmlns:a16="http://schemas.microsoft.com/office/drawing/2014/main" id="{B92BA52B-6DFF-C605-C2B1-B6B7099D8D01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DB69D6EA-EB31-3193-6FDD-FFAEF49C4477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4" name="Forma libre 23">
              <a:extLst>
                <a:ext uri="{FF2B5EF4-FFF2-40B4-BE49-F238E27FC236}">
                  <a16:creationId xmlns:a16="http://schemas.microsoft.com/office/drawing/2014/main" id="{20FB939F-5D3E-4047-8510-DE01DDF2D5CA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5" name="Forma libre 24">
              <a:extLst>
                <a:ext uri="{FF2B5EF4-FFF2-40B4-BE49-F238E27FC236}">
                  <a16:creationId xmlns:a16="http://schemas.microsoft.com/office/drawing/2014/main" id="{0C087658-8780-7B46-DE51-B7C9778095EF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10" name="Redondear rectángulo de esquina del mismo lado 9">
            <a:extLst>
              <a:ext uri="{FF2B5EF4-FFF2-40B4-BE49-F238E27FC236}">
                <a16:creationId xmlns:a16="http://schemas.microsoft.com/office/drawing/2014/main" id="{ED1D0C7B-03F8-E69B-B4E7-3A7D6A9CB7BD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385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Seccion 0 -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4EF41660-685E-B27A-40A2-E230A404FC13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9DFC758A-81E4-F9EC-AB8B-AC5395E4658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 3">
            <a:extLst>
              <a:ext uri="{FF2B5EF4-FFF2-40B4-BE49-F238E27FC236}">
                <a16:creationId xmlns:a16="http://schemas.microsoft.com/office/drawing/2014/main" id="{29F61288-B3AF-F52C-C2BC-EC4FF59351E2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299A14CF-40D7-67D7-C80E-3627A3E2B5A9}"/>
              </a:ext>
            </a:extLst>
          </p:cNvPr>
          <p:cNvSpPr/>
          <p:nvPr userDrawn="1"/>
        </p:nvSpPr>
        <p:spPr>
          <a:xfrm>
            <a:off x="2791850" y="127925"/>
            <a:ext cx="827727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Evolucionar Nuestro</a:t>
            </a:r>
            <a:b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Negocio Core</a:t>
            </a: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358E93DF-CB3D-047B-ACFE-3EBB87FD53A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02794" y="198211"/>
            <a:ext cx="139179" cy="36000"/>
            <a:chOff x="4907127" y="353637"/>
            <a:chExt cx="433742" cy="112191"/>
          </a:xfrm>
        </p:grpSpPr>
        <p:sp>
          <p:nvSpPr>
            <p:cNvPr id="8" name="Rectángulo 61">
              <a:extLst>
                <a:ext uri="{FF2B5EF4-FFF2-40B4-BE49-F238E27FC236}">
                  <a16:creationId xmlns:a16="http://schemas.microsoft.com/office/drawing/2014/main" id="{CF895ACC-4B4A-72BB-9CF7-3F420C011025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9" name="Conector recto 8">
              <a:extLst>
                <a:ext uri="{FF2B5EF4-FFF2-40B4-BE49-F238E27FC236}">
                  <a16:creationId xmlns:a16="http://schemas.microsoft.com/office/drawing/2014/main" id="{80820FD0-5705-08A5-840C-67BA75CAA2E9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o 17">
            <a:extLst>
              <a:ext uri="{FF2B5EF4-FFF2-40B4-BE49-F238E27FC236}">
                <a16:creationId xmlns:a16="http://schemas.microsoft.com/office/drawing/2014/main" id="{C1A6644E-3E3A-0EB1-B9F0-570992DC69FB}"/>
              </a:ext>
            </a:extLst>
          </p:cNvPr>
          <p:cNvGrpSpPr/>
          <p:nvPr userDrawn="1"/>
        </p:nvGrpSpPr>
        <p:grpSpPr>
          <a:xfrm>
            <a:off x="2487446" y="93783"/>
            <a:ext cx="236474" cy="236230"/>
            <a:chOff x="3955161" y="1943655"/>
            <a:chExt cx="1169097" cy="1167892"/>
          </a:xfrm>
        </p:grpSpPr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9F0BE9B5-434D-BC99-225E-09FEBA56F7FC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31DA8F0F-31B5-DEC5-BAFD-E32349EAE76C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1" name="Forma libre 20">
              <a:extLst>
                <a:ext uri="{FF2B5EF4-FFF2-40B4-BE49-F238E27FC236}">
                  <a16:creationId xmlns:a16="http://schemas.microsoft.com/office/drawing/2014/main" id="{C5C215FE-B7B0-205A-E037-2CB76E460998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2" name="Forma libre 21">
              <a:extLst>
                <a:ext uri="{FF2B5EF4-FFF2-40B4-BE49-F238E27FC236}">
                  <a16:creationId xmlns:a16="http://schemas.microsoft.com/office/drawing/2014/main" id="{B92BA52B-6DFF-C605-C2B1-B6B7099D8D01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DB69D6EA-EB31-3193-6FDD-FFAEF49C4477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4" name="Forma libre 23">
              <a:extLst>
                <a:ext uri="{FF2B5EF4-FFF2-40B4-BE49-F238E27FC236}">
                  <a16:creationId xmlns:a16="http://schemas.microsoft.com/office/drawing/2014/main" id="{20FB939F-5D3E-4047-8510-DE01DDF2D5CA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5" name="Forma libre 24">
              <a:extLst>
                <a:ext uri="{FF2B5EF4-FFF2-40B4-BE49-F238E27FC236}">
                  <a16:creationId xmlns:a16="http://schemas.microsoft.com/office/drawing/2014/main" id="{0C087658-8780-7B46-DE51-B7C9778095EF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10" name="Redondear rectángulo de esquina del mismo lado 9">
            <a:extLst>
              <a:ext uri="{FF2B5EF4-FFF2-40B4-BE49-F238E27FC236}">
                <a16:creationId xmlns:a16="http://schemas.microsoft.com/office/drawing/2014/main" id="{9D1BAD6A-8202-F1A7-B823-68B0CD4DF5D7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9151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Seccion 0 - B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9466295B-1549-8A8C-E910-4729DA077EAF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chemeClr val="bg1">
              <a:lumMod val="10000"/>
            </a:schemeClr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" name="Gráfico 3">
            <a:extLst>
              <a:ext uri="{FF2B5EF4-FFF2-40B4-BE49-F238E27FC236}">
                <a16:creationId xmlns:a16="http://schemas.microsoft.com/office/drawing/2014/main" id="{7A494811-0E75-BDB7-4025-CE2A5080EC5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661A38C2-5A98-FE62-4C16-387A5DFAED8B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6026E50-D8E3-B984-A5AF-AE25F431F47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2514FC1E-E41D-1550-10C5-CCC59E230B4C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7D03687B-55E3-853F-487D-A08CE47B7BA5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C6CB64AD-2EFA-9BFD-2116-4C3A7434591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A6ABAE67-0C19-5D09-579A-4ADAEB6F74C9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4F0F1AF8-99E1-46BD-BD88-426CA567AAD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DCE1F555-CCAA-46BA-B068-3ADDA16E54B4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E3A52441-2D72-555E-143F-F27092255D99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bg1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bg1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bg1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bg1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50DFB76F-DA30-BB98-5D3E-D6F7505FB34E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618BAB85-EBE9-2A58-8CC5-DE9B258C99D8}"/>
              </a:ext>
            </a:extLst>
          </p:cNvPr>
          <p:cNvSpPr/>
          <p:nvPr userDrawn="1"/>
        </p:nvSpPr>
        <p:spPr>
          <a:xfrm>
            <a:off x="2791850" y="127925"/>
            <a:ext cx="827727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Evolucionar Nuestro</a:t>
            </a:r>
            <a:b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Negocio Core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0A36BDF1-9556-E131-67CF-A5DFFBA7634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02794" y="198211"/>
            <a:ext cx="139179" cy="36000"/>
            <a:chOff x="4907127" y="353637"/>
            <a:chExt cx="433742" cy="112191"/>
          </a:xfrm>
        </p:grpSpPr>
        <p:sp>
          <p:nvSpPr>
            <p:cNvPr id="6" name="Rectángulo 61">
              <a:extLst>
                <a:ext uri="{FF2B5EF4-FFF2-40B4-BE49-F238E27FC236}">
                  <a16:creationId xmlns:a16="http://schemas.microsoft.com/office/drawing/2014/main" id="{332D4F6C-C854-9B8E-9AB5-F3B81CC33A04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12" name="Conector recto 11">
              <a:extLst>
                <a:ext uri="{FF2B5EF4-FFF2-40B4-BE49-F238E27FC236}">
                  <a16:creationId xmlns:a16="http://schemas.microsoft.com/office/drawing/2014/main" id="{D3C6E4C0-B947-9EE6-8E48-2D67F78EE606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upo 33">
            <a:extLst>
              <a:ext uri="{FF2B5EF4-FFF2-40B4-BE49-F238E27FC236}">
                <a16:creationId xmlns:a16="http://schemas.microsoft.com/office/drawing/2014/main" id="{F47849E2-7B07-3B21-B692-E7AFAE14FC6B}"/>
              </a:ext>
            </a:extLst>
          </p:cNvPr>
          <p:cNvGrpSpPr/>
          <p:nvPr userDrawn="1"/>
        </p:nvGrpSpPr>
        <p:grpSpPr>
          <a:xfrm>
            <a:off x="2487446" y="93783"/>
            <a:ext cx="236474" cy="236230"/>
            <a:chOff x="3955161" y="1943655"/>
            <a:chExt cx="1169097" cy="1167892"/>
          </a:xfrm>
        </p:grpSpPr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0D8DB199-C670-6FE5-D487-CF0C128CBAC5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F1A186B7-A2C2-816B-8C8F-241AD2F6BF15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7" name="Forma libre 36">
              <a:extLst>
                <a:ext uri="{FF2B5EF4-FFF2-40B4-BE49-F238E27FC236}">
                  <a16:creationId xmlns:a16="http://schemas.microsoft.com/office/drawing/2014/main" id="{52666BDF-E6F7-F997-0B3F-ABE352627FCD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8" name="Forma libre 37">
              <a:extLst>
                <a:ext uri="{FF2B5EF4-FFF2-40B4-BE49-F238E27FC236}">
                  <a16:creationId xmlns:a16="http://schemas.microsoft.com/office/drawing/2014/main" id="{191D2AE3-2287-C8E9-C392-A057F3A57680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9" name="Forma libre 38">
              <a:extLst>
                <a:ext uri="{FF2B5EF4-FFF2-40B4-BE49-F238E27FC236}">
                  <a16:creationId xmlns:a16="http://schemas.microsoft.com/office/drawing/2014/main" id="{A522FB8D-E3F6-C4FA-480E-8114D6F1815D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0" name="Forma libre 39">
              <a:extLst>
                <a:ext uri="{FF2B5EF4-FFF2-40B4-BE49-F238E27FC236}">
                  <a16:creationId xmlns:a16="http://schemas.microsoft.com/office/drawing/2014/main" id="{040682D9-DB83-D215-35B2-F30EB0A7987D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1" name="Forma libre 40">
              <a:extLst>
                <a:ext uri="{FF2B5EF4-FFF2-40B4-BE49-F238E27FC236}">
                  <a16:creationId xmlns:a16="http://schemas.microsoft.com/office/drawing/2014/main" id="{CFBA7F2F-5DA5-E16C-F3FD-00BF94CC0E16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17" name="Slide Number Placeholder 24">
            <a:extLst>
              <a:ext uri="{FF2B5EF4-FFF2-40B4-BE49-F238E27FC236}">
                <a16:creationId xmlns:a16="http://schemas.microsoft.com/office/drawing/2014/main" id="{3FD8D1F3-A83B-BCEE-C8A3-90965A7DDEA2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bg1">
                    <a:lumMod val="7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bg1">
                  <a:lumMod val="7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67827E66-CE89-ECA7-F72E-5B998D44E9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dondear rectángulo de esquina del mismo lado 15">
            <a:extLst>
              <a:ext uri="{FF2B5EF4-FFF2-40B4-BE49-F238E27FC236}">
                <a16:creationId xmlns:a16="http://schemas.microsoft.com/office/drawing/2014/main" id="{0CC04895-149C-D356-CC32-8B09E41DDBC4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27299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 Teco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4F3833DD-CE23-F442-B342-74518506EAA0}"/>
              </a:ext>
            </a:extLst>
          </p:cNvPr>
          <p:cNvSpPr/>
          <p:nvPr userDrawn="1"/>
        </p:nvSpPr>
        <p:spPr>
          <a:xfrm>
            <a:off x="40500" y="0"/>
            <a:ext cx="634500" cy="5143500"/>
          </a:xfrm>
          <a:prstGeom prst="rect">
            <a:avLst/>
          </a:prstGeom>
          <a:solidFill>
            <a:schemeClr val="tx1">
              <a:alpha val="15000"/>
            </a:schemeClr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C1E37B89-EBDE-6E44-A9DC-6ACF0B972F12}"/>
              </a:ext>
            </a:extLst>
          </p:cNvPr>
          <p:cNvSpPr/>
          <p:nvPr userDrawn="1"/>
        </p:nvSpPr>
        <p:spPr>
          <a:xfrm>
            <a:off x="0" y="0"/>
            <a:ext cx="405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9C8A9E78-20BB-F042-AE86-4F4A89D924FF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6224" y="0"/>
            <a:ext cx="0" cy="553588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ángulo 2">
            <a:extLst>
              <a:ext uri="{FF2B5EF4-FFF2-40B4-BE49-F238E27FC236}">
                <a16:creationId xmlns:a16="http://schemas.microsoft.com/office/drawing/2014/main" id="{490AA1EF-1D74-39DE-F4FD-2EE5F8D342DF}"/>
              </a:ext>
            </a:extLst>
          </p:cNvPr>
          <p:cNvSpPr/>
          <p:nvPr userDrawn="1"/>
        </p:nvSpPr>
        <p:spPr>
          <a:xfrm>
            <a:off x="8263440" y="377002"/>
            <a:ext cx="715178" cy="176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  <a:t>Estrategia</a:t>
            </a:r>
            <a:br>
              <a:rPr lang="es-AR" sz="675" spc="-8">
                <a:solidFill>
                  <a:schemeClr val="bg1"/>
                </a:solidFill>
                <a:latin typeface="Montserrat Light" pitchFamily="2" charset="77"/>
                <a:ea typeface="Inter Light BETA" panose="020B0402030000000004" pitchFamily="34" charset="0"/>
              </a:rPr>
            </a:br>
            <a:r>
              <a:rPr lang="es-AR" sz="675" b="1" spc="-8">
                <a:solidFill>
                  <a:schemeClr val="bg1"/>
                </a:solidFill>
                <a:latin typeface="Montserrat SemiBold" pitchFamily="2" charset="77"/>
                <a:ea typeface="Inter Extra Bold" panose="020B0502030000000004" pitchFamily="34" charset="0"/>
              </a:rPr>
              <a:t>2025 | 2029</a:t>
            </a: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DE425AD6-2D77-EB77-B777-4F4D0F4FA5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1" y="346440"/>
            <a:ext cx="634500" cy="219297"/>
          </a:xfrm>
          <a:prstGeom prst="rect">
            <a:avLst/>
          </a:prstGeom>
        </p:spPr>
      </p:pic>
      <p:sp>
        <p:nvSpPr>
          <p:cNvPr id="5" name="Slide Number Placeholder 24">
            <a:extLst>
              <a:ext uri="{FF2B5EF4-FFF2-40B4-BE49-F238E27FC236}">
                <a16:creationId xmlns:a16="http://schemas.microsoft.com/office/drawing/2014/main" id="{D878FBCE-32FB-1706-DDCD-3FC536F8F23A}"/>
              </a:ext>
            </a:extLst>
          </p:cNvPr>
          <p:cNvSpPr txBox="1">
            <a:spLocks/>
          </p:cNvSpPr>
          <p:nvPr userDrawn="1"/>
        </p:nvSpPr>
        <p:spPr>
          <a:xfrm>
            <a:off x="40500" y="4468500"/>
            <a:ext cx="634500" cy="67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600" b="0" i="0" smtClean="0">
                <a:solidFill>
                  <a:srgbClr val="FFFFFF">
                    <a:alpha val="80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pPr lvl="0"/>
              <a:t>‹Nº›</a:t>
            </a:fld>
            <a:endParaRPr lang="en-US" sz="600" b="0" i="0">
              <a:solidFill>
                <a:srgbClr val="FFFFFF">
                  <a:alpha val="80000"/>
                </a:srgbClr>
              </a:solidFill>
              <a:latin typeface="Roboto Light" panose="02000000000000000000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72400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Seccion 0 -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9466295B-1549-8A8C-E910-4729DA077EAF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" name="Gráfico 3">
            <a:extLst>
              <a:ext uri="{FF2B5EF4-FFF2-40B4-BE49-F238E27FC236}">
                <a16:creationId xmlns:a16="http://schemas.microsoft.com/office/drawing/2014/main" id="{7A494811-0E75-BDB7-4025-CE2A5080EC5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661A38C2-5A98-FE62-4C16-387A5DFAED8B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6026E50-D8E3-B984-A5AF-AE25F431F47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2514FC1E-E41D-1550-10C5-CCC59E230B4C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7D03687B-55E3-853F-487D-A08CE47B7BA5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C6CB64AD-2EFA-9BFD-2116-4C3A7434591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A6ABAE67-0C19-5D09-579A-4ADAEB6F74C9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4F0F1AF8-99E1-46BD-BD88-426CA567AAD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DCE1F555-CCAA-46BA-B068-3ADDA16E54B4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E3A52441-2D72-555E-143F-F27092255D99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4" name="Slide Number Placeholder 24">
            <a:extLst>
              <a:ext uri="{FF2B5EF4-FFF2-40B4-BE49-F238E27FC236}">
                <a16:creationId xmlns:a16="http://schemas.microsoft.com/office/drawing/2014/main" id="{698D4544-FC92-ADC8-8D5A-86111469BEA4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41A7B6A9-1874-E04A-8BFA-C57C86FEB9D2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ángulo 15">
            <a:extLst>
              <a:ext uri="{FF2B5EF4-FFF2-40B4-BE49-F238E27FC236}">
                <a16:creationId xmlns:a16="http://schemas.microsoft.com/office/drawing/2014/main" id="{D82C7337-6ACC-86BD-32C5-4AA3BBD6667E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sp>
        <p:nvSpPr>
          <p:cNvPr id="17" name="Redondear rectángulo de esquina del mismo lado 16">
            <a:extLst>
              <a:ext uri="{FF2B5EF4-FFF2-40B4-BE49-F238E27FC236}">
                <a16:creationId xmlns:a16="http://schemas.microsoft.com/office/drawing/2014/main" id="{5F5A66B7-88FF-6BF5-804D-3F4CAAD58781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rgbClr val="5A50F9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rgbClr val="5A50F9">
                <a:alpha val="7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05BF6BF2-8FB4-51B7-C45E-40A3E4986A0C}"/>
              </a:ext>
            </a:extLst>
          </p:cNvPr>
          <p:cNvSpPr/>
          <p:nvPr userDrawn="1"/>
        </p:nvSpPr>
        <p:spPr>
          <a:xfrm>
            <a:off x="2791850" y="127925"/>
            <a:ext cx="827727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Evolucionar Nuestro</a:t>
            </a:r>
            <a:b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rgbClr val="5A50F9"/>
                </a:solidFill>
                <a:latin typeface="Pulso" pitchFamily="2" charset="0"/>
                <a:ea typeface="Inter Light BETA" panose="020B0402030000000004" pitchFamily="34" charset="0"/>
              </a:rPr>
              <a:t>Negocio Core</a:t>
            </a:r>
          </a:p>
        </p:txBody>
      </p:sp>
      <p:grpSp>
        <p:nvGrpSpPr>
          <p:cNvPr id="19" name="Grupo 18">
            <a:extLst>
              <a:ext uri="{FF2B5EF4-FFF2-40B4-BE49-F238E27FC236}">
                <a16:creationId xmlns:a16="http://schemas.microsoft.com/office/drawing/2014/main" id="{1E7E5E3D-EB8C-9359-6830-14484211A5B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02794" y="198211"/>
            <a:ext cx="139179" cy="36000"/>
            <a:chOff x="4907127" y="353637"/>
            <a:chExt cx="433742" cy="112191"/>
          </a:xfrm>
        </p:grpSpPr>
        <p:sp>
          <p:nvSpPr>
            <p:cNvPr id="20" name="Rectángulo 61">
              <a:extLst>
                <a:ext uri="{FF2B5EF4-FFF2-40B4-BE49-F238E27FC236}">
                  <a16:creationId xmlns:a16="http://schemas.microsoft.com/office/drawing/2014/main" id="{817A07CF-1AD4-AD26-E08E-A29538EDBC6C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rgbClr val="5A50F9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23" name="Conector recto 22">
              <a:extLst>
                <a:ext uri="{FF2B5EF4-FFF2-40B4-BE49-F238E27FC236}">
                  <a16:creationId xmlns:a16="http://schemas.microsoft.com/office/drawing/2014/main" id="{EB03833D-DD99-7BBD-4AAC-9F5DDECDCFCB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rgbClr val="5A50F9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Grupo 26">
            <a:extLst>
              <a:ext uri="{FF2B5EF4-FFF2-40B4-BE49-F238E27FC236}">
                <a16:creationId xmlns:a16="http://schemas.microsoft.com/office/drawing/2014/main" id="{A0070694-9CC0-16A5-91B1-30227CF610D5}"/>
              </a:ext>
            </a:extLst>
          </p:cNvPr>
          <p:cNvGrpSpPr/>
          <p:nvPr userDrawn="1"/>
        </p:nvGrpSpPr>
        <p:grpSpPr>
          <a:xfrm>
            <a:off x="2487446" y="93783"/>
            <a:ext cx="236474" cy="236230"/>
            <a:chOff x="3955161" y="1943655"/>
            <a:chExt cx="1169097" cy="1167892"/>
          </a:xfrm>
        </p:grpSpPr>
        <p:sp>
          <p:nvSpPr>
            <p:cNvPr id="28" name="Forma libre 27">
              <a:extLst>
                <a:ext uri="{FF2B5EF4-FFF2-40B4-BE49-F238E27FC236}">
                  <a16:creationId xmlns:a16="http://schemas.microsoft.com/office/drawing/2014/main" id="{C282D632-553D-BD5C-D0EC-EB12FE51D84B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rgbClr val="15095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EA5D3145-9F5F-0DAE-A56B-6A51549EBB18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6F81332B-EBC8-1D8E-280F-B0FA68663DF2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rgbClr val="5A50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706F0B87-0769-091F-EC72-C9AA4C70C2F3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67F4E4C2-5CCF-8C0D-6EFA-76F783301FE3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2" name="Forma libre 41">
              <a:extLst>
                <a:ext uri="{FF2B5EF4-FFF2-40B4-BE49-F238E27FC236}">
                  <a16:creationId xmlns:a16="http://schemas.microsoft.com/office/drawing/2014/main" id="{9695A236-618E-0164-F19F-8327433BBC86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3" name="Forma libre 42">
              <a:extLst>
                <a:ext uri="{FF2B5EF4-FFF2-40B4-BE49-F238E27FC236}">
                  <a16:creationId xmlns:a16="http://schemas.microsoft.com/office/drawing/2014/main" id="{6B0396AD-245B-F54A-A584-9A5EA3FA2648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39169649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Seccion 0 -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C65B748C-4107-A917-12CE-5227E7C739EC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10FF7797-8408-1CEA-A3DB-E9C8AD152F19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E646F3F7-BB44-5429-2E41-9B8C7B6BB06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E8D63273-DEB2-8828-0931-0A1E8D31C73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9E9D669-A81C-93B6-EE62-1380273B236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395A0C3D-5DB7-60D7-450B-D9D1BAC776E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7D2A7BC-2695-33B7-71BA-94833AC45B3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B3D80A9-FFBC-BFD5-FDBA-E37720ECD544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B7C367D9-3F76-190C-F1DA-F7FE0823627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36C29421-6501-90CC-D239-B4DCB54E5E9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7" name="Rectángulo 36">
            <a:extLst>
              <a:ext uri="{FF2B5EF4-FFF2-40B4-BE49-F238E27FC236}">
                <a16:creationId xmlns:a16="http://schemas.microsoft.com/office/drawing/2014/main" id="{61EB6CE6-2159-EDD7-DA34-AD2989D559B8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4EF41660-685E-B27A-40A2-E230A404FC13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9DFC758A-81E4-F9EC-AB8B-AC5395E4658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 3">
            <a:extLst>
              <a:ext uri="{FF2B5EF4-FFF2-40B4-BE49-F238E27FC236}">
                <a16:creationId xmlns:a16="http://schemas.microsoft.com/office/drawing/2014/main" id="{29F61288-B3AF-F52C-C2BC-EC4FF59351E2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299A14CF-40D7-67D7-C80E-3627A3E2B5A9}"/>
              </a:ext>
            </a:extLst>
          </p:cNvPr>
          <p:cNvSpPr/>
          <p:nvPr userDrawn="1"/>
        </p:nvSpPr>
        <p:spPr>
          <a:xfrm>
            <a:off x="2791850" y="127925"/>
            <a:ext cx="827727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Evolucionar Nuestro</a:t>
            </a:r>
            <a:b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rgbClr val="5A50F9"/>
                </a:solidFill>
                <a:latin typeface="Pulso" pitchFamily="2" charset="0"/>
                <a:ea typeface="Inter Light BETA" panose="020B0402030000000004" pitchFamily="34" charset="0"/>
              </a:rPr>
              <a:t>Negocio Core</a:t>
            </a: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358E93DF-CB3D-047B-ACFE-3EBB87FD53A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02794" y="198211"/>
            <a:ext cx="139179" cy="36000"/>
            <a:chOff x="4907127" y="353637"/>
            <a:chExt cx="433742" cy="112191"/>
          </a:xfrm>
        </p:grpSpPr>
        <p:sp>
          <p:nvSpPr>
            <p:cNvPr id="8" name="Rectángulo 61">
              <a:extLst>
                <a:ext uri="{FF2B5EF4-FFF2-40B4-BE49-F238E27FC236}">
                  <a16:creationId xmlns:a16="http://schemas.microsoft.com/office/drawing/2014/main" id="{CF895ACC-4B4A-72BB-9CF7-3F420C011025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rgbClr val="5A50F9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9" name="Conector recto 8">
              <a:extLst>
                <a:ext uri="{FF2B5EF4-FFF2-40B4-BE49-F238E27FC236}">
                  <a16:creationId xmlns:a16="http://schemas.microsoft.com/office/drawing/2014/main" id="{80820FD0-5705-08A5-840C-67BA75CAA2E9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rgbClr val="5A50F9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o 17">
            <a:extLst>
              <a:ext uri="{FF2B5EF4-FFF2-40B4-BE49-F238E27FC236}">
                <a16:creationId xmlns:a16="http://schemas.microsoft.com/office/drawing/2014/main" id="{C1A6644E-3E3A-0EB1-B9F0-570992DC69FB}"/>
              </a:ext>
            </a:extLst>
          </p:cNvPr>
          <p:cNvGrpSpPr/>
          <p:nvPr userDrawn="1"/>
        </p:nvGrpSpPr>
        <p:grpSpPr>
          <a:xfrm>
            <a:off x="2487446" y="93783"/>
            <a:ext cx="236474" cy="236230"/>
            <a:chOff x="3955161" y="1943655"/>
            <a:chExt cx="1169097" cy="1167892"/>
          </a:xfrm>
        </p:grpSpPr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9F0BE9B5-434D-BC99-225E-09FEBA56F7FC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rgbClr val="15095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31DA8F0F-31B5-DEC5-BAFD-E32349EAE76C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1" name="Forma libre 20">
              <a:extLst>
                <a:ext uri="{FF2B5EF4-FFF2-40B4-BE49-F238E27FC236}">
                  <a16:creationId xmlns:a16="http://schemas.microsoft.com/office/drawing/2014/main" id="{C5C215FE-B7B0-205A-E037-2CB76E460998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rgbClr val="5A50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2" name="Forma libre 21">
              <a:extLst>
                <a:ext uri="{FF2B5EF4-FFF2-40B4-BE49-F238E27FC236}">
                  <a16:creationId xmlns:a16="http://schemas.microsoft.com/office/drawing/2014/main" id="{B92BA52B-6DFF-C605-C2B1-B6B7099D8D01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DB69D6EA-EB31-3193-6FDD-FFAEF49C4477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4" name="Forma libre 23">
              <a:extLst>
                <a:ext uri="{FF2B5EF4-FFF2-40B4-BE49-F238E27FC236}">
                  <a16:creationId xmlns:a16="http://schemas.microsoft.com/office/drawing/2014/main" id="{20FB939F-5D3E-4047-8510-DE01DDF2D5CA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5" name="Forma libre 24">
              <a:extLst>
                <a:ext uri="{FF2B5EF4-FFF2-40B4-BE49-F238E27FC236}">
                  <a16:creationId xmlns:a16="http://schemas.microsoft.com/office/drawing/2014/main" id="{0C087658-8780-7B46-DE51-B7C9778095EF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10" name="Redondear rectángulo de esquina del mismo lado 9">
            <a:extLst>
              <a:ext uri="{FF2B5EF4-FFF2-40B4-BE49-F238E27FC236}">
                <a16:creationId xmlns:a16="http://schemas.microsoft.com/office/drawing/2014/main" id="{000A97E7-D353-6DFD-E335-77AF83E017E0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rgbClr val="5A50F9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rgbClr val="5A50F9">
                <a:alpha val="7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07225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rategic Review 01 Business Context International">
    <p:bg>
      <p:bgPr>
        <a:gradFill flip="none" rotWithShape="1">
          <a:gsLst>
            <a:gs pos="0">
              <a:srgbClr val="A1B9FF"/>
            </a:gs>
            <a:gs pos="100000">
              <a:srgbClr val="5A50F9"/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24">
            <a:extLst>
              <a:ext uri="{FF2B5EF4-FFF2-40B4-BE49-F238E27FC236}">
                <a16:creationId xmlns:a16="http://schemas.microsoft.com/office/drawing/2014/main" id="{7FFE3A86-9FF1-3FE9-E458-90E7FA0269F5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rgbClr val="FFFFFF">
                    <a:alpha val="80000"/>
                  </a:srgb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rgbClr val="FFFFFF">
                  <a:alpha val="80000"/>
                </a:srgb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478FB663-F61F-5554-7ADD-4D24821F1BF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redondeado 1">
            <a:extLst>
              <a:ext uri="{FF2B5EF4-FFF2-40B4-BE49-F238E27FC236}">
                <a16:creationId xmlns:a16="http://schemas.microsoft.com/office/drawing/2014/main" id="{FC43D294-B585-032E-221F-3DF82973063C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7" name="Gráfico 3">
            <a:extLst>
              <a:ext uri="{FF2B5EF4-FFF2-40B4-BE49-F238E27FC236}">
                <a16:creationId xmlns:a16="http://schemas.microsoft.com/office/drawing/2014/main" id="{C079CF67-637E-A8F1-A9B6-4D02BFDF13BB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8F21B4E7-0AF7-E383-77F0-4794F32B611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B1775021-1B9E-5B04-E972-DCF3277A8CA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6B525A06-F2B4-355D-3636-4851129FEA41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6" name="Forma libre 25">
              <a:extLst>
                <a:ext uri="{FF2B5EF4-FFF2-40B4-BE49-F238E27FC236}">
                  <a16:creationId xmlns:a16="http://schemas.microsoft.com/office/drawing/2014/main" id="{B90DFB9A-89FF-E2C7-83E1-35029B88CE4C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7" name="Forma libre 26">
              <a:extLst>
                <a:ext uri="{FF2B5EF4-FFF2-40B4-BE49-F238E27FC236}">
                  <a16:creationId xmlns:a16="http://schemas.microsoft.com/office/drawing/2014/main" id="{94D803AA-91A0-BB99-6CB6-6F4985195F0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8" name="Forma libre 27">
              <a:extLst>
                <a:ext uri="{FF2B5EF4-FFF2-40B4-BE49-F238E27FC236}">
                  <a16:creationId xmlns:a16="http://schemas.microsoft.com/office/drawing/2014/main" id="{C6B89419-48D8-467B-0341-DCBDD4380A5D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C6C912C6-C3AD-48E4-2647-67BF1D24A0F5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D2ADAD61-1F4D-8281-DB40-CD86D9818C7E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1" name="Rectángulo 30">
            <a:extLst>
              <a:ext uri="{FF2B5EF4-FFF2-40B4-BE49-F238E27FC236}">
                <a16:creationId xmlns:a16="http://schemas.microsoft.com/office/drawing/2014/main" id="{CBF548F3-0988-D729-D3EC-DE1FF7FD3034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12D2BA3C-F3B8-CC90-DB60-7025A517B0DE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54468397-1959-86B3-2FAC-9E3E298BAF4C}"/>
              </a:ext>
            </a:extLst>
          </p:cNvPr>
          <p:cNvSpPr/>
          <p:nvPr userDrawn="1"/>
        </p:nvSpPr>
        <p:spPr>
          <a:xfrm>
            <a:off x="2791850" y="127925"/>
            <a:ext cx="827727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Evolucionar Nuestro</a:t>
            </a:r>
            <a:b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Negocio Core</a:t>
            </a:r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8025F543-FABE-8F06-F9E5-F63C8EDD8EA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02794" y="198211"/>
            <a:ext cx="139179" cy="36000"/>
            <a:chOff x="4907127" y="353637"/>
            <a:chExt cx="433742" cy="112191"/>
          </a:xfrm>
        </p:grpSpPr>
        <p:sp>
          <p:nvSpPr>
            <p:cNvPr id="8" name="Rectángulo 61">
              <a:extLst>
                <a:ext uri="{FF2B5EF4-FFF2-40B4-BE49-F238E27FC236}">
                  <a16:creationId xmlns:a16="http://schemas.microsoft.com/office/drawing/2014/main" id="{CAD87182-C65C-8981-0B31-C6118F26BA7F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9" name="Conector recto 8">
              <a:extLst>
                <a:ext uri="{FF2B5EF4-FFF2-40B4-BE49-F238E27FC236}">
                  <a16:creationId xmlns:a16="http://schemas.microsoft.com/office/drawing/2014/main" id="{7A70758C-EC3A-2375-751C-F6881C4FA31F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rgbClr val="FFFFFF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o 11">
            <a:extLst>
              <a:ext uri="{FF2B5EF4-FFF2-40B4-BE49-F238E27FC236}">
                <a16:creationId xmlns:a16="http://schemas.microsoft.com/office/drawing/2014/main" id="{370E949C-6A19-2821-65A7-A3F9248C2A8E}"/>
              </a:ext>
            </a:extLst>
          </p:cNvPr>
          <p:cNvGrpSpPr/>
          <p:nvPr userDrawn="1"/>
        </p:nvGrpSpPr>
        <p:grpSpPr>
          <a:xfrm>
            <a:off x="2487446" y="93783"/>
            <a:ext cx="236474" cy="236230"/>
            <a:chOff x="3955161" y="1943655"/>
            <a:chExt cx="1169097" cy="1167892"/>
          </a:xfrm>
        </p:grpSpPr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D44FD726-C0DB-D5EB-D9E0-C5CF8BF82D89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rgbClr val="15095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5DD87C93-C3D1-2FF5-1E93-2218414127AE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EF45947-6DDA-36F5-6B19-22F655B0D27E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804E117D-4D39-F1A8-DCE8-1FDC8B01E1F5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637BD886-1250-043A-3A0B-27E34F9ABDE2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1A9F1F8B-051D-6106-D94E-E840F1283040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1" name="Forma libre 20">
              <a:extLst>
                <a:ext uri="{FF2B5EF4-FFF2-40B4-BE49-F238E27FC236}">
                  <a16:creationId xmlns:a16="http://schemas.microsoft.com/office/drawing/2014/main" id="{F91CFFEC-1E21-DC5E-0492-6F49318150BA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2" name="Redondear rectángulo de esquina del mismo lado 21">
            <a:extLst>
              <a:ext uri="{FF2B5EF4-FFF2-40B4-BE49-F238E27FC236}">
                <a16:creationId xmlns:a16="http://schemas.microsoft.com/office/drawing/2014/main" id="{B96C4D7D-1E40-9C88-C542-3CC337A4174F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rgbClr val="5A50F9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rgbClr val="5A50F9">
                <a:alpha val="7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3624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Seccion 0 -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4EF41660-685E-B27A-40A2-E230A404FC13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9DFC758A-81E4-F9EC-AB8B-AC5395E4658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 3">
            <a:extLst>
              <a:ext uri="{FF2B5EF4-FFF2-40B4-BE49-F238E27FC236}">
                <a16:creationId xmlns:a16="http://schemas.microsoft.com/office/drawing/2014/main" id="{29F61288-B3AF-F52C-C2BC-EC4FF59351E2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sp>
        <p:nvSpPr>
          <p:cNvPr id="5" name="Redondear rectángulo de esquina del mismo lado 4">
            <a:extLst>
              <a:ext uri="{FF2B5EF4-FFF2-40B4-BE49-F238E27FC236}">
                <a16:creationId xmlns:a16="http://schemas.microsoft.com/office/drawing/2014/main" id="{06A44287-031B-535D-B636-FFE9532EFBA8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299A14CF-40D7-67D7-C80E-3627A3E2B5A9}"/>
              </a:ext>
            </a:extLst>
          </p:cNvPr>
          <p:cNvSpPr/>
          <p:nvPr userDrawn="1"/>
        </p:nvSpPr>
        <p:spPr>
          <a:xfrm>
            <a:off x="2791850" y="127925"/>
            <a:ext cx="827727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Evolucionar Nuestro</a:t>
            </a:r>
            <a:b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Negocio Core</a:t>
            </a: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358E93DF-CB3D-047B-ACFE-3EBB87FD53A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02794" y="198211"/>
            <a:ext cx="139179" cy="36000"/>
            <a:chOff x="4907127" y="353637"/>
            <a:chExt cx="433742" cy="112191"/>
          </a:xfrm>
        </p:grpSpPr>
        <p:sp>
          <p:nvSpPr>
            <p:cNvPr id="8" name="Rectángulo 61">
              <a:extLst>
                <a:ext uri="{FF2B5EF4-FFF2-40B4-BE49-F238E27FC236}">
                  <a16:creationId xmlns:a16="http://schemas.microsoft.com/office/drawing/2014/main" id="{CF895ACC-4B4A-72BB-9CF7-3F420C011025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9" name="Conector recto 8">
              <a:extLst>
                <a:ext uri="{FF2B5EF4-FFF2-40B4-BE49-F238E27FC236}">
                  <a16:creationId xmlns:a16="http://schemas.microsoft.com/office/drawing/2014/main" id="{80820FD0-5705-08A5-840C-67BA75CAA2E9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o 17">
            <a:extLst>
              <a:ext uri="{FF2B5EF4-FFF2-40B4-BE49-F238E27FC236}">
                <a16:creationId xmlns:a16="http://schemas.microsoft.com/office/drawing/2014/main" id="{C1A6644E-3E3A-0EB1-B9F0-570992DC69FB}"/>
              </a:ext>
            </a:extLst>
          </p:cNvPr>
          <p:cNvGrpSpPr/>
          <p:nvPr userDrawn="1"/>
        </p:nvGrpSpPr>
        <p:grpSpPr>
          <a:xfrm>
            <a:off x="2487446" y="93783"/>
            <a:ext cx="236474" cy="236230"/>
            <a:chOff x="3955161" y="1943655"/>
            <a:chExt cx="1169097" cy="1167892"/>
          </a:xfrm>
        </p:grpSpPr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9F0BE9B5-434D-BC99-225E-09FEBA56F7FC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31DA8F0F-31B5-DEC5-BAFD-E32349EAE76C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1" name="Forma libre 20">
              <a:extLst>
                <a:ext uri="{FF2B5EF4-FFF2-40B4-BE49-F238E27FC236}">
                  <a16:creationId xmlns:a16="http://schemas.microsoft.com/office/drawing/2014/main" id="{C5C215FE-B7B0-205A-E037-2CB76E460998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2" name="Forma libre 21">
              <a:extLst>
                <a:ext uri="{FF2B5EF4-FFF2-40B4-BE49-F238E27FC236}">
                  <a16:creationId xmlns:a16="http://schemas.microsoft.com/office/drawing/2014/main" id="{B92BA52B-6DFF-C605-C2B1-B6B7099D8D01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DB69D6EA-EB31-3193-6FDD-FFAEF49C4477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4" name="Forma libre 23">
              <a:extLst>
                <a:ext uri="{FF2B5EF4-FFF2-40B4-BE49-F238E27FC236}">
                  <a16:creationId xmlns:a16="http://schemas.microsoft.com/office/drawing/2014/main" id="{20FB939F-5D3E-4047-8510-DE01DDF2D5CA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5" name="Forma libre 24">
              <a:extLst>
                <a:ext uri="{FF2B5EF4-FFF2-40B4-BE49-F238E27FC236}">
                  <a16:creationId xmlns:a16="http://schemas.microsoft.com/office/drawing/2014/main" id="{0C087658-8780-7B46-DE51-B7C9778095EF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9966697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eccion 0 -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9466295B-1549-8A8C-E910-4729DA077EAF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" name="Gráfico 3">
            <a:extLst>
              <a:ext uri="{FF2B5EF4-FFF2-40B4-BE49-F238E27FC236}">
                <a16:creationId xmlns:a16="http://schemas.microsoft.com/office/drawing/2014/main" id="{7A494811-0E75-BDB7-4025-CE2A5080EC5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661A38C2-5A98-FE62-4C16-387A5DFAED8B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6026E50-D8E3-B984-A5AF-AE25F431F47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2514FC1E-E41D-1550-10C5-CCC59E230B4C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7D03687B-55E3-853F-487D-A08CE47B7BA5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C6CB64AD-2EFA-9BFD-2116-4C3A7434591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A6ABAE67-0C19-5D09-579A-4ADAEB6F74C9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4F0F1AF8-99E1-46BD-BD88-426CA567AAD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DCE1F555-CCAA-46BA-B068-3ADDA16E54B4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E3A52441-2D72-555E-143F-F27092255D99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50DFB76F-DA30-BB98-5D3E-D6F7505FB34E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sp>
        <p:nvSpPr>
          <p:cNvPr id="24" name="Slide Number Placeholder 24">
            <a:extLst>
              <a:ext uri="{FF2B5EF4-FFF2-40B4-BE49-F238E27FC236}">
                <a16:creationId xmlns:a16="http://schemas.microsoft.com/office/drawing/2014/main" id="{698D4544-FC92-ADC8-8D5A-86111469BEA4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41A7B6A9-1874-E04A-8BFA-C57C86FEB9D2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618BAB85-EBE9-2A58-8CC5-DE9B258C99D8}"/>
              </a:ext>
            </a:extLst>
          </p:cNvPr>
          <p:cNvSpPr/>
          <p:nvPr userDrawn="1"/>
        </p:nvSpPr>
        <p:spPr>
          <a:xfrm>
            <a:off x="2791850" y="127925"/>
            <a:ext cx="385555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Nuevos</a:t>
            </a:r>
            <a:b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Negocios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0A36BDF1-9556-E131-67CF-A5DFFBA7634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02794" y="198211"/>
            <a:ext cx="139179" cy="36000"/>
            <a:chOff x="4907127" y="353637"/>
            <a:chExt cx="433742" cy="112191"/>
          </a:xfrm>
        </p:grpSpPr>
        <p:sp>
          <p:nvSpPr>
            <p:cNvPr id="6" name="Rectángulo 61">
              <a:extLst>
                <a:ext uri="{FF2B5EF4-FFF2-40B4-BE49-F238E27FC236}">
                  <a16:creationId xmlns:a16="http://schemas.microsoft.com/office/drawing/2014/main" id="{332D4F6C-C854-9B8E-9AB5-F3B81CC33A04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12" name="Conector recto 11">
              <a:extLst>
                <a:ext uri="{FF2B5EF4-FFF2-40B4-BE49-F238E27FC236}">
                  <a16:creationId xmlns:a16="http://schemas.microsoft.com/office/drawing/2014/main" id="{D3C6E4C0-B947-9EE6-8E48-2D67F78EE606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61EAB7BF-2F5F-D3A6-54AB-B7BBAF5A060C}"/>
              </a:ext>
            </a:extLst>
          </p:cNvPr>
          <p:cNvGrpSpPr/>
          <p:nvPr userDrawn="1"/>
        </p:nvGrpSpPr>
        <p:grpSpPr>
          <a:xfrm>
            <a:off x="2487446" y="93783"/>
            <a:ext cx="236474" cy="236230"/>
            <a:chOff x="3955161" y="1943655"/>
            <a:chExt cx="1169097" cy="1167892"/>
          </a:xfrm>
        </p:grpSpPr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78AD021B-8224-7B00-ED2F-C73A2DF52290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8" name="Forma libre 17">
              <a:extLst>
                <a:ext uri="{FF2B5EF4-FFF2-40B4-BE49-F238E27FC236}">
                  <a16:creationId xmlns:a16="http://schemas.microsoft.com/office/drawing/2014/main" id="{F13FCB97-577A-485D-63A1-89AD393A50CC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B4CC3854-51DC-31F8-7283-310D8C4340F7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E3E678ED-105D-7E82-501F-F5F143079EA4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614B036D-2D61-08E5-2D87-B6A9E9A6543F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9828CF98-3889-98E5-64C1-5ACB419BB437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7" name="Forma libre 36">
              <a:extLst>
                <a:ext uri="{FF2B5EF4-FFF2-40B4-BE49-F238E27FC236}">
                  <a16:creationId xmlns:a16="http://schemas.microsoft.com/office/drawing/2014/main" id="{D1ADC0D6-98E0-F214-C5FE-585F6E03F1C4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19" name="Redondear rectángulo de esquina del mismo lado 18">
            <a:extLst>
              <a:ext uri="{FF2B5EF4-FFF2-40B4-BE49-F238E27FC236}">
                <a16:creationId xmlns:a16="http://schemas.microsoft.com/office/drawing/2014/main" id="{5B665B38-ABE3-C1AD-7FCD-9E8A9170F1B4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25123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Seccion 0 -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C65B748C-4107-A917-12CE-5227E7C739EC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10FF7797-8408-1CEA-A3DB-E9C8AD152F19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E646F3F7-BB44-5429-2E41-9B8C7B6BB06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E8D63273-DEB2-8828-0931-0A1E8D31C73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9E9D669-A81C-93B6-EE62-1380273B236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395A0C3D-5DB7-60D7-450B-D9D1BAC776E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7D2A7BC-2695-33B7-71BA-94833AC45B3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B3D80A9-FFBC-BFD5-FDBA-E37720ECD544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B7C367D9-3F76-190C-F1DA-F7FE0823627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36C29421-6501-90CC-D239-B4DCB54E5E9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7" name="Rectángulo 36">
            <a:extLst>
              <a:ext uri="{FF2B5EF4-FFF2-40B4-BE49-F238E27FC236}">
                <a16:creationId xmlns:a16="http://schemas.microsoft.com/office/drawing/2014/main" id="{61EB6CE6-2159-EDD7-DA34-AD2989D559B8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4EF41660-685E-B27A-40A2-E230A404FC13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9DFC758A-81E4-F9EC-AB8B-AC5395E4658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 3">
            <a:extLst>
              <a:ext uri="{FF2B5EF4-FFF2-40B4-BE49-F238E27FC236}">
                <a16:creationId xmlns:a16="http://schemas.microsoft.com/office/drawing/2014/main" id="{29F61288-B3AF-F52C-C2BC-EC4FF59351E2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E9134410-664B-B5A1-2978-DB571BBE5625}"/>
              </a:ext>
            </a:extLst>
          </p:cNvPr>
          <p:cNvSpPr/>
          <p:nvPr userDrawn="1"/>
        </p:nvSpPr>
        <p:spPr>
          <a:xfrm>
            <a:off x="2791850" y="127925"/>
            <a:ext cx="385555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Nuevos</a:t>
            </a:r>
            <a:b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Negocios</a:t>
            </a:r>
          </a:p>
        </p:txBody>
      </p:sp>
      <p:grpSp>
        <p:nvGrpSpPr>
          <p:cNvPr id="19" name="Grupo 18">
            <a:extLst>
              <a:ext uri="{FF2B5EF4-FFF2-40B4-BE49-F238E27FC236}">
                <a16:creationId xmlns:a16="http://schemas.microsoft.com/office/drawing/2014/main" id="{159DB18F-0B18-5B0E-0B74-7A32228E508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02794" y="198211"/>
            <a:ext cx="139179" cy="36000"/>
            <a:chOff x="4907127" y="353637"/>
            <a:chExt cx="433742" cy="112191"/>
          </a:xfrm>
        </p:grpSpPr>
        <p:sp>
          <p:nvSpPr>
            <p:cNvPr id="20" name="Rectángulo 61">
              <a:extLst>
                <a:ext uri="{FF2B5EF4-FFF2-40B4-BE49-F238E27FC236}">
                  <a16:creationId xmlns:a16="http://schemas.microsoft.com/office/drawing/2014/main" id="{297DF91A-859B-E8ED-F9DA-016AF44A3512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21" name="Conector recto 20">
              <a:extLst>
                <a:ext uri="{FF2B5EF4-FFF2-40B4-BE49-F238E27FC236}">
                  <a16:creationId xmlns:a16="http://schemas.microsoft.com/office/drawing/2014/main" id="{4DEDBE5C-588A-546E-F56D-A59260F5DD24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626A9024-19FB-39D7-6A9A-8D2C31AACB48}"/>
              </a:ext>
            </a:extLst>
          </p:cNvPr>
          <p:cNvGrpSpPr/>
          <p:nvPr userDrawn="1"/>
        </p:nvGrpSpPr>
        <p:grpSpPr>
          <a:xfrm>
            <a:off x="2487446" y="93783"/>
            <a:ext cx="236474" cy="236230"/>
            <a:chOff x="3955161" y="1943655"/>
            <a:chExt cx="1169097" cy="1167892"/>
          </a:xfrm>
        </p:grpSpPr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1BC6EFAA-3748-4AEE-B4E5-7696EAAD25A5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4" name="Forma libre 23">
              <a:extLst>
                <a:ext uri="{FF2B5EF4-FFF2-40B4-BE49-F238E27FC236}">
                  <a16:creationId xmlns:a16="http://schemas.microsoft.com/office/drawing/2014/main" id="{936D9A17-C15B-526A-A060-C183DF63A5C4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5" name="Forma libre 24">
              <a:extLst>
                <a:ext uri="{FF2B5EF4-FFF2-40B4-BE49-F238E27FC236}">
                  <a16:creationId xmlns:a16="http://schemas.microsoft.com/office/drawing/2014/main" id="{47EFCD45-3A00-63C7-E21F-4057BE1584D9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8" name="Forma libre 37">
              <a:extLst>
                <a:ext uri="{FF2B5EF4-FFF2-40B4-BE49-F238E27FC236}">
                  <a16:creationId xmlns:a16="http://schemas.microsoft.com/office/drawing/2014/main" id="{54314C81-C350-BE66-01E1-FBE24CA13100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9" name="Forma libre 38">
              <a:extLst>
                <a:ext uri="{FF2B5EF4-FFF2-40B4-BE49-F238E27FC236}">
                  <a16:creationId xmlns:a16="http://schemas.microsoft.com/office/drawing/2014/main" id="{0F421490-B306-35D4-B968-222E96BDEA11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0" name="Forma libre 39">
              <a:extLst>
                <a:ext uri="{FF2B5EF4-FFF2-40B4-BE49-F238E27FC236}">
                  <a16:creationId xmlns:a16="http://schemas.microsoft.com/office/drawing/2014/main" id="{D55B9F18-2969-229A-3D31-C10FF83391B7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1" name="Forma libre 40">
              <a:extLst>
                <a:ext uri="{FF2B5EF4-FFF2-40B4-BE49-F238E27FC236}">
                  <a16:creationId xmlns:a16="http://schemas.microsoft.com/office/drawing/2014/main" id="{4570BB2D-56D7-ECD4-1820-005FDDB18510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6" name="Redondear rectángulo de esquina del mismo lado 5">
            <a:extLst>
              <a:ext uri="{FF2B5EF4-FFF2-40B4-BE49-F238E27FC236}">
                <a16:creationId xmlns:a16="http://schemas.microsoft.com/office/drawing/2014/main" id="{DB7CFCAE-E66E-E684-CA18-D72B7674702E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84325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trategic Review 01 Business Context International">
    <p:bg>
      <p:bgPr>
        <a:gradFill flip="none" rotWithShape="1">
          <a:gsLst>
            <a:gs pos="0">
              <a:schemeClr val="bg2"/>
            </a:gs>
            <a:gs pos="100000">
              <a:schemeClr val="tx2">
                <a:lumMod val="75000"/>
                <a:lumOff val="25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24">
            <a:extLst>
              <a:ext uri="{FF2B5EF4-FFF2-40B4-BE49-F238E27FC236}">
                <a16:creationId xmlns:a16="http://schemas.microsoft.com/office/drawing/2014/main" id="{7FFE3A86-9FF1-3FE9-E458-90E7FA0269F5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rgbClr val="FFFFFF">
                    <a:alpha val="80000"/>
                  </a:srgb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rgbClr val="FFFFFF">
                  <a:alpha val="80000"/>
                </a:srgb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478FB663-F61F-5554-7ADD-4D24821F1BF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redondeado 1">
            <a:extLst>
              <a:ext uri="{FF2B5EF4-FFF2-40B4-BE49-F238E27FC236}">
                <a16:creationId xmlns:a16="http://schemas.microsoft.com/office/drawing/2014/main" id="{FC43D294-B585-032E-221F-3DF82973063C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7" name="Gráfico 3">
            <a:extLst>
              <a:ext uri="{FF2B5EF4-FFF2-40B4-BE49-F238E27FC236}">
                <a16:creationId xmlns:a16="http://schemas.microsoft.com/office/drawing/2014/main" id="{C079CF67-637E-A8F1-A9B6-4D02BFDF13BB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8F21B4E7-0AF7-E383-77F0-4794F32B611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B1775021-1B9E-5B04-E972-DCF3277A8CA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6B525A06-F2B4-355D-3636-4851129FEA41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6" name="Forma libre 25">
              <a:extLst>
                <a:ext uri="{FF2B5EF4-FFF2-40B4-BE49-F238E27FC236}">
                  <a16:creationId xmlns:a16="http://schemas.microsoft.com/office/drawing/2014/main" id="{B90DFB9A-89FF-E2C7-83E1-35029B88CE4C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7" name="Forma libre 26">
              <a:extLst>
                <a:ext uri="{FF2B5EF4-FFF2-40B4-BE49-F238E27FC236}">
                  <a16:creationId xmlns:a16="http://schemas.microsoft.com/office/drawing/2014/main" id="{94D803AA-91A0-BB99-6CB6-6F4985195F0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8" name="Forma libre 27">
              <a:extLst>
                <a:ext uri="{FF2B5EF4-FFF2-40B4-BE49-F238E27FC236}">
                  <a16:creationId xmlns:a16="http://schemas.microsoft.com/office/drawing/2014/main" id="{C6B89419-48D8-467B-0341-DCBDD4380A5D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C6C912C6-C3AD-48E4-2647-67BF1D24A0F5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D2ADAD61-1F4D-8281-DB40-CD86D9818C7E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1" name="Rectángulo 30">
            <a:extLst>
              <a:ext uri="{FF2B5EF4-FFF2-40B4-BE49-F238E27FC236}">
                <a16:creationId xmlns:a16="http://schemas.microsoft.com/office/drawing/2014/main" id="{CBF548F3-0988-D729-D3EC-DE1FF7FD3034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440F117A-C394-2391-0696-9FFDA51381C6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09139CE8-4FB9-ADC5-E378-DD7433385248}"/>
              </a:ext>
            </a:extLst>
          </p:cNvPr>
          <p:cNvSpPr/>
          <p:nvPr userDrawn="1"/>
        </p:nvSpPr>
        <p:spPr>
          <a:xfrm>
            <a:off x="2791850" y="127925"/>
            <a:ext cx="385555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Nuevos</a:t>
            </a:r>
            <a:br>
              <a:rPr lang="en-US" sz="700" b="0" i="0" spc="-7" noProof="1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Negocios</a:t>
            </a:r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D9023608-683C-5476-EAC6-D22ACE69E15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02794" y="198211"/>
            <a:ext cx="139179" cy="36000"/>
            <a:chOff x="4907127" y="353637"/>
            <a:chExt cx="433742" cy="112191"/>
          </a:xfrm>
        </p:grpSpPr>
        <p:sp>
          <p:nvSpPr>
            <p:cNvPr id="8" name="Rectángulo 61">
              <a:extLst>
                <a:ext uri="{FF2B5EF4-FFF2-40B4-BE49-F238E27FC236}">
                  <a16:creationId xmlns:a16="http://schemas.microsoft.com/office/drawing/2014/main" id="{2A695496-2281-5C2B-8E1F-849A6CE9179F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9" name="Conector recto 8">
              <a:extLst>
                <a:ext uri="{FF2B5EF4-FFF2-40B4-BE49-F238E27FC236}">
                  <a16:creationId xmlns:a16="http://schemas.microsoft.com/office/drawing/2014/main" id="{98F2748B-6F6A-3E64-5BEA-7535771EEB59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o 11">
            <a:extLst>
              <a:ext uri="{FF2B5EF4-FFF2-40B4-BE49-F238E27FC236}">
                <a16:creationId xmlns:a16="http://schemas.microsoft.com/office/drawing/2014/main" id="{92147F01-91E7-B137-E741-2ADC885399F9}"/>
              </a:ext>
            </a:extLst>
          </p:cNvPr>
          <p:cNvGrpSpPr/>
          <p:nvPr userDrawn="1"/>
        </p:nvGrpSpPr>
        <p:grpSpPr>
          <a:xfrm>
            <a:off x="2487446" y="93783"/>
            <a:ext cx="236474" cy="236230"/>
            <a:chOff x="3955161" y="1943655"/>
            <a:chExt cx="1169097" cy="1167892"/>
          </a:xfrm>
        </p:grpSpPr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1A71E841-BC83-6C75-4502-FB6FB56DB3F7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CC151FBD-DC91-3288-08BB-109D93FE4798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131D57BC-FE17-B5D6-0140-E0496C79C57E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57A93747-BA9F-67EC-C330-967527718EB1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D54BAF4A-5796-1D0E-5EB2-455E8C191C19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BA1CE491-F8A1-D7DE-D46E-F20DD73FE0C8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1" name="Forma libre 20">
              <a:extLst>
                <a:ext uri="{FF2B5EF4-FFF2-40B4-BE49-F238E27FC236}">
                  <a16:creationId xmlns:a16="http://schemas.microsoft.com/office/drawing/2014/main" id="{4E38B897-A341-4AE4-9FF8-77AD8C3D4441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2" name="Redondear rectángulo de esquina del mismo lado 21">
            <a:extLst>
              <a:ext uri="{FF2B5EF4-FFF2-40B4-BE49-F238E27FC236}">
                <a16:creationId xmlns:a16="http://schemas.microsoft.com/office/drawing/2014/main" id="{9D6ACFB7-E5FF-5F95-D3B8-2A51AAE2FD55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4707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trategic Review 01 Business Context International">
    <p:bg>
      <p:bgPr>
        <a:gradFill flip="none" rotWithShape="1">
          <a:gsLst>
            <a:gs pos="0">
              <a:schemeClr val="tx2">
                <a:lumMod val="75000"/>
                <a:lumOff val="25000"/>
              </a:schemeClr>
            </a:gs>
            <a:gs pos="100000">
              <a:schemeClr val="tx2"/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24">
            <a:extLst>
              <a:ext uri="{FF2B5EF4-FFF2-40B4-BE49-F238E27FC236}">
                <a16:creationId xmlns:a16="http://schemas.microsoft.com/office/drawing/2014/main" id="{7FFE3A86-9FF1-3FE9-E458-90E7FA0269F5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rgbClr val="FFFFFF">
                    <a:alpha val="80000"/>
                  </a:srgb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rgbClr val="FFFFFF">
                  <a:alpha val="80000"/>
                </a:srgb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478FB663-F61F-5554-7ADD-4D24821F1BF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redondeado 1">
            <a:extLst>
              <a:ext uri="{FF2B5EF4-FFF2-40B4-BE49-F238E27FC236}">
                <a16:creationId xmlns:a16="http://schemas.microsoft.com/office/drawing/2014/main" id="{FC43D294-B585-032E-221F-3DF82973063C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7" name="Gráfico 3">
            <a:extLst>
              <a:ext uri="{FF2B5EF4-FFF2-40B4-BE49-F238E27FC236}">
                <a16:creationId xmlns:a16="http://schemas.microsoft.com/office/drawing/2014/main" id="{C079CF67-637E-A8F1-A9B6-4D02BFDF13BB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8F21B4E7-0AF7-E383-77F0-4794F32B611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B1775021-1B9E-5B04-E972-DCF3277A8CA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6B525A06-F2B4-355D-3636-4851129FEA41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6" name="Forma libre 25">
              <a:extLst>
                <a:ext uri="{FF2B5EF4-FFF2-40B4-BE49-F238E27FC236}">
                  <a16:creationId xmlns:a16="http://schemas.microsoft.com/office/drawing/2014/main" id="{B90DFB9A-89FF-E2C7-83E1-35029B88CE4C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7" name="Forma libre 26">
              <a:extLst>
                <a:ext uri="{FF2B5EF4-FFF2-40B4-BE49-F238E27FC236}">
                  <a16:creationId xmlns:a16="http://schemas.microsoft.com/office/drawing/2014/main" id="{94D803AA-91A0-BB99-6CB6-6F4985195F0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8" name="Forma libre 27">
              <a:extLst>
                <a:ext uri="{FF2B5EF4-FFF2-40B4-BE49-F238E27FC236}">
                  <a16:creationId xmlns:a16="http://schemas.microsoft.com/office/drawing/2014/main" id="{C6B89419-48D8-467B-0341-DCBDD4380A5D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C6C912C6-C3AD-48E4-2647-67BF1D24A0F5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D2ADAD61-1F4D-8281-DB40-CD86D9818C7E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1" name="Rectángulo 30">
            <a:extLst>
              <a:ext uri="{FF2B5EF4-FFF2-40B4-BE49-F238E27FC236}">
                <a16:creationId xmlns:a16="http://schemas.microsoft.com/office/drawing/2014/main" id="{CBF548F3-0988-D729-D3EC-DE1FF7FD3034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440F117A-C394-2391-0696-9FFDA51381C6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09139CE8-4FB9-ADC5-E378-DD7433385248}"/>
              </a:ext>
            </a:extLst>
          </p:cNvPr>
          <p:cNvSpPr/>
          <p:nvPr userDrawn="1"/>
        </p:nvSpPr>
        <p:spPr>
          <a:xfrm>
            <a:off x="2791850" y="127925"/>
            <a:ext cx="385555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Nuevos</a:t>
            </a:r>
            <a:br>
              <a:rPr lang="en-US" sz="700" b="0" i="0" spc="-7" noProof="1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Negocios</a:t>
            </a:r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D9023608-683C-5476-EAC6-D22ACE69E15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02794" y="198211"/>
            <a:ext cx="139179" cy="36000"/>
            <a:chOff x="4907127" y="353637"/>
            <a:chExt cx="433742" cy="112191"/>
          </a:xfrm>
        </p:grpSpPr>
        <p:sp>
          <p:nvSpPr>
            <p:cNvPr id="8" name="Rectángulo 61">
              <a:extLst>
                <a:ext uri="{FF2B5EF4-FFF2-40B4-BE49-F238E27FC236}">
                  <a16:creationId xmlns:a16="http://schemas.microsoft.com/office/drawing/2014/main" id="{2A695496-2281-5C2B-8E1F-849A6CE9179F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9" name="Conector recto 8">
              <a:extLst>
                <a:ext uri="{FF2B5EF4-FFF2-40B4-BE49-F238E27FC236}">
                  <a16:creationId xmlns:a16="http://schemas.microsoft.com/office/drawing/2014/main" id="{98F2748B-6F6A-3E64-5BEA-7535771EEB59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o 11">
            <a:extLst>
              <a:ext uri="{FF2B5EF4-FFF2-40B4-BE49-F238E27FC236}">
                <a16:creationId xmlns:a16="http://schemas.microsoft.com/office/drawing/2014/main" id="{92147F01-91E7-B137-E741-2ADC885399F9}"/>
              </a:ext>
            </a:extLst>
          </p:cNvPr>
          <p:cNvGrpSpPr/>
          <p:nvPr userDrawn="1"/>
        </p:nvGrpSpPr>
        <p:grpSpPr>
          <a:xfrm>
            <a:off x="2487446" y="93783"/>
            <a:ext cx="236474" cy="236230"/>
            <a:chOff x="3955161" y="1943655"/>
            <a:chExt cx="1169097" cy="1167892"/>
          </a:xfrm>
        </p:grpSpPr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1A71E841-BC83-6C75-4502-FB6FB56DB3F7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CC151FBD-DC91-3288-08BB-109D93FE4798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131D57BC-FE17-B5D6-0140-E0496C79C57E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57A93747-BA9F-67EC-C330-967527718EB1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D54BAF4A-5796-1D0E-5EB2-455E8C191C19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BA1CE491-F8A1-D7DE-D46E-F20DD73FE0C8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1" name="Forma libre 20">
              <a:extLst>
                <a:ext uri="{FF2B5EF4-FFF2-40B4-BE49-F238E27FC236}">
                  <a16:creationId xmlns:a16="http://schemas.microsoft.com/office/drawing/2014/main" id="{4E38B897-A341-4AE4-9FF8-77AD8C3D4441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2" name="Redondear rectángulo de esquina del mismo lado 21">
            <a:extLst>
              <a:ext uri="{FF2B5EF4-FFF2-40B4-BE49-F238E27FC236}">
                <a16:creationId xmlns:a16="http://schemas.microsoft.com/office/drawing/2014/main" id="{9D6ACFB7-E5FF-5F95-D3B8-2A51AAE2FD55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9274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Seccion 0 -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519E38FF-F01A-A855-CE8E-D4AA9429E9DA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9466295B-1549-8A8C-E910-4729DA077EAF}"/>
              </a:ext>
            </a:extLst>
          </p:cNvPr>
          <p:cNvSpPr/>
          <p:nvPr userDrawn="1"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" name="Gráfico 3">
            <a:extLst>
              <a:ext uri="{FF2B5EF4-FFF2-40B4-BE49-F238E27FC236}">
                <a16:creationId xmlns:a16="http://schemas.microsoft.com/office/drawing/2014/main" id="{7A494811-0E75-BDB7-4025-CE2A5080EC50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661A38C2-5A98-FE62-4C16-387A5DFAED8B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6026E50-D8E3-B984-A5AF-AE25F431F475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2514FC1E-E41D-1550-10C5-CCC59E230B4C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7D03687B-55E3-853F-487D-A08CE47B7BA5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C6CB64AD-2EFA-9BFD-2116-4C3A7434591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A6ABAE67-0C19-5D09-579A-4ADAEB6F74C9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4F0F1AF8-99E1-46BD-BD88-426CA567AAD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DCE1F555-CCAA-46BA-B068-3ADDA16E54B4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E3A52441-2D72-555E-143F-F27092255D99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50DFB76F-DA30-BB98-5D3E-D6F7505FB34E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sp>
        <p:nvSpPr>
          <p:cNvPr id="24" name="Slide Number Placeholder 24">
            <a:extLst>
              <a:ext uri="{FF2B5EF4-FFF2-40B4-BE49-F238E27FC236}">
                <a16:creationId xmlns:a16="http://schemas.microsoft.com/office/drawing/2014/main" id="{698D4544-FC92-ADC8-8D5A-86111469BEA4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41A7B6A9-1874-E04A-8BFA-C57C86FEB9D2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618BAB85-EBE9-2A58-8CC5-DE9B258C99D8}"/>
              </a:ext>
            </a:extLst>
          </p:cNvPr>
          <p:cNvSpPr/>
          <p:nvPr userDrawn="1"/>
        </p:nvSpPr>
        <p:spPr>
          <a:xfrm>
            <a:off x="2791850" y="127925"/>
            <a:ext cx="589457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Despliegue de</a:t>
            </a:r>
          </a:p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Valor Tech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0A36BDF1-9556-E131-67CF-A5DFFBA7634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02794" y="198211"/>
            <a:ext cx="139179" cy="36000"/>
            <a:chOff x="4907127" y="353637"/>
            <a:chExt cx="433742" cy="112191"/>
          </a:xfrm>
        </p:grpSpPr>
        <p:sp>
          <p:nvSpPr>
            <p:cNvPr id="6" name="Rectángulo 61">
              <a:extLst>
                <a:ext uri="{FF2B5EF4-FFF2-40B4-BE49-F238E27FC236}">
                  <a16:creationId xmlns:a16="http://schemas.microsoft.com/office/drawing/2014/main" id="{332D4F6C-C854-9B8E-9AB5-F3B81CC33A04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12" name="Conector recto 11">
              <a:extLst>
                <a:ext uri="{FF2B5EF4-FFF2-40B4-BE49-F238E27FC236}">
                  <a16:creationId xmlns:a16="http://schemas.microsoft.com/office/drawing/2014/main" id="{D3C6E4C0-B947-9EE6-8E48-2D67F78EE606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upo 32">
            <a:extLst>
              <a:ext uri="{FF2B5EF4-FFF2-40B4-BE49-F238E27FC236}">
                <a16:creationId xmlns:a16="http://schemas.microsoft.com/office/drawing/2014/main" id="{FF24EF21-4CC4-5E67-F962-CC504621747F}"/>
              </a:ext>
            </a:extLst>
          </p:cNvPr>
          <p:cNvGrpSpPr/>
          <p:nvPr userDrawn="1"/>
        </p:nvGrpSpPr>
        <p:grpSpPr>
          <a:xfrm>
            <a:off x="2487446" y="93783"/>
            <a:ext cx="236474" cy="236230"/>
            <a:chOff x="3955161" y="1943655"/>
            <a:chExt cx="1169097" cy="1167892"/>
          </a:xfrm>
        </p:grpSpPr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4D03AA15-8AE5-B1FF-BF13-3747FD2FB1B3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3528AA55-3602-A8A7-77EB-A9F38CAEAE8D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7" name="Forma libre 26">
              <a:extLst>
                <a:ext uri="{FF2B5EF4-FFF2-40B4-BE49-F238E27FC236}">
                  <a16:creationId xmlns:a16="http://schemas.microsoft.com/office/drawing/2014/main" id="{9996BB25-719B-0608-BA46-9129D58E9073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8" name="Forma libre 27">
              <a:extLst>
                <a:ext uri="{FF2B5EF4-FFF2-40B4-BE49-F238E27FC236}">
                  <a16:creationId xmlns:a16="http://schemas.microsoft.com/office/drawing/2014/main" id="{2C214D35-F85B-3B7C-04A0-7216365AFD15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03677177-0C66-9347-DDFD-D337FB78FB12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1D02383F-468A-6688-5F4F-45D9E8B8E335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E87CFC35-F088-1CBC-2B5C-4DC6ADD159C8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16" name="Redondear rectángulo de esquina del mismo lado 15">
            <a:extLst>
              <a:ext uri="{FF2B5EF4-FFF2-40B4-BE49-F238E27FC236}">
                <a16:creationId xmlns:a16="http://schemas.microsoft.com/office/drawing/2014/main" id="{EC63714D-BFA4-29A9-3F2A-AC14BA1AAA57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19789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eccion 0 -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0C2DB58-3112-8703-29AB-3BCE8B33784C}"/>
              </a:ext>
            </a:extLst>
          </p:cNvPr>
          <p:cNvSpPr/>
          <p:nvPr userDrawn="1"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C65B748C-4107-A917-12CE-5227E7C739EC}"/>
              </a:ext>
            </a:extLst>
          </p:cNvPr>
          <p:cNvSpPr/>
          <p:nvPr userDrawn="1"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10FF7797-8408-1CEA-A3DB-E9C8AD152F19}"/>
              </a:ext>
            </a:extLst>
          </p:cNvPr>
          <p:cNvGrpSpPr/>
          <p:nvPr userDrawn="1"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29" name="Forma libre 28">
              <a:extLst>
                <a:ext uri="{FF2B5EF4-FFF2-40B4-BE49-F238E27FC236}">
                  <a16:creationId xmlns:a16="http://schemas.microsoft.com/office/drawing/2014/main" id="{E646F3F7-BB44-5429-2E41-9B8C7B6BB060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0" name="Forma libre 29">
              <a:extLst>
                <a:ext uri="{FF2B5EF4-FFF2-40B4-BE49-F238E27FC236}">
                  <a16:creationId xmlns:a16="http://schemas.microsoft.com/office/drawing/2014/main" id="{E8D63273-DEB2-8828-0931-0A1E8D31C731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9E9D669-A81C-93B6-EE62-1380273B2367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395A0C3D-5DB7-60D7-450B-D9D1BAC776E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7D2A7BC-2695-33B7-71BA-94833AC45B3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5B3D80A9-FFBC-BFD5-FDBA-E37720ECD544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B7C367D9-3F76-190C-F1DA-F7FE0823627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36C29421-6501-90CC-D239-B4DCB54E5E9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37" name="Rectángulo 36">
            <a:extLst>
              <a:ext uri="{FF2B5EF4-FFF2-40B4-BE49-F238E27FC236}">
                <a16:creationId xmlns:a16="http://schemas.microsoft.com/office/drawing/2014/main" id="{61EB6CE6-2159-EDD7-DA34-AD2989D559B8}"/>
              </a:ext>
            </a:extLst>
          </p:cNvPr>
          <p:cNvSpPr/>
          <p:nvPr userDrawn="1"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" name="Slide Number Placeholder 24">
            <a:extLst>
              <a:ext uri="{FF2B5EF4-FFF2-40B4-BE49-F238E27FC236}">
                <a16:creationId xmlns:a16="http://schemas.microsoft.com/office/drawing/2014/main" id="{4EF41660-685E-B27A-40A2-E230A404FC13}"/>
              </a:ext>
            </a:extLst>
          </p:cNvPr>
          <p:cNvSpPr txBox="1">
            <a:spLocks/>
          </p:cNvSpPr>
          <p:nvPr userDrawn="1"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‹Nº›</a:t>
            </a:fld>
            <a:endParaRPr lang="en-US" sz="562" b="0" i="0">
              <a:solidFill>
                <a:schemeClr val="tx1">
                  <a:lumMod val="75000"/>
                  <a:lumOff val="2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9DFC758A-81E4-F9EC-AB8B-AC5395E46585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 3">
            <a:extLst>
              <a:ext uri="{FF2B5EF4-FFF2-40B4-BE49-F238E27FC236}">
                <a16:creationId xmlns:a16="http://schemas.microsoft.com/office/drawing/2014/main" id="{29F61288-B3AF-F52C-C2BC-EC4FF59351E2}"/>
              </a:ext>
            </a:extLst>
          </p:cNvPr>
          <p:cNvSpPr/>
          <p:nvPr userDrawn="1"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grpSp>
        <p:nvGrpSpPr>
          <p:cNvPr id="19" name="Grupo 18">
            <a:extLst>
              <a:ext uri="{FF2B5EF4-FFF2-40B4-BE49-F238E27FC236}">
                <a16:creationId xmlns:a16="http://schemas.microsoft.com/office/drawing/2014/main" id="{159DB18F-0B18-5B0E-0B74-7A32228E508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02794" y="198211"/>
            <a:ext cx="139179" cy="36000"/>
            <a:chOff x="4907127" y="353637"/>
            <a:chExt cx="433742" cy="112191"/>
          </a:xfrm>
        </p:grpSpPr>
        <p:sp>
          <p:nvSpPr>
            <p:cNvPr id="20" name="Rectángulo 61">
              <a:extLst>
                <a:ext uri="{FF2B5EF4-FFF2-40B4-BE49-F238E27FC236}">
                  <a16:creationId xmlns:a16="http://schemas.microsoft.com/office/drawing/2014/main" id="{297DF91A-859B-E8ED-F9DA-016AF44A3512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21" name="Conector recto 20">
              <a:extLst>
                <a:ext uri="{FF2B5EF4-FFF2-40B4-BE49-F238E27FC236}">
                  <a16:creationId xmlns:a16="http://schemas.microsoft.com/office/drawing/2014/main" id="{4DEDBE5C-588A-546E-F56D-A59260F5DD24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626A9024-19FB-39D7-6A9A-8D2C31AACB48}"/>
              </a:ext>
            </a:extLst>
          </p:cNvPr>
          <p:cNvGrpSpPr/>
          <p:nvPr userDrawn="1"/>
        </p:nvGrpSpPr>
        <p:grpSpPr>
          <a:xfrm>
            <a:off x="2487446" y="93783"/>
            <a:ext cx="236474" cy="236230"/>
            <a:chOff x="3955161" y="1943655"/>
            <a:chExt cx="1169097" cy="1167892"/>
          </a:xfrm>
        </p:grpSpPr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1BC6EFAA-3748-4AEE-B4E5-7696EAAD25A5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4" name="Forma libre 23">
              <a:extLst>
                <a:ext uri="{FF2B5EF4-FFF2-40B4-BE49-F238E27FC236}">
                  <a16:creationId xmlns:a16="http://schemas.microsoft.com/office/drawing/2014/main" id="{936D9A17-C15B-526A-A060-C183DF63A5C4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5" name="Forma libre 24">
              <a:extLst>
                <a:ext uri="{FF2B5EF4-FFF2-40B4-BE49-F238E27FC236}">
                  <a16:creationId xmlns:a16="http://schemas.microsoft.com/office/drawing/2014/main" id="{47EFCD45-3A00-63C7-E21F-4057BE1584D9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8" name="Forma libre 37">
              <a:extLst>
                <a:ext uri="{FF2B5EF4-FFF2-40B4-BE49-F238E27FC236}">
                  <a16:creationId xmlns:a16="http://schemas.microsoft.com/office/drawing/2014/main" id="{54314C81-C350-BE66-01E1-FBE24CA13100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9" name="Forma libre 38">
              <a:extLst>
                <a:ext uri="{FF2B5EF4-FFF2-40B4-BE49-F238E27FC236}">
                  <a16:creationId xmlns:a16="http://schemas.microsoft.com/office/drawing/2014/main" id="{0F421490-B306-35D4-B968-222E96BDEA11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0" name="Forma libre 39">
              <a:extLst>
                <a:ext uri="{FF2B5EF4-FFF2-40B4-BE49-F238E27FC236}">
                  <a16:creationId xmlns:a16="http://schemas.microsoft.com/office/drawing/2014/main" id="{D55B9F18-2969-229A-3D31-C10FF83391B7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1" name="Forma libre 40">
              <a:extLst>
                <a:ext uri="{FF2B5EF4-FFF2-40B4-BE49-F238E27FC236}">
                  <a16:creationId xmlns:a16="http://schemas.microsoft.com/office/drawing/2014/main" id="{4570BB2D-56D7-ECD4-1820-005FDDB18510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6" name="Rectángulo 5">
            <a:extLst>
              <a:ext uri="{FF2B5EF4-FFF2-40B4-BE49-F238E27FC236}">
                <a16:creationId xmlns:a16="http://schemas.microsoft.com/office/drawing/2014/main" id="{FEABFC4E-012E-7264-1C15-80374339D61C}"/>
              </a:ext>
            </a:extLst>
          </p:cNvPr>
          <p:cNvSpPr/>
          <p:nvPr userDrawn="1"/>
        </p:nvSpPr>
        <p:spPr>
          <a:xfrm>
            <a:off x="2791850" y="127925"/>
            <a:ext cx="589457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Despliegue de</a:t>
            </a:r>
          </a:p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Valor Tech</a:t>
            </a:r>
          </a:p>
        </p:txBody>
      </p:sp>
      <p:sp>
        <p:nvSpPr>
          <p:cNvPr id="7" name="Redondear rectángulo de esquina del mismo lado 6">
            <a:extLst>
              <a:ext uri="{FF2B5EF4-FFF2-40B4-BE49-F238E27FC236}">
                <a16:creationId xmlns:a16="http://schemas.microsoft.com/office/drawing/2014/main" id="{0EFDA1CB-B7C9-1373-5A6D-BA7759D501F0}"/>
              </a:ext>
            </a:extLst>
          </p:cNvPr>
          <p:cNvSpPr/>
          <p:nvPr userDrawn="1"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1000" sy="11100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75781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9.xml"/><Relationship Id="rId21" Type="http://schemas.openxmlformats.org/officeDocument/2006/relationships/slideLayout" Target="../slideLayouts/slideLayout54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33" Type="http://schemas.openxmlformats.org/officeDocument/2006/relationships/slideLayout" Target="../slideLayouts/slideLayout66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29" Type="http://schemas.openxmlformats.org/officeDocument/2006/relationships/slideLayout" Target="../slideLayouts/slideLayout62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32" Type="http://schemas.openxmlformats.org/officeDocument/2006/relationships/slideLayout" Target="../slideLayouts/slideLayout65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slideLayout" Target="../slideLayouts/slideLayout61.xml"/><Relationship Id="rId36" Type="http://schemas.openxmlformats.org/officeDocument/2006/relationships/oleObject" Target="../embeddings/oleObject2.bin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31" Type="http://schemas.openxmlformats.org/officeDocument/2006/relationships/slideLayout" Target="../slideLayouts/slideLayout64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63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slideLayout" Target="../slideLayouts/slideLayout92.xml"/><Relationship Id="rId39" Type="http://schemas.openxmlformats.org/officeDocument/2006/relationships/slideLayout" Target="../slideLayouts/slideLayout105.xml"/><Relationship Id="rId21" Type="http://schemas.openxmlformats.org/officeDocument/2006/relationships/slideLayout" Target="../slideLayouts/slideLayout87.xml"/><Relationship Id="rId34" Type="http://schemas.openxmlformats.org/officeDocument/2006/relationships/slideLayout" Target="../slideLayouts/slideLayout100.xml"/><Relationship Id="rId42" Type="http://schemas.openxmlformats.org/officeDocument/2006/relationships/slideLayout" Target="../slideLayouts/slideLayout108.xml"/><Relationship Id="rId47" Type="http://schemas.openxmlformats.org/officeDocument/2006/relationships/slideLayout" Target="../slideLayouts/slideLayout113.xml"/><Relationship Id="rId50" Type="http://schemas.openxmlformats.org/officeDocument/2006/relationships/oleObject" Target="../embeddings/oleObject3.bin"/><Relationship Id="rId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9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32" Type="http://schemas.openxmlformats.org/officeDocument/2006/relationships/slideLayout" Target="../slideLayouts/slideLayout98.xml"/><Relationship Id="rId37" Type="http://schemas.openxmlformats.org/officeDocument/2006/relationships/slideLayout" Target="../slideLayouts/slideLayout103.xml"/><Relationship Id="rId40" Type="http://schemas.openxmlformats.org/officeDocument/2006/relationships/slideLayout" Target="../slideLayouts/slideLayout106.xml"/><Relationship Id="rId45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slideLayout" Target="../slideLayouts/slideLayout94.xml"/><Relationship Id="rId36" Type="http://schemas.openxmlformats.org/officeDocument/2006/relationships/slideLayout" Target="../slideLayouts/slideLayout102.xml"/><Relationship Id="rId49" Type="http://schemas.openxmlformats.org/officeDocument/2006/relationships/tags" Target="../tags/tag3.x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31" Type="http://schemas.openxmlformats.org/officeDocument/2006/relationships/slideLayout" Target="../slideLayouts/slideLayout97.xml"/><Relationship Id="rId44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slideLayout" Target="../slideLayouts/slideLayout93.xml"/><Relationship Id="rId30" Type="http://schemas.openxmlformats.org/officeDocument/2006/relationships/slideLayout" Target="../slideLayouts/slideLayout96.xml"/><Relationship Id="rId35" Type="http://schemas.openxmlformats.org/officeDocument/2006/relationships/slideLayout" Target="../slideLayouts/slideLayout101.xml"/><Relationship Id="rId43" Type="http://schemas.openxmlformats.org/officeDocument/2006/relationships/slideLayout" Target="../slideLayouts/slideLayout109.xml"/><Relationship Id="rId48" Type="http://schemas.openxmlformats.org/officeDocument/2006/relationships/theme" Target="../theme/theme3.xml"/><Relationship Id="rId8" Type="http://schemas.openxmlformats.org/officeDocument/2006/relationships/slideLayout" Target="../slideLayouts/slideLayout74.xml"/><Relationship Id="rId51" Type="http://schemas.openxmlformats.org/officeDocument/2006/relationships/image" Target="../media/image1.emf"/><Relationship Id="rId3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33" Type="http://schemas.openxmlformats.org/officeDocument/2006/relationships/slideLayout" Target="../slideLayouts/slideLayout99.xml"/><Relationship Id="rId38" Type="http://schemas.openxmlformats.org/officeDocument/2006/relationships/slideLayout" Target="../slideLayouts/slideLayout104.xml"/><Relationship Id="rId4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86.xml"/><Relationship Id="rId41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BD970EC-5371-6797-3A30-DA2A9D12B5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397687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6" imgW="378" imgH="379" progId="TCLayout.ActiveDocument.1">
                  <p:embed/>
                </p:oleObj>
              </mc:Choice>
              <mc:Fallback>
                <p:oleObj name="Diapositiva de think-cell" r:id="rId36" imgW="378" imgH="379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D970EC-5371-6797-3A30-DA2A9D12B5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08908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51" r:id="rId1"/>
    <p:sldLayoutId id="2147487052" r:id="rId2"/>
    <p:sldLayoutId id="2147487053" r:id="rId3"/>
    <p:sldLayoutId id="2147487054" r:id="rId4"/>
    <p:sldLayoutId id="2147487055" r:id="rId5"/>
    <p:sldLayoutId id="2147487056" r:id="rId6"/>
    <p:sldLayoutId id="2147487057" r:id="rId7"/>
    <p:sldLayoutId id="2147487058" r:id="rId8"/>
    <p:sldLayoutId id="2147487059" r:id="rId9"/>
    <p:sldLayoutId id="2147487060" r:id="rId10"/>
    <p:sldLayoutId id="2147487061" r:id="rId11"/>
    <p:sldLayoutId id="2147487062" r:id="rId12"/>
    <p:sldLayoutId id="2147487063" r:id="rId13"/>
    <p:sldLayoutId id="2147487064" r:id="rId14"/>
    <p:sldLayoutId id="2147487065" r:id="rId15"/>
    <p:sldLayoutId id="2147487066" r:id="rId16"/>
    <p:sldLayoutId id="2147487067" r:id="rId17"/>
    <p:sldLayoutId id="2147487068" r:id="rId18"/>
    <p:sldLayoutId id="2147487069" r:id="rId19"/>
    <p:sldLayoutId id="2147487070" r:id="rId20"/>
    <p:sldLayoutId id="2147487071" r:id="rId21"/>
    <p:sldLayoutId id="2147487072" r:id="rId22"/>
    <p:sldLayoutId id="2147487073" r:id="rId23"/>
    <p:sldLayoutId id="2147487074" r:id="rId24"/>
    <p:sldLayoutId id="2147487075" r:id="rId25"/>
    <p:sldLayoutId id="2147487076" r:id="rId26"/>
    <p:sldLayoutId id="2147487077" r:id="rId27"/>
    <p:sldLayoutId id="2147487078" r:id="rId28"/>
    <p:sldLayoutId id="2147487079" r:id="rId29"/>
    <p:sldLayoutId id="2147487080" r:id="rId30"/>
    <p:sldLayoutId id="2147487081" r:id="rId31"/>
    <p:sldLayoutId id="2147487082" r:id="rId32"/>
    <p:sldLayoutId id="2147487083" r:id="rId33"/>
  </p:sldLayoutIdLst>
  <p:hf hdr="0" ftr="0" dt="0"/>
  <p:txStyles>
    <p:titleStyle>
      <a:lvl1pPr algn="l" defTabSz="685739" rtl="0" eaLnBrk="1" latinLnBrk="0" hangingPunct="1">
        <a:lnSpc>
          <a:spcPct val="80000"/>
        </a:lnSpc>
        <a:spcBef>
          <a:spcPct val="0"/>
        </a:spcBef>
        <a:buNone/>
        <a:defRPr sz="2700" b="1" i="0" kern="1200" spc="-75" baseline="0">
          <a:solidFill>
            <a:schemeClr val="tx1"/>
          </a:solidFill>
          <a:latin typeface="+mj-lt"/>
          <a:ea typeface="Montserrat" charset="0"/>
          <a:cs typeface="Montserrat" charset="0"/>
        </a:defRPr>
      </a:lvl1pPr>
    </p:titleStyle>
    <p:bodyStyle>
      <a:lvl1pPr marL="0" indent="0" algn="l" defTabSz="685739" rtl="0" eaLnBrk="1" latinLnBrk="0" hangingPunct="1">
        <a:lnSpc>
          <a:spcPct val="150000"/>
        </a:lnSpc>
        <a:spcBef>
          <a:spcPts val="750"/>
        </a:spcBef>
        <a:buFont typeface="Arial" panose="020B0604020202020204" pitchFamily="34" charset="0"/>
        <a:buNone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739" rtl="0" eaLnBrk="1" latinLnBrk="0" hangingPunct="1">
        <a:lnSpc>
          <a:spcPct val="150000"/>
        </a:lnSpc>
        <a:spcBef>
          <a:spcPts val="374"/>
        </a:spcBef>
        <a:buFont typeface="Arial" panose="020B0604020202020204" pitchFamily="34" charset="0"/>
        <a:buNone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685739" rtl="0" eaLnBrk="1" latinLnBrk="0" hangingPunct="1">
        <a:lnSpc>
          <a:spcPct val="150000"/>
        </a:lnSpc>
        <a:spcBef>
          <a:spcPts val="374"/>
        </a:spcBef>
        <a:buFont typeface="Arial" panose="020B0604020202020204" pitchFamily="34" charset="0"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685739" rtl="0" eaLnBrk="1" latinLnBrk="0" hangingPunct="1">
        <a:lnSpc>
          <a:spcPct val="150000"/>
        </a:lnSpc>
        <a:spcBef>
          <a:spcPts val="374"/>
        </a:spcBef>
        <a:buFont typeface="Arial" panose="020B0604020202020204" pitchFamily="34" charset="0"/>
        <a:buNone/>
        <a:defRPr sz="750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4pPr>
      <a:lvl5pPr marL="0" indent="0" algn="l" defTabSz="685739" rtl="0" eaLnBrk="1" latinLnBrk="0" hangingPunct="1">
        <a:lnSpc>
          <a:spcPct val="150000"/>
        </a:lnSpc>
        <a:spcBef>
          <a:spcPts val="374"/>
        </a:spcBef>
        <a:buFont typeface="Arial" panose="020B0604020202020204" pitchFamily="34" charset="0"/>
        <a:buNone/>
        <a:defRPr sz="750" kern="1200" baseline="0">
          <a:solidFill>
            <a:schemeClr val="tx1">
              <a:alpha val="50000"/>
            </a:schemeClr>
          </a:solidFill>
          <a:latin typeface="+mn-lt"/>
          <a:ea typeface="+mn-ea"/>
          <a:cs typeface="+mn-cs"/>
        </a:defRPr>
      </a:lvl5pPr>
      <a:lvl6pPr marL="1885781" indent="-171435" algn="l" defTabSz="685739" rtl="0" eaLnBrk="1" latinLnBrk="0" hangingPunct="1">
        <a:lnSpc>
          <a:spcPct val="90000"/>
        </a:lnSpc>
        <a:spcBef>
          <a:spcPts val="374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51" indent="-171435" algn="l" defTabSz="685739" rtl="0" eaLnBrk="1" latinLnBrk="0" hangingPunct="1">
        <a:lnSpc>
          <a:spcPct val="90000"/>
        </a:lnSpc>
        <a:spcBef>
          <a:spcPts val="374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19" indent="-171435" algn="l" defTabSz="685739" rtl="0" eaLnBrk="1" latinLnBrk="0" hangingPunct="1">
        <a:lnSpc>
          <a:spcPct val="90000"/>
        </a:lnSpc>
        <a:spcBef>
          <a:spcPts val="374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88" indent="-171435" algn="l" defTabSz="685739" rtl="0" eaLnBrk="1" latinLnBrk="0" hangingPunct="1">
        <a:lnSpc>
          <a:spcPct val="90000"/>
        </a:lnSpc>
        <a:spcBef>
          <a:spcPts val="374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9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39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09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77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46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15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84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53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orient="horz" pos="2160">
          <p15:clr>
            <a:srgbClr val="F26B43"/>
          </p15:clr>
        </p15:guide>
        <p15:guide id="14" orient="horz" pos="346">
          <p15:clr>
            <a:srgbClr val="F26B43"/>
          </p15:clr>
        </p15:guide>
        <p15:guide id="27" orient="horz" pos="3952">
          <p15:clr>
            <a:srgbClr val="F26B43"/>
          </p15:clr>
        </p15:guide>
        <p15:guide id="28" pos="642">
          <p15:clr>
            <a:srgbClr val="F26B43"/>
          </p15:clr>
        </p15:guide>
        <p15:guide id="29" pos="7038">
          <p15:clr>
            <a:srgbClr val="F26B43"/>
          </p15:clr>
        </p15:guide>
        <p15:guide id="44">
          <p15:clr>
            <a:srgbClr val="F26B43"/>
          </p15:clr>
        </p15:guide>
        <p15:guide id="45" pos="7680">
          <p15:clr>
            <a:srgbClr val="F26B43"/>
          </p15:clr>
        </p15:guide>
        <p15:guide id="46" orient="horz">
          <p15:clr>
            <a:srgbClr val="F26B43"/>
          </p15:clr>
        </p15:guide>
        <p15:guide id="47" orient="horz" pos="4320">
          <p15:clr>
            <a:srgbClr val="F26B43"/>
          </p15:clr>
        </p15:guide>
        <p15:guide id="48" pos="1277">
          <p15:clr>
            <a:srgbClr val="F26B43"/>
          </p15:clr>
        </p15:guide>
        <p15:guide id="51" orient="horz" pos="709">
          <p15:clr>
            <a:srgbClr val="F26B43"/>
          </p15:clr>
        </p15:guide>
        <p15:guide id="52" pos="19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D855A78-52F3-FDA8-6D73-2915B2D311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575477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6" imgW="378" imgH="379" progId="TCLayout.ActiveDocument.1">
                  <p:embed/>
                </p:oleObj>
              </mc:Choice>
              <mc:Fallback>
                <p:oleObj name="Diapositiva de think-cell" r:id="rId36" imgW="378" imgH="379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855A78-52F3-FDA8-6D73-2915B2D311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83781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85" r:id="rId1"/>
    <p:sldLayoutId id="2147487086" r:id="rId2"/>
    <p:sldLayoutId id="2147487087" r:id="rId3"/>
    <p:sldLayoutId id="2147487088" r:id="rId4"/>
    <p:sldLayoutId id="2147487089" r:id="rId5"/>
    <p:sldLayoutId id="2147487090" r:id="rId6"/>
    <p:sldLayoutId id="2147487091" r:id="rId7"/>
    <p:sldLayoutId id="2147487092" r:id="rId8"/>
    <p:sldLayoutId id="2147487093" r:id="rId9"/>
    <p:sldLayoutId id="2147487094" r:id="rId10"/>
    <p:sldLayoutId id="2147487095" r:id="rId11"/>
    <p:sldLayoutId id="2147487096" r:id="rId12"/>
    <p:sldLayoutId id="2147487097" r:id="rId13"/>
    <p:sldLayoutId id="2147487098" r:id="rId14"/>
    <p:sldLayoutId id="2147487099" r:id="rId15"/>
    <p:sldLayoutId id="2147487100" r:id="rId16"/>
    <p:sldLayoutId id="2147487101" r:id="rId17"/>
    <p:sldLayoutId id="2147487102" r:id="rId18"/>
    <p:sldLayoutId id="2147487103" r:id="rId19"/>
    <p:sldLayoutId id="2147487104" r:id="rId20"/>
    <p:sldLayoutId id="2147487105" r:id="rId21"/>
    <p:sldLayoutId id="2147487106" r:id="rId22"/>
    <p:sldLayoutId id="2147487107" r:id="rId23"/>
    <p:sldLayoutId id="2147487108" r:id="rId24"/>
    <p:sldLayoutId id="2147487109" r:id="rId25"/>
    <p:sldLayoutId id="2147487110" r:id="rId26"/>
    <p:sldLayoutId id="2147487111" r:id="rId27"/>
    <p:sldLayoutId id="2147487112" r:id="rId28"/>
    <p:sldLayoutId id="2147487113" r:id="rId29"/>
    <p:sldLayoutId id="2147487114" r:id="rId30"/>
    <p:sldLayoutId id="2147487115" r:id="rId31"/>
    <p:sldLayoutId id="2147487116" r:id="rId32"/>
    <p:sldLayoutId id="2147487117" r:id="rId33"/>
  </p:sldLayoutIdLst>
  <p:hf hdr="0" ftr="0" dt="0"/>
  <p:txStyles>
    <p:titleStyle>
      <a:lvl1pPr algn="l" defTabSz="685712" rtl="0" eaLnBrk="1" latinLnBrk="0" hangingPunct="1">
        <a:lnSpc>
          <a:spcPct val="80000"/>
        </a:lnSpc>
        <a:spcBef>
          <a:spcPct val="0"/>
        </a:spcBef>
        <a:buNone/>
        <a:defRPr sz="2700" b="1" i="0" kern="1200" spc="-75" baseline="0">
          <a:solidFill>
            <a:schemeClr val="tx1"/>
          </a:solidFill>
          <a:latin typeface="+mj-lt"/>
          <a:ea typeface="Montserrat" charset="0"/>
          <a:cs typeface="Montserrat" charset="0"/>
        </a:defRPr>
      </a:lvl1pPr>
    </p:titleStyle>
    <p:bodyStyle>
      <a:lvl1pPr marL="0" indent="0" algn="l" defTabSz="685712" rtl="0" eaLnBrk="1" latinLnBrk="0" hangingPunct="1">
        <a:lnSpc>
          <a:spcPct val="150000"/>
        </a:lnSpc>
        <a:spcBef>
          <a:spcPts val="750"/>
        </a:spcBef>
        <a:buFont typeface="Arial" panose="020B0604020202020204" pitchFamily="34" charset="0"/>
        <a:buNone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712" rtl="0" eaLnBrk="1" latinLnBrk="0" hangingPunct="1">
        <a:lnSpc>
          <a:spcPct val="150000"/>
        </a:lnSpc>
        <a:spcBef>
          <a:spcPts val="374"/>
        </a:spcBef>
        <a:buFont typeface="Arial" panose="020B0604020202020204" pitchFamily="34" charset="0"/>
        <a:buNone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685712" rtl="0" eaLnBrk="1" latinLnBrk="0" hangingPunct="1">
        <a:lnSpc>
          <a:spcPct val="150000"/>
        </a:lnSpc>
        <a:spcBef>
          <a:spcPts val="374"/>
        </a:spcBef>
        <a:buFont typeface="Arial" panose="020B0604020202020204" pitchFamily="34" charset="0"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685712" rtl="0" eaLnBrk="1" latinLnBrk="0" hangingPunct="1">
        <a:lnSpc>
          <a:spcPct val="150000"/>
        </a:lnSpc>
        <a:spcBef>
          <a:spcPts val="374"/>
        </a:spcBef>
        <a:buFont typeface="Arial" panose="020B0604020202020204" pitchFamily="34" charset="0"/>
        <a:buNone/>
        <a:defRPr sz="750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4pPr>
      <a:lvl5pPr marL="0" indent="0" algn="l" defTabSz="685712" rtl="0" eaLnBrk="1" latinLnBrk="0" hangingPunct="1">
        <a:lnSpc>
          <a:spcPct val="150000"/>
        </a:lnSpc>
        <a:spcBef>
          <a:spcPts val="374"/>
        </a:spcBef>
        <a:buFont typeface="Arial" panose="020B0604020202020204" pitchFamily="34" charset="0"/>
        <a:buNone/>
        <a:defRPr sz="750" kern="1200" baseline="0">
          <a:solidFill>
            <a:schemeClr val="tx1">
              <a:alpha val="50000"/>
            </a:schemeClr>
          </a:solidFill>
          <a:latin typeface="+mn-lt"/>
          <a:ea typeface="+mn-ea"/>
          <a:cs typeface="+mn-cs"/>
        </a:defRPr>
      </a:lvl5pPr>
      <a:lvl6pPr marL="1885706" indent="-171428" algn="l" defTabSz="685712" rtl="0" eaLnBrk="1" latinLnBrk="0" hangingPunct="1">
        <a:lnSpc>
          <a:spcPct val="90000"/>
        </a:lnSpc>
        <a:spcBef>
          <a:spcPts val="374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61" indent="-171428" algn="l" defTabSz="685712" rtl="0" eaLnBrk="1" latinLnBrk="0" hangingPunct="1">
        <a:lnSpc>
          <a:spcPct val="90000"/>
        </a:lnSpc>
        <a:spcBef>
          <a:spcPts val="374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16" indent="-171428" algn="l" defTabSz="685712" rtl="0" eaLnBrk="1" latinLnBrk="0" hangingPunct="1">
        <a:lnSpc>
          <a:spcPct val="90000"/>
        </a:lnSpc>
        <a:spcBef>
          <a:spcPts val="374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71" indent="-171428" algn="l" defTabSz="685712" rtl="0" eaLnBrk="1" latinLnBrk="0" hangingPunct="1">
        <a:lnSpc>
          <a:spcPct val="90000"/>
        </a:lnSpc>
        <a:spcBef>
          <a:spcPts val="374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1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56" algn="l" defTabSz="68571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12" algn="l" defTabSz="68571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67" algn="l" defTabSz="68571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22" algn="l" defTabSz="68571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77" algn="l" defTabSz="68571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33" algn="l" defTabSz="68571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88" algn="l" defTabSz="68571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844" algn="l" defTabSz="68571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orient="horz" pos="2160">
          <p15:clr>
            <a:srgbClr val="F26B43"/>
          </p15:clr>
        </p15:guide>
        <p15:guide id="14" orient="horz" pos="346">
          <p15:clr>
            <a:srgbClr val="F26B43"/>
          </p15:clr>
        </p15:guide>
        <p15:guide id="27" orient="horz" pos="3952">
          <p15:clr>
            <a:srgbClr val="F26B43"/>
          </p15:clr>
        </p15:guide>
        <p15:guide id="28" pos="642">
          <p15:clr>
            <a:srgbClr val="F26B43"/>
          </p15:clr>
        </p15:guide>
        <p15:guide id="29" pos="7038">
          <p15:clr>
            <a:srgbClr val="F26B43"/>
          </p15:clr>
        </p15:guide>
        <p15:guide id="44">
          <p15:clr>
            <a:srgbClr val="F26B43"/>
          </p15:clr>
        </p15:guide>
        <p15:guide id="45" pos="7680">
          <p15:clr>
            <a:srgbClr val="F26B43"/>
          </p15:clr>
        </p15:guide>
        <p15:guide id="46" orient="horz">
          <p15:clr>
            <a:srgbClr val="F26B43"/>
          </p15:clr>
        </p15:guide>
        <p15:guide id="47" orient="horz" pos="4320">
          <p15:clr>
            <a:srgbClr val="F26B43"/>
          </p15:clr>
        </p15:guide>
        <p15:guide id="48" pos="1277">
          <p15:clr>
            <a:srgbClr val="F26B43"/>
          </p15:clr>
        </p15:guide>
        <p15:guide id="51" orient="horz" pos="709">
          <p15:clr>
            <a:srgbClr val="F26B43"/>
          </p15:clr>
        </p15:guide>
        <p15:guide id="52" pos="191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50000">
              <a:srgbClr val="FFFFFF">
                <a:alpha val="0"/>
              </a:srgbClr>
            </a:gs>
            <a:gs pos="100000">
              <a:srgbClr val="FFFFFF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F55D582-53F4-BFF7-654D-95F98C0E14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3797402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0" imgW="378" imgH="379" progId="TCLayout.ActiveDocument.1">
                  <p:embed/>
                </p:oleObj>
              </mc:Choice>
              <mc:Fallback>
                <p:oleObj name="Diapositiva de think-cell" r:id="rId50" imgW="378" imgH="379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55D582-53F4-BFF7-654D-95F98C0E14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25639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69" r:id="rId1"/>
    <p:sldLayoutId id="2147486958" r:id="rId2"/>
    <p:sldLayoutId id="2147486960" r:id="rId3"/>
    <p:sldLayoutId id="2147486957" r:id="rId4"/>
    <p:sldLayoutId id="2147486968" r:id="rId5"/>
    <p:sldLayoutId id="2147486873" r:id="rId6"/>
    <p:sldLayoutId id="2147486980" r:id="rId7"/>
    <p:sldLayoutId id="2147486969" r:id="rId8"/>
    <p:sldLayoutId id="2147486981" r:id="rId9"/>
    <p:sldLayoutId id="2147486970" r:id="rId10"/>
    <p:sldLayoutId id="2147486982" r:id="rId11"/>
    <p:sldLayoutId id="2147487121" r:id="rId12"/>
    <p:sldLayoutId id="2147486961" r:id="rId13"/>
    <p:sldLayoutId id="2147486971" r:id="rId14"/>
    <p:sldLayoutId id="2147486983" r:id="rId15"/>
    <p:sldLayoutId id="2147487049" r:id="rId16"/>
    <p:sldLayoutId id="2147486972" r:id="rId17"/>
    <p:sldLayoutId id="2147486998" r:id="rId18"/>
    <p:sldLayoutId id="2147486984" r:id="rId19"/>
    <p:sldLayoutId id="2147486986" r:id="rId20"/>
    <p:sldLayoutId id="2147486987" r:id="rId21"/>
    <p:sldLayoutId id="2147487003" r:id="rId22"/>
    <p:sldLayoutId id="2147487002" r:id="rId23"/>
    <p:sldLayoutId id="2147487006" r:id="rId24"/>
    <p:sldLayoutId id="2147487004" r:id="rId25"/>
    <p:sldLayoutId id="2147487007" r:id="rId26"/>
    <p:sldLayoutId id="2147487005" r:id="rId27"/>
    <p:sldLayoutId id="2147486988" r:id="rId28"/>
    <p:sldLayoutId id="2147486989" r:id="rId29"/>
    <p:sldLayoutId id="2147487119" r:id="rId30"/>
    <p:sldLayoutId id="2147487008" r:id="rId31"/>
    <p:sldLayoutId id="2147486990" r:id="rId32"/>
    <p:sldLayoutId id="2147486991" r:id="rId33"/>
    <p:sldLayoutId id="2147486992" r:id="rId34"/>
    <p:sldLayoutId id="2147486993" r:id="rId35"/>
    <p:sldLayoutId id="2147486994" r:id="rId36"/>
    <p:sldLayoutId id="2147486995" r:id="rId37"/>
    <p:sldLayoutId id="2147486996" r:id="rId38"/>
    <p:sldLayoutId id="2147486997" r:id="rId39"/>
    <p:sldLayoutId id="2147486955" r:id="rId40"/>
    <p:sldLayoutId id="2147486959" r:id="rId41"/>
    <p:sldLayoutId id="2147486947" r:id="rId42"/>
    <p:sldLayoutId id="2147487120" r:id="rId43"/>
    <p:sldLayoutId id="2147486975" r:id="rId44"/>
    <p:sldLayoutId id="2147486956" r:id="rId45"/>
    <p:sldLayoutId id="2147486949" r:id="rId46"/>
    <p:sldLayoutId id="2147487048" r:id="rId47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ftr="0" dt="0"/>
  <p:txStyles>
    <p:titleStyle>
      <a:lvl1pPr algn="l" defTabSz="642909" rtl="0" eaLnBrk="1" latinLnBrk="0" hangingPunct="1">
        <a:lnSpc>
          <a:spcPct val="80000"/>
        </a:lnSpc>
        <a:spcBef>
          <a:spcPct val="0"/>
        </a:spcBef>
        <a:buNone/>
        <a:defRPr sz="2531" b="1" i="0" kern="1200" spc="-70" baseline="0">
          <a:solidFill>
            <a:schemeClr val="tx1"/>
          </a:solidFill>
          <a:latin typeface="+mj-lt"/>
          <a:ea typeface="Montserrat" charset="0"/>
          <a:cs typeface="Montserrat" charset="0"/>
        </a:defRPr>
      </a:lvl1pPr>
    </p:titleStyle>
    <p:bodyStyle>
      <a:lvl1pPr marL="0" indent="0" algn="l" defTabSz="642909" rtl="0" eaLnBrk="1" latinLnBrk="0" hangingPunct="1">
        <a:lnSpc>
          <a:spcPct val="150000"/>
        </a:lnSpc>
        <a:spcBef>
          <a:spcPts val="703"/>
        </a:spcBef>
        <a:buFont typeface="Arial" panose="020B0604020202020204" pitchFamily="34" charset="0"/>
        <a:buNone/>
        <a:defRPr sz="1969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42909" rtl="0" eaLnBrk="1" latinLnBrk="0" hangingPunct="1">
        <a:lnSpc>
          <a:spcPct val="150000"/>
        </a:lnSpc>
        <a:spcBef>
          <a:spcPts val="351"/>
        </a:spcBef>
        <a:buFont typeface="Arial" panose="020B0604020202020204" pitchFamily="34" charset="0"/>
        <a:buNone/>
        <a:defRPr sz="1266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642909" rtl="0" eaLnBrk="1" latinLnBrk="0" hangingPunct="1">
        <a:lnSpc>
          <a:spcPct val="150000"/>
        </a:lnSpc>
        <a:spcBef>
          <a:spcPts val="351"/>
        </a:spcBef>
        <a:buFont typeface="Arial" panose="020B0604020202020204" pitchFamily="34" charset="0"/>
        <a:buNone/>
        <a:defRPr sz="844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642909" rtl="0" eaLnBrk="1" latinLnBrk="0" hangingPunct="1">
        <a:lnSpc>
          <a:spcPct val="150000"/>
        </a:lnSpc>
        <a:spcBef>
          <a:spcPts val="351"/>
        </a:spcBef>
        <a:buFont typeface="Arial" panose="020B0604020202020204" pitchFamily="34" charset="0"/>
        <a:buNone/>
        <a:defRPr sz="703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4pPr>
      <a:lvl5pPr marL="0" indent="0" algn="l" defTabSz="642909" rtl="0" eaLnBrk="1" latinLnBrk="0" hangingPunct="1">
        <a:lnSpc>
          <a:spcPct val="150000"/>
        </a:lnSpc>
        <a:spcBef>
          <a:spcPts val="351"/>
        </a:spcBef>
        <a:buFont typeface="Arial" panose="020B0604020202020204" pitchFamily="34" charset="0"/>
        <a:buNone/>
        <a:defRPr sz="703" kern="1200" baseline="0">
          <a:solidFill>
            <a:schemeClr val="tx1">
              <a:alpha val="50000"/>
            </a:schemeClr>
          </a:solidFill>
          <a:latin typeface="+mn-lt"/>
          <a:ea typeface="+mn-ea"/>
          <a:cs typeface="+mn-cs"/>
        </a:defRPr>
      </a:lvl5pPr>
      <a:lvl6pPr marL="1768000" indent="-160728" algn="l" defTabSz="642909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6" kern="1200">
          <a:solidFill>
            <a:schemeClr val="tx1"/>
          </a:solidFill>
          <a:latin typeface="+mn-lt"/>
          <a:ea typeface="+mn-ea"/>
          <a:cs typeface="+mn-cs"/>
        </a:defRPr>
      </a:lvl6pPr>
      <a:lvl7pPr marL="2089455" indent="-160728" algn="l" defTabSz="642909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6" kern="1200">
          <a:solidFill>
            <a:schemeClr val="tx1"/>
          </a:solidFill>
          <a:latin typeface="+mn-lt"/>
          <a:ea typeface="+mn-ea"/>
          <a:cs typeface="+mn-cs"/>
        </a:defRPr>
      </a:lvl7pPr>
      <a:lvl8pPr marL="2410909" indent="-160728" algn="l" defTabSz="642909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6" kern="1200">
          <a:solidFill>
            <a:schemeClr val="tx1"/>
          </a:solidFill>
          <a:latin typeface="+mn-lt"/>
          <a:ea typeface="+mn-ea"/>
          <a:cs typeface="+mn-cs"/>
        </a:defRPr>
      </a:lvl8pPr>
      <a:lvl9pPr marL="2732362" indent="-160728" algn="l" defTabSz="642909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2909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1pPr>
      <a:lvl2pPr marL="321455" algn="l" defTabSz="642909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2pPr>
      <a:lvl3pPr marL="642909" algn="l" defTabSz="642909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3pPr>
      <a:lvl4pPr marL="964364" algn="l" defTabSz="642909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4pPr>
      <a:lvl5pPr marL="1285818" algn="l" defTabSz="642909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5pPr>
      <a:lvl6pPr marL="1607272" algn="l" defTabSz="642909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6pPr>
      <a:lvl7pPr marL="1928726" algn="l" defTabSz="642909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7pPr>
      <a:lvl8pPr marL="2250181" algn="l" defTabSz="642909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8pPr>
      <a:lvl9pPr marL="2571635" algn="l" defTabSz="642909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1950" userDrawn="1">
          <p15:clr>
            <a:srgbClr val="F26B43"/>
          </p15:clr>
        </p15:guide>
        <p15:guide id="1" orient="horz" pos="1029" userDrawn="1">
          <p15:clr>
            <a:srgbClr val="F26B43"/>
          </p15:clr>
        </p15:guide>
        <p15:guide id="14" orient="horz" pos="165" userDrawn="1">
          <p15:clr>
            <a:srgbClr val="F26B43"/>
          </p15:clr>
        </p15:guide>
        <p15:guide id="27" orient="horz" pos="1882" userDrawn="1">
          <p15:clr>
            <a:srgbClr val="F26B43"/>
          </p15:clr>
        </p15:guide>
        <p15:guide id="28" pos="326" userDrawn="1">
          <p15:clr>
            <a:srgbClr val="F26B43"/>
          </p15:clr>
        </p15:guide>
        <p15:guide id="29" pos="3575" userDrawn="1">
          <p15:clr>
            <a:srgbClr val="F26B43"/>
          </p15:clr>
        </p15:guide>
        <p15:guide id="44" userDrawn="1">
          <p15:clr>
            <a:srgbClr val="F26B43"/>
          </p15:clr>
        </p15:guide>
        <p15:guide id="45" pos="3901" userDrawn="1">
          <p15:clr>
            <a:srgbClr val="F26B43"/>
          </p15:clr>
        </p15:guide>
        <p15:guide id="46" orient="horz" userDrawn="1">
          <p15:clr>
            <a:srgbClr val="F26B43"/>
          </p15:clr>
        </p15:guide>
        <p15:guide id="47" orient="horz" pos="2057" userDrawn="1">
          <p15:clr>
            <a:srgbClr val="F26B43"/>
          </p15:clr>
        </p15:guide>
        <p15:guide id="48" pos="649" userDrawn="1">
          <p15:clr>
            <a:srgbClr val="F26B43"/>
          </p15:clr>
        </p15:guide>
        <p15:guide id="51" orient="horz" pos="338" userDrawn="1">
          <p15:clr>
            <a:srgbClr val="F26B43"/>
          </p15:clr>
        </p15:guide>
        <p15:guide id="52" pos="9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7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Relationship Id="rId9" Type="http://schemas.openxmlformats.org/officeDocument/2006/relationships/image" Target="../media/image20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notesSlide" Target="../notesSlides/notesSlide7.xml"/><Relationship Id="rId7" Type="http://schemas.openxmlformats.org/officeDocument/2006/relationships/chart" Target="../charts/chart7.xml"/><Relationship Id="rId2" Type="http://schemas.openxmlformats.org/officeDocument/2006/relationships/slideLayout" Target="../slideLayouts/slideLayout74.xml"/><Relationship Id="rId1" Type="http://schemas.openxmlformats.org/officeDocument/2006/relationships/tags" Target="../tags/tag17.xml"/><Relationship Id="rId6" Type="http://schemas.openxmlformats.org/officeDocument/2006/relationships/chart" Target="../charts/chart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30.eps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32.svg"/><Relationship Id="rId2" Type="http://schemas.openxmlformats.org/officeDocument/2006/relationships/slideLayout" Target="../slideLayouts/slideLayout75.xml"/><Relationship Id="rId1" Type="http://schemas.openxmlformats.org/officeDocument/2006/relationships/tags" Target="../tags/tag18.xml"/><Relationship Id="rId6" Type="http://schemas.openxmlformats.org/officeDocument/2006/relationships/image" Target="../media/image31.png"/><Relationship Id="rId11" Type="http://schemas.openxmlformats.org/officeDocument/2006/relationships/image" Target="../media/image36.svg"/><Relationship Id="rId5" Type="http://schemas.openxmlformats.org/officeDocument/2006/relationships/image" Target="../media/image1.emf"/><Relationship Id="rId10" Type="http://schemas.openxmlformats.org/officeDocument/2006/relationships/image" Target="../media/image35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34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4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notesSlide" Target="../notesSlides/notesSlide10.xml"/><Relationship Id="rId7" Type="http://schemas.openxmlformats.org/officeDocument/2006/relationships/chart" Target="../charts/chart10.xml"/><Relationship Id="rId2" Type="http://schemas.openxmlformats.org/officeDocument/2006/relationships/slideLayout" Target="../slideLayouts/slideLayout75.xml"/><Relationship Id="rId1" Type="http://schemas.openxmlformats.org/officeDocument/2006/relationships/tags" Target="../tags/tag20.xml"/><Relationship Id="rId6" Type="http://schemas.openxmlformats.org/officeDocument/2006/relationships/chart" Target="../charts/chart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chart" Target="../charts/chart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74.xml"/><Relationship Id="rId1" Type="http://schemas.openxmlformats.org/officeDocument/2006/relationships/tags" Target="../tags/tag21.xml"/><Relationship Id="rId6" Type="http://schemas.openxmlformats.org/officeDocument/2006/relationships/image" Target="../media/image3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7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4.xml"/><Relationship Id="rId1" Type="http://schemas.openxmlformats.org/officeDocument/2006/relationships/tags" Target="../tags/tag22.xml"/><Relationship Id="rId6" Type="http://schemas.openxmlformats.org/officeDocument/2006/relationships/chart" Target="../charts/chart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emf"/><Relationship Id="rId3" Type="http://schemas.openxmlformats.org/officeDocument/2006/relationships/image" Target="../media/image40.emf"/><Relationship Id="rId7" Type="http://schemas.openxmlformats.org/officeDocument/2006/relationships/image" Target="../media/image44.emf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75.xml"/><Relationship Id="rId6" Type="http://schemas.openxmlformats.org/officeDocument/2006/relationships/image" Target="../media/image43.emf"/><Relationship Id="rId5" Type="http://schemas.openxmlformats.org/officeDocument/2006/relationships/image" Target="../media/image42.emf"/><Relationship Id="rId4" Type="http://schemas.openxmlformats.org/officeDocument/2006/relationships/image" Target="../media/image4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4.xml"/><Relationship Id="rId6" Type="http://schemas.openxmlformats.org/officeDocument/2006/relationships/image" Target="../media/image45.emf"/><Relationship Id="rId5" Type="http://schemas.openxmlformats.org/officeDocument/2006/relationships/image" Target="../media/image44.emf"/><Relationship Id="rId4" Type="http://schemas.openxmlformats.org/officeDocument/2006/relationships/image" Target="../media/image40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4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8.xml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75.xml"/><Relationship Id="rId1" Type="http://schemas.openxmlformats.org/officeDocument/2006/relationships/tags" Target="../tags/tag23.xml"/><Relationship Id="rId6" Type="http://schemas.openxmlformats.org/officeDocument/2006/relationships/image" Target="../media/image5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4.xml"/><Relationship Id="rId4" Type="http://schemas.microsoft.com/office/2007/relationships/hdphoto" Target="../media/hdphoto1.wdp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chart" Target="../charts/chart16.xml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4.x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58.png"/><Relationship Id="rId10" Type="http://schemas.openxmlformats.org/officeDocument/2006/relationships/image" Target="../media/image63.png"/><Relationship Id="rId4" Type="http://schemas.openxmlformats.org/officeDocument/2006/relationships/image" Target="../media/image57.png"/><Relationship Id="rId9" Type="http://schemas.openxmlformats.org/officeDocument/2006/relationships/image" Target="../media/image62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79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svg"/><Relationship Id="rId7" Type="http://schemas.openxmlformats.org/officeDocument/2006/relationships/image" Target="../media/image71.sv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6.xml"/><Relationship Id="rId6" Type="http://schemas.openxmlformats.org/officeDocument/2006/relationships/image" Target="../media/image70.png"/><Relationship Id="rId5" Type="http://schemas.openxmlformats.org/officeDocument/2006/relationships/image" Target="../media/image69.svg"/><Relationship Id="rId10" Type="http://schemas.openxmlformats.org/officeDocument/2006/relationships/image" Target="../media/image74.png"/><Relationship Id="rId4" Type="http://schemas.openxmlformats.org/officeDocument/2006/relationships/image" Target="../media/image68.png"/><Relationship Id="rId9" Type="http://schemas.openxmlformats.org/officeDocument/2006/relationships/image" Target="../media/image73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81.png"/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12" Type="http://schemas.openxmlformats.org/officeDocument/2006/relationships/image" Target="../media/image41.emf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78.png"/><Relationship Id="rId11" Type="http://schemas.openxmlformats.org/officeDocument/2006/relationships/image" Target="../media/image42.emf"/><Relationship Id="rId5" Type="http://schemas.openxmlformats.org/officeDocument/2006/relationships/image" Target="../media/image77.png"/><Relationship Id="rId10" Type="http://schemas.openxmlformats.org/officeDocument/2006/relationships/image" Target="../media/image40.emf"/><Relationship Id="rId4" Type="http://schemas.openxmlformats.org/officeDocument/2006/relationships/image" Target="../media/image76.png"/><Relationship Id="rId9" Type="http://schemas.openxmlformats.org/officeDocument/2006/relationships/image" Target="../media/image80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7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jpe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84.jpeg"/><Relationship Id="rId2" Type="http://schemas.openxmlformats.org/officeDocument/2006/relationships/slideLayout" Target="../slideLayouts/slideLayout81.xml"/><Relationship Id="rId1" Type="http://schemas.openxmlformats.org/officeDocument/2006/relationships/tags" Target="../tags/tag24.xml"/><Relationship Id="rId6" Type="http://schemas.openxmlformats.org/officeDocument/2006/relationships/image" Target="../media/image8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gif"/><Relationship Id="rId1" Type="http://schemas.openxmlformats.org/officeDocument/2006/relationships/slideLayout" Target="../slideLayouts/slideLayout8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8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7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8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8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2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92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87.xml"/><Relationship Id="rId6" Type="http://schemas.openxmlformats.org/officeDocument/2006/relationships/chart" Target="../charts/chart19.xml"/><Relationship Id="rId5" Type="http://schemas.openxmlformats.org/officeDocument/2006/relationships/chart" Target="../charts/chart18.xml"/><Relationship Id="rId4" Type="http://schemas.openxmlformats.org/officeDocument/2006/relationships/chart" Target="../charts/chart1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87.xml"/><Relationship Id="rId5" Type="http://schemas.openxmlformats.org/officeDocument/2006/relationships/chart" Target="../charts/chart21.xml"/><Relationship Id="rId4" Type="http://schemas.openxmlformats.org/officeDocument/2006/relationships/image" Target="../media/image96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8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8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8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8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8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102.jpeg"/><Relationship Id="rId1" Type="http://schemas.openxmlformats.org/officeDocument/2006/relationships/slideLayout" Target="../slideLayouts/slideLayout79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e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9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9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png"/><Relationship Id="rId3" Type="http://schemas.openxmlformats.org/officeDocument/2006/relationships/image" Target="../media/image106.png"/><Relationship Id="rId7" Type="http://schemas.openxmlformats.org/officeDocument/2006/relationships/image" Target="../media/image110.png"/><Relationship Id="rId12" Type="http://schemas.openxmlformats.org/officeDocument/2006/relationships/image" Target="../media/image115.png"/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91.xml"/><Relationship Id="rId6" Type="http://schemas.openxmlformats.org/officeDocument/2006/relationships/image" Target="../media/image109.png"/><Relationship Id="rId11" Type="http://schemas.openxmlformats.org/officeDocument/2006/relationships/image" Target="../media/image114.png"/><Relationship Id="rId5" Type="http://schemas.openxmlformats.org/officeDocument/2006/relationships/image" Target="../media/image108.png"/><Relationship Id="rId10" Type="http://schemas.openxmlformats.org/officeDocument/2006/relationships/image" Target="../media/image113.png"/><Relationship Id="rId4" Type="http://schemas.openxmlformats.org/officeDocument/2006/relationships/image" Target="../media/image107.png"/><Relationship Id="rId9" Type="http://schemas.openxmlformats.org/officeDocument/2006/relationships/image" Target="../media/image112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png"/><Relationship Id="rId3" Type="http://schemas.openxmlformats.org/officeDocument/2006/relationships/chart" Target="../charts/chart29.xml"/><Relationship Id="rId7" Type="http://schemas.openxmlformats.org/officeDocument/2006/relationships/image" Target="../media/image114.png"/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91.xml"/><Relationship Id="rId6" Type="http://schemas.openxmlformats.org/officeDocument/2006/relationships/image" Target="../media/image113.png"/><Relationship Id="rId5" Type="http://schemas.openxmlformats.org/officeDocument/2006/relationships/image" Target="../media/image117.svg"/><Relationship Id="rId4" Type="http://schemas.openxmlformats.org/officeDocument/2006/relationships/image" Target="../media/image116.png"/><Relationship Id="rId9" Type="http://schemas.openxmlformats.org/officeDocument/2006/relationships/image" Target="../media/image109.pn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6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.xml"/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87.xml"/><Relationship Id="rId4" Type="http://schemas.openxmlformats.org/officeDocument/2006/relationships/image" Target="../media/image119.emf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emf"/><Relationship Id="rId1" Type="http://schemas.openxmlformats.org/officeDocument/2006/relationships/slideLayout" Target="../slideLayouts/slideLayout87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jpeg"/><Relationship Id="rId1" Type="http://schemas.openxmlformats.org/officeDocument/2006/relationships/slideLayout" Target="../slideLayouts/slideLayout84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6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13" Type="http://schemas.openxmlformats.org/officeDocument/2006/relationships/image" Target="../media/image2.png"/><Relationship Id="rId18" Type="http://schemas.openxmlformats.org/officeDocument/2006/relationships/image" Target="../media/image131.png"/><Relationship Id="rId3" Type="http://schemas.openxmlformats.org/officeDocument/2006/relationships/image" Target="../media/image42.emf"/><Relationship Id="rId7" Type="http://schemas.microsoft.com/office/2007/relationships/hdphoto" Target="../media/hdphoto2.wdp"/><Relationship Id="rId12" Type="http://schemas.openxmlformats.org/officeDocument/2006/relationships/image" Target="../media/image126.png"/><Relationship Id="rId17" Type="http://schemas.openxmlformats.org/officeDocument/2006/relationships/image" Target="../media/image130.png"/><Relationship Id="rId2" Type="http://schemas.openxmlformats.org/officeDocument/2006/relationships/notesSlide" Target="../notesSlides/notesSlide22.xml"/><Relationship Id="rId16" Type="http://schemas.openxmlformats.org/officeDocument/2006/relationships/image" Target="../media/image129.png"/><Relationship Id="rId1" Type="http://schemas.openxmlformats.org/officeDocument/2006/relationships/slideLayout" Target="../slideLayouts/slideLayout95.xml"/><Relationship Id="rId6" Type="http://schemas.openxmlformats.org/officeDocument/2006/relationships/image" Target="../media/image123.png"/><Relationship Id="rId11" Type="http://schemas.openxmlformats.org/officeDocument/2006/relationships/image" Target="../media/image125.png"/><Relationship Id="rId5" Type="http://schemas.openxmlformats.org/officeDocument/2006/relationships/image" Target="../media/image122.png"/><Relationship Id="rId15" Type="http://schemas.openxmlformats.org/officeDocument/2006/relationships/image" Target="../media/image128.png"/><Relationship Id="rId10" Type="http://schemas.openxmlformats.org/officeDocument/2006/relationships/image" Target="../media/image13.svg"/><Relationship Id="rId4" Type="http://schemas.openxmlformats.org/officeDocument/2006/relationships/image" Target="../media/image119.emf"/><Relationship Id="rId9" Type="http://schemas.openxmlformats.org/officeDocument/2006/relationships/image" Target="../media/image4.png"/><Relationship Id="rId14" Type="http://schemas.openxmlformats.org/officeDocument/2006/relationships/image" Target="../media/image127.sv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8.png"/><Relationship Id="rId3" Type="http://schemas.openxmlformats.org/officeDocument/2006/relationships/image" Target="../media/image133.png"/><Relationship Id="rId7" Type="http://schemas.openxmlformats.org/officeDocument/2006/relationships/image" Target="../media/image137.png"/><Relationship Id="rId2" Type="http://schemas.openxmlformats.org/officeDocument/2006/relationships/image" Target="../media/image132.png"/><Relationship Id="rId1" Type="http://schemas.openxmlformats.org/officeDocument/2006/relationships/slideLayout" Target="../slideLayouts/slideLayout94.xml"/><Relationship Id="rId6" Type="http://schemas.openxmlformats.org/officeDocument/2006/relationships/image" Target="../media/image136.png"/><Relationship Id="rId5" Type="http://schemas.openxmlformats.org/officeDocument/2006/relationships/image" Target="../media/image135.png"/><Relationship Id="rId4" Type="http://schemas.openxmlformats.org/officeDocument/2006/relationships/image" Target="../media/image134.png"/><Relationship Id="rId9" Type="http://schemas.openxmlformats.org/officeDocument/2006/relationships/image" Target="../media/image139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9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slideLayout" Target="../slideLayouts/slideLayout74.xml"/><Relationship Id="rId18" Type="http://schemas.openxmlformats.org/officeDocument/2006/relationships/image" Target="../media/image26.png"/><Relationship Id="rId3" Type="http://schemas.openxmlformats.org/officeDocument/2006/relationships/tags" Target="../tags/tag6.xml"/><Relationship Id="rId21" Type="http://schemas.openxmlformats.org/officeDocument/2006/relationships/chart" Target="../charts/chart2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25.jpeg"/><Relationship Id="rId25" Type="http://schemas.openxmlformats.org/officeDocument/2006/relationships/chart" Target="../charts/chart5.xml"/><Relationship Id="rId2" Type="http://schemas.openxmlformats.org/officeDocument/2006/relationships/tags" Target="../tags/tag5.xml"/><Relationship Id="rId16" Type="http://schemas.openxmlformats.org/officeDocument/2006/relationships/image" Target="../media/image1.emf"/><Relationship Id="rId20" Type="http://schemas.openxmlformats.org/officeDocument/2006/relationships/image" Target="../media/image27.jpeg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chart" Target="../charts/chart4.xml"/><Relationship Id="rId5" Type="http://schemas.openxmlformats.org/officeDocument/2006/relationships/tags" Target="../tags/tag8.xml"/><Relationship Id="rId15" Type="http://schemas.openxmlformats.org/officeDocument/2006/relationships/oleObject" Target="../embeddings/oleObject4.bin"/><Relationship Id="rId23" Type="http://schemas.openxmlformats.org/officeDocument/2006/relationships/image" Target="../media/image28.jpeg"/><Relationship Id="rId10" Type="http://schemas.openxmlformats.org/officeDocument/2006/relationships/tags" Target="../tags/tag13.xml"/><Relationship Id="rId19" Type="http://schemas.openxmlformats.org/officeDocument/2006/relationships/chart" Target="../charts/chart1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notesSlide" Target="../notesSlides/notesSlide3.xml"/><Relationship Id="rId22" Type="http://schemas.openxmlformats.org/officeDocument/2006/relationships/chart" Target="../charts/chart3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97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1.jpeg"/><Relationship Id="rId1" Type="http://schemas.openxmlformats.org/officeDocument/2006/relationships/slideLayout" Target="../slideLayouts/slideLayout84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99.xml"/><Relationship Id="rId5" Type="http://schemas.openxmlformats.org/officeDocument/2006/relationships/chart" Target="../charts/chart34.xml"/><Relationship Id="rId4" Type="http://schemas.openxmlformats.org/officeDocument/2006/relationships/chart" Target="../charts/chart33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99.xml"/><Relationship Id="rId6" Type="http://schemas.openxmlformats.org/officeDocument/2006/relationships/chart" Target="../charts/chart38.xml"/><Relationship Id="rId5" Type="http://schemas.openxmlformats.org/officeDocument/2006/relationships/chart" Target="../charts/chart37.xml"/><Relationship Id="rId4" Type="http://schemas.openxmlformats.org/officeDocument/2006/relationships/chart" Target="../charts/chart36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" Target="slide81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9.xml"/><Relationship Id="rId4" Type="http://schemas.openxmlformats.org/officeDocument/2006/relationships/chart" Target="../charts/chart39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5.xml"/><Relationship Id="rId3" Type="http://schemas.openxmlformats.org/officeDocument/2006/relationships/chart" Target="../charts/chart40.xml"/><Relationship Id="rId7" Type="http://schemas.openxmlformats.org/officeDocument/2006/relationships/chart" Target="../charts/chart44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99.xml"/><Relationship Id="rId6" Type="http://schemas.openxmlformats.org/officeDocument/2006/relationships/chart" Target="../charts/chart43.xml"/><Relationship Id="rId5" Type="http://schemas.openxmlformats.org/officeDocument/2006/relationships/chart" Target="../charts/chart42.xml"/><Relationship Id="rId4" Type="http://schemas.openxmlformats.org/officeDocument/2006/relationships/chart" Target="../charts/chart41.xml"/><Relationship Id="rId9" Type="http://schemas.openxmlformats.org/officeDocument/2006/relationships/chart" Target="../charts/chart46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2.jpeg"/><Relationship Id="rId1" Type="http://schemas.openxmlformats.org/officeDocument/2006/relationships/slideLayout" Target="../slideLayouts/slideLayout84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gif"/><Relationship Id="rId1" Type="http://schemas.openxmlformats.org/officeDocument/2006/relationships/slideLayout" Target="../slideLayouts/slideLayout101.xml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8.png"/><Relationship Id="rId3" Type="http://schemas.openxmlformats.org/officeDocument/2006/relationships/image" Target="../media/image143.png"/><Relationship Id="rId7" Type="http://schemas.openxmlformats.org/officeDocument/2006/relationships/image" Target="../media/image147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46.png"/><Relationship Id="rId5" Type="http://schemas.openxmlformats.org/officeDocument/2006/relationships/image" Target="../media/image145.png"/><Relationship Id="rId10" Type="http://schemas.openxmlformats.org/officeDocument/2006/relationships/image" Target="../media/image150.png"/><Relationship Id="rId4" Type="http://schemas.openxmlformats.org/officeDocument/2006/relationships/image" Target="../media/image144.png"/><Relationship Id="rId9" Type="http://schemas.openxmlformats.org/officeDocument/2006/relationships/image" Target="../media/image14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5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01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png"/><Relationship Id="rId13" Type="http://schemas.openxmlformats.org/officeDocument/2006/relationships/image" Target="../media/image155.png"/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152.png"/><Relationship Id="rId12" Type="http://schemas.openxmlformats.org/officeDocument/2006/relationships/image" Target="../media/image119.emf"/><Relationship Id="rId2" Type="http://schemas.openxmlformats.org/officeDocument/2006/relationships/slideLayout" Target="../slideLayouts/slideLayout100.xml"/><Relationship Id="rId1" Type="http://schemas.openxmlformats.org/officeDocument/2006/relationships/tags" Target="../tags/tag26.xml"/><Relationship Id="rId6" Type="http://schemas.openxmlformats.org/officeDocument/2006/relationships/image" Target="../media/image151.png"/><Relationship Id="rId11" Type="http://schemas.openxmlformats.org/officeDocument/2006/relationships/image" Target="../media/image120.emf"/><Relationship Id="rId5" Type="http://schemas.openxmlformats.org/officeDocument/2006/relationships/image" Target="../media/image1.emf"/><Relationship Id="rId10" Type="http://schemas.openxmlformats.org/officeDocument/2006/relationships/image" Target="../media/image42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54.svg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2.png"/><Relationship Id="rId3" Type="http://schemas.openxmlformats.org/officeDocument/2006/relationships/image" Target="../media/image157.png"/><Relationship Id="rId7" Type="http://schemas.openxmlformats.org/officeDocument/2006/relationships/image" Target="../media/image161.png"/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60.png"/><Relationship Id="rId5" Type="http://schemas.openxmlformats.org/officeDocument/2006/relationships/image" Target="../media/image159.jpeg"/><Relationship Id="rId4" Type="http://schemas.openxmlformats.org/officeDocument/2006/relationships/image" Target="../media/image158.jpe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9.svg"/><Relationship Id="rId13" Type="http://schemas.openxmlformats.org/officeDocument/2006/relationships/image" Target="../media/image174.png"/><Relationship Id="rId18" Type="http://schemas.openxmlformats.org/officeDocument/2006/relationships/image" Target="../media/image179.svg"/><Relationship Id="rId26" Type="http://schemas.openxmlformats.org/officeDocument/2006/relationships/image" Target="../media/image187.svg"/><Relationship Id="rId3" Type="http://schemas.openxmlformats.org/officeDocument/2006/relationships/image" Target="../media/image164.png"/><Relationship Id="rId21" Type="http://schemas.openxmlformats.org/officeDocument/2006/relationships/image" Target="../media/image182.png"/><Relationship Id="rId7" Type="http://schemas.openxmlformats.org/officeDocument/2006/relationships/image" Target="../media/image168.png"/><Relationship Id="rId12" Type="http://schemas.openxmlformats.org/officeDocument/2006/relationships/image" Target="../media/image173.svg"/><Relationship Id="rId17" Type="http://schemas.openxmlformats.org/officeDocument/2006/relationships/image" Target="../media/image178.png"/><Relationship Id="rId25" Type="http://schemas.openxmlformats.org/officeDocument/2006/relationships/image" Target="../media/image186.png"/><Relationship Id="rId2" Type="http://schemas.openxmlformats.org/officeDocument/2006/relationships/image" Target="../media/image163.png"/><Relationship Id="rId16" Type="http://schemas.openxmlformats.org/officeDocument/2006/relationships/image" Target="../media/image177.svg"/><Relationship Id="rId20" Type="http://schemas.openxmlformats.org/officeDocument/2006/relationships/image" Target="../media/image181.svg"/><Relationship Id="rId29" Type="http://schemas.openxmlformats.org/officeDocument/2006/relationships/image" Target="../media/image190.png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167.svg"/><Relationship Id="rId11" Type="http://schemas.openxmlformats.org/officeDocument/2006/relationships/image" Target="../media/image172.png"/><Relationship Id="rId24" Type="http://schemas.openxmlformats.org/officeDocument/2006/relationships/image" Target="../media/image185.svg"/><Relationship Id="rId5" Type="http://schemas.openxmlformats.org/officeDocument/2006/relationships/image" Target="../media/image166.png"/><Relationship Id="rId15" Type="http://schemas.openxmlformats.org/officeDocument/2006/relationships/image" Target="../media/image176.png"/><Relationship Id="rId23" Type="http://schemas.openxmlformats.org/officeDocument/2006/relationships/image" Target="../media/image184.png"/><Relationship Id="rId28" Type="http://schemas.openxmlformats.org/officeDocument/2006/relationships/image" Target="../media/image189.svg"/><Relationship Id="rId10" Type="http://schemas.openxmlformats.org/officeDocument/2006/relationships/image" Target="../media/image171.svg"/><Relationship Id="rId19" Type="http://schemas.openxmlformats.org/officeDocument/2006/relationships/image" Target="../media/image180.png"/><Relationship Id="rId4" Type="http://schemas.openxmlformats.org/officeDocument/2006/relationships/image" Target="../media/image165.svg"/><Relationship Id="rId9" Type="http://schemas.openxmlformats.org/officeDocument/2006/relationships/image" Target="../media/image170.png"/><Relationship Id="rId14" Type="http://schemas.openxmlformats.org/officeDocument/2006/relationships/image" Target="../media/image175.svg"/><Relationship Id="rId22" Type="http://schemas.openxmlformats.org/officeDocument/2006/relationships/image" Target="../media/image183.svg"/><Relationship Id="rId27" Type="http://schemas.openxmlformats.org/officeDocument/2006/relationships/image" Target="../media/image188.png"/><Relationship Id="rId30" Type="http://schemas.openxmlformats.org/officeDocument/2006/relationships/image" Target="../media/image191.svg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2.jpeg"/><Relationship Id="rId1" Type="http://schemas.openxmlformats.org/officeDocument/2006/relationships/slideLayout" Target="../slideLayouts/slideLayout84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3.jpeg"/><Relationship Id="rId1" Type="http://schemas.openxmlformats.org/officeDocument/2006/relationships/slideLayout" Target="../slideLayouts/slideLayout84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emf"/><Relationship Id="rId2" Type="http://schemas.openxmlformats.org/officeDocument/2006/relationships/image" Target="../media/image120.emf"/><Relationship Id="rId1" Type="http://schemas.openxmlformats.org/officeDocument/2006/relationships/slideLayout" Target="../slideLayouts/slideLayout106.xml"/><Relationship Id="rId4" Type="http://schemas.openxmlformats.org/officeDocument/2006/relationships/image" Target="../media/image42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5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4.png"/><Relationship Id="rId7" Type="http://schemas.openxmlformats.org/officeDocument/2006/relationships/slide" Target="slide65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99.xml"/><Relationship Id="rId6" Type="http://schemas.openxmlformats.org/officeDocument/2006/relationships/image" Target="../media/image197.svg"/><Relationship Id="rId5" Type="http://schemas.openxmlformats.org/officeDocument/2006/relationships/image" Target="../media/image196.png"/><Relationship Id="rId4" Type="http://schemas.openxmlformats.org/officeDocument/2006/relationships/image" Target="../media/image195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5.xml"/><Relationship Id="rId1" Type="http://schemas.openxmlformats.org/officeDocument/2006/relationships/tags" Target="../tags/tag16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12">
            <a:extLst>
              <a:ext uri="{FF2B5EF4-FFF2-40B4-BE49-F238E27FC236}">
                <a16:creationId xmlns:a16="http://schemas.microsoft.com/office/drawing/2014/main" id="{DA00CD78-36F2-6075-AB91-360B826C150C}"/>
              </a:ext>
            </a:extLst>
          </p:cNvPr>
          <p:cNvSpPr/>
          <p:nvPr/>
        </p:nvSpPr>
        <p:spPr>
          <a:xfrm flipV="1">
            <a:off x="1" y="3165632"/>
            <a:ext cx="9144000" cy="1977867"/>
          </a:xfrm>
          <a:prstGeom prst="rect">
            <a:avLst/>
          </a:prstGeom>
          <a:gradFill>
            <a:gsLst>
              <a:gs pos="60000">
                <a:schemeClr val="bg2">
                  <a:alpha val="0"/>
                </a:schemeClr>
              </a:gs>
              <a:gs pos="0">
                <a:schemeClr val="bg2">
                  <a:alpha val="15115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AR"/>
          </a:p>
        </p:txBody>
      </p:sp>
      <p:sp>
        <p:nvSpPr>
          <p:cNvPr id="14" name="Forma libre 13">
            <a:extLst>
              <a:ext uri="{FF2B5EF4-FFF2-40B4-BE49-F238E27FC236}">
                <a16:creationId xmlns:a16="http://schemas.microsoft.com/office/drawing/2014/main" id="{2B04020A-CF6C-729B-224F-AC83166E9346}"/>
              </a:ext>
            </a:extLst>
          </p:cNvPr>
          <p:cNvSpPr/>
          <p:nvPr/>
        </p:nvSpPr>
        <p:spPr>
          <a:xfrm>
            <a:off x="2607129" y="12029"/>
            <a:ext cx="6034719" cy="4880762"/>
          </a:xfrm>
          <a:custGeom>
            <a:avLst/>
            <a:gdLst>
              <a:gd name="connsiteX0" fmla="*/ 22318 w 6142274"/>
              <a:gd name="connsiteY0" fmla="*/ 0 h 4967750"/>
              <a:gd name="connsiteX1" fmla="*/ 1785190 w 6142274"/>
              <a:gd name="connsiteY1" fmla="*/ 0 h 4967750"/>
              <a:gd name="connsiteX2" fmla="*/ 1739204 w 6142274"/>
              <a:gd name="connsiteY2" fmla="*/ 27939 h 4967750"/>
              <a:gd name="connsiteX3" fmla="*/ 863063 w 6142274"/>
              <a:gd name="connsiteY3" fmla="*/ 1675668 h 4967750"/>
              <a:gd name="connsiteX4" fmla="*/ 2850177 w 6142274"/>
              <a:gd name="connsiteY4" fmla="*/ 3662779 h 4967750"/>
              <a:gd name="connsiteX5" fmla="*/ 4837301 w 6142274"/>
              <a:gd name="connsiteY5" fmla="*/ 1675668 h 4967750"/>
              <a:gd name="connsiteX6" fmla="*/ 3961158 w 6142274"/>
              <a:gd name="connsiteY6" fmla="*/ 27939 h 4967750"/>
              <a:gd name="connsiteX7" fmla="*/ 3915171 w 6142274"/>
              <a:gd name="connsiteY7" fmla="*/ 0 h 4967750"/>
              <a:gd name="connsiteX8" fmla="*/ 5680693 w 6142274"/>
              <a:gd name="connsiteY8" fmla="*/ 0 h 4967750"/>
              <a:gd name="connsiteX9" fmla="*/ 5745113 w 6142274"/>
              <a:gd name="connsiteY9" fmla="*/ 106072 h 4967750"/>
              <a:gd name="connsiteX10" fmla="*/ 6142274 w 6142274"/>
              <a:gd name="connsiteY10" fmla="*/ 1675668 h 4967750"/>
              <a:gd name="connsiteX11" fmla="*/ 2850177 w 6142274"/>
              <a:gd name="connsiteY11" fmla="*/ 4967750 h 4967750"/>
              <a:gd name="connsiteX12" fmla="*/ 122701 w 6142274"/>
              <a:gd name="connsiteY12" fmla="*/ 3516691 h 4967750"/>
              <a:gd name="connsiteX13" fmla="*/ 0 w 6142274"/>
              <a:gd name="connsiteY13" fmla="*/ 3315407 h 4967750"/>
              <a:gd name="connsiteX14" fmla="*/ 0 w 6142274"/>
              <a:gd name="connsiteY14" fmla="*/ 36752 h 496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142274" h="4967750">
                <a:moveTo>
                  <a:pt x="22318" y="0"/>
                </a:moveTo>
                <a:lnTo>
                  <a:pt x="1785190" y="0"/>
                </a:lnTo>
                <a:lnTo>
                  <a:pt x="1739204" y="27939"/>
                </a:lnTo>
                <a:cubicBezTo>
                  <a:pt x="1210623" y="385058"/>
                  <a:pt x="863063" y="989813"/>
                  <a:pt x="863063" y="1675668"/>
                </a:cubicBezTo>
                <a:cubicBezTo>
                  <a:pt x="863063" y="2773025"/>
                  <a:pt x="1752818" y="3662779"/>
                  <a:pt x="2850177" y="3662779"/>
                </a:cubicBezTo>
                <a:cubicBezTo>
                  <a:pt x="3947546" y="3662779"/>
                  <a:pt x="4837301" y="2773025"/>
                  <a:pt x="4837301" y="1675668"/>
                </a:cubicBezTo>
                <a:cubicBezTo>
                  <a:pt x="4837301" y="989813"/>
                  <a:pt x="4489740" y="385058"/>
                  <a:pt x="3961158" y="27939"/>
                </a:cubicBezTo>
                <a:lnTo>
                  <a:pt x="3915171" y="0"/>
                </a:lnTo>
                <a:lnTo>
                  <a:pt x="5680693" y="0"/>
                </a:lnTo>
                <a:lnTo>
                  <a:pt x="5745113" y="106072"/>
                </a:lnTo>
                <a:cubicBezTo>
                  <a:pt x="5998422" y="572551"/>
                  <a:pt x="6142274" y="1107214"/>
                  <a:pt x="6142274" y="1675668"/>
                </a:cubicBezTo>
                <a:cubicBezTo>
                  <a:pt x="6142274" y="3484828"/>
                  <a:pt x="4669231" y="4967750"/>
                  <a:pt x="2850177" y="4967750"/>
                </a:cubicBezTo>
                <a:cubicBezTo>
                  <a:pt x="1719450" y="4967750"/>
                  <a:pt x="716160" y="4392347"/>
                  <a:pt x="122701" y="3516691"/>
                </a:cubicBezTo>
                <a:lnTo>
                  <a:pt x="0" y="3315407"/>
                </a:lnTo>
                <a:lnTo>
                  <a:pt x="0" y="36752"/>
                </a:lnTo>
                <a:close/>
              </a:path>
            </a:pathLst>
          </a:custGeom>
          <a:gradFill flip="none" rotWithShape="1">
            <a:gsLst>
              <a:gs pos="19000">
                <a:schemeClr val="bg2">
                  <a:alpha val="0"/>
                </a:schemeClr>
              </a:gs>
              <a:gs pos="99000">
                <a:schemeClr val="bg2">
                  <a:alpha val="25030"/>
                </a:schemeClr>
              </a:gs>
            </a:gsLst>
            <a:lin ang="2700000" scaled="1"/>
            <a:tileRect/>
          </a:gradFill>
          <a:ln w="154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_tradnl">
              <a:latin typeface="Pulso" pitchFamily="2" charset="0"/>
            </a:endParaRPr>
          </a:p>
        </p:txBody>
      </p:sp>
      <p:sp>
        <p:nvSpPr>
          <p:cNvPr id="23" name="Título 4">
            <a:extLst>
              <a:ext uri="{FF2B5EF4-FFF2-40B4-BE49-F238E27FC236}">
                <a16:creationId xmlns:a16="http://schemas.microsoft.com/office/drawing/2014/main" id="{642215B9-10BA-5E39-581A-5998D83E6021}"/>
              </a:ext>
            </a:extLst>
          </p:cNvPr>
          <p:cNvSpPr txBox="1">
            <a:spLocks/>
          </p:cNvSpPr>
          <p:nvPr/>
        </p:nvSpPr>
        <p:spPr>
          <a:xfrm>
            <a:off x="3282054" y="1478425"/>
            <a:ext cx="3342262" cy="92333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642909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531" b="1" i="0" kern="1200" spc="-70" baseline="0">
                <a:solidFill>
                  <a:schemeClr val="tx1"/>
                </a:solidFill>
                <a:latin typeface="+mj-lt"/>
                <a:ea typeface="Montserrat" charset="0"/>
                <a:cs typeface="Montserrat" charset="0"/>
              </a:defRPr>
            </a:lvl1pPr>
          </a:lstStyle>
          <a:p>
            <a:pPr fontAlgn="auto">
              <a:lnSpc>
                <a:spcPct val="100000"/>
              </a:lnSpc>
              <a:spcAft>
                <a:spcPts val="0"/>
              </a:spcAft>
            </a:pPr>
            <a:r>
              <a:rPr lang="es-AR" sz="6000" b="0" spc="-100">
                <a:solidFill>
                  <a:schemeClr val="tx2"/>
                </a:solidFill>
                <a:latin typeface="Pulso Light" pitchFamily="2" charset="0"/>
              </a:rPr>
              <a:t>Estrategia</a:t>
            </a:r>
          </a:p>
        </p:txBody>
      </p:sp>
      <p:sp>
        <p:nvSpPr>
          <p:cNvPr id="24" name="Subtítulo 8">
            <a:extLst>
              <a:ext uri="{FF2B5EF4-FFF2-40B4-BE49-F238E27FC236}">
                <a16:creationId xmlns:a16="http://schemas.microsoft.com/office/drawing/2014/main" id="{21389520-E7A9-21E0-CBBA-94BE678BFF9C}"/>
              </a:ext>
            </a:extLst>
          </p:cNvPr>
          <p:cNvSpPr txBox="1">
            <a:spLocks/>
          </p:cNvSpPr>
          <p:nvPr/>
        </p:nvSpPr>
        <p:spPr>
          <a:xfrm>
            <a:off x="3282054" y="2452410"/>
            <a:ext cx="3318216" cy="67710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l" defTabSz="642909" rtl="0" eaLnBrk="1" latinLnBrk="0" hangingPunct="1">
              <a:lnSpc>
                <a:spcPct val="150000"/>
              </a:lnSpc>
              <a:spcBef>
                <a:spcPts val="703"/>
              </a:spcBef>
              <a:buFont typeface="Arial" panose="020B0604020202020204" pitchFamily="34" charset="0"/>
              <a:buNone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42909" rtl="0" eaLnBrk="1" latinLnBrk="0" hangingPunct="1">
              <a:lnSpc>
                <a:spcPct val="150000"/>
              </a:lnSpc>
              <a:spcBef>
                <a:spcPts val="351"/>
              </a:spcBef>
              <a:buFont typeface="Arial" panose="020B0604020202020204" pitchFamily="34" charset="0"/>
              <a:buNone/>
              <a:defRPr sz="12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42909" rtl="0" eaLnBrk="1" latinLnBrk="0" hangingPunct="1">
              <a:lnSpc>
                <a:spcPct val="150000"/>
              </a:lnSpc>
              <a:spcBef>
                <a:spcPts val="351"/>
              </a:spcBef>
              <a:buFont typeface="Arial" panose="020B0604020202020204" pitchFamily="34" charset="0"/>
              <a:buNone/>
              <a:defRPr sz="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42909" rtl="0" eaLnBrk="1" latinLnBrk="0" hangingPunct="1">
              <a:lnSpc>
                <a:spcPct val="150000"/>
              </a:lnSpc>
              <a:spcBef>
                <a:spcPts val="351"/>
              </a:spcBef>
              <a:buFont typeface="Arial" panose="020B0604020202020204" pitchFamily="34" charset="0"/>
              <a:buNone/>
              <a:defRPr sz="703" kern="120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642909" rtl="0" eaLnBrk="1" latinLnBrk="0" hangingPunct="1">
              <a:lnSpc>
                <a:spcPct val="150000"/>
              </a:lnSpc>
              <a:spcBef>
                <a:spcPts val="351"/>
              </a:spcBef>
              <a:buFont typeface="Arial" panose="020B0604020202020204" pitchFamily="34" charset="0"/>
              <a:buNone/>
              <a:defRPr sz="703" kern="1200" baseline="0">
                <a:solidFill>
                  <a:schemeClr val="tx1">
                    <a:alpha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768000" indent="-160728" algn="l" defTabSz="642909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9455" indent="-160728" algn="l" defTabSz="642909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0909" indent="-160728" algn="l" defTabSz="642909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32362" indent="-160728" algn="l" defTabSz="642909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238"/>
              </a:spcBef>
              <a:spcAft>
                <a:spcPts val="0"/>
              </a:spcAft>
            </a:pPr>
            <a:r>
              <a:rPr lang="en-US" sz="4400" b="1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Roboto" panose="02000000000000000000" pitchFamily="2" charset="0"/>
              </a:rPr>
              <a:t>2026 · 2030</a:t>
            </a: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F72988F0-E208-434B-1A36-ADEC07832481}"/>
              </a:ext>
            </a:extLst>
          </p:cNvPr>
          <p:cNvSpPr/>
          <p:nvPr/>
        </p:nvSpPr>
        <p:spPr>
          <a:xfrm>
            <a:off x="1365129" y="1317883"/>
            <a:ext cx="1242000" cy="2066400"/>
          </a:xfrm>
          <a:prstGeom prst="roundRect">
            <a:avLst>
              <a:gd name="adj" fmla="val 11709"/>
            </a:avLst>
          </a:prstGeom>
          <a:blipFill dpi="0" rotWithShape="1">
            <a:blip r:embed="rId3"/>
            <a:srcRect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28" name="Rectángulo redondeado 27">
            <a:extLst>
              <a:ext uri="{FF2B5EF4-FFF2-40B4-BE49-F238E27FC236}">
                <a16:creationId xmlns:a16="http://schemas.microsoft.com/office/drawing/2014/main" id="{965D8FB7-64B8-2FCA-081A-214490EFC08E}"/>
              </a:ext>
            </a:extLst>
          </p:cNvPr>
          <p:cNvSpPr/>
          <p:nvPr/>
        </p:nvSpPr>
        <p:spPr>
          <a:xfrm>
            <a:off x="69202" y="683676"/>
            <a:ext cx="1242000" cy="1443600"/>
          </a:xfrm>
          <a:prstGeom prst="roundRect">
            <a:avLst>
              <a:gd name="adj" fmla="val 11709"/>
            </a:avLst>
          </a:prstGeom>
          <a:blipFill>
            <a:blip r:embed="rId4"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29" name="Rectángulo redondeado 28">
            <a:extLst>
              <a:ext uri="{FF2B5EF4-FFF2-40B4-BE49-F238E27FC236}">
                <a16:creationId xmlns:a16="http://schemas.microsoft.com/office/drawing/2014/main" id="{A8AA41C6-6175-C534-1784-077A7295207C}"/>
              </a:ext>
            </a:extLst>
          </p:cNvPr>
          <p:cNvSpPr/>
          <p:nvPr/>
        </p:nvSpPr>
        <p:spPr>
          <a:xfrm>
            <a:off x="69202" y="2184588"/>
            <a:ext cx="1242000" cy="1882800"/>
          </a:xfrm>
          <a:prstGeom prst="roundRect">
            <a:avLst>
              <a:gd name="adj" fmla="val 11709"/>
            </a:avLst>
          </a:prstGeom>
          <a:blipFill>
            <a:blip r:embed="rId5"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31" name="Redondear rectángulo de esquina del mismo lado 30">
            <a:extLst>
              <a:ext uri="{FF2B5EF4-FFF2-40B4-BE49-F238E27FC236}">
                <a16:creationId xmlns:a16="http://schemas.microsoft.com/office/drawing/2014/main" id="{65B95858-94A8-6AB4-264B-157164A43F0C}"/>
              </a:ext>
            </a:extLst>
          </p:cNvPr>
          <p:cNvSpPr/>
          <p:nvPr/>
        </p:nvSpPr>
        <p:spPr>
          <a:xfrm rot="10800000">
            <a:off x="69203" y="4128300"/>
            <a:ext cx="1242000" cy="1015200"/>
          </a:xfrm>
          <a:prstGeom prst="round2SameRect">
            <a:avLst>
              <a:gd name="adj1" fmla="val 0"/>
              <a:gd name="adj2" fmla="val 14241"/>
            </a:avLst>
          </a:prstGeom>
          <a:blipFill dpi="0" rotWithShape="0">
            <a:blip r:embed="rId6"/>
            <a:srcRect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32" name="Redondear rectángulo de esquina del mismo lado 31">
            <a:extLst>
              <a:ext uri="{FF2B5EF4-FFF2-40B4-BE49-F238E27FC236}">
                <a16:creationId xmlns:a16="http://schemas.microsoft.com/office/drawing/2014/main" id="{843CF3B4-A3B5-FBBF-654A-C92C46AAF6F7}"/>
              </a:ext>
            </a:extLst>
          </p:cNvPr>
          <p:cNvSpPr/>
          <p:nvPr/>
        </p:nvSpPr>
        <p:spPr>
          <a:xfrm rot="10800000">
            <a:off x="1365129" y="3444300"/>
            <a:ext cx="1242000" cy="1699200"/>
          </a:xfrm>
          <a:prstGeom prst="round2SameRect">
            <a:avLst>
              <a:gd name="adj1" fmla="val 0"/>
              <a:gd name="adj2" fmla="val 12032"/>
            </a:avLst>
          </a:prstGeom>
          <a:blipFill dpi="0" rotWithShape="0">
            <a:blip r:embed="rId7"/>
            <a:srcRect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36" name="Redondear rectángulo de esquina del mismo lado 35">
            <a:extLst>
              <a:ext uri="{FF2B5EF4-FFF2-40B4-BE49-F238E27FC236}">
                <a16:creationId xmlns:a16="http://schemas.microsoft.com/office/drawing/2014/main" id="{653F00E8-1105-4763-D05C-13FBB2203FAA}"/>
              </a:ext>
            </a:extLst>
          </p:cNvPr>
          <p:cNvSpPr/>
          <p:nvPr/>
        </p:nvSpPr>
        <p:spPr>
          <a:xfrm>
            <a:off x="69202" y="0"/>
            <a:ext cx="1242000" cy="630000"/>
          </a:xfrm>
          <a:prstGeom prst="round2SameRect">
            <a:avLst>
              <a:gd name="adj1" fmla="val 0"/>
              <a:gd name="adj2" fmla="val 21897"/>
            </a:avLst>
          </a:prstGeom>
          <a:blipFill>
            <a:blip r:embed="rId8"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37" name="Redondear rectángulo de esquina del mismo lado 36">
            <a:extLst>
              <a:ext uri="{FF2B5EF4-FFF2-40B4-BE49-F238E27FC236}">
                <a16:creationId xmlns:a16="http://schemas.microsoft.com/office/drawing/2014/main" id="{80FAC410-1CD3-D465-5B37-8D49F3F9031D}"/>
              </a:ext>
            </a:extLst>
          </p:cNvPr>
          <p:cNvSpPr/>
          <p:nvPr/>
        </p:nvSpPr>
        <p:spPr>
          <a:xfrm>
            <a:off x="1365129" y="0"/>
            <a:ext cx="1242000" cy="1263600"/>
          </a:xfrm>
          <a:prstGeom prst="round2SameRect">
            <a:avLst>
              <a:gd name="adj1" fmla="val 0"/>
              <a:gd name="adj2" fmla="val 11589"/>
            </a:avLst>
          </a:prstGeom>
          <a:blipFill>
            <a:blip r:embed="rId9"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8" name="Gráfico 3">
            <a:extLst>
              <a:ext uri="{FF2B5EF4-FFF2-40B4-BE49-F238E27FC236}">
                <a16:creationId xmlns:a16="http://schemas.microsoft.com/office/drawing/2014/main" id="{B25044B3-C9AB-1658-0FF7-8BCF019CE50E}"/>
              </a:ext>
            </a:extLst>
          </p:cNvPr>
          <p:cNvGrpSpPr/>
          <p:nvPr/>
        </p:nvGrpSpPr>
        <p:grpSpPr>
          <a:xfrm>
            <a:off x="3282054" y="305438"/>
            <a:ext cx="1041292" cy="238881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39" name="Forma libre 38">
              <a:extLst>
                <a:ext uri="{FF2B5EF4-FFF2-40B4-BE49-F238E27FC236}">
                  <a16:creationId xmlns:a16="http://schemas.microsoft.com/office/drawing/2014/main" id="{6E9FF665-9A44-D1AF-C8C0-8DCB88D2F883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>
                <a:latin typeface="Pulso" pitchFamily="2" charset="0"/>
              </a:endParaRPr>
            </a:p>
          </p:txBody>
        </p:sp>
        <p:sp>
          <p:nvSpPr>
            <p:cNvPr id="40" name="Forma libre 39">
              <a:extLst>
                <a:ext uri="{FF2B5EF4-FFF2-40B4-BE49-F238E27FC236}">
                  <a16:creationId xmlns:a16="http://schemas.microsoft.com/office/drawing/2014/main" id="{91D970B2-11B3-F837-A4A0-F72FD106E162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>
                <a:latin typeface="Pulso" pitchFamily="2" charset="0"/>
              </a:endParaRPr>
            </a:p>
          </p:txBody>
        </p:sp>
        <p:sp>
          <p:nvSpPr>
            <p:cNvPr id="41" name="Forma libre 40">
              <a:extLst>
                <a:ext uri="{FF2B5EF4-FFF2-40B4-BE49-F238E27FC236}">
                  <a16:creationId xmlns:a16="http://schemas.microsoft.com/office/drawing/2014/main" id="{ACFC3913-E51C-97B7-DD43-450619F9B2F0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>
                <a:latin typeface="Pulso" pitchFamily="2" charset="0"/>
              </a:endParaRPr>
            </a:p>
          </p:txBody>
        </p:sp>
        <p:sp>
          <p:nvSpPr>
            <p:cNvPr id="44" name="Forma libre 43">
              <a:extLst>
                <a:ext uri="{FF2B5EF4-FFF2-40B4-BE49-F238E27FC236}">
                  <a16:creationId xmlns:a16="http://schemas.microsoft.com/office/drawing/2014/main" id="{0CCE5758-35A8-0F40-8FD4-878897144A39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>
                <a:latin typeface="Pulso" pitchFamily="2" charset="0"/>
              </a:endParaRPr>
            </a:p>
          </p:txBody>
        </p:sp>
        <p:sp>
          <p:nvSpPr>
            <p:cNvPr id="45" name="Forma libre 44">
              <a:extLst>
                <a:ext uri="{FF2B5EF4-FFF2-40B4-BE49-F238E27FC236}">
                  <a16:creationId xmlns:a16="http://schemas.microsoft.com/office/drawing/2014/main" id="{6BE00EAA-A3F2-33F6-D015-C2668B7F2B58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>
                <a:latin typeface="Pulso" pitchFamily="2" charset="0"/>
              </a:endParaRPr>
            </a:p>
          </p:txBody>
        </p:sp>
        <p:sp>
          <p:nvSpPr>
            <p:cNvPr id="46" name="Forma libre 45">
              <a:extLst>
                <a:ext uri="{FF2B5EF4-FFF2-40B4-BE49-F238E27FC236}">
                  <a16:creationId xmlns:a16="http://schemas.microsoft.com/office/drawing/2014/main" id="{7C6C0BE2-350F-4482-E2EE-A7474177D43B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>
                <a:latin typeface="Pulso" pitchFamily="2" charset="0"/>
              </a:endParaRPr>
            </a:p>
          </p:txBody>
        </p:sp>
        <p:sp>
          <p:nvSpPr>
            <p:cNvPr id="47" name="Forma libre 46">
              <a:extLst>
                <a:ext uri="{FF2B5EF4-FFF2-40B4-BE49-F238E27FC236}">
                  <a16:creationId xmlns:a16="http://schemas.microsoft.com/office/drawing/2014/main" id="{06607C40-AE34-A786-1031-FEC0D96237ED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>
                <a:latin typeface="Pulso" pitchFamily="2" charset="0"/>
              </a:endParaRPr>
            </a:p>
          </p:txBody>
        </p:sp>
        <p:sp>
          <p:nvSpPr>
            <p:cNvPr id="48" name="Forma libre 47">
              <a:extLst>
                <a:ext uri="{FF2B5EF4-FFF2-40B4-BE49-F238E27FC236}">
                  <a16:creationId xmlns:a16="http://schemas.microsoft.com/office/drawing/2014/main" id="{D9CD700A-874D-1311-778F-DCDB92A584F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>
                <a:latin typeface="Pulso" pitchFamily="2" charset="0"/>
              </a:endParaRPr>
            </a:p>
          </p:txBody>
        </p:sp>
      </p:grpSp>
      <p:sp>
        <p:nvSpPr>
          <p:cNvPr id="49" name="Marcador de texto 20">
            <a:extLst>
              <a:ext uri="{FF2B5EF4-FFF2-40B4-BE49-F238E27FC236}">
                <a16:creationId xmlns:a16="http://schemas.microsoft.com/office/drawing/2014/main" id="{9B62154F-226F-B17F-AC90-182C10A464E6}"/>
              </a:ext>
            </a:extLst>
          </p:cNvPr>
          <p:cNvSpPr txBox="1">
            <a:spLocks/>
          </p:cNvSpPr>
          <p:nvPr/>
        </p:nvSpPr>
        <p:spPr>
          <a:xfrm>
            <a:off x="3282054" y="4693203"/>
            <a:ext cx="960199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l" defTabSz="642909" rtl="0" eaLnBrk="1" latinLnBrk="0" hangingPunct="1">
              <a:lnSpc>
                <a:spcPct val="150000"/>
              </a:lnSpc>
              <a:spcBef>
                <a:spcPts val="703"/>
              </a:spcBef>
              <a:buFont typeface="Arial" panose="020B0604020202020204" pitchFamily="34" charset="0"/>
              <a:buNone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42909" rtl="0" eaLnBrk="1" latinLnBrk="0" hangingPunct="1">
              <a:lnSpc>
                <a:spcPct val="150000"/>
              </a:lnSpc>
              <a:spcBef>
                <a:spcPts val="351"/>
              </a:spcBef>
              <a:buFont typeface="Arial" panose="020B0604020202020204" pitchFamily="34" charset="0"/>
              <a:buNone/>
              <a:defRPr sz="12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42909" rtl="0" eaLnBrk="1" latinLnBrk="0" hangingPunct="1">
              <a:lnSpc>
                <a:spcPct val="150000"/>
              </a:lnSpc>
              <a:spcBef>
                <a:spcPts val="351"/>
              </a:spcBef>
              <a:buFont typeface="Arial" panose="020B0604020202020204" pitchFamily="34" charset="0"/>
              <a:buNone/>
              <a:defRPr sz="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42909" rtl="0" eaLnBrk="1" latinLnBrk="0" hangingPunct="1">
              <a:lnSpc>
                <a:spcPct val="150000"/>
              </a:lnSpc>
              <a:spcBef>
                <a:spcPts val="351"/>
              </a:spcBef>
              <a:buFont typeface="Arial" panose="020B0604020202020204" pitchFamily="34" charset="0"/>
              <a:buNone/>
              <a:defRPr sz="703" kern="120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642909" rtl="0" eaLnBrk="1" latinLnBrk="0" hangingPunct="1">
              <a:lnSpc>
                <a:spcPct val="150000"/>
              </a:lnSpc>
              <a:spcBef>
                <a:spcPts val="351"/>
              </a:spcBef>
              <a:buFont typeface="Arial" panose="020B0604020202020204" pitchFamily="34" charset="0"/>
              <a:buNone/>
              <a:defRPr sz="703" kern="1200" baseline="0">
                <a:solidFill>
                  <a:schemeClr val="tx1">
                    <a:alpha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768000" indent="-160728" algn="l" defTabSz="642909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9455" indent="-160728" algn="l" defTabSz="642909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0909" indent="-160728" algn="l" defTabSz="642909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32362" indent="-160728" algn="l" defTabSz="642909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Aft>
                <a:spcPts val="0"/>
              </a:spcAft>
            </a:pPr>
            <a:r>
              <a:rPr lang="es-AR" sz="1000">
                <a:solidFill>
                  <a:schemeClr val="tx2"/>
                </a:solidFill>
                <a:latin typeface="Pulso Light" pitchFamily="2" charset="0"/>
                <a:ea typeface="Roboto Light" panose="02000000000000000000" pitchFamily="2" charset="0"/>
              </a:rPr>
              <a:t>Noviembre 2025</a:t>
            </a:r>
          </a:p>
        </p:txBody>
      </p:sp>
    </p:spTree>
    <p:extLst>
      <p:ext uri="{BB962C8B-B14F-4D97-AF65-F5344CB8AC3E}">
        <p14:creationId xmlns:p14="http://schemas.microsoft.com/office/powerpoint/2010/main" val="1781797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5A9EC4-CDF9-3B44-5F7C-0A30528814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B15EF0ED-0A00-59EB-97C0-396566BFAD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811666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9" progId="TCLayout.ActiveDocument.1">
                  <p:embed/>
                </p:oleObj>
              </mc:Choice>
              <mc:Fallback>
                <p:oleObj name="Diapositiva de think-cell" r:id="rId4" imgW="378" imgH="379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5EF0ED-0A00-59EB-97C0-396566BFAD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Title 1">
            <a:extLst>
              <a:ext uri="{FF2B5EF4-FFF2-40B4-BE49-F238E27FC236}">
                <a16:creationId xmlns:a16="http://schemas.microsoft.com/office/drawing/2014/main" id="{64B51D37-21AB-ECC7-1350-79DB426EEDED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4528433" cy="769441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noProof="0">
                <a:solidFill>
                  <a:schemeClr val="tx2"/>
                </a:solidFill>
                <a:latin typeface="Pulso Light" pitchFamily="2" charset="0"/>
              </a:rPr>
              <a:t>¿Por qué la tecnología satelital </a:t>
            </a: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es relevante ahora?</a:t>
            </a:r>
          </a:p>
        </p:txBody>
      </p:sp>
      <p:sp>
        <p:nvSpPr>
          <p:cNvPr id="5" name="Marcador de texto 8">
            <a:extLst>
              <a:ext uri="{FF2B5EF4-FFF2-40B4-BE49-F238E27FC236}">
                <a16:creationId xmlns:a16="http://schemas.microsoft.com/office/drawing/2014/main" id="{86DE8D75-AA2E-A49E-4FD3-A381D7C340C3}"/>
              </a:ext>
            </a:extLst>
          </p:cNvPr>
          <p:cNvSpPr txBox="1">
            <a:spLocks/>
          </p:cNvSpPr>
          <p:nvPr/>
        </p:nvSpPr>
        <p:spPr>
          <a:xfrm>
            <a:off x="571393" y="1932578"/>
            <a:ext cx="2871054" cy="198002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None/>
              <a:defRPr/>
            </a:pPr>
            <a:r>
              <a:rPr lang="es-ES_tradnl" sz="1200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vances tecnológicos</a:t>
            </a:r>
          </a:p>
          <a:p>
            <a:pPr marL="0" indent="0" defTabSz="642967" fontAlgn="auto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None/>
              <a:defRPr/>
            </a:pPr>
            <a:r>
              <a:rPr lang="es-ES_tradnl" sz="1200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Reducción de costos y precios</a:t>
            </a:r>
          </a:p>
          <a:p>
            <a:pPr marL="0" indent="0" defTabSz="642967" fontAlgn="auto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None/>
              <a:defRPr/>
            </a:pPr>
            <a:r>
              <a:rPr lang="es-ES_tradnl" sz="1200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ntegración con redes terrestres</a:t>
            </a:r>
          </a:p>
          <a:p>
            <a:pPr marL="0" indent="0" defTabSz="642967" fontAlgn="auto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None/>
              <a:defRPr/>
            </a:pPr>
            <a:r>
              <a:rPr lang="es-ES_tradnl" sz="1200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mpulso de la comunicación directa al dispositivo (D2D)</a:t>
            </a:r>
          </a:p>
          <a:p>
            <a:pPr marL="0" indent="0" defTabSz="642967" fontAlgn="auto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None/>
              <a:defRPr/>
            </a:pPr>
            <a:r>
              <a:rPr lang="es-ES_tradnl" sz="1200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tención política</a:t>
            </a:r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B868F595-BA8B-5963-3219-49BECAD2153E}"/>
              </a:ext>
            </a:extLst>
          </p:cNvPr>
          <p:cNvGrpSpPr/>
          <p:nvPr/>
        </p:nvGrpSpPr>
        <p:grpSpPr>
          <a:xfrm>
            <a:off x="540657" y="1823167"/>
            <a:ext cx="2901790" cy="2167723"/>
            <a:chOff x="540657" y="1704916"/>
            <a:chExt cx="2679387" cy="2167723"/>
          </a:xfrm>
        </p:grpSpPr>
        <p:cxnSp>
          <p:nvCxnSpPr>
            <p:cNvPr id="6" name="Conector recto 5">
              <a:extLst>
                <a:ext uri="{FF2B5EF4-FFF2-40B4-BE49-F238E27FC236}">
                  <a16:creationId xmlns:a16="http://schemas.microsoft.com/office/drawing/2014/main" id="{9A430417-D69D-4C47-5A9E-34A8B9AC9E82}"/>
                </a:ext>
              </a:extLst>
            </p:cNvPr>
            <p:cNvCxnSpPr>
              <a:cxnSpLocks/>
            </p:cNvCxnSpPr>
            <p:nvPr/>
          </p:nvCxnSpPr>
          <p:spPr>
            <a:xfrm>
              <a:off x="540657" y="2093657"/>
              <a:ext cx="2651007" cy="0"/>
            </a:xfrm>
            <a:prstGeom prst="line">
              <a:avLst/>
            </a:prstGeom>
            <a:ln w="12700" cap="rnd">
              <a:solidFill>
                <a:schemeClr val="bg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ector recto 8">
              <a:extLst>
                <a:ext uri="{FF2B5EF4-FFF2-40B4-BE49-F238E27FC236}">
                  <a16:creationId xmlns:a16="http://schemas.microsoft.com/office/drawing/2014/main" id="{CDBF7BD1-29BD-F26D-E6D0-372A4EE75692}"/>
                </a:ext>
              </a:extLst>
            </p:cNvPr>
            <p:cNvCxnSpPr>
              <a:cxnSpLocks/>
            </p:cNvCxnSpPr>
            <p:nvPr/>
          </p:nvCxnSpPr>
          <p:spPr>
            <a:xfrm>
              <a:off x="540657" y="3480032"/>
              <a:ext cx="2651007" cy="0"/>
            </a:xfrm>
            <a:prstGeom prst="line">
              <a:avLst/>
            </a:prstGeom>
            <a:ln w="12700" cap="rnd">
              <a:solidFill>
                <a:schemeClr val="bg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ector recto 9">
              <a:extLst>
                <a:ext uri="{FF2B5EF4-FFF2-40B4-BE49-F238E27FC236}">
                  <a16:creationId xmlns:a16="http://schemas.microsoft.com/office/drawing/2014/main" id="{31C79A24-F0CB-DBBC-26EA-636F129E25B2}"/>
                </a:ext>
              </a:extLst>
            </p:cNvPr>
            <p:cNvCxnSpPr>
              <a:cxnSpLocks/>
            </p:cNvCxnSpPr>
            <p:nvPr/>
          </p:nvCxnSpPr>
          <p:spPr>
            <a:xfrm>
              <a:off x="540657" y="3872639"/>
              <a:ext cx="2651007" cy="0"/>
            </a:xfrm>
            <a:prstGeom prst="line">
              <a:avLst/>
            </a:prstGeom>
            <a:ln w="12700" cap="rnd">
              <a:solidFill>
                <a:schemeClr val="bg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Conector recto 3">
              <a:extLst>
                <a:ext uri="{FF2B5EF4-FFF2-40B4-BE49-F238E27FC236}">
                  <a16:creationId xmlns:a16="http://schemas.microsoft.com/office/drawing/2014/main" id="{870B6155-F8F4-72CF-A435-8987F5189200}"/>
                </a:ext>
              </a:extLst>
            </p:cNvPr>
            <p:cNvCxnSpPr>
              <a:cxnSpLocks/>
            </p:cNvCxnSpPr>
            <p:nvPr/>
          </p:nvCxnSpPr>
          <p:spPr>
            <a:xfrm>
              <a:off x="540657" y="1704916"/>
              <a:ext cx="2651007" cy="0"/>
            </a:xfrm>
            <a:prstGeom prst="line">
              <a:avLst/>
            </a:prstGeom>
            <a:ln w="12700" cap="rnd">
              <a:solidFill>
                <a:schemeClr val="bg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ector recto 21">
              <a:extLst>
                <a:ext uri="{FF2B5EF4-FFF2-40B4-BE49-F238E27FC236}">
                  <a16:creationId xmlns:a16="http://schemas.microsoft.com/office/drawing/2014/main" id="{DBD5D65C-D621-277B-8F1F-4D5C813C3810}"/>
                </a:ext>
              </a:extLst>
            </p:cNvPr>
            <p:cNvCxnSpPr>
              <a:cxnSpLocks/>
            </p:cNvCxnSpPr>
            <p:nvPr/>
          </p:nvCxnSpPr>
          <p:spPr>
            <a:xfrm>
              <a:off x="569037" y="2888156"/>
              <a:ext cx="2651007" cy="0"/>
            </a:xfrm>
            <a:prstGeom prst="line">
              <a:avLst/>
            </a:prstGeom>
            <a:ln w="12700" cap="rnd">
              <a:solidFill>
                <a:schemeClr val="bg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ector recto 28">
              <a:extLst>
                <a:ext uri="{FF2B5EF4-FFF2-40B4-BE49-F238E27FC236}">
                  <a16:creationId xmlns:a16="http://schemas.microsoft.com/office/drawing/2014/main" id="{152CD532-A27D-7333-E266-83A758E658E6}"/>
                </a:ext>
              </a:extLst>
            </p:cNvPr>
            <p:cNvCxnSpPr>
              <a:cxnSpLocks/>
            </p:cNvCxnSpPr>
            <p:nvPr/>
          </p:nvCxnSpPr>
          <p:spPr>
            <a:xfrm>
              <a:off x="540657" y="2495475"/>
              <a:ext cx="2651007" cy="0"/>
            </a:xfrm>
            <a:prstGeom prst="line">
              <a:avLst/>
            </a:prstGeom>
            <a:ln w="12700" cap="rnd">
              <a:solidFill>
                <a:schemeClr val="bg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itle 1">
            <a:extLst>
              <a:ext uri="{FF2B5EF4-FFF2-40B4-BE49-F238E27FC236}">
                <a16:creationId xmlns:a16="http://schemas.microsoft.com/office/drawing/2014/main" id="{33C1672B-3774-6C1A-E5C2-87DE1F6EF69B}"/>
              </a:ext>
            </a:extLst>
          </p:cNvPr>
          <p:cNvSpPr txBox="1">
            <a:spLocks/>
          </p:cNvSpPr>
          <p:nvPr/>
        </p:nvSpPr>
        <p:spPr>
          <a:xfrm>
            <a:off x="3898229" y="1769379"/>
            <a:ext cx="4528432" cy="215444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400" b="0" spc="0" noProof="0">
                <a:solidFill>
                  <a:schemeClr val="bg2"/>
                </a:solidFill>
              </a:rPr>
              <a:t>Evolución del suministro de capacidad satelital (</a:t>
            </a:r>
            <a:r>
              <a:rPr lang="es-ES_tradnl" sz="1400" b="0" spc="0" noProof="0" err="1">
                <a:solidFill>
                  <a:schemeClr val="bg2"/>
                </a:solidFill>
              </a:rPr>
              <a:t>Tbps</a:t>
            </a:r>
            <a:r>
              <a:rPr lang="es-ES_tradnl" sz="1400" b="0" spc="0" noProof="0">
                <a:solidFill>
                  <a:schemeClr val="bg2"/>
                </a:solidFill>
              </a:rPr>
              <a:t>)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39B5B79B-9536-3737-6EF3-517D33E0B3FF}"/>
              </a:ext>
            </a:extLst>
          </p:cNvPr>
          <p:cNvSpPr txBox="1"/>
          <p:nvPr/>
        </p:nvSpPr>
        <p:spPr>
          <a:xfrm>
            <a:off x="3898229" y="4195462"/>
            <a:ext cx="654025" cy="9233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65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" panose="02000000000000000000" pitchFamily="2" charset="0"/>
              </a:defRPr>
            </a:lvl1pPr>
          </a:lstStyle>
          <a:p>
            <a:pPr>
              <a:spcAft>
                <a:spcPts val="200"/>
              </a:spcAft>
            </a:pPr>
            <a:r>
              <a:rPr lang="es-AR" sz="600">
                <a:latin typeface="Pulso Light" pitchFamily="2" charset="0"/>
              </a:rPr>
              <a:t>Fuente: </a:t>
            </a:r>
            <a:r>
              <a:rPr lang="es-AR" sz="600" err="1">
                <a:latin typeface="Pulso Light" pitchFamily="2" charset="0"/>
              </a:rPr>
              <a:t>Novaspace</a:t>
            </a:r>
            <a:endParaRPr lang="es-AR" sz="600">
              <a:solidFill>
                <a:srgbClr val="24272A">
                  <a:lumMod val="75000"/>
                  <a:lumOff val="25000"/>
                </a:srgbClr>
              </a:solidFill>
              <a:latin typeface="Pulso Light" pitchFamily="2" charset="0"/>
              <a:cs typeface="Open Sans Light" panose="020B0306030504020204" pitchFamily="34" charset="0"/>
            </a:endParaRPr>
          </a:p>
        </p:txBody>
      </p:sp>
      <p:graphicFrame>
        <p:nvGraphicFramePr>
          <p:cNvPr id="15" name="Gráfico 14">
            <a:extLst>
              <a:ext uri="{FF2B5EF4-FFF2-40B4-BE49-F238E27FC236}">
                <a16:creationId xmlns:a16="http://schemas.microsoft.com/office/drawing/2014/main" id="{302CC664-F091-6793-9604-80E209331C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2158214"/>
              </p:ext>
            </p:extLst>
          </p:nvPr>
        </p:nvGraphicFramePr>
        <p:xfrm>
          <a:off x="3172501" y="2054260"/>
          <a:ext cx="2567472" cy="1818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6" name="Gráfico 15">
            <a:extLst>
              <a:ext uri="{FF2B5EF4-FFF2-40B4-BE49-F238E27FC236}">
                <a16:creationId xmlns:a16="http://schemas.microsoft.com/office/drawing/2014/main" id="{5C43A82A-05FF-F2DB-7B42-45B84F9A84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6621496"/>
              </p:ext>
            </p:extLst>
          </p:nvPr>
        </p:nvGraphicFramePr>
        <p:xfrm>
          <a:off x="4874514" y="2054260"/>
          <a:ext cx="2567472" cy="1818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7" name="Gráfico 16">
            <a:extLst>
              <a:ext uri="{FF2B5EF4-FFF2-40B4-BE49-F238E27FC236}">
                <a16:creationId xmlns:a16="http://schemas.microsoft.com/office/drawing/2014/main" id="{D5926518-B9CB-764D-4124-62299D9A89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99338319"/>
              </p:ext>
            </p:extLst>
          </p:nvPr>
        </p:nvGraphicFramePr>
        <p:xfrm>
          <a:off x="6576528" y="2064567"/>
          <a:ext cx="2567472" cy="1818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18" name="Grupo 17">
            <a:extLst>
              <a:ext uri="{FF2B5EF4-FFF2-40B4-BE49-F238E27FC236}">
                <a16:creationId xmlns:a16="http://schemas.microsoft.com/office/drawing/2014/main" id="{9397B03E-39F6-11BF-C39F-B1BD1FFCE8E3}"/>
              </a:ext>
            </a:extLst>
          </p:cNvPr>
          <p:cNvGrpSpPr/>
          <p:nvPr/>
        </p:nvGrpSpPr>
        <p:grpSpPr>
          <a:xfrm>
            <a:off x="5560458" y="4087740"/>
            <a:ext cx="1192888" cy="123111"/>
            <a:chOff x="1250361" y="3466731"/>
            <a:chExt cx="1192888" cy="123111"/>
          </a:xfrm>
        </p:grpSpPr>
        <p:grpSp>
          <p:nvGrpSpPr>
            <p:cNvPr id="20" name="Grupo 19">
              <a:extLst>
                <a:ext uri="{FF2B5EF4-FFF2-40B4-BE49-F238E27FC236}">
                  <a16:creationId xmlns:a16="http://schemas.microsoft.com/office/drawing/2014/main" id="{76A1EB04-3D74-27D5-655F-7CEBC4836CE8}"/>
                </a:ext>
              </a:extLst>
            </p:cNvPr>
            <p:cNvGrpSpPr/>
            <p:nvPr/>
          </p:nvGrpSpPr>
          <p:grpSpPr>
            <a:xfrm>
              <a:off x="1250361" y="3466731"/>
              <a:ext cx="596831" cy="123111"/>
              <a:chOff x="1250361" y="3466731"/>
              <a:chExt cx="596831" cy="123111"/>
            </a:xfrm>
          </p:grpSpPr>
          <p:sp>
            <p:nvSpPr>
              <p:cNvPr id="27" name="CuadroTexto 26">
                <a:extLst>
                  <a:ext uri="{FF2B5EF4-FFF2-40B4-BE49-F238E27FC236}">
                    <a16:creationId xmlns:a16="http://schemas.microsoft.com/office/drawing/2014/main" id="{AD3E1BC1-4E78-2E2B-8BF8-753679336610}"/>
                  </a:ext>
                </a:extLst>
              </p:cNvPr>
              <p:cNvSpPr txBox="1"/>
              <p:nvPr/>
            </p:nvSpPr>
            <p:spPr>
              <a:xfrm>
                <a:off x="1374306" y="3466731"/>
                <a:ext cx="47288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s-ES_tradnl" sz="80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</a:rPr>
                  <a:t>GEO-HTS</a:t>
                </a:r>
              </a:p>
            </p:txBody>
          </p:sp>
          <p:sp>
            <p:nvSpPr>
              <p:cNvPr id="28" name="Elipse 27">
                <a:extLst>
                  <a:ext uri="{FF2B5EF4-FFF2-40B4-BE49-F238E27FC236}">
                    <a16:creationId xmlns:a16="http://schemas.microsoft.com/office/drawing/2014/main" id="{BC0C3AE3-115E-9C5C-898D-5853485F2EC8}"/>
                  </a:ext>
                </a:extLst>
              </p:cNvPr>
              <p:cNvSpPr/>
              <p:nvPr/>
            </p:nvSpPr>
            <p:spPr>
              <a:xfrm>
                <a:off x="1250361" y="3476897"/>
                <a:ext cx="72000" cy="72000"/>
              </a:xfrm>
              <a:prstGeom prst="ellipse">
                <a:avLst/>
              </a:prstGeom>
              <a:solidFill>
                <a:schemeClr val="tx2"/>
              </a:solidFill>
              <a:ln w="38100" cap="rnd" cmpd="sng">
                <a:noFill/>
                <a:prstDash val="sysDash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noAutofit/>
              </a:bodyPr>
              <a:lstStyle/>
              <a:p>
                <a:pPr algn="ctr">
                  <a:spcBef>
                    <a:spcPts val="1000"/>
                  </a:spcBef>
                </a:pPr>
                <a:endParaRPr lang="es-ES_tradnl" sz="800">
                  <a:solidFill>
                    <a:schemeClr val="tx1"/>
                  </a:solidFill>
                  <a:latin typeface="Pulso" pitchFamily="2" charset="0"/>
                </a:endParaRPr>
              </a:p>
            </p:txBody>
          </p:sp>
        </p:grpSp>
        <p:grpSp>
          <p:nvGrpSpPr>
            <p:cNvPr id="21" name="Grupo 20">
              <a:extLst>
                <a:ext uri="{FF2B5EF4-FFF2-40B4-BE49-F238E27FC236}">
                  <a16:creationId xmlns:a16="http://schemas.microsoft.com/office/drawing/2014/main" id="{828C07C7-A2CE-78AE-6FB8-398428B3FD42}"/>
                </a:ext>
              </a:extLst>
            </p:cNvPr>
            <p:cNvGrpSpPr/>
            <p:nvPr/>
          </p:nvGrpSpPr>
          <p:grpSpPr>
            <a:xfrm>
              <a:off x="2023051" y="3466731"/>
              <a:ext cx="420198" cy="123111"/>
              <a:chOff x="2146893" y="3466731"/>
              <a:chExt cx="420198" cy="123111"/>
            </a:xfrm>
          </p:grpSpPr>
          <p:sp>
            <p:nvSpPr>
              <p:cNvPr id="25" name="CuadroTexto 24">
                <a:extLst>
                  <a:ext uri="{FF2B5EF4-FFF2-40B4-BE49-F238E27FC236}">
                    <a16:creationId xmlns:a16="http://schemas.microsoft.com/office/drawing/2014/main" id="{F586B6CC-609C-1D04-3427-927CDAD8FB8D}"/>
                  </a:ext>
                </a:extLst>
              </p:cNvPr>
              <p:cNvSpPr txBox="1"/>
              <p:nvPr/>
            </p:nvSpPr>
            <p:spPr>
              <a:xfrm>
                <a:off x="2267329" y="3466731"/>
                <a:ext cx="299762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s-ES_tradnl" sz="80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</a:rPr>
                  <a:t>NGSO</a:t>
                </a:r>
              </a:p>
            </p:txBody>
          </p:sp>
          <p:sp>
            <p:nvSpPr>
              <p:cNvPr id="26" name="Elipse 25">
                <a:extLst>
                  <a:ext uri="{FF2B5EF4-FFF2-40B4-BE49-F238E27FC236}">
                    <a16:creationId xmlns:a16="http://schemas.microsoft.com/office/drawing/2014/main" id="{C7CCD61C-D732-A5E3-6BBF-19AFA5CA4FBC}"/>
                  </a:ext>
                </a:extLst>
              </p:cNvPr>
              <p:cNvSpPr/>
              <p:nvPr/>
            </p:nvSpPr>
            <p:spPr>
              <a:xfrm>
                <a:off x="2146893" y="3476897"/>
                <a:ext cx="72000" cy="72000"/>
              </a:xfrm>
              <a:prstGeom prst="ellipse">
                <a:avLst/>
              </a:prstGeom>
              <a:solidFill>
                <a:schemeClr val="bg2"/>
              </a:solidFill>
              <a:ln w="38100" cap="rnd" cmpd="sng">
                <a:noFill/>
                <a:prstDash val="sysDash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noAutofit/>
              </a:bodyPr>
              <a:lstStyle/>
              <a:p>
                <a:pPr algn="ctr">
                  <a:spcBef>
                    <a:spcPts val="1000"/>
                  </a:spcBef>
                </a:pPr>
                <a:endParaRPr lang="es-ES_tradnl" sz="800">
                  <a:solidFill>
                    <a:schemeClr val="tx1"/>
                  </a:solidFill>
                  <a:latin typeface="Pulso" pitchFamily="2" charset="0"/>
                </a:endParaRPr>
              </a:p>
            </p:txBody>
          </p:sp>
        </p:grpSp>
      </p:grpSp>
      <p:sp>
        <p:nvSpPr>
          <p:cNvPr id="31" name="CuadroTexto 30">
            <a:extLst>
              <a:ext uri="{FF2B5EF4-FFF2-40B4-BE49-F238E27FC236}">
                <a16:creationId xmlns:a16="http://schemas.microsoft.com/office/drawing/2014/main" id="{9DF0135A-2C78-1830-B3B8-7FD89F75BB46}"/>
              </a:ext>
            </a:extLst>
          </p:cNvPr>
          <p:cNvSpPr txBox="1"/>
          <p:nvPr/>
        </p:nvSpPr>
        <p:spPr>
          <a:xfrm>
            <a:off x="7707264" y="4518191"/>
            <a:ext cx="896079" cy="9233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65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" panose="02000000000000000000" pitchFamily="2" charset="0"/>
              </a:defRPr>
            </a:lvl1pPr>
          </a:lstStyle>
          <a:p>
            <a:pPr>
              <a:spcAft>
                <a:spcPts val="200"/>
              </a:spcAft>
            </a:pPr>
            <a:r>
              <a:rPr lang="es-AR" sz="600">
                <a:latin typeface="Pulso Light" pitchFamily="2" charset="0"/>
              </a:rPr>
              <a:t>Fuente: GSMA </a:t>
            </a:r>
            <a:r>
              <a:rPr lang="es-AR" sz="600" err="1">
                <a:latin typeface="Pulso Light" pitchFamily="2" charset="0"/>
              </a:rPr>
              <a:t>Intelligence</a:t>
            </a:r>
            <a:endParaRPr lang="es-AR" sz="600">
              <a:solidFill>
                <a:srgbClr val="24272A">
                  <a:lumMod val="75000"/>
                  <a:lumOff val="25000"/>
                </a:srgbClr>
              </a:solidFill>
              <a:latin typeface="Pulso Light" pitchFamily="2" charset="0"/>
              <a:cs typeface="Open Sans Light" panose="020B0306030504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63B7101F-3815-E0A1-C28E-6A0A5BAE1B0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72000" y="2571750"/>
            <a:ext cx="0" cy="0"/>
          </a:xfrm>
          <a:prstGeom prst="rect">
            <a:avLst/>
          </a:prstGeom>
        </p:spPr>
      </p:pic>
      <p:sp>
        <p:nvSpPr>
          <p:cNvPr id="30" name="Gráfico 5">
            <a:extLst>
              <a:ext uri="{FF2B5EF4-FFF2-40B4-BE49-F238E27FC236}">
                <a16:creationId xmlns:a16="http://schemas.microsoft.com/office/drawing/2014/main" id="{9F827219-441B-0DCB-A81C-9061D90F3B22}"/>
              </a:ext>
            </a:extLst>
          </p:cNvPr>
          <p:cNvSpPr/>
          <p:nvPr/>
        </p:nvSpPr>
        <p:spPr>
          <a:xfrm>
            <a:off x="6993741" y="319105"/>
            <a:ext cx="1289647" cy="1292219"/>
          </a:xfrm>
          <a:custGeom>
            <a:avLst/>
            <a:gdLst>
              <a:gd name="connsiteX0" fmla="*/ 3003819 w 5132661"/>
              <a:gd name="connsiteY0" fmla="*/ 3345474 h 5142899"/>
              <a:gd name="connsiteX1" fmla="*/ 2935758 w 5132661"/>
              <a:gd name="connsiteY1" fmla="*/ 3277918 h 5142899"/>
              <a:gd name="connsiteX2" fmla="*/ 2925251 w 5132661"/>
              <a:gd name="connsiteY2" fmla="*/ 3286763 h 5142899"/>
              <a:gd name="connsiteX3" fmla="*/ 2896960 w 5132661"/>
              <a:gd name="connsiteY3" fmla="*/ 3314736 h 5142899"/>
              <a:gd name="connsiteX4" fmla="*/ 2857433 w 5132661"/>
              <a:gd name="connsiteY4" fmla="*/ 3337734 h 5142899"/>
              <a:gd name="connsiteX5" fmla="*/ 2840445 w 5132661"/>
              <a:gd name="connsiteY5" fmla="*/ 3335987 h 5142899"/>
              <a:gd name="connsiteX6" fmla="*/ 2817684 w 5132661"/>
              <a:gd name="connsiteY6" fmla="*/ 3318761 h 5142899"/>
              <a:gd name="connsiteX7" fmla="*/ 2769199 w 5132661"/>
              <a:gd name="connsiteY7" fmla="*/ 3270289 h 5142899"/>
              <a:gd name="connsiteX8" fmla="*/ 2752941 w 5132661"/>
              <a:gd name="connsiteY8" fmla="*/ 3254832 h 5142899"/>
              <a:gd name="connsiteX9" fmla="*/ 2710383 w 5132661"/>
              <a:gd name="connsiteY9" fmla="*/ 3295476 h 5142899"/>
              <a:gd name="connsiteX10" fmla="*/ 2719496 w 5132661"/>
              <a:gd name="connsiteY10" fmla="*/ 3306400 h 5142899"/>
              <a:gd name="connsiteX11" fmla="*/ 2727725 w 5132661"/>
              <a:gd name="connsiteY11" fmla="*/ 3316727 h 5142899"/>
              <a:gd name="connsiteX12" fmla="*/ 2724495 w 5132661"/>
              <a:gd name="connsiteY12" fmla="*/ 3351134 h 5142899"/>
              <a:gd name="connsiteX13" fmla="*/ 2697377 w 5132661"/>
              <a:gd name="connsiteY13" fmla="*/ 3380235 h 5142899"/>
              <a:gd name="connsiteX14" fmla="*/ 2630068 w 5132661"/>
              <a:gd name="connsiteY14" fmla="*/ 3443987 h 5142899"/>
              <a:gd name="connsiteX15" fmla="*/ 2608081 w 5132661"/>
              <a:gd name="connsiteY15" fmla="*/ 3446398 h 5142899"/>
              <a:gd name="connsiteX16" fmla="*/ 2595738 w 5132661"/>
              <a:gd name="connsiteY16" fmla="*/ 3437243 h 5142899"/>
              <a:gd name="connsiteX17" fmla="*/ 2550615 w 5132661"/>
              <a:gd name="connsiteY17" fmla="*/ 3395051 h 5142899"/>
              <a:gd name="connsiteX18" fmla="*/ 2542497 w 5132661"/>
              <a:gd name="connsiteY18" fmla="*/ 3388594 h 5142899"/>
              <a:gd name="connsiteX19" fmla="*/ 2437850 w 5132661"/>
              <a:gd name="connsiteY19" fmla="*/ 3491641 h 5142899"/>
              <a:gd name="connsiteX20" fmla="*/ 2420442 w 5132661"/>
              <a:gd name="connsiteY20" fmla="*/ 3508624 h 5142899"/>
              <a:gd name="connsiteX21" fmla="*/ 2369037 w 5132661"/>
              <a:gd name="connsiteY21" fmla="*/ 3509066 h 5142899"/>
              <a:gd name="connsiteX22" fmla="*/ 2325461 w 5132661"/>
              <a:gd name="connsiteY22" fmla="*/ 3468356 h 5142899"/>
              <a:gd name="connsiteX23" fmla="*/ 2239638 w 5132661"/>
              <a:gd name="connsiteY23" fmla="*/ 3382159 h 5142899"/>
              <a:gd name="connsiteX24" fmla="*/ 2216944 w 5132661"/>
              <a:gd name="connsiteY24" fmla="*/ 3359736 h 5142899"/>
              <a:gd name="connsiteX25" fmla="*/ 2207653 w 5132661"/>
              <a:gd name="connsiteY25" fmla="*/ 3365530 h 5142899"/>
              <a:gd name="connsiteX26" fmla="*/ 2087633 w 5132661"/>
              <a:gd name="connsiteY26" fmla="*/ 3483194 h 5142899"/>
              <a:gd name="connsiteX27" fmla="*/ 2081816 w 5132661"/>
              <a:gd name="connsiteY27" fmla="*/ 3490756 h 5142899"/>
              <a:gd name="connsiteX28" fmla="*/ 2091305 w 5132661"/>
              <a:gd name="connsiteY28" fmla="*/ 3505572 h 5142899"/>
              <a:gd name="connsiteX29" fmla="*/ 2274410 w 5132661"/>
              <a:gd name="connsiteY29" fmla="*/ 3907101 h 5142899"/>
              <a:gd name="connsiteX30" fmla="*/ 2291597 w 5132661"/>
              <a:gd name="connsiteY30" fmla="*/ 4137475 h 5142899"/>
              <a:gd name="connsiteX31" fmla="*/ 2279055 w 5132661"/>
              <a:gd name="connsiteY31" fmla="*/ 4238223 h 5142899"/>
              <a:gd name="connsiteX32" fmla="*/ 2237692 w 5132661"/>
              <a:gd name="connsiteY32" fmla="*/ 4359071 h 5142899"/>
              <a:gd name="connsiteX33" fmla="*/ 2158084 w 5132661"/>
              <a:gd name="connsiteY33" fmla="*/ 4493872 h 5142899"/>
              <a:gd name="connsiteX34" fmla="*/ 2149634 w 5132661"/>
              <a:gd name="connsiteY34" fmla="*/ 4504044 h 5142899"/>
              <a:gd name="connsiteX35" fmla="*/ 2113115 w 5132661"/>
              <a:gd name="connsiteY35" fmla="*/ 4506896 h 5142899"/>
              <a:gd name="connsiteX36" fmla="*/ 2099932 w 5132661"/>
              <a:gd name="connsiteY36" fmla="*/ 4495221 h 5142899"/>
              <a:gd name="connsiteX37" fmla="*/ 1582293 w 5132661"/>
              <a:gd name="connsiteY37" fmla="*/ 3974546 h 5142899"/>
              <a:gd name="connsiteX38" fmla="*/ 1507508 w 5132661"/>
              <a:gd name="connsiteY38" fmla="*/ 3900025 h 5142899"/>
              <a:gd name="connsiteX39" fmla="*/ 1483862 w 5132661"/>
              <a:gd name="connsiteY39" fmla="*/ 3906482 h 5142899"/>
              <a:gd name="connsiteX40" fmla="*/ 1392818 w 5132661"/>
              <a:gd name="connsiteY40" fmla="*/ 3946441 h 5142899"/>
              <a:gd name="connsiteX41" fmla="*/ 1212523 w 5132661"/>
              <a:gd name="connsiteY41" fmla="*/ 4019392 h 5142899"/>
              <a:gd name="connsiteX42" fmla="*/ 1092680 w 5132661"/>
              <a:gd name="connsiteY42" fmla="*/ 4064834 h 5142899"/>
              <a:gd name="connsiteX43" fmla="*/ 1083722 w 5132661"/>
              <a:gd name="connsiteY43" fmla="*/ 4069057 h 5142899"/>
              <a:gd name="connsiteX44" fmla="*/ 1085204 w 5132661"/>
              <a:gd name="connsiteY44" fmla="*/ 4077107 h 5142899"/>
              <a:gd name="connsiteX45" fmla="*/ 1086885 w 5132661"/>
              <a:gd name="connsiteY45" fmla="*/ 4180684 h 5142899"/>
              <a:gd name="connsiteX46" fmla="*/ 1012342 w 5132661"/>
              <a:gd name="connsiteY46" fmla="*/ 4269822 h 5142899"/>
              <a:gd name="connsiteX47" fmla="*/ 865425 w 5132661"/>
              <a:gd name="connsiteY47" fmla="*/ 4257527 h 5142899"/>
              <a:gd name="connsiteX48" fmla="*/ 841780 w 5132661"/>
              <a:gd name="connsiteY48" fmla="*/ 4231677 h 5142899"/>
              <a:gd name="connsiteX49" fmla="*/ 823951 w 5132661"/>
              <a:gd name="connsiteY49" fmla="*/ 4125335 h 5142899"/>
              <a:gd name="connsiteX50" fmla="*/ 877569 w 5132661"/>
              <a:gd name="connsiteY50" fmla="*/ 4044534 h 5142899"/>
              <a:gd name="connsiteX51" fmla="*/ 1009356 w 5132661"/>
              <a:gd name="connsiteY51" fmla="*/ 4015212 h 5142899"/>
              <a:gd name="connsiteX52" fmla="*/ 1024110 w 5132661"/>
              <a:gd name="connsiteY52" fmla="*/ 4019701 h 5142899"/>
              <a:gd name="connsiteX53" fmla="*/ 1037514 w 5132661"/>
              <a:gd name="connsiteY53" fmla="*/ 4025252 h 5142899"/>
              <a:gd name="connsiteX54" fmla="*/ 1044659 w 5132661"/>
              <a:gd name="connsiteY54" fmla="*/ 4012050 h 5142899"/>
              <a:gd name="connsiteX55" fmla="*/ 1177464 w 5132661"/>
              <a:gd name="connsiteY55" fmla="*/ 3693998 h 5142899"/>
              <a:gd name="connsiteX56" fmla="*/ 1216018 w 5132661"/>
              <a:gd name="connsiteY56" fmla="*/ 3610322 h 5142899"/>
              <a:gd name="connsiteX57" fmla="*/ 1200446 w 5132661"/>
              <a:gd name="connsiteY57" fmla="*/ 3590796 h 5142899"/>
              <a:gd name="connsiteX58" fmla="*/ 957309 w 5132661"/>
              <a:gd name="connsiteY58" fmla="*/ 3346026 h 5142899"/>
              <a:gd name="connsiteX59" fmla="*/ 623638 w 5132661"/>
              <a:gd name="connsiteY59" fmla="*/ 3010394 h 5142899"/>
              <a:gd name="connsiteX60" fmla="*/ 614414 w 5132661"/>
              <a:gd name="connsiteY60" fmla="*/ 3000864 h 5142899"/>
              <a:gd name="connsiteX61" fmla="*/ 618617 w 5132661"/>
              <a:gd name="connsiteY61" fmla="*/ 2956814 h 5142899"/>
              <a:gd name="connsiteX62" fmla="*/ 669470 w 5132661"/>
              <a:gd name="connsiteY62" fmla="*/ 2921721 h 5142899"/>
              <a:gd name="connsiteX63" fmla="*/ 811012 w 5132661"/>
              <a:gd name="connsiteY63" fmla="*/ 2854409 h 5142899"/>
              <a:gd name="connsiteX64" fmla="*/ 911876 w 5132661"/>
              <a:gd name="connsiteY64" fmla="*/ 2830438 h 5142899"/>
              <a:gd name="connsiteX65" fmla="*/ 1070671 w 5132661"/>
              <a:gd name="connsiteY65" fmla="*/ 2822853 h 5142899"/>
              <a:gd name="connsiteX66" fmla="*/ 1247029 w 5132661"/>
              <a:gd name="connsiteY66" fmla="*/ 2851313 h 5142899"/>
              <a:gd name="connsiteX67" fmla="*/ 1555020 w 5132661"/>
              <a:gd name="connsiteY67" fmla="*/ 2987994 h 5142899"/>
              <a:gd name="connsiteX68" fmla="*/ 1633367 w 5132661"/>
              <a:gd name="connsiteY68" fmla="*/ 3039473 h 5142899"/>
              <a:gd name="connsiteX69" fmla="*/ 1640224 w 5132661"/>
              <a:gd name="connsiteY69" fmla="*/ 3035758 h 5142899"/>
              <a:gd name="connsiteX70" fmla="*/ 1763407 w 5132661"/>
              <a:gd name="connsiteY70" fmla="*/ 2914998 h 5142899"/>
              <a:gd name="connsiteX71" fmla="*/ 1767499 w 5132661"/>
              <a:gd name="connsiteY71" fmla="*/ 2908674 h 5142899"/>
              <a:gd name="connsiteX72" fmla="*/ 1754493 w 5132661"/>
              <a:gd name="connsiteY72" fmla="*/ 2894190 h 5142899"/>
              <a:gd name="connsiteX73" fmla="*/ 1647059 w 5132661"/>
              <a:gd name="connsiteY73" fmla="*/ 2785836 h 5142899"/>
              <a:gd name="connsiteX74" fmla="*/ 1619078 w 5132661"/>
              <a:gd name="connsiteY74" fmla="*/ 2754656 h 5142899"/>
              <a:gd name="connsiteX75" fmla="*/ 1621113 w 5132661"/>
              <a:gd name="connsiteY75" fmla="*/ 2703133 h 5142899"/>
              <a:gd name="connsiteX76" fmla="*/ 1703286 w 5132661"/>
              <a:gd name="connsiteY76" fmla="*/ 2622686 h 5142899"/>
              <a:gd name="connsiteX77" fmla="*/ 1731135 w 5132661"/>
              <a:gd name="connsiteY77" fmla="*/ 2597521 h 5142899"/>
              <a:gd name="connsiteX78" fmla="*/ 1743323 w 5132661"/>
              <a:gd name="connsiteY78" fmla="*/ 2584209 h 5142899"/>
              <a:gd name="connsiteX79" fmla="*/ 1729321 w 5132661"/>
              <a:gd name="connsiteY79" fmla="*/ 2568951 h 5142899"/>
              <a:gd name="connsiteX80" fmla="*/ 1692094 w 5132661"/>
              <a:gd name="connsiteY80" fmla="*/ 2528241 h 5142899"/>
              <a:gd name="connsiteX81" fmla="*/ 1687007 w 5132661"/>
              <a:gd name="connsiteY81" fmla="*/ 2521032 h 5142899"/>
              <a:gd name="connsiteX82" fmla="*/ 1689506 w 5132661"/>
              <a:gd name="connsiteY82" fmla="*/ 2495270 h 5142899"/>
              <a:gd name="connsiteX83" fmla="*/ 1761084 w 5132661"/>
              <a:gd name="connsiteY83" fmla="*/ 2423403 h 5142899"/>
              <a:gd name="connsiteX84" fmla="*/ 1777453 w 5132661"/>
              <a:gd name="connsiteY84" fmla="*/ 2408587 h 5142899"/>
              <a:gd name="connsiteX85" fmla="*/ 1826005 w 5132661"/>
              <a:gd name="connsiteY85" fmla="*/ 2407681 h 5142899"/>
              <a:gd name="connsiteX86" fmla="*/ 1837618 w 5132661"/>
              <a:gd name="connsiteY86" fmla="*/ 2418140 h 5142899"/>
              <a:gd name="connsiteX87" fmla="*/ 1845382 w 5132661"/>
              <a:gd name="connsiteY87" fmla="*/ 2412943 h 5142899"/>
              <a:gd name="connsiteX88" fmla="*/ 1880131 w 5132661"/>
              <a:gd name="connsiteY88" fmla="*/ 2377960 h 5142899"/>
              <a:gd name="connsiteX89" fmla="*/ 1869757 w 5132661"/>
              <a:gd name="connsiteY89" fmla="*/ 2365621 h 5142899"/>
              <a:gd name="connsiteX90" fmla="*/ 1821470 w 5132661"/>
              <a:gd name="connsiteY90" fmla="*/ 2316973 h 5142899"/>
              <a:gd name="connsiteX91" fmla="*/ 1816759 w 5132661"/>
              <a:gd name="connsiteY91" fmla="*/ 2312285 h 5142899"/>
              <a:gd name="connsiteX92" fmla="*/ 1819701 w 5132661"/>
              <a:gd name="connsiteY92" fmla="*/ 2236901 h 5142899"/>
              <a:gd name="connsiteX93" fmla="*/ 1860909 w 5132661"/>
              <a:gd name="connsiteY93" fmla="*/ 2196036 h 5142899"/>
              <a:gd name="connsiteX94" fmla="*/ 1827775 w 5132661"/>
              <a:gd name="connsiteY94" fmla="*/ 2160014 h 5142899"/>
              <a:gd name="connsiteX95" fmla="*/ 1794706 w 5132661"/>
              <a:gd name="connsiteY95" fmla="*/ 2126690 h 5142899"/>
              <a:gd name="connsiteX96" fmla="*/ 1769224 w 5132661"/>
              <a:gd name="connsiteY96" fmla="*/ 2148913 h 5142899"/>
              <a:gd name="connsiteX97" fmla="*/ 1666369 w 5132661"/>
              <a:gd name="connsiteY97" fmla="*/ 2249174 h 5142899"/>
              <a:gd name="connsiteX98" fmla="*/ 1602621 w 5132661"/>
              <a:gd name="connsiteY98" fmla="*/ 2310383 h 5142899"/>
              <a:gd name="connsiteX99" fmla="*/ 1588863 w 5132661"/>
              <a:gd name="connsiteY99" fmla="*/ 2321262 h 5142899"/>
              <a:gd name="connsiteX100" fmla="*/ 1540687 w 5132661"/>
              <a:gd name="connsiteY100" fmla="*/ 2314054 h 5142899"/>
              <a:gd name="connsiteX101" fmla="*/ 1458115 w 5132661"/>
              <a:gd name="connsiteY101" fmla="*/ 2230886 h 5142899"/>
              <a:gd name="connsiteX102" fmla="*/ 932713 w 5132661"/>
              <a:gd name="connsiteY102" fmla="*/ 1702318 h 5142899"/>
              <a:gd name="connsiteX103" fmla="*/ 76758 w 5132661"/>
              <a:gd name="connsiteY103" fmla="*/ 841190 h 5142899"/>
              <a:gd name="connsiteX104" fmla="*/ 26901 w 5132661"/>
              <a:gd name="connsiteY104" fmla="*/ 790950 h 5142899"/>
              <a:gd name="connsiteX105" fmla="*/ 2149 w 5132661"/>
              <a:gd name="connsiteY105" fmla="*/ 757404 h 5142899"/>
              <a:gd name="connsiteX106" fmla="*/ 2083 w 5132661"/>
              <a:gd name="connsiteY106" fmla="*/ 738320 h 5142899"/>
              <a:gd name="connsiteX107" fmla="*/ 19358 w 5132661"/>
              <a:gd name="connsiteY107" fmla="*/ 715632 h 5142899"/>
              <a:gd name="connsiteX108" fmla="*/ 128296 w 5132661"/>
              <a:gd name="connsiteY108" fmla="*/ 608760 h 5142899"/>
              <a:gd name="connsiteX109" fmla="*/ 228519 w 5132661"/>
              <a:gd name="connsiteY109" fmla="*/ 509118 h 5142899"/>
              <a:gd name="connsiteX110" fmla="*/ 320270 w 5132661"/>
              <a:gd name="connsiteY110" fmla="*/ 419804 h 5142899"/>
              <a:gd name="connsiteX111" fmla="*/ 387779 w 5132661"/>
              <a:gd name="connsiteY111" fmla="*/ 353067 h 5142899"/>
              <a:gd name="connsiteX112" fmla="*/ 463914 w 5132661"/>
              <a:gd name="connsiteY112" fmla="*/ 279319 h 5142899"/>
              <a:gd name="connsiteX113" fmla="*/ 600877 w 5132661"/>
              <a:gd name="connsiteY113" fmla="*/ 144562 h 5142899"/>
              <a:gd name="connsiteX114" fmla="*/ 716650 w 5132661"/>
              <a:gd name="connsiteY114" fmla="*/ 32095 h 5142899"/>
              <a:gd name="connsiteX115" fmla="*/ 733925 w 5132661"/>
              <a:gd name="connsiteY115" fmla="*/ 14980 h 5142899"/>
              <a:gd name="connsiteX116" fmla="*/ 776328 w 5132661"/>
              <a:gd name="connsiteY116" fmla="*/ 9 h 5142899"/>
              <a:gd name="connsiteX117" fmla="*/ 795240 w 5132661"/>
              <a:gd name="connsiteY117" fmla="*/ 10336 h 5142899"/>
              <a:gd name="connsiteX118" fmla="*/ 854366 w 5132661"/>
              <a:gd name="connsiteY118" fmla="*/ 66747 h 5142899"/>
              <a:gd name="connsiteX119" fmla="*/ 2089248 w 5132661"/>
              <a:gd name="connsiteY119" fmla="*/ 1308860 h 5142899"/>
              <a:gd name="connsiteX120" fmla="*/ 2299781 w 5132661"/>
              <a:gd name="connsiteY120" fmla="*/ 1520548 h 5142899"/>
              <a:gd name="connsiteX121" fmla="*/ 2340038 w 5132661"/>
              <a:gd name="connsiteY121" fmla="*/ 1558229 h 5142899"/>
              <a:gd name="connsiteX122" fmla="*/ 2350854 w 5132661"/>
              <a:gd name="connsiteY122" fmla="*/ 1576140 h 5142899"/>
              <a:gd name="connsiteX123" fmla="*/ 2298122 w 5132661"/>
              <a:gd name="connsiteY123" fmla="*/ 1630494 h 5142899"/>
              <a:gd name="connsiteX124" fmla="*/ 2241739 w 5132661"/>
              <a:gd name="connsiteY124" fmla="*/ 1686595 h 5142899"/>
              <a:gd name="connsiteX125" fmla="*/ 2186574 w 5132661"/>
              <a:gd name="connsiteY125" fmla="*/ 1740839 h 5142899"/>
              <a:gd name="connsiteX126" fmla="*/ 2131585 w 5132661"/>
              <a:gd name="connsiteY126" fmla="*/ 1796475 h 5142899"/>
              <a:gd name="connsiteX127" fmla="*/ 2199447 w 5132661"/>
              <a:gd name="connsiteY127" fmla="*/ 1865092 h 5142899"/>
              <a:gd name="connsiteX128" fmla="*/ 2243244 w 5132661"/>
              <a:gd name="connsiteY128" fmla="*/ 1823077 h 5142899"/>
              <a:gd name="connsiteX129" fmla="*/ 2295423 w 5132661"/>
              <a:gd name="connsiteY129" fmla="*/ 1772040 h 5142899"/>
              <a:gd name="connsiteX130" fmla="*/ 2328359 w 5132661"/>
              <a:gd name="connsiteY130" fmla="*/ 1752183 h 5142899"/>
              <a:gd name="connsiteX131" fmla="*/ 2425087 w 5132661"/>
              <a:gd name="connsiteY131" fmla="*/ 1849148 h 5142899"/>
              <a:gd name="connsiteX132" fmla="*/ 2440925 w 5132661"/>
              <a:gd name="connsiteY132" fmla="*/ 1834554 h 5142899"/>
              <a:gd name="connsiteX133" fmla="*/ 2794747 w 5132661"/>
              <a:gd name="connsiteY133" fmla="*/ 1487821 h 5142899"/>
              <a:gd name="connsiteX134" fmla="*/ 3447070 w 5132661"/>
              <a:gd name="connsiteY134" fmla="*/ 848488 h 5142899"/>
              <a:gd name="connsiteX135" fmla="*/ 3635284 w 5132661"/>
              <a:gd name="connsiteY135" fmla="*/ 664618 h 5142899"/>
              <a:gd name="connsiteX136" fmla="*/ 3797353 w 5132661"/>
              <a:gd name="connsiteY136" fmla="*/ 508079 h 5142899"/>
              <a:gd name="connsiteX137" fmla="*/ 3841371 w 5132661"/>
              <a:gd name="connsiteY137" fmla="*/ 467900 h 5142899"/>
              <a:gd name="connsiteX138" fmla="*/ 3846680 w 5132661"/>
              <a:gd name="connsiteY138" fmla="*/ 463964 h 5142899"/>
              <a:gd name="connsiteX139" fmla="*/ 3883177 w 5132661"/>
              <a:gd name="connsiteY139" fmla="*/ 466484 h 5142899"/>
              <a:gd name="connsiteX140" fmla="*/ 3922306 w 5132661"/>
              <a:gd name="connsiteY140" fmla="*/ 505536 h 5142899"/>
              <a:gd name="connsiteX141" fmla="*/ 3931242 w 5132661"/>
              <a:gd name="connsiteY141" fmla="*/ 513276 h 5142899"/>
              <a:gd name="connsiteX142" fmla="*/ 3957277 w 5132661"/>
              <a:gd name="connsiteY142" fmla="*/ 488841 h 5142899"/>
              <a:gd name="connsiteX143" fmla="*/ 4025338 w 5132661"/>
              <a:gd name="connsiteY143" fmla="*/ 419516 h 5142899"/>
              <a:gd name="connsiteX144" fmla="*/ 4122995 w 5132661"/>
              <a:gd name="connsiteY144" fmla="*/ 323435 h 5142899"/>
              <a:gd name="connsiteX145" fmla="*/ 4189995 w 5132661"/>
              <a:gd name="connsiteY145" fmla="*/ 323369 h 5142899"/>
              <a:gd name="connsiteX146" fmla="*/ 4219613 w 5132661"/>
              <a:gd name="connsiteY146" fmla="*/ 353177 h 5142899"/>
              <a:gd name="connsiteX147" fmla="*/ 4275641 w 5132661"/>
              <a:gd name="connsiteY147" fmla="*/ 409742 h 5142899"/>
              <a:gd name="connsiteX148" fmla="*/ 4284932 w 5132661"/>
              <a:gd name="connsiteY148" fmla="*/ 418079 h 5142899"/>
              <a:gd name="connsiteX149" fmla="*/ 4298092 w 5132661"/>
              <a:gd name="connsiteY149" fmla="*/ 409963 h 5142899"/>
              <a:gd name="connsiteX150" fmla="*/ 4380067 w 5132661"/>
              <a:gd name="connsiteY150" fmla="*/ 329317 h 5142899"/>
              <a:gd name="connsiteX151" fmla="*/ 4408424 w 5132661"/>
              <a:gd name="connsiteY151" fmla="*/ 313219 h 5142899"/>
              <a:gd name="connsiteX152" fmla="*/ 4429548 w 5132661"/>
              <a:gd name="connsiteY152" fmla="*/ 315496 h 5142899"/>
              <a:gd name="connsiteX153" fmla="*/ 4443638 w 5132661"/>
              <a:gd name="connsiteY153" fmla="*/ 326066 h 5142899"/>
              <a:gd name="connsiteX154" fmla="*/ 4510461 w 5132661"/>
              <a:gd name="connsiteY154" fmla="*/ 390371 h 5142899"/>
              <a:gd name="connsiteX155" fmla="*/ 4525259 w 5132661"/>
              <a:gd name="connsiteY155" fmla="*/ 404126 h 5142899"/>
              <a:gd name="connsiteX156" fmla="*/ 4545542 w 5132661"/>
              <a:gd name="connsiteY156" fmla="*/ 387010 h 5142899"/>
              <a:gd name="connsiteX157" fmla="*/ 4594891 w 5132661"/>
              <a:gd name="connsiteY157" fmla="*/ 336460 h 5142899"/>
              <a:gd name="connsiteX158" fmla="*/ 4603097 w 5132661"/>
              <a:gd name="connsiteY158" fmla="*/ 329074 h 5142899"/>
              <a:gd name="connsiteX159" fmla="*/ 4635812 w 5132661"/>
              <a:gd name="connsiteY159" fmla="*/ 327813 h 5142899"/>
              <a:gd name="connsiteX160" fmla="*/ 4658064 w 5132661"/>
              <a:gd name="connsiteY160" fmla="*/ 345813 h 5142899"/>
              <a:gd name="connsiteX161" fmla="*/ 4834201 w 5132661"/>
              <a:gd name="connsiteY161" fmla="*/ 523072 h 5142899"/>
              <a:gd name="connsiteX162" fmla="*/ 4850989 w 5132661"/>
              <a:gd name="connsiteY162" fmla="*/ 543526 h 5142899"/>
              <a:gd name="connsiteX163" fmla="*/ 4851122 w 5132661"/>
              <a:gd name="connsiteY163" fmla="*/ 576210 h 5142899"/>
              <a:gd name="connsiteX164" fmla="*/ 4837651 w 5132661"/>
              <a:gd name="connsiteY164" fmla="*/ 590760 h 5142899"/>
              <a:gd name="connsiteX165" fmla="*/ 4772864 w 5132661"/>
              <a:gd name="connsiteY165" fmla="*/ 652942 h 5142899"/>
              <a:gd name="connsiteX166" fmla="*/ 4787440 w 5132661"/>
              <a:gd name="connsiteY166" fmla="*/ 668908 h 5142899"/>
              <a:gd name="connsiteX167" fmla="*/ 4851232 w 5132661"/>
              <a:gd name="connsiteY167" fmla="*/ 736220 h 5142899"/>
              <a:gd name="connsiteX168" fmla="*/ 4860655 w 5132661"/>
              <a:gd name="connsiteY168" fmla="*/ 748426 h 5142899"/>
              <a:gd name="connsiteX169" fmla="*/ 4864084 w 5132661"/>
              <a:gd name="connsiteY169" fmla="*/ 769478 h 5142899"/>
              <a:gd name="connsiteX170" fmla="*/ 4844265 w 5132661"/>
              <a:gd name="connsiteY170" fmla="*/ 803311 h 5142899"/>
              <a:gd name="connsiteX171" fmla="*/ 4757756 w 5132661"/>
              <a:gd name="connsiteY171" fmla="*/ 888247 h 5142899"/>
              <a:gd name="connsiteX172" fmla="*/ 4756252 w 5132661"/>
              <a:gd name="connsiteY172" fmla="*/ 891409 h 5142899"/>
              <a:gd name="connsiteX173" fmla="*/ 4765520 w 5132661"/>
              <a:gd name="connsiteY173" fmla="*/ 902245 h 5142899"/>
              <a:gd name="connsiteX174" fmla="*/ 4846610 w 5132661"/>
              <a:gd name="connsiteY174" fmla="*/ 983776 h 5142899"/>
              <a:gd name="connsiteX175" fmla="*/ 4864924 w 5132661"/>
              <a:gd name="connsiteY175" fmla="*/ 1022518 h 5142899"/>
              <a:gd name="connsiteX176" fmla="*/ 4856409 w 5132661"/>
              <a:gd name="connsiteY176" fmla="*/ 1046731 h 5142899"/>
              <a:gd name="connsiteX177" fmla="*/ 4840903 w 5132661"/>
              <a:gd name="connsiteY177" fmla="*/ 1062498 h 5142899"/>
              <a:gd name="connsiteX178" fmla="*/ 4706660 w 5132661"/>
              <a:gd name="connsiteY178" fmla="*/ 1194049 h 5142899"/>
              <a:gd name="connsiteX179" fmla="*/ 4671004 w 5132661"/>
              <a:gd name="connsiteY179" fmla="*/ 1226953 h 5142899"/>
              <a:gd name="connsiteX180" fmla="*/ 4656206 w 5132661"/>
              <a:gd name="connsiteY180" fmla="*/ 1241481 h 5142899"/>
              <a:gd name="connsiteX181" fmla="*/ 4666204 w 5132661"/>
              <a:gd name="connsiteY181" fmla="*/ 1253798 h 5142899"/>
              <a:gd name="connsiteX182" fmla="*/ 4703696 w 5132661"/>
              <a:gd name="connsiteY182" fmla="*/ 1291368 h 5142899"/>
              <a:gd name="connsiteX183" fmla="*/ 4704426 w 5132661"/>
              <a:gd name="connsiteY183" fmla="*/ 1328142 h 5142899"/>
              <a:gd name="connsiteX184" fmla="*/ 4669765 w 5132661"/>
              <a:gd name="connsiteY184" fmla="*/ 1365314 h 5142899"/>
              <a:gd name="connsiteX185" fmla="*/ 4558505 w 5132661"/>
              <a:gd name="connsiteY185" fmla="*/ 1475946 h 5142899"/>
              <a:gd name="connsiteX186" fmla="*/ 4165995 w 5132661"/>
              <a:gd name="connsiteY186" fmla="*/ 1862129 h 5142899"/>
              <a:gd name="connsiteX187" fmla="*/ 3309996 w 5132661"/>
              <a:gd name="connsiteY187" fmla="*/ 2701232 h 5142899"/>
              <a:gd name="connsiteX188" fmla="*/ 3290863 w 5132661"/>
              <a:gd name="connsiteY188" fmla="*/ 2720359 h 5142899"/>
              <a:gd name="connsiteX189" fmla="*/ 3387724 w 5132661"/>
              <a:gd name="connsiteY189" fmla="*/ 2817126 h 5142899"/>
              <a:gd name="connsiteX190" fmla="*/ 3371289 w 5132661"/>
              <a:gd name="connsiteY190" fmla="*/ 2846448 h 5142899"/>
              <a:gd name="connsiteX191" fmla="*/ 3321233 w 5132661"/>
              <a:gd name="connsiteY191" fmla="*/ 2896445 h 5142899"/>
              <a:gd name="connsiteX192" fmla="*/ 3275667 w 5132661"/>
              <a:gd name="connsiteY192" fmla="*/ 2943392 h 5142899"/>
              <a:gd name="connsiteX193" fmla="*/ 3342799 w 5132661"/>
              <a:gd name="connsiteY193" fmla="*/ 3012407 h 5142899"/>
              <a:gd name="connsiteX194" fmla="*/ 3565077 w 5132661"/>
              <a:gd name="connsiteY194" fmla="*/ 2797047 h 5142899"/>
              <a:gd name="connsiteX195" fmla="*/ 3593611 w 5132661"/>
              <a:gd name="connsiteY195" fmla="*/ 2819426 h 5142899"/>
              <a:gd name="connsiteX196" fmla="*/ 3676493 w 5132661"/>
              <a:gd name="connsiteY196" fmla="*/ 2905225 h 5142899"/>
              <a:gd name="connsiteX197" fmla="*/ 4475136 w 5132661"/>
              <a:gd name="connsiteY197" fmla="*/ 3708592 h 5142899"/>
              <a:gd name="connsiteX198" fmla="*/ 5089348 w 5132661"/>
              <a:gd name="connsiteY198" fmla="*/ 4326608 h 5142899"/>
              <a:gd name="connsiteX199" fmla="*/ 5125093 w 5132661"/>
              <a:gd name="connsiteY199" fmla="*/ 4365727 h 5142899"/>
              <a:gd name="connsiteX200" fmla="*/ 5131928 w 5132661"/>
              <a:gd name="connsiteY200" fmla="*/ 4392262 h 5142899"/>
              <a:gd name="connsiteX201" fmla="*/ 5115117 w 5132661"/>
              <a:gd name="connsiteY201" fmla="*/ 4424790 h 5142899"/>
              <a:gd name="connsiteX202" fmla="*/ 5022636 w 5132661"/>
              <a:gd name="connsiteY202" fmla="*/ 4516715 h 5142899"/>
              <a:gd name="connsiteX203" fmla="*/ 4943382 w 5132661"/>
              <a:gd name="connsiteY203" fmla="*/ 4593425 h 5142899"/>
              <a:gd name="connsiteX204" fmla="*/ 4863973 w 5132661"/>
              <a:gd name="connsiteY204" fmla="*/ 4673120 h 5142899"/>
              <a:gd name="connsiteX205" fmla="*/ 4784587 w 5132661"/>
              <a:gd name="connsiteY205" fmla="*/ 4749610 h 5142899"/>
              <a:gd name="connsiteX206" fmla="*/ 4703298 w 5132661"/>
              <a:gd name="connsiteY206" fmla="*/ 4830543 h 5142899"/>
              <a:gd name="connsiteX207" fmla="*/ 4624022 w 5132661"/>
              <a:gd name="connsiteY207" fmla="*/ 4907143 h 5142899"/>
              <a:gd name="connsiteX208" fmla="*/ 4542402 w 5132661"/>
              <a:gd name="connsiteY208" fmla="*/ 4987856 h 5142899"/>
              <a:gd name="connsiteX209" fmla="*/ 4485223 w 5132661"/>
              <a:gd name="connsiteY209" fmla="*/ 5043050 h 5142899"/>
              <a:gd name="connsiteX210" fmla="*/ 4404111 w 5132661"/>
              <a:gd name="connsiteY210" fmla="*/ 5121396 h 5142899"/>
              <a:gd name="connsiteX211" fmla="*/ 4381726 w 5132661"/>
              <a:gd name="connsiteY211" fmla="*/ 5139220 h 5142899"/>
              <a:gd name="connsiteX212" fmla="*/ 4358744 w 5132661"/>
              <a:gd name="connsiteY212" fmla="*/ 5139839 h 5142899"/>
              <a:gd name="connsiteX213" fmla="*/ 4323817 w 5132661"/>
              <a:gd name="connsiteY213" fmla="*/ 5113170 h 5142899"/>
              <a:gd name="connsiteX214" fmla="*/ 4164823 w 5132661"/>
              <a:gd name="connsiteY214" fmla="*/ 4953138 h 5142899"/>
              <a:gd name="connsiteX215" fmla="*/ 3556672 w 5132661"/>
              <a:gd name="connsiteY215" fmla="*/ 4341557 h 5142899"/>
              <a:gd name="connsiteX216" fmla="*/ 2903464 w 5132661"/>
              <a:gd name="connsiteY216" fmla="*/ 3684356 h 5142899"/>
              <a:gd name="connsiteX217" fmla="*/ 2822307 w 5132661"/>
              <a:gd name="connsiteY217" fmla="*/ 3602870 h 5142899"/>
              <a:gd name="connsiteX218" fmla="*/ 2811447 w 5132661"/>
              <a:gd name="connsiteY218" fmla="*/ 3591835 h 5142899"/>
              <a:gd name="connsiteX219" fmla="*/ 2811115 w 5132661"/>
              <a:gd name="connsiteY219" fmla="*/ 3536752 h 5142899"/>
              <a:gd name="connsiteX220" fmla="*/ 2852788 w 5132661"/>
              <a:gd name="connsiteY220" fmla="*/ 3494051 h 5142899"/>
              <a:gd name="connsiteX221" fmla="*/ 2923128 w 5132661"/>
              <a:gd name="connsiteY221" fmla="*/ 3424108 h 5142899"/>
              <a:gd name="connsiteX222" fmla="*/ 2961085 w 5132661"/>
              <a:gd name="connsiteY222" fmla="*/ 3387157 h 5142899"/>
              <a:gd name="connsiteX223" fmla="*/ 3003797 w 5132661"/>
              <a:gd name="connsiteY223" fmla="*/ 3345363 h 5142899"/>
              <a:gd name="connsiteX224" fmla="*/ 3623384 w 5132661"/>
              <a:gd name="connsiteY224" fmla="*/ 744446 h 5142899"/>
              <a:gd name="connsiteX225" fmla="*/ 3610289 w 5132661"/>
              <a:gd name="connsiteY225" fmla="*/ 755922 h 5142899"/>
              <a:gd name="connsiteX226" fmla="*/ 3406879 w 5132661"/>
              <a:gd name="connsiteY226" fmla="*/ 955692 h 5142899"/>
              <a:gd name="connsiteX227" fmla="*/ 3250959 w 5132661"/>
              <a:gd name="connsiteY227" fmla="*/ 1108869 h 5142899"/>
              <a:gd name="connsiteX228" fmla="*/ 3125432 w 5132661"/>
              <a:gd name="connsiteY228" fmla="*/ 1233056 h 5142899"/>
              <a:gd name="connsiteX229" fmla="*/ 3036711 w 5132661"/>
              <a:gd name="connsiteY229" fmla="*/ 1319142 h 5142899"/>
              <a:gd name="connsiteX230" fmla="*/ 3022643 w 5132661"/>
              <a:gd name="connsiteY230" fmla="*/ 1338204 h 5142899"/>
              <a:gd name="connsiteX231" fmla="*/ 3032088 w 5132661"/>
              <a:gd name="connsiteY231" fmla="*/ 1348354 h 5142899"/>
              <a:gd name="connsiteX232" fmla="*/ 3117712 w 5132661"/>
              <a:gd name="connsiteY232" fmla="*/ 1434219 h 5142899"/>
              <a:gd name="connsiteX233" fmla="*/ 3148547 w 5132661"/>
              <a:gd name="connsiteY233" fmla="*/ 1462568 h 5142899"/>
              <a:gd name="connsiteX234" fmla="*/ 3390245 w 5132661"/>
              <a:gd name="connsiteY234" fmla="*/ 1705347 h 5142899"/>
              <a:gd name="connsiteX235" fmla="*/ 3407875 w 5132661"/>
              <a:gd name="connsiteY235" fmla="*/ 1719278 h 5142899"/>
              <a:gd name="connsiteX236" fmla="*/ 3423557 w 5132661"/>
              <a:gd name="connsiteY236" fmla="*/ 1704330 h 5142899"/>
              <a:gd name="connsiteX237" fmla="*/ 3799233 w 5132661"/>
              <a:gd name="connsiteY237" fmla="*/ 1336125 h 5142899"/>
              <a:gd name="connsiteX238" fmla="*/ 3993243 w 5132661"/>
              <a:gd name="connsiteY238" fmla="*/ 1145687 h 5142899"/>
              <a:gd name="connsiteX239" fmla="*/ 4004258 w 5132661"/>
              <a:gd name="connsiteY239" fmla="*/ 1129191 h 5142899"/>
              <a:gd name="connsiteX240" fmla="*/ 3623340 w 5132661"/>
              <a:gd name="connsiteY240" fmla="*/ 744512 h 5142899"/>
              <a:gd name="connsiteX241" fmla="*/ 2162021 w 5132661"/>
              <a:gd name="connsiteY241" fmla="*/ 2177992 h 5142899"/>
              <a:gd name="connsiteX242" fmla="*/ 2352248 w 5132661"/>
              <a:gd name="connsiteY242" fmla="*/ 2369579 h 5142899"/>
              <a:gd name="connsiteX243" fmla="*/ 2542210 w 5132661"/>
              <a:gd name="connsiteY243" fmla="*/ 2562185 h 5142899"/>
              <a:gd name="connsiteX244" fmla="*/ 2559418 w 5132661"/>
              <a:gd name="connsiteY244" fmla="*/ 2550221 h 5142899"/>
              <a:gd name="connsiteX245" fmla="*/ 2585851 w 5132661"/>
              <a:gd name="connsiteY245" fmla="*/ 2523597 h 5142899"/>
              <a:gd name="connsiteX246" fmla="*/ 2611532 w 5132661"/>
              <a:gd name="connsiteY246" fmla="*/ 2499405 h 5142899"/>
              <a:gd name="connsiteX247" fmla="*/ 2661433 w 5132661"/>
              <a:gd name="connsiteY247" fmla="*/ 2449430 h 5142899"/>
              <a:gd name="connsiteX248" fmla="*/ 2717240 w 5132661"/>
              <a:gd name="connsiteY248" fmla="*/ 2396027 h 5142899"/>
              <a:gd name="connsiteX249" fmla="*/ 2790411 w 5132661"/>
              <a:gd name="connsiteY249" fmla="*/ 2322611 h 5142899"/>
              <a:gd name="connsiteX250" fmla="*/ 2899150 w 5132661"/>
              <a:gd name="connsiteY250" fmla="*/ 2216115 h 5142899"/>
              <a:gd name="connsiteX251" fmla="*/ 2934497 w 5132661"/>
              <a:gd name="connsiteY251" fmla="*/ 2182857 h 5142899"/>
              <a:gd name="connsiteX252" fmla="*/ 3015808 w 5132661"/>
              <a:gd name="connsiteY252" fmla="*/ 2102011 h 5142899"/>
              <a:gd name="connsiteX253" fmla="*/ 3119260 w 5132661"/>
              <a:gd name="connsiteY253" fmla="*/ 2002591 h 5142899"/>
              <a:gd name="connsiteX254" fmla="*/ 3131404 w 5132661"/>
              <a:gd name="connsiteY254" fmla="*/ 1988748 h 5142899"/>
              <a:gd name="connsiteX255" fmla="*/ 3035826 w 5132661"/>
              <a:gd name="connsiteY255" fmla="*/ 1892468 h 5142899"/>
              <a:gd name="connsiteX256" fmla="*/ 2940779 w 5132661"/>
              <a:gd name="connsiteY256" fmla="*/ 1796851 h 5142899"/>
              <a:gd name="connsiteX257" fmla="*/ 2845577 w 5132661"/>
              <a:gd name="connsiteY257" fmla="*/ 1698492 h 5142899"/>
              <a:gd name="connsiteX258" fmla="*/ 2748229 w 5132661"/>
              <a:gd name="connsiteY258" fmla="*/ 1604313 h 5142899"/>
              <a:gd name="connsiteX259" fmla="*/ 2169652 w 5132661"/>
              <a:gd name="connsiteY259" fmla="*/ 2168329 h 5142899"/>
              <a:gd name="connsiteX260" fmla="*/ 2162043 w 5132661"/>
              <a:gd name="connsiteY260" fmla="*/ 2177970 h 5142899"/>
              <a:gd name="connsiteX261" fmla="*/ 769936 w 5132661"/>
              <a:gd name="connsiteY261" fmla="*/ 53169 h 5142899"/>
              <a:gd name="connsiteX262" fmla="*/ 59615 w 5132661"/>
              <a:gd name="connsiteY262" fmla="*/ 749377 h 5142899"/>
              <a:gd name="connsiteX263" fmla="*/ 61938 w 5132661"/>
              <a:gd name="connsiteY263" fmla="*/ 754441 h 5142899"/>
              <a:gd name="connsiteX264" fmla="*/ 1505318 w 5132661"/>
              <a:gd name="connsiteY264" fmla="*/ 2206982 h 5142899"/>
              <a:gd name="connsiteX265" fmla="*/ 1566544 w 5132661"/>
              <a:gd name="connsiteY265" fmla="*/ 2267683 h 5142899"/>
              <a:gd name="connsiteX266" fmla="*/ 1568491 w 5132661"/>
              <a:gd name="connsiteY266" fmla="*/ 2268611 h 5142899"/>
              <a:gd name="connsiteX267" fmla="*/ 1570681 w 5132661"/>
              <a:gd name="connsiteY267" fmla="*/ 2268943 h 5142899"/>
              <a:gd name="connsiteX268" fmla="*/ 2271158 w 5132661"/>
              <a:gd name="connsiteY268" fmla="*/ 1584566 h 5142899"/>
              <a:gd name="connsiteX269" fmla="*/ 2280050 w 5132661"/>
              <a:gd name="connsiteY269" fmla="*/ 1574327 h 5142899"/>
              <a:gd name="connsiteX270" fmla="*/ 2274609 w 5132661"/>
              <a:gd name="connsiteY270" fmla="*/ 1566765 h 5142899"/>
              <a:gd name="connsiteX271" fmla="*/ 769936 w 5132661"/>
              <a:gd name="connsiteY271" fmla="*/ 53169 h 5142899"/>
              <a:gd name="connsiteX272" fmla="*/ 2855442 w 5132661"/>
              <a:gd name="connsiteY272" fmla="*/ 3563774 h 5142899"/>
              <a:gd name="connsiteX273" fmla="*/ 2868736 w 5132661"/>
              <a:gd name="connsiteY273" fmla="*/ 3578169 h 5142899"/>
              <a:gd name="connsiteX274" fmla="*/ 3323821 w 5132661"/>
              <a:gd name="connsiteY274" fmla="*/ 4036109 h 5142899"/>
              <a:gd name="connsiteX275" fmla="*/ 3930291 w 5132661"/>
              <a:gd name="connsiteY275" fmla="*/ 4645988 h 5142899"/>
              <a:gd name="connsiteX276" fmla="*/ 4354276 w 5132661"/>
              <a:gd name="connsiteY276" fmla="*/ 5072504 h 5142899"/>
              <a:gd name="connsiteX277" fmla="*/ 4368167 w 5132661"/>
              <a:gd name="connsiteY277" fmla="*/ 5084534 h 5142899"/>
              <a:gd name="connsiteX278" fmla="*/ 5076630 w 5132661"/>
              <a:gd name="connsiteY278" fmla="*/ 4389520 h 5142899"/>
              <a:gd name="connsiteX279" fmla="*/ 5074638 w 5132661"/>
              <a:gd name="connsiteY279" fmla="*/ 4383771 h 5142899"/>
              <a:gd name="connsiteX280" fmla="*/ 3573770 w 5132661"/>
              <a:gd name="connsiteY280" fmla="*/ 2873581 h 5142899"/>
              <a:gd name="connsiteX281" fmla="*/ 3565652 w 5132661"/>
              <a:gd name="connsiteY281" fmla="*/ 2867367 h 5142899"/>
              <a:gd name="connsiteX282" fmla="*/ 2855465 w 5132661"/>
              <a:gd name="connsiteY282" fmla="*/ 3563796 h 5142899"/>
              <a:gd name="connsiteX283" fmla="*/ 3434285 w 5132661"/>
              <a:gd name="connsiteY283" fmla="*/ 1748976 h 5142899"/>
              <a:gd name="connsiteX284" fmla="*/ 3452158 w 5132661"/>
              <a:gd name="connsiteY284" fmla="*/ 1767839 h 5142899"/>
              <a:gd name="connsiteX285" fmla="*/ 3635970 w 5132661"/>
              <a:gd name="connsiteY285" fmla="*/ 1952792 h 5142899"/>
              <a:gd name="connsiteX286" fmla="*/ 3721837 w 5132661"/>
              <a:gd name="connsiteY286" fmla="*/ 2041731 h 5142899"/>
              <a:gd name="connsiteX287" fmla="*/ 3744554 w 5132661"/>
              <a:gd name="connsiteY287" fmla="*/ 2062539 h 5142899"/>
              <a:gd name="connsiteX288" fmla="*/ 3807218 w 5132661"/>
              <a:gd name="connsiteY288" fmla="*/ 2127840 h 5142899"/>
              <a:gd name="connsiteX289" fmla="*/ 3817836 w 5132661"/>
              <a:gd name="connsiteY289" fmla="*/ 2136198 h 5142899"/>
              <a:gd name="connsiteX290" fmla="*/ 4414927 w 5132661"/>
              <a:gd name="connsiteY290" fmla="*/ 1550379 h 5142899"/>
              <a:gd name="connsiteX291" fmla="*/ 4418599 w 5132661"/>
              <a:gd name="connsiteY291" fmla="*/ 1544209 h 5142899"/>
              <a:gd name="connsiteX292" fmla="*/ 4396059 w 5132661"/>
              <a:gd name="connsiteY292" fmla="*/ 1520349 h 5142899"/>
              <a:gd name="connsiteX293" fmla="*/ 4371573 w 5132661"/>
              <a:gd name="connsiteY293" fmla="*/ 1498192 h 5142899"/>
              <a:gd name="connsiteX294" fmla="*/ 4048939 w 5132661"/>
              <a:gd name="connsiteY294" fmla="*/ 1173926 h 5142899"/>
              <a:gd name="connsiteX295" fmla="*/ 4034495 w 5132661"/>
              <a:gd name="connsiteY295" fmla="*/ 1160769 h 5142899"/>
              <a:gd name="connsiteX296" fmla="*/ 4026466 w 5132661"/>
              <a:gd name="connsiteY296" fmla="*/ 1166761 h 5142899"/>
              <a:gd name="connsiteX297" fmla="*/ 3440899 w 5132661"/>
              <a:gd name="connsiteY297" fmla="*/ 1740441 h 5142899"/>
              <a:gd name="connsiteX298" fmla="*/ 3434307 w 5132661"/>
              <a:gd name="connsiteY298" fmla="*/ 1748998 h 5142899"/>
              <a:gd name="connsiteX299" fmla="*/ 3579610 w 5132661"/>
              <a:gd name="connsiteY299" fmla="*/ 2368297 h 5142899"/>
              <a:gd name="connsiteX300" fmla="*/ 3589077 w 5132661"/>
              <a:gd name="connsiteY300" fmla="*/ 2359474 h 5142899"/>
              <a:gd name="connsiteX301" fmla="*/ 3653820 w 5132661"/>
              <a:gd name="connsiteY301" fmla="*/ 2296164 h 5142899"/>
              <a:gd name="connsiteX302" fmla="*/ 3772115 w 5132661"/>
              <a:gd name="connsiteY302" fmla="*/ 2180137 h 5142899"/>
              <a:gd name="connsiteX303" fmla="*/ 3781405 w 5132661"/>
              <a:gd name="connsiteY303" fmla="*/ 2164901 h 5142899"/>
              <a:gd name="connsiteX304" fmla="*/ 3765236 w 5132661"/>
              <a:gd name="connsiteY304" fmla="*/ 2148117 h 5142899"/>
              <a:gd name="connsiteX305" fmla="*/ 3597283 w 5132661"/>
              <a:gd name="connsiteY305" fmla="*/ 1981871 h 5142899"/>
              <a:gd name="connsiteX306" fmla="*/ 3353107 w 5132661"/>
              <a:gd name="connsiteY306" fmla="*/ 1735996 h 5142899"/>
              <a:gd name="connsiteX307" fmla="*/ 3128330 w 5132661"/>
              <a:gd name="connsiteY307" fmla="*/ 1507767 h 5142899"/>
              <a:gd name="connsiteX308" fmla="*/ 2997560 w 5132661"/>
              <a:gd name="connsiteY308" fmla="*/ 1376017 h 5142899"/>
              <a:gd name="connsiteX309" fmla="*/ 2986898 w 5132661"/>
              <a:gd name="connsiteY309" fmla="*/ 1368631 h 5142899"/>
              <a:gd name="connsiteX310" fmla="*/ 2784107 w 5132661"/>
              <a:gd name="connsiteY310" fmla="*/ 1568136 h 5142899"/>
              <a:gd name="connsiteX311" fmla="*/ 3579588 w 5132661"/>
              <a:gd name="connsiteY311" fmla="*/ 2368275 h 5142899"/>
              <a:gd name="connsiteX312" fmla="*/ 2573243 w 5132661"/>
              <a:gd name="connsiteY312" fmla="*/ 2593519 h 5142899"/>
              <a:gd name="connsiteX313" fmla="*/ 2584723 w 5132661"/>
              <a:gd name="connsiteY313" fmla="*/ 2605924 h 5142899"/>
              <a:gd name="connsiteX314" fmla="*/ 2609253 w 5132661"/>
              <a:gd name="connsiteY314" fmla="*/ 2628081 h 5142899"/>
              <a:gd name="connsiteX315" fmla="*/ 2775923 w 5132661"/>
              <a:gd name="connsiteY315" fmla="*/ 2795831 h 5142899"/>
              <a:gd name="connsiteX316" fmla="*/ 2945955 w 5132661"/>
              <a:gd name="connsiteY316" fmla="*/ 2966478 h 5142899"/>
              <a:gd name="connsiteX317" fmla="*/ 2960687 w 5132661"/>
              <a:gd name="connsiteY317" fmla="*/ 2975765 h 5142899"/>
              <a:gd name="connsiteX318" fmla="*/ 2976237 w 5132661"/>
              <a:gd name="connsiteY318" fmla="*/ 2960927 h 5142899"/>
              <a:gd name="connsiteX319" fmla="*/ 3070509 w 5132661"/>
              <a:gd name="connsiteY319" fmla="*/ 2867765 h 5142899"/>
              <a:gd name="connsiteX320" fmla="*/ 3220014 w 5132661"/>
              <a:gd name="connsiteY320" fmla="*/ 2720580 h 5142899"/>
              <a:gd name="connsiteX321" fmla="*/ 3370183 w 5132661"/>
              <a:gd name="connsiteY321" fmla="*/ 2574192 h 5142899"/>
              <a:gd name="connsiteX322" fmla="*/ 3527762 w 5132661"/>
              <a:gd name="connsiteY322" fmla="*/ 2419533 h 5142899"/>
              <a:gd name="connsiteX323" fmla="*/ 3543091 w 5132661"/>
              <a:gd name="connsiteY323" fmla="*/ 2400317 h 5142899"/>
              <a:gd name="connsiteX324" fmla="*/ 3158921 w 5132661"/>
              <a:gd name="connsiteY324" fmla="*/ 2017164 h 5142899"/>
              <a:gd name="connsiteX325" fmla="*/ 2573243 w 5132661"/>
              <a:gd name="connsiteY325" fmla="*/ 2593519 h 5142899"/>
              <a:gd name="connsiteX326" fmla="*/ 1220552 w 5132661"/>
              <a:gd name="connsiteY326" fmla="*/ 3538123 h 5142899"/>
              <a:gd name="connsiteX327" fmla="*/ 1227100 w 5132661"/>
              <a:gd name="connsiteY327" fmla="*/ 3546282 h 5142899"/>
              <a:gd name="connsiteX328" fmla="*/ 1431063 w 5132661"/>
              <a:gd name="connsiteY328" fmla="*/ 3751779 h 5142899"/>
              <a:gd name="connsiteX329" fmla="*/ 1563691 w 5132661"/>
              <a:gd name="connsiteY329" fmla="*/ 3884878 h 5142899"/>
              <a:gd name="connsiteX330" fmla="*/ 1575481 w 5132661"/>
              <a:gd name="connsiteY330" fmla="*/ 3894563 h 5142899"/>
              <a:gd name="connsiteX331" fmla="*/ 1596538 w 5132661"/>
              <a:gd name="connsiteY331" fmla="*/ 3873335 h 5142899"/>
              <a:gd name="connsiteX332" fmla="*/ 1703508 w 5132661"/>
              <a:gd name="connsiteY332" fmla="*/ 3730197 h 5142899"/>
              <a:gd name="connsiteX333" fmla="*/ 1841090 w 5132661"/>
              <a:gd name="connsiteY333" fmla="*/ 3432024 h 5142899"/>
              <a:gd name="connsiteX334" fmla="*/ 1864072 w 5132661"/>
              <a:gd name="connsiteY334" fmla="*/ 3326368 h 5142899"/>
              <a:gd name="connsiteX335" fmla="*/ 1853499 w 5132661"/>
              <a:gd name="connsiteY335" fmla="*/ 3314781 h 5142899"/>
              <a:gd name="connsiteX336" fmla="*/ 1810212 w 5132661"/>
              <a:gd name="connsiteY336" fmla="*/ 3270931 h 5142899"/>
              <a:gd name="connsiteX337" fmla="*/ 1779090 w 5132661"/>
              <a:gd name="connsiteY337" fmla="*/ 3260205 h 5142899"/>
              <a:gd name="connsiteX338" fmla="*/ 1695036 w 5132661"/>
              <a:gd name="connsiteY338" fmla="*/ 3279112 h 5142899"/>
              <a:gd name="connsiteX339" fmla="*/ 1561767 w 5132661"/>
              <a:gd name="connsiteY339" fmla="*/ 3326147 h 5142899"/>
              <a:gd name="connsiteX340" fmla="*/ 1291268 w 5132661"/>
              <a:gd name="connsiteY340" fmla="*/ 3478683 h 5142899"/>
              <a:gd name="connsiteX341" fmla="*/ 1220575 w 5132661"/>
              <a:gd name="connsiteY341" fmla="*/ 3538078 h 5142899"/>
              <a:gd name="connsiteX342" fmla="*/ 1186356 w 5132661"/>
              <a:gd name="connsiteY342" fmla="*/ 3506877 h 5142899"/>
              <a:gd name="connsiteX343" fmla="*/ 1271471 w 5132661"/>
              <a:gd name="connsiteY343" fmla="*/ 3438349 h 5142899"/>
              <a:gd name="connsiteX344" fmla="*/ 1361343 w 5132661"/>
              <a:gd name="connsiteY344" fmla="*/ 3378311 h 5142899"/>
              <a:gd name="connsiteX345" fmla="*/ 1454642 w 5132661"/>
              <a:gd name="connsiteY345" fmla="*/ 3328049 h 5142899"/>
              <a:gd name="connsiteX346" fmla="*/ 1554047 w 5132661"/>
              <a:gd name="connsiteY346" fmla="*/ 3285437 h 5142899"/>
              <a:gd name="connsiteX347" fmla="*/ 1656150 w 5132661"/>
              <a:gd name="connsiteY347" fmla="*/ 3249768 h 5142899"/>
              <a:gd name="connsiteX348" fmla="*/ 1762235 w 5132661"/>
              <a:gd name="connsiteY348" fmla="*/ 3223807 h 5142899"/>
              <a:gd name="connsiteX349" fmla="*/ 1753166 w 5132661"/>
              <a:gd name="connsiteY349" fmla="*/ 3211026 h 5142899"/>
              <a:gd name="connsiteX350" fmla="*/ 1698641 w 5132661"/>
              <a:gd name="connsiteY350" fmla="*/ 3159525 h 5142899"/>
              <a:gd name="connsiteX351" fmla="*/ 1677783 w 5132661"/>
              <a:gd name="connsiteY351" fmla="*/ 3147650 h 5142899"/>
              <a:gd name="connsiteX352" fmla="*/ 1587204 w 5132661"/>
              <a:gd name="connsiteY352" fmla="*/ 3119456 h 5142899"/>
              <a:gd name="connsiteX353" fmla="*/ 1329247 w 5132661"/>
              <a:gd name="connsiteY353" fmla="*/ 3087768 h 5142899"/>
              <a:gd name="connsiteX354" fmla="*/ 1155787 w 5132661"/>
              <a:gd name="connsiteY354" fmla="*/ 3104905 h 5142899"/>
              <a:gd name="connsiteX355" fmla="*/ 947931 w 5132661"/>
              <a:gd name="connsiteY355" fmla="*/ 3163328 h 5142899"/>
              <a:gd name="connsiteX356" fmla="*/ 880644 w 5132661"/>
              <a:gd name="connsiteY356" fmla="*/ 3198908 h 5142899"/>
              <a:gd name="connsiteX357" fmla="*/ 892499 w 5132661"/>
              <a:gd name="connsiteY357" fmla="*/ 3212552 h 5142899"/>
              <a:gd name="connsiteX358" fmla="*/ 984384 w 5132661"/>
              <a:gd name="connsiteY358" fmla="*/ 3305029 h 5142899"/>
              <a:gd name="connsiteX359" fmla="*/ 1076290 w 5132661"/>
              <a:gd name="connsiteY359" fmla="*/ 3397130 h 5142899"/>
              <a:gd name="connsiteX360" fmla="*/ 1153730 w 5132661"/>
              <a:gd name="connsiteY360" fmla="*/ 3472646 h 5142899"/>
              <a:gd name="connsiteX361" fmla="*/ 1186334 w 5132661"/>
              <a:gd name="connsiteY361" fmla="*/ 3506877 h 5142899"/>
              <a:gd name="connsiteX362" fmla="*/ 1912492 w 5132661"/>
              <a:gd name="connsiteY362" fmla="*/ 4237449 h 5142899"/>
              <a:gd name="connsiteX363" fmla="*/ 1923994 w 5132661"/>
              <a:gd name="connsiteY363" fmla="*/ 4219360 h 5142899"/>
              <a:gd name="connsiteX364" fmla="*/ 1985176 w 5132661"/>
              <a:gd name="connsiteY364" fmla="*/ 4072927 h 5142899"/>
              <a:gd name="connsiteX365" fmla="*/ 2027048 w 5132661"/>
              <a:gd name="connsiteY365" fmla="*/ 3845185 h 5142899"/>
              <a:gd name="connsiteX366" fmla="*/ 2023177 w 5132661"/>
              <a:gd name="connsiteY366" fmla="*/ 3653376 h 5142899"/>
              <a:gd name="connsiteX367" fmla="*/ 1978983 w 5132661"/>
              <a:gd name="connsiteY367" fmla="*/ 3457587 h 5142899"/>
              <a:gd name="connsiteX368" fmla="*/ 1953169 w 5132661"/>
              <a:gd name="connsiteY368" fmla="*/ 3414665 h 5142899"/>
              <a:gd name="connsiteX369" fmla="*/ 1929480 w 5132661"/>
              <a:gd name="connsiteY369" fmla="*/ 3388594 h 5142899"/>
              <a:gd name="connsiteX370" fmla="*/ 1909329 w 5132661"/>
              <a:gd name="connsiteY370" fmla="*/ 3368117 h 5142899"/>
              <a:gd name="connsiteX371" fmla="*/ 1897252 w 5132661"/>
              <a:gd name="connsiteY371" fmla="*/ 3361461 h 5142899"/>
              <a:gd name="connsiteX372" fmla="*/ 1885794 w 5132661"/>
              <a:gd name="connsiteY372" fmla="*/ 3414643 h 5142899"/>
              <a:gd name="connsiteX373" fmla="*/ 1871040 w 5132661"/>
              <a:gd name="connsiteY373" fmla="*/ 3467847 h 5142899"/>
              <a:gd name="connsiteX374" fmla="*/ 1853698 w 5132661"/>
              <a:gd name="connsiteY374" fmla="*/ 3517956 h 5142899"/>
              <a:gd name="connsiteX375" fmla="*/ 1834455 w 5132661"/>
              <a:gd name="connsiteY375" fmla="*/ 3567378 h 5142899"/>
              <a:gd name="connsiteX376" fmla="*/ 1812512 w 5132661"/>
              <a:gd name="connsiteY376" fmla="*/ 3618061 h 5142899"/>
              <a:gd name="connsiteX377" fmla="*/ 1789796 w 5132661"/>
              <a:gd name="connsiteY377" fmla="*/ 3665980 h 5142899"/>
              <a:gd name="connsiteX378" fmla="*/ 1764270 w 5132661"/>
              <a:gd name="connsiteY378" fmla="*/ 3712462 h 5142899"/>
              <a:gd name="connsiteX379" fmla="*/ 1736178 w 5132661"/>
              <a:gd name="connsiteY379" fmla="*/ 3760027 h 5142899"/>
              <a:gd name="connsiteX380" fmla="*/ 1707091 w 5132661"/>
              <a:gd name="connsiteY380" fmla="*/ 3804364 h 5142899"/>
              <a:gd name="connsiteX381" fmla="*/ 1675350 w 5132661"/>
              <a:gd name="connsiteY381" fmla="*/ 3846755 h 5142899"/>
              <a:gd name="connsiteX382" fmla="*/ 1640290 w 5132661"/>
              <a:gd name="connsiteY382" fmla="*/ 3889344 h 5142899"/>
              <a:gd name="connsiteX383" fmla="*/ 1605740 w 5132661"/>
              <a:gd name="connsiteY383" fmla="*/ 3929524 h 5142899"/>
              <a:gd name="connsiteX384" fmla="*/ 1657809 w 5132661"/>
              <a:gd name="connsiteY384" fmla="*/ 3981733 h 5142899"/>
              <a:gd name="connsiteX385" fmla="*/ 1707268 w 5132661"/>
              <a:gd name="connsiteY385" fmla="*/ 4032283 h 5142899"/>
              <a:gd name="connsiteX386" fmla="*/ 1758784 w 5132661"/>
              <a:gd name="connsiteY386" fmla="*/ 4083586 h 5142899"/>
              <a:gd name="connsiteX387" fmla="*/ 1810057 w 5132661"/>
              <a:gd name="connsiteY387" fmla="*/ 4135485 h 5142899"/>
              <a:gd name="connsiteX388" fmla="*/ 1860003 w 5132661"/>
              <a:gd name="connsiteY388" fmla="*/ 4185615 h 5142899"/>
              <a:gd name="connsiteX389" fmla="*/ 1912426 w 5132661"/>
              <a:gd name="connsiteY389" fmla="*/ 4237449 h 5142899"/>
              <a:gd name="connsiteX390" fmla="*/ 2510313 w 5132661"/>
              <a:gd name="connsiteY390" fmla="*/ 3355424 h 5142899"/>
              <a:gd name="connsiteX391" fmla="*/ 2495958 w 5132661"/>
              <a:gd name="connsiteY391" fmla="*/ 3340144 h 5142899"/>
              <a:gd name="connsiteX392" fmla="*/ 1994201 w 5132661"/>
              <a:gd name="connsiteY392" fmla="*/ 2835303 h 5142899"/>
              <a:gd name="connsiteX393" fmla="*/ 1793091 w 5132661"/>
              <a:gd name="connsiteY393" fmla="*/ 2633123 h 5142899"/>
              <a:gd name="connsiteX394" fmla="*/ 1774400 w 5132661"/>
              <a:gd name="connsiteY394" fmla="*/ 2618153 h 5142899"/>
              <a:gd name="connsiteX395" fmla="*/ 1663848 w 5132661"/>
              <a:gd name="connsiteY395" fmla="*/ 2728917 h 5142899"/>
              <a:gd name="connsiteX396" fmla="*/ 2395359 w 5132661"/>
              <a:gd name="connsiteY396" fmla="*/ 3465282 h 5142899"/>
              <a:gd name="connsiteX397" fmla="*/ 2402724 w 5132661"/>
              <a:gd name="connsiteY397" fmla="*/ 3461081 h 5142899"/>
              <a:gd name="connsiteX398" fmla="*/ 2510313 w 5132661"/>
              <a:gd name="connsiteY398" fmla="*/ 3355424 h 5142899"/>
              <a:gd name="connsiteX399" fmla="*/ 665554 w 5132661"/>
              <a:gd name="connsiteY399" fmla="*/ 2984235 h 5142899"/>
              <a:gd name="connsiteX400" fmla="*/ 849367 w 5132661"/>
              <a:gd name="connsiteY400" fmla="*/ 3169033 h 5142899"/>
              <a:gd name="connsiteX401" fmla="*/ 863833 w 5132661"/>
              <a:gd name="connsiteY401" fmla="*/ 3161559 h 5142899"/>
              <a:gd name="connsiteX402" fmla="*/ 955341 w 5132661"/>
              <a:gd name="connsiteY402" fmla="*/ 3117620 h 5142899"/>
              <a:gd name="connsiteX403" fmla="*/ 1123205 w 5132661"/>
              <a:gd name="connsiteY403" fmla="*/ 3070984 h 5142899"/>
              <a:gd name="connsiteX404" fmla="*/ 1371296 w 5132661"/>
              <a:gd name="connsiteY404" fmla="*/ 3050043 h 5142899"/>
              <a:gd name="connsiteX405" fmla="*/ 1476828 w 5132661"/>
              <a:gd name="connsiteY405" fmla="*/ 3059596 h 5142899"/>
              <a:gd name="connsiteX406" fmla="*/ 1587292 w 5132661"/>
              <a:gd name="connsiteY406" fmla="*/ 3081488 h 5142899"/>
              <a:gd name="connsiteX407" fmla="*/ 1605364 w 5132661"/>
              <a:gd name="connsiteY407" fmla="*/ 3084783 h 5142899"/>
              <a:gd name="connsiteX408" fmla="*/ 1594901 w 5132661"/>
              <a:gd name="connsiteY408" fmla="*/ 3072709 h 5142899"/>
              <a:gd name="connsiteX409" fmla="*/ 1469971 w 5132661"/>
              <a:gd name="connsiteY409" fmla="*/ 2993677 h 5142899"/>
              <a:gd name="connsiteX410" fmla="*/ 1241787 w 5132661"/>
              <a:gd name="connsiteY410" fmla="*/ 2899564 h 5142899"/>
              <a:gd name="connsiteX411" fmla="*/ 928952 w 5132661"/>
              <a:gd name="connsiteY411" fmla="*/ 2876389 h 5142899"/>
              <a:gd name="connsiteX412" fmla="*/ 827955 w 5132661"/>
              <a:gd name="connsiteY412" fmla="*/ 2899409 h 5142899"/>
              <a:gd name="connsiteX413" fmla="*/ 692164 w 5132661"/>
              <a:gd name="connsiteY413" fmla="*/ 2963183 h 5142899"/>
              <a:gd name="connsiteX414" fmla="*/ 665576 w 5132661"/>
              <a:gd name="connsiteY414" fmla="*/ 2984212 h 5142899"/>
              <a:gd name="connsiteX415" fmla="*/ 1942884 w 5132661"/>
              <a:gd name="connsiteY415" fmla="*/ 4266041 h 5142899"/>
              <a:gd name="connsiteX416" fmla="*/ 2117981 w 5132661"/>
              <a:gd name="connsiteY416" fmla="*/ 4444935 h 5142899"/>
              <a:gd name="connsiteX417" fmla="*/ 2128753 w 5132661"/>
              <a:gd name="connsiteY417" fmla="*/ 4453537 h 5142899"/>
              <a:gd name="connsiteX418" fmla="*/ 2140897 w 5132661"/>
              <a:gd name="connsiteY418" fmla="*/ 4436643 h 5142899"/>
              <a:gd name="connsiteX419" fmla="*/ 2179650 w 5132661"/>
              <a:gd name="connsiteY419" fmla="*/ 4367252 h 5142899"/>
              <a:gd name="connsiteX420" fmla="*/ 2239704 w 5132661"/>
              <a:gd name="connsiteY420" fmla="*/ 4179092 h 5142899"/>
              <a:gd name="connsiteX421" fmla="*/ 2245013 w 5132661"/>
              <a:gd name="connsiteY421" fmla="*/ 4037989 h 5142899"/>
              <a:gd name="connsiteX422" fmla="*/ 2207742 w 5132661"/>
              <a:gd name="connsiteY422" fmla="*/ 3845472 h 5142899"/>
              <a:gd name="connsiteX423" fmla="*/ 2089270 w 5132661"/>
              <a:gd name="connsiteY423" fmla="*/ 3589624 h 5142899"/>
              <a:gd name="connsiteX424" fmla="*/ 2051335 w 5132661"/>
              <a:gd name="connsiteY424" fmla="*/ 3532594 h 5142899"/>
              <a:gd name="connsiteX425" fmla="*/ 2037113 w 5132661"/>
              <a:gd name="connsiteY425" fmla="*/ 3517911 h 5142899"/>
              <a:gd name="connsiteX426" fmla="*/ 2038351 w 5132661"/>
              <a:gd name="connsiteY426" fmla="*/ 3529034 h 5142899"/>
              <a:gd name="connsiteX427" fmla="*/ 2062683 w 5132661"/>
              <a:gd name="connsiteY427" fmla="*/ 3663725 h 5142899"/>
              <a:gd name="connsiteX428" fmla="*/ 2067394 w 5132661"/>
              <a:gd name="connsiteY428" fmla="*/ 3837954 h 5142899"/>
              <a:gd name="connsiteX429" fmla="*/ 2037555 w 5132661"/>
              <a:gd name="connsiteY429" fmla="*/ 4029873 h 5142899"/>
              <a:gd name="connsiteX430" fmla="*/ 1966773 w 5132661"/>
              <a:gd name="connsiteY430" fmla="*/ 4224490 h 5142899"/>
              <a:gd name="connsiteX431" fmla="*/ 1942884 w 5132661"/>
              <a:gd name="connsiteY431" fmla="*/ 4266041 h 5142899"/>
              <a:gd name="connsiteX432" fmla="*/ 4098044 w 5132661"/>
              <a:gd name="connsiteY432" fmla="*/ 748537 h 5142899"/>
              <a:gd name="connsiteX433" fmla="*/ 4090104 w 5132661"/>
              <a:gd name="connsiteY433" fmla="*/ 754773 h 5142899"/>
              <a:gd name="connsiteX434" fmla="*/ 3902288 w 5132661"/>
              <a:gd name="connsiteY434" fmla="*/ 939019 h 5142899"/>
              <a:gd name="connsiteX435" fmla="*/ 3894280 w 5132661"/>
              <a:gd name="connsiteY435" fmla="*/ 949943 h 5142899"/>
              <a:gd name="connsiteX436" fmla="*/ 4216936 w 5132661"/>
              <a:gd name="connsiteY436" fmla="*/ 1274408 h 5142899"/>
              <a:gd name="connsiteX437" fmla="*/ 4233990 w 5132661"/>
              <a:gd name="connsiteY437" fmla="*/ 1258906 h 5142899"/>
              <a:gd name="connsiteX438" fmla="*/ 4412494 w 5132661"/>
              <a:gd name="connsiteY438" fmla="*/ 1084125 h 5142899"/>
              <a:gd name="connsiteX439" fmla="*/ 4421209 w 5132661"/>
              <a:gd name="connsiteY439" fmla="*/ 1072958 h 5142899"/>
              <a:gd name="connsiteX440" fmla="*/ 4313090 w 5132661"/>
              <a:gd name="connsiteY440" fmla="*/ 964382 h 5142899"/>
              <a:gd name="connsiteX441" fmla="*/ 4205833 w 5132661"/>
              <a:gd name="connsiteY441" fmla="*/ 856360 h 5142899"/>
              <a:gd name="connsiteX442" fmla="*/ 4098066 w 5132661"/>
              <a:gd name="connsiteY442" fmla="*/ 748559 h 5142899"/>
              <a:gd name="connsiteX443" fmla="*/ 2678686 w 5132661"/>
              <a:gd name="connsiteY443" fmla="*/ 3331963 h 5142899"/>
              <a:gd name="connsiteX444" fmla="*/ 2662119 w 5132661"/>
              <a:gd name="connsiteY444" fmla="*/ 3314073 h 5142899"/>
              <a:gd name="connsiteX445" fmla="*/ 2592354 w 5132661"/>
              <a:gd name="connsiteY445" fmla="*/ 3246518 h 5142899"/>
              <a:gd name="connsiteX446" fmla="*/ 2213648 w 5132661"/>
              <a:gd name="connsiteY446" fmla="*/ 2865930 h 5142899"/>
              <a:gd name="connsiteX447" fmla="*/ 2012626 w 5132661"/>
              <a:gd name="connsiteY447" fmla="*/ 2663683 h 5142899"/>
              <a:gd name="connsiteX448" fmla="*/ 1816184 w 5132661"/>
              <a:gd name="connsiteY448" fmla="*/ 2463295 h 5142899"/>
              <a:gd name="connsiteX449" fmla="*/ 1799661 w 5132661"/>
              <a:gd name="connsiteY449" fmla="*/ 2451442 h 5142899"/>
              <a:gd name="connsiteX450" fmla="*/ 1741841 w 5132661"/>
              <a:gd name="connsiteY450" fmla="*/ 2508892 h 5142899"/>
              <a:gd name="connsiteX451" fmla="*/ 1752746 w 5132661"/>
              <a:gd name="connsiteY451" fmla="*/ 2521076 h 5142899"/>
              <a:gd name="connsiteX452" fmla="*/ 1961509 w 5132661"/>
              <a:gd name="connsiteY452" fmla="*/ 2731172 h 5142899"/>
              <a:gd name="connsiteX453" fmla="*/ 2408785 w 5132661"/>
              <a:gd name="connsiteY453" fmla="*/ 3181041 h 5142899"/>
              <a:gd name="connsiteX454" fmla="*/ 2603746 w 5132661"/>
              <a:gd name="connsiteY454" fmla="*/ 3376830 h 5142899"/>
              <a:gd name="connsiteX455" fmla="*/ 2620910 w 5132661"/>
              <a:gd name="connsiteY455" fmla="*/ 3388461 h 5142899"/>
              <a:gd name="connsiteX456" fmla="*/ 2678642 w 5132661"/>
              <a:gd name="connsiteY456" fmla="*/ 3331940 h 5142899"/>
              <a:gd name="connsiteX457" fmla="*/ 2021076 w 5132661"/>
              <a:gd name="connsiteY457" fmla="*/ 2216911 h 5142899"/>
              <a:gd name="connsiteX458" fmla="*/ 2031892 w 5132661"/>
              <a:gd name="connsiteY458" fmla="*/ 2228565 h 5142899"/>
              <a:gd name="connsiteX459" fmla="*/ 2912665 w 5132661"/>
              <a:gd name="connsiteY459" fmla="*/ 3113706 h 5142899"/>
              <a:gd name="connsiteX460" fmla="*/ 2914656 w 5132661"/>
              <a:gd name="connsiteY460" fmla="*/ 3114613 h 5142899"/>
              <a:gd name="connsiteX461" fmla="*/ 2917664 w 5132661"/>
              <a:gd name="connsiteY461" fmla="*/ 3115122 h 5142899"/>
              <a:gd name="connsiteX462" fmla="*/ 2972410 w 5132661"/>
              <a:gd name="connsiteY462" fmla="*/ 3063510 h 5142899"/>
              <a:gd name="connsiteX463" fmla="*/ 2960642 w 5132661"/>
              <a:gd name="connsiteY463" fmla="*/ 3049977 h 5142899"/>
              <a:gd name="connsiteX464" fmla="*/ 2566319 w 5132661"/>
              <a:gd name="connsiteY464" fmla="*/ 2650570 h 5142899"/>
              <a:gd name="connsiteX465" fmla="*/ 2443645 w 5132661"/>
              <a:gd name="connsiteY465" fmla="*/ 2529678 h 5142899"/>
              <a:gd name="connsiteX466" fmla="*/ 2091416 w 5132661"/>
              <a:gd name="connsiteY466" fmla="*/ 2175493 h 5142899"/>
              <a:gd name="connsiteX467" fmla="*/ 2076551 w 5132661"/>
              <a:gd name="connsiteY467" fmla="*/ 2161938 h 5142899"/>
              <a:gd name="connsiteX468" fmla="*/ 2021054 w 5132661"/>
              <a:gd name="connsiteY468" fmla="*/ 2216889 h 5142899"/>
              <a:gd name="connsiteX469" fmla="*/ 4690269 w 5132661"/>
              <a:gd name="connsiteY469" fmla="*/ 1139761 h 5142899"/>
              <a:gd name="connsiteX470" fmla="*/ 4610927 w 5132661"/>
              <a:gd name="connsiteY470" fmla="*/ 1064488 h 5142899"/>
              <a:gd name="connsiteX471" fmla="*/ 4119854 w 5132661"/>
              <a:gd name="connsiteY471" fmla="*/ 570725 h 5142899"/>
              <a:gd name="connsiteX472" fmla="*/ 4083822 w 5132661"/>
              <a:gd name="connsiteY472" fmla="*/ 531939 h 5142899"/>
              <a:gd name="connsiteX473" fmla="*/ 4035026 w 5132661"/>
              <a:gd name="connsiteY473" fmla="*/ 481543 h 5142899"/>
              <a:gd name="connsiteX474" fmla="*/ 3966124 w 5132661"/>
              <a:gd name="connsiteY474" fmla="*/ 547374 h 5142899"/>
              <a:gd name="connsiteX475" fmla="*/ 3981586 w 5132661"/>
              <a:gd name="connsiteY475" fmla="*/ 565352 h 5142899"/>
              <a:gd name="connsiteX476" fmla="*/ 4216892 w 5132661"/>
              <a:gd name="connsiteY476" fmla="*/ 802139 h 5142899"/>
              <a:gd name="connsiteX477" fmla="*/ 4240516 w 5132661"/>
              <a:gd name="connsiteY477" fmla="*/ 828321 h 5142899"/>
              <a:gd name="connsiteX478" fmla="*/ 4291678 w 5132661"/>
              <a:gd name="connsiteY478" fmla="*/ 883205 h 5142899"/>
              <a:gd name="connsiteX479" fmla="*/ 4298070 w 5132661"/>
              <a:gd name="connsiteY479" fmla="*/ 889309 h 5142899"/>
              <a:gd name="connsiteX480" fmla="*/ 4361288 w 5132661"/>
              <a:gd name="connsiteY480" fmla="*/ 947599 h 5142899"/>
              <a:gd name="connsiteX481" fmla="*/ 4606149 w 5132661"/>
              <a:gd name="connsiteY481" fmla="*/ 1193584 h 5142899"/>
              <a:gd name="connsiteX482" fmla="*/ 4621832 w 5132661"/>
              <a:gd name="connsiteY482" fmla="*/ 1208290 h 5142899"/>
              <a:gd name="connsiteX483" fmla="*/ 4690292 w 5132661"/>
              <a:gd name="connsiteY483" fmla="*/ 1139783 h 5142899"/>
              <a:gd name="connsiteX484" fmla="*/ 4064799 w 5132661"/>
              <a:gd name="connsiteY484" fmla="*/ 716119 h 5142899"/>
              <a:gd name="connsiteX485" fmla="*/ 4057743 w 5132661"/>
              <a:gd name="connsiteY485" fmla="*/ 707451 h 5142899"/>
              <a:gd name="connsiteX486" fmla="*/ 3870790 w 5132661"/>
              <a:gd name="connsiteY486" fmla="*/ 519379 h 5142899"/>
              <a:gd name="connsiteX487" fmla="*/ 3858779 w 5132661"/>
              <a:gd name="connsiteY487" fmla="*/ 509738 h 5142899"/>
              <a:gd name="connsiteX488" fmla="*/ 3840486 w 5132661"/>
              <a:gd name="connsiteY488" fmla="*/ 527185 h 5142899"/>
              <a:gd name="connsiteX489" fmla="*/ 3778685 w 5132661"/>
              <a:gd name="connsiteY489" fmla="*/ 590318 h 5142899"/>
              <a:gd name="connsiteX490" fmla="*/ 3666959 w 5132661"/>
              <a:gd name="connsiteY490" fmla="*/ 700485 h 5142899"/>
              <a:gd name="connsiteX491" fmla="*/ 3656408 w 5132661"/>
              <a:gd name="connsiteY491" fmla="*/ 712271 h 5142899"/>
              <a:gd name="connsiteX492" fmla="*/ 3667313 w 5132661"/>
              <a:gd name="connsiteY492" fmla="*/ 724433 h 5142899"/>
              <a:gd name="connsiteX493" fmla="*/ 3710601 w 5132661"/>
              <a:gd name="connsiteY493" fmla="*/ 765298 h 5142899"/>
              <a:gd name="connsiteX494" fmla="*/ 3843140 w 5132661"/>
              <a:gd name="connsiteY494" fmla="*/ 898419 h 5142899"/>
              <a:gd name="connsiteX495" fmla="*/ 3861632 w 5132661"/>
              <a:gd name="connsiteY495" fmla="*/ 913589 h 5142899"/>
              <a:gd name="connsiteX496" fmla="*/ 4058959 w 5132661"/>
              <a:gd name="connsiteY496" fmla="*/ 723593 h 5142899"/>
              <a:gd name="connsiteX497" fmla="*/ 4064821 w 5132661"/>
              <a:gd name="connsiteY497" fmla="*/ 716119 h 5142899"/>
              <a:gd name="connsiteX498" fmla="*/ 4250536 w 5132661"/>
              <a:gd name="connsiteY498" fmla="*/ 1307511 h 5142899"/>
              <a:gd name="connsiteX499" fmla="*/ 4317779 w 5132661"/>
              <a:gd name="connsiteY499" fmla="*/ 1375818 h 5142899"/>
              <a:gd name="connsiteX500" fmla="*/ 4386371 w 5132661"/>
              <a:gd name="connsiteY500" fmla="*/ 1444612 h 5142899"/>
              <a:gd name="connsiteX501" fmla="*/ 4452619 w 5132661"/>
              <a:gd name="connsiteY501" fmla="*/ 1512698 h 5142899"/>
              <a:gd name="connsiteX502" fmla="*/ 4461489 w 5132661"/>
              <a:gd name="connsiteY502" fmla="*/ 1505069 h 5142899"/>
              <a:gd name="connsiteX503" fmla="*/ 4615838 w 5132661"/>
              <a:gd name="connsiteY503" fmla="*/ 1356690 h 5142899"/>
              <a:gd name="connsiteX504" fmla="*/ 4659236 w 5132661"/>
              <a:gd name="connsiteY504" fmla="*/ 1314565 h 5142899"/>
              <a:gd name="connsiteX505" fmla="*/ 4651516 w 5132661"/>
              <a:gd name="connsiteY505" fmla="*/ 1304614 h 5142899"/>
              <a:gd name="connsiteX506" fmla="*/ 4463148 w 5132661"/>
              <a:gd name="connsiteY506" fmla="*/ 1115171 h 5142899"/>
              <a:gd name="connsiteX507" fmla="*/ 4453415 w 5132661"/>
              <a:gd name="connsiteY507" fmla="*/ 1107631 h 5142899"/>
              <a:gd name="connsiteX508" fmla="*/ 4250558 w 5132661"/>
              <a:gd name="connsiteY508" fmla="*/ 1307511 h 5142899"/>
              <a:gd name="connsiteX509" fmla="*/ 1244065 w 5132661"/>
              <a:gd name="connsiteY509" fmla="*/ 3634956 h 5142899"/>
              <a:gd name="connsiteX510" fmla="*/ 1238558 w 5132661"/>
              <a:gd name="connsiteY510" fmla="*/ 3642430 h 5142899"/>
              <a:gd name="connsiteX511" fmla="*/ 1083855 w 5132661"/>
              <a:gd name="connsiteY511" fmla="*/ 4019989 h 5142899"/>
              <a:gd name="connsiteX512" fmla="*/ 1083633 w 5132661"/>
              <a:gd name="connsiteY512" fmla="*/ 4022156 h 5142899"/>
              <a:gd name="connsiteX513" fmla="*/ 1086420 w 5132661"/>
              <a:gd name="connsiteY513" fmla="*/ 4024876 h 5142899"/>
              <a:gd name="connsiteX514" fmla="*/ 1136808 w 5132661"/>
              <a:gd name="connsiteY514" fmla="*/ 4006588 h 5142899"/>
              <a:gd name="connsiteX515" fmla="*/ 1477027 w 5132661"/>
              <a:gd name="connsiteY515" fmla="*/ 3872760 h 5142899"/>
              <a:gd name="connsiteX516" fmla="*/ 1475280 w 5132661"/>
              <a:gd name="connsiteY516" fmla="*/ 3867563 h 5142899"/>
              <a:gd name="connsiteX517" fmla="*/ 1267202 w 5132661"/>
              <a:gd name="connsiteY517" fmla="*/ 3657754 h 5142899"/>
              <a:gd name="connsiteX518" fmla="*/ 1244043 w 5132661"/>
              <a:gd name="connsiteY518" fmla="*/ 3634956 h 5142899"/>
              <a:gd name="connsiteX519" fmla="*/ 2052640 w 5132661"/>
              <a:gd name="connsiteY519" fmla="*/ 2629298 h 5142899"/>
              <a:gd name="connsiteX520" fmla="*/ 2257488 w 5132661"/>
              <a:gd name="connsiteY520" fmla="*/ 2836210 h 5142899"/>
              <a:gd name="connsiteX521" fmla="*/ 2280205 w 5132661"/>
              <a:gd name="connsiteY521" fmla="*/ 2815910 h 5142899"/>
              <a:gd name="connsiteX522" fmla="*/ 2310464 w 5132661"/>
              <a:gd name="connsiteY522" fmla="*/ 2783802 h 5142899"/>
              <a:gd name="connsiteX523" fmla="*/ 2397305 w 5132661"/>
              <a:gd name="connsiteY523" fmla="*/ 2698688 h 5142899"/>
              <a:gd name="connsiteX524" fmla="*/ 2413673 w 5132661"/>
              <a:gd name="connsiteY524" fmla="*/ 2681905 h 5142899"/>
              <a:gd name="connsiteX525" fmla="*/ 2262775 w 5132661"/>
              <a:gd name="connsiteY525" fmla="*/ 2529413 h 5142899"/>
              <a:gd name="connsiteX526" fmla="*/ 2208936 w 5132661"/>
              <a:gd name="connsiteY526" fmla="*/ 2475545 h 5142899"/>
              <a:gd name="connsiteX527" fmla="*/ 2052640 w 5132661"/>
              <a:gd name="connsiteY527" fmla="*/ 2629276 h 5142899"/>
              <a:gd name="connsiteX528" fmla="*/ 2498413 w 5132661"/>
              <a:gd name="connsiteY528" fmla="*/ 3080846 h 5142899"/>
              <a:gd name="connsiteX529" fmla="*/ 2503213 w 5132661"/>
              <a:gd name="connsiteY529" fmla="*/ 3078215 h 5142899"/>
              <a:gd name="connsiteX530" fmla="*/ 2650130 w 5132661"/>
              <a:gd name="connsiteY530" fmla="*/ 2934436 h 5142899"/>
              <a:gd name="connsiteX531" fmla="*/ 2656522 w 5132661"/>
              <a:gd name="connsiteY531" fmla="*/ 2925347 h 5142899"/>
              <a:gd name="connsiteX532" fmla="*/ 2615425 w 5132661"/>
              <a:gd name="connsiteY532" fmla="*/ 2883885 h 5142899"/>
              <a:gd name="connsiteX533" fmla="*/ 2573752 w 5132661"/>
              <a:gd name="connsiteY533" fmla="*/ 2844458 h 5142899"/>
              <a:gd name="connsiteX534" fmla="*/ 2533074 w 5132661"/>
              <a:gd name="connsiteY534" fmla="*/ 2803902 h 5142899"/>
              <a:gd name="connsiteX535" fmla="*/ 2492374 w 5132661"/>
              <a:gd name="connsiteY535" fmla="*/ 2763369 h 5142899"/>
              <a:gd name="connsiteX536" fmla="*/ 2452670 w 5132661"/>
              <a:gd name="connsiteY536" fmla="*/ 2722106 h 5142899"/>
              <a:gd name="connsiteX537" fmla="*/ 2301749 w 5132661"/>
              <a:gd name="connsiteY537" fmla="*/ 2865709 h 5142899"/>
              <a:gd name="connsiteX538" fmla="*/ 2293786 w 5132661"/>
              <a:gd name="connsiteY538" fmla="*/ 2875283 h 5142899"/>
              <a:gd name="connsiteX539" fmla="*/ 2498391 w 5132661"/>
              <a:gd name="connsiteY539" fmla="*/ 3080891 h 5142899"/>
              <a:gd name="connsiteX540" fmla="*/ 3328997 w 5132661"/>
              <a:gd name="connsiteY540" fmla="*/ 2824910 h 5142899"/>
              <a:gd name="connsiteX541" fmla="*/ 3255804 w 5132661"/>
              <a:gd name="connsiteY541" fmla="*/ 2754435 h 5142899"/>
              <a:gd name="connsiteX542" fmla="*/ 2999041 w 5132661"/>
              <a:gd name="connsiteY542" fmla="*/ 3006325 h 5142899"/>
              <a:gd name="connsiteX543" fmla="*/ 2993689 w 5132661"/>
              <a:gd name="connsiteY543" fmla="*/ 3013932 h 5142899"/>
              <a:gd name="connsiteX544" fmla="*/ 3013397 w 5132661"/>
              <a:gd name="connsiteY544" fmla="*/ 3035271 h 5142899"/>
              <a:gd name="connsiteX545" fmla="*/ 3011561 w 5132661"/>
              <a:gd name="connsiteY545" fmla="*/ 3090908 h 5142899"/>
              <a:gd name="connsiteX546" fmla="*/ 2937262 w 5132661"/>
              <a:gd name="connsiteY546" fmla="*/ 3163461 h 5142899"/>
              <a:gd name="connsiteX547" fmla="*/ 2930560 w 5132661"/>
              <a:gd name="connsiteY547" fmla="*/ 3169188 h 5142899"/>
              <a:gd name="connsiteX548" fmla="*/ 2907600 w 5132661"/>
              <a:gd name="connsiteY548" fmla="*/ 3171709 h 5142899"/>
              <a:gd name="connsiteX549" fmla="*/ 2887980 w 5132661"/>
              <a:gd name="connsiteY549" fmla="*/ 3157910 h 5142899"/>
              <a:gd name="connsiteX550" fmla="*/ 2868338 w 5132661"/>
              <a:gd name="connsiteY550" fmla="*/ 3141503 h 5142899"/>
              <a:gd name="connsiteX551" fmla="*/ 2788664 w 5132661"/>
              <a:gd name="connsiteY551" fmla="*/ 3220844 h 5142899"/>
              <a:gd name="connsiteX552" fmla="*/ 2845865 w 5132661"/>
              <a:gd name="connsiteY552" fmla="*/ 3281677 h 5142899"/>
              <a:gd name="connsiteX553" fmla="*/ 2854757 w 5132661"/>
              <a:gd name="connsiteY553" fmla="*/ 3287781 h 5142899"/>
              <a:gd name="connsiteX554" fmla="*/ 3328953 w 5132661"/>
              <a:gd name="connsiteY554" fmla="*/ 2824888 h 5142899"/>
              <a:gd name="connsiteX555" fmla="*/ 2320595 w 5132661"/>
              <a:gd name="connsiteY555" fmla="*/ 1809433 h 5142899"/>
              <a:gd name="connsiteX556" fmla="*/ 1847483 w 5132661"/>
              <a:gd name="connsiteY556" fmla="*/ 2276063 h 5142899"/>
              <a:gd name="connsiteX557" fmla="*/ 1859671 w 5132661"/>
              <a:gd name="connsiteY557" fmla="*/ 2289641 h 5142899"/>
              <a:gd name="connsiteX558" fmla="*/ 1904374 w 5132661"/>
              <a:gd name="connsiteY558" fmla="*/ 2332231 h 5142899"/>
              <a:gd name="connsiteX559" fmla="*/ 1915102 w 5132661"/>
              <a:gd name="connsiteY559" fmla="*/ 2343641 h 5142899"/>
              <a:gd name="connsiteX560" fmla="*/ 1997143 w 5132661"/>
              <a:gd name="connsiteY560" fmla="*/ 2263724 h 5142899"/>
              <a:gd name="connsiteX561" fmla="*/ 1986415 w 5132661"/>
              <a:gd name="connsiteY561" fmla="*/ 2251253 h 5142899"/>
              <a:gd name="connsiteX562" fmla="*/ 1972701 w 5132661"/>
              <a:gd name="connsiteY562" fmla="*/ 2236901 h 5142899"/>
              <a:gd name="connsiteX563" fmla="*/ 1973962 w 5132661"/>
              <a:gd name="connsiteY563" fmla="*/ 2195859 h 5142899"/>
              <a:gd name="connsiteX564" fmla="*/ 2047995 w 5132661"/>
              <a:gd name="connsiteY564" fmla="*/ 2123041 h 5142899"/>
              <a:gd name="connsiteX565" fmla="*/ 2096503 w 5132661"/>
              <a:gd name="connsiteY565" fmla="*/ 2116075 h 5142899"/>
              <a:gd name="connsiteX566" fmla="*/ 2110505 w 5132661"/>
              <a:gd name="connsiteY566" fmla="*/ 2126579 h 5142899"/>
              <a:gd name="connsiteX567" fmla="*/ 2127493 w 5132661"/>
              <a:gd name="connsiteY567" fmla="*/ 2141837 h 5142899"/>
              <a:gd name="connsiteX568" fmla="*/ 2392704 w 5132661"/>
              <a:gd name="connsiteY568" fmla="*/ 1881898 h 5142899"/>
              <a:gd name="connsiteX569" fmla="*/ 2320617 w 5132661"/>
              <a:gd name="connsiteY569" fmla="*/ 1809433 h 5142899"/>
              <a:gd name="connsiteX570" fmla="*/ 2021607 w 5132661"/>
              <a:gd name="connsiteY570" fmla="*/ 2599158 h 5142899"/>
              <a:gd name="connsiteX571" fmla="*/ 2029194 w 5132661"/>
              <a:gd name="connsiteY571" fmla="*/ 2593054 h 5142899"/>
              <a:gd name="connsiteX572" fmla="*/ 2175403 w 5132661"/>
              <a:gd name="connsiteY572" fmla="*/ 2448811 h 5142899"/>
              <a:gd name="connsiteX573" fmla="*/ 2176310 w 5132661"/>
              <a:gd name="connsiteY573" fmla="*/ 2446865 h 5142899"/>
              <a:gd name="connsiteX574" fmla="*/ 2176465 w 5132661"/>
              <a:gd name="connsiteY574" fmla="*/ 2444676 h 5142899"/>
              <a:gd name="connsiteX575" fmla="*/ 2030565 w 5132661"/>
              <a:gd name="connsiteY575" fmla="*/ 2298685 h 5142899"/>
              <a:gd name="connsiteX576" fmla="*/ 1875132 w 5132661"/>
              <a:gd name="connsiteY576" fmla="*/ 2451022 h 5142899"/>
              <a:gd name="connsiteX577" fmla="*/ 2021607 w 5132661"/>
              <a:gd name="connsiteY577" fmla="*/ 2599180 h 5142899"/>
              <a:gd name="connsiteX578" fmla="*/ 2687224 w 5132661"/>
              <a:gd name="connsiteY578" fmla="*/ 2958782 h 5142899"/>
              <a:gd name="connsiteX579" fmla="*/ 2682358 w 5132661"/>
              <a:gd name="connsiteY579" fmla="*/ 2961967 h 5142899"/>
              <a:gd name="connsiteX580" fmla="*/ 2537144 w 5132661"/>
              <a:gd name="connsiteY580" fmla="*/ 3104220 h 5142899"/>
              <a:gd name="connsiteX581" fmla="*/ 2530398 w 5132661"/>
              <a:gd name="connsiteY581" fmla="*/ 3112977 h 5142899"/>
              <a:gd name="connsiteX582" fmla="*/ 2676961 w 5132661"/>
              <a:gd name="connsiteY582" fmla="*/ 3260007 h 5142899"/>
              <a:gd name="connsiteX583" fmla="*/ 2833986 w 5132661"/>
              <a:gd name="connsiteY583" fmla="*/ 3106697 h 5142899"/>
              <a:gd name="connsiteX584" fmla="*/ 2687224 w 5132661"/>
              <a:gd name="connsiteY584" fmla="*/ 2958782 h 5142899"/>
              <a:gd name="connsiteX585" fmla="*/ 3041334 w 5132661"/>
              <a:gd name="connsiteY585" fmla="*/ 3307130 h 5142899"/>
              <a:gd name="connsiteX586" fmla="*/ 3059074 w 5132661"/>
              <a:gd name="connsiteY586" fmla="*/ 3291694 h 5142899"/>
              <a:gd name="connsiteX587" fmla="*/ 3099552 w 5132661"/>
              <a:gd name="connsiteY587" fmla="*/ 3251206 h 5142899"/>
              <a:gd name="connsiteX588" fmla="*/ 3168941 w 5132661"/>
              <a:gd name="connsiteY588" fmla="*/ 3183562 h 5142899"/>
              <a:gd name="connsiteX589" fmla="*/ 3233640 w 5132661"/>
              <a:gd name="connsiteY589" fmla="*/ 3120562 h 5142899"/>
              <a:gd name="connsiteX590" fmla="*/ 3293495 w 5132661"/>
              <a:gd name="connsiteY590" fmla="*/ 3062072 h 5142899"/>
              <a:gd name="connsiteX591" fmla="*/ 3303338 w 5132661"/>
              <a:gd name="connsiteY591" fmla="*/ 3048960 h 5142899"/>
              <a:gd name="connsiteX592" fmla="*/ 3236493 w 5132661"/>
              <a:gd name="connsiteY592" fmla="*/ 2983792 h 5142899"/>
              <a:gd name="connsiteX593" fmla="*/ 2975661 w 5132661"/>
              <a:gd name="connsiteY593" fmla="*/ 3240215 h 5142899"/>
              <a:gd name="connsiteX594" fmla="*/ 3041356 w 5132661"/>
              <a:gd name="connsiteY594" fmla="*/ 3307130 h 5142899"/>
              <a:gd name="connsiteX595" fmla="*/ 2162220 w 5132661"/>
              <a:gd name="connsiteY595" fmla="*/ 1900959 h 5142899"/>
              <a:gd name="connsiteX596" fmla="*/ 2093075 w 5132661"/>
              <a:gd name="connsiteY596" fmla="*/ 1833603 h 5142899"/>
              <a:gd name="connsiteX597" fmla="*/ 1832176 w 5132661"/>
              <a:gd name="connsiteY597" fmla="*/ 2090424 h 5142899"/>
              <a:gd name="connsiteX598" fmla="*/ 1900415 w 5132661"/>
              <a:gd name="connsiteY598" fmla="*/ 2156896 h 5142899"/>
              <a:gd name="connsiteX599" fmla="*/ 2162220 w 5132661"/>
              <a:gd name="connsiteY599" fmla="*/ 1900959 h 5142899"/>
              <a:gd name="connsiteX600" fmla="*/ 1674730 w 5132661"/>
              <a:gd name="connsiteY600" fmla="*/ 3072001 h 5142899"/>
              <a:gd name="connsiteX601" fmla="*/ 1689727 w 5132661"/>
              <a:gd name="connsiteY601" fmla="*/ 3086640 h 5142899"/>
              <a:gd name="connsiteX602" fmla="*/ 1767964 w 5132661"/>
              <a:gd name="connsiteY602" fmla="*/ 3157844 h 5142899"/>
              <a:gd name="connsiteX603" fmla="*/ 1860179 w 5132661"/>
              <a:gd name="connsiteY603" fmla="*/ 3252997 h 5142899"/>
              <a:gd name="connsiteX604" fmla="*/ 1918796 w 5132661"/>
              <a:gd name="connsiteY604" fmla="*/ 3309783 h 5142899"/>
              <a:gd name="connsiteX605" fmla="*/ 1981128 w 5132661"/>
              <a:gd name="connsiteY605" fmla="*/ 3372451 h 5142899"/>
              <a:gd name="connsiteX606" fmla="*/ 2042244 w 5132661"/>
              <a:gd name="connsiteY606" fmla="*/ 3441997 h 5142899"/>
              <a:gd name="connsiteX607" fmla="*/ 2052817 w 5132661"/>
              <a:gd name="connsiteY607" fmla="*/ 3449825 h 5142899"/>
              <a:gd name="connsiteX608" fmla="*/ 2100617 w 5132661"/>
              <a:gd name="connsiteY608" fmla="*/ 3401398 h 5142899"/>
              <a:gd name="connsiteX609" fmla="*/ 2006145 w 5132661"/>
              <a:gd name="connsiteY609" fmla="*/ 3307992 h 5142899"/>
              <a:gd name="connsiteX610" fmla="*/ 1912934 w 5132661"/>
              <a:gd name="connsiteY610" fmla="*/ 3213923 h 5142899"/>
              <a:gd name="connsiteX611" fmla="*/ 1817931 w 5132661"/>
              <a:gd name="connsiteY611" fmla="*/ 3118527 h 5142899"/>
              <a:gd name="connsiteX612" fmla="*/ 1724521 w 5132661"/>
              <a:gd name="connsiteY612" fmla="*/ 3023176 h 5142899"/>
              <a:gd name="connsiteX613" fmla="*/ 1674730 w 5132661"/>
              <a:gd name="connsiteY613" fmla="*/ 3072001 h 5142899"/>
              <a:gd name="connsiteX614" fmla="*/ 2180292 w 5132661"/>
              <a:gd name="connsiteY614" fmla="*/ 3324732 h 5142899"/>
              <a:gd name="connsiteX615" fmla="*/ 2175138 w 5132661"/>
              <a:gd name="connsiteY615" fmla="*/ 3317412 h 5142899"/>
              <a:gd name="connsiteX616" fmla="*/ 1807004 w 5132661"/>
              <a:gd name="connsiteY616" fmla="*/ 2947527 h 5142899"/>
              <a:gd name="connsiteX617" fmla="*/ 1805102 w 5132661"/>
              <a:gd name="connsiteY617" fmla="*/ 2946443 h 5142899"/>
              <a:gd name="connsiteX618" fmla="*/ 1801718 w 5132661"/>
              <a:gd name="connsiteY618" fmla="*/ 2946178 h 5142899"/>
              <a:gd name="connsiteX619" fmla="*/ 1761350 w 5132661"/>
              <a:gd name="connsiteY619" fmla="*/ 2987994 h 5142899"/>
              <a:gd name="connsiteX620" fmla="*/ 1765265 w 5132661"/>
              <a:gd name="connsiteY620" fmla="*/ 2993964 h 5142899"/>
              <a:gd name="connsiteX621" fmla="*/ 2133487 w 5132661"/>
              <a:gd name="connsiteY621" fmla="*/ 3363739 h 5142899"/>
              <a:gd name="connsiteX622" fmla="*/ 2135456 w 5132661"/>
              <a:gd name="connsiteY622" fmla="*/ 3364601 h 5142899"/>
              <a:gd name="connsiteX623" fmla="*/ 2138884 w 5132661"/>
              <a:gd name="connsiteY623" fmla="*/ 3365265 h 5142899"/>
              <a:gd name="connsiteX624" fmla="*/ 2180292 w 5132661"/>
              <a:gd name="connsiteY624" fmla="*/ 3324754 h 5142899"/>
              <a:gd name="connsiteX625" fmla="*/ 4319991 w 5132661"/>
              <a:gd name="connsiteY625" fmla="*/ 454190 h 5142899"/>
              <a:gd name="connsiteX626" fmla="*/ 4720463 w 5132661"/>
              <a:gd name="connsiteY626" fmla="*/ 856780 h 5142899"/>
              <a:gd name="connsiteX627" fmla="*/ 4760366 w 5132661"/>
              <a:gd name="connsiteY627" fmla="*/ 817729 h 5142899"/>
              <a:gd name="connsiteX628" fmla="*/ 4758021 w 5132661"/>
              <a:gd name="connsiteY628" fmla="*/ 813063 h 5142899"/>
              <a:gd name="connsiteX629" fmla="*/ 4682860 w 5132661"/>
              <a:gd name="connsiteY629" fmla="*/ 741726 h 5142899"/>
              <a:gd name="connsiteX630" fmla="*/ 4617320 w 5132661"/>
              <a:gd name="connsiteY630" fmla="*/ 676050 h 5142899"/>
              <a:gd name="connsiteX631" fmla="*/ 4362261 w 5132661"/>
              <a:gd name="connsiteY631" fmla="*/ 415005 h 5142899"/>
              <a:gd name="connsiteX632" fmla="*/ 4319991 w 5132661"/>
              <a:gd name="connsiteY632" fmla="*/ 454212 h 5142899"/>
              <a:gd name="connsiteX633" fmla="*/ 948307 w 5132661"/>
              <a:gd name="connsiteY633" fmla="*/ 4237603 h 5142899"/>
              <a:gd name="connsiteX634" fmla="*/ 1022540 w 5132661"/>
              <a:gd name="connsiteY634" fmla="*/ 4204655 h 5142899"/>
              <a:gd name="connsiteX635" fmla="*/ 1041452 w 5132661"/>
              <a:gd name="connsiteY635" fmla="*/ 4083652 h 5142899"/>
              <a:gd name="connsiteX636" fmla="*/ 1023225 w 5132661"/>
              <a:gd name="connsiteY636" fmla="*/ 4065608 h 5142899"/>
              <a:gd name="connsiteX637" fmla="*/ 931474 w 5132661"/>
              <a:gd name="connsiteY637" fmla="*/ 4064546 h 5142899"/>
              <a:gd name="connsiteX638" fmla="*/ 868301 w 5132661"/>
              <a:gd name="connsiteY638" fmla="*/ 4142738 h 5142899"/>
              <a:gd name="connsiteX639" fmla="*/ 944325 w 5132661"/>
              <a:gd name="connsiteY639" fmla="*/ 4237603 h 5142899"/>
              <a:gd name="connsiteX640" fmla="*/ 948285 w 5132661"/>
              <a:gd name="connsiteY640" fmla="*/ 4237603 h 5142899"/>
              <a:gd name="connsiteX641" fmla="*/ 4559522 w 5132661"/>
              <a:gd name="connsiteY641" fmla="*/ 765011 h 5142899"/>
              <a:gd name="connsiteX642" fmla="*/ 4494336 w 5132661"/>
              <a:gd name="connsiteY642" fmla="*/ 695465 h 5142899"/>
              <a:gd name="connsiteX643" fmla="*/ 4420280 w 5132661"/>
              <a:gd name="connsiteY643" fmla="*/ 623178 h 5142899"/>
              <a:gd name="connsiteX644" fmla="*/ 4413467 w 5132661"/>
              <a:gd name="connsiteY644" fmla="*/ 617649 h 5142899"/>
              <a:gd name="connsiteX645" fmla="*/ 4411499 w 5132661"/>
              <a:gd name="connsiteY645" fmla="*/ 616721 h 5142899"/>
              <a:gd name="connsiteX646" fmla="*/ 4407716 w 5132661"/>
              <a:gd name="connsiteY646" fmla="*/ 617672 h 5142899"/>
              <a:gd name="connsiteX647" fmla="*/ 4323950 w 5132661"/>
              <a:gd name="connsiteY647" fmla="*/ 702807 h 5142899"/>
              <a:gd name="connsiteX648" fmla="*/ 4329989 w 5132661"/>
              <a:gd name="connsiteY648" fmla="*/ 710723 h 5142899"/>
              <a:gd name="connsiteX649" fmla="*/ 4463723 w 5132661"/>
              <a:gd name="connsiteY649" fmla="*/ 845149 h 5142899"/>
              <a:gd name="connsiteX650" fmla="*/ 4471531 w 5132661"/>
              <a:gd name="connsiteY650" fmla="*/ 850080 h 5142899"/>
              <a:gd name="connsiteX651" fmla="*/ 4559544 w 5132661"/>
              <a:gd name="connsiteY651" fmla="*/ 765011 h 5142899"/>
              <a:gd name="connsiteX652" fmla="*/ 4558570 w 5132661"/>
              <a:gd name="connsiteY652" fmla="*/ 436411 h 5142899"/>
              <a:gd name="connsiteX653" fmla="*/ 4563525 w 5132661"/>
              <a:gd name="connsiteY653" fmla="*/ 443620 h 5142899"/>
              <a:gd name="connsiteX654" fmla="*/ 4733424 w 5132661"/>
              <a:gd name="connsiteY654" fmla="*/ 614355 h 5142899"/>
              <a:gd name="connsiteX655" fmla="*/ 4742383 w 5132661"/>
              <a:gd name="connsiteY655" fmla="*/ 620303 h 5142899"/>
              <a:gd name="connsiteX656" fmla="*/ 4773549 w 5132661"/>
              <a:gd name="connsiteY656" fmla="*/ 590671 h 5142899"/>
              <a:gd name="connsiteX657" fmla="*/ 4804030 w 5132661"/>
              <a:gd name="connsiteY657" fmla="*/ 560841 h 5142899"/>
              <a:gd name="connsiteX658" fmla="*/ 4618934 w 5132661"/>
              <a:gd name="connsiteY658" fmla="*/ 374826 h 5142899"/>
              <a:gd name="connsiteX659" fmla="*/ 4558570 w 5132661"/>
              <a:gd name="connsiteY659" fmla="*/ 436411 h 5142899"/>
              <a:gd name="connsiteX660" fmla="*/ 4616169 w 5132661"/>
              <a:gd name="connsiteY660" fmla="*/ 996203 h 5142899"/>
              <a:gd name="connsiteX661" fmla="*/ 4702502 w 5132661"/>
              <a:gd name="connsiteY661" fmla="*/ 909675 h 5142899"/>
              <a:gd name="connsiteX662" fmla="*/ 4701285 w 5132661"/>
              <a:gd name="connsiteY662" fmla="*/ 904788 h 5142899"/>
              <a:gd name="connsiteX663" fmla="*/ 4659324 w 5132661"/>
              <a:gd name="connsiteY663" fmla="*/ 863635 h 5142899"/>
              <a:gd name="connsiteX664" fmla="*/ 4603274 w 5132661"/>
              <a:gd name="connsiteY664" fmla="*/ 807424 h 5142899"/>
              <a:gd name="connsiteX665" fmla="*/ 4591352 w 5132661"/>
              <a:gd name="connsiteY665" fmla="*/ 797583 h 5142899"/>
              <a:gd name="connsiteX666" fmla="*/ 4505661 w 5132661"/>
              <a:gd name="connsiteY666" fmla="*/ 884156 h 5142899"/>
              <a:gd name="connsiteX667" fmla="*/ 4616169 w 5132661"/>
              <a:gd name="connsiteY667" fmla="*/ 996203 h 5142899"/>
              <a:gd name="connsiteX668" fmla="*/ 4179068 w 5132661"/>
              <a:gd name="connsiteY668" fmla="*/ 556241 h 5142899"/>
              <a:gd name="connsiteX669" fmla="*/ 4183846 w 5132661"/>
              <a:gd name="connsiteY669" fmla="*/ 563649 h 5142899"/>
              <a:gd name="connsiteX670" fmla="*/ 4286657 w 5132661"/>
              <a:gd name="connsiteY670" fmla="*/ 666431 h 5142899"/>
              <a:gd name="connsiteX671" fmla="*/ 4288581 w 5132661"/>
              <a:gd name="connsiteY671" fmla="*/ 667338 h 5142899"/>
              <a:gd name="connsiteX672" fmla="*/ 4292253 w 5132661"/>
              <a:gd name="connsiteY672" fmla="*/ 667138 h 5142899"/>
              <a:gd name="connsiteX673" fmla="*/ 4378165 w 5132661"/>
              <a:gd name="connsiteY673" fmla="*/ 582512 h 5142899"/>
              <a:gd name="connsiteX674" fmla="*/ 4366331 w 5132661"/>
              <a:gd name="connsiteY674" fmla="*/ 569067 h 5142899"/>
              <a:gd name="connsiteX675" fmla="*/ 4297805 w 5132661"/>
              <a:gd name="connsiteY675" fmla="*/ 497575 h 5142899"/>
              <a:gd name="connsiteX676" fmla="*/ 4265378 w 5132661"/>
              <a:gd name="connsiteY676" fmla="*/ 471283 h 5142899"/>
              <a:gd name="connsiteX677" fmla="*/ 4179068 w 5132661"/>
              <a:gd name="connsiteY677" fmla="*/ 556197 h 5142899"/>
              <a:gd name="connsiteX678" fmla="*/ 4393538 w 5132661"/>
              <a:gd name="connsiteY678" fmla="*/ 381769 h 5142899"/>
              <a:gd name="connsiteX679" fmla="*/ 4405991 w 5132661"/>
              <a:gd name="connsiteY679" fmla="*/ 395015 h 5142899"/>
              <a:gd name="connsiteX680" fmla="*/ 4441581 w 5132661"/>
              <a:gd name="connsiteY680" fmla="*/ 428008 h 5142899"/>
              <a:gd name="connsiteX681" fmla="*/ 4750235 w 5132661"/>
              <a:gd name="connsiteY681" fmla="*/ 738497 h 5142899"/>
              <a:gd name="connsiteX682" fmla="*/ 4767798 w 5132661"/>
              <a:gd name="connsiteY682" fmla="*/ 758289 h 5142899"/>
              <a:gd name="connsiteX683" fmla="*/ 4794850 w 5132661"/>
              <a:gd name="connsiteY683" fmla="*/ 783895 h 5142899"/>
              <a:gd name="connsiteX684" fmla="*/ 4814868 w 5132661"/>
              <a:gd name="connsiteY684" fmla="*/ 762247 h 5142899"/>
              <a:gd name="connsiteX685" fmla="*/ 4763529 w 5132661"/>
              <a:gd name="connsiteY685" fmla="*/ 713134 h 5142899"/>
              <a:gd name="connsiteX686" fmla="*/ 4713628 w 5132661"/>
              <a:gd name="connsiteY686" fmla="*/ 662981 h 5142899"/>
              <a:gd name="connsiteX687" fmla="*/ 4663748 w 5132661"/>
              <a:gd name="connsiteY687" fmla="*/ 612807 h 5142899"/>
              <a:gd name="connsiteX688" fmla="*/ 4613825 w 5132661"/>
              <a:gd name="connsiteY688" fmla="*/ 562676 h 5142899"/>
              <a:gd name="connsiteX689" fmla="*/ 4563902 w 5132661"/>
              <a:gd name="connsiteY689" fmla="*/ 512524 h 5142899"/>
              <a:gd name="connsiteX690" fmla="*/ 4514044 w 5132661"/>
              <a:gd name="connsiteY690" fmla="*/ 462327 h 5142899"/>
              <a:gd name="connsiteX691" fmla="*/ 4464032 w 5132661"/>
              <a:gd name="connsiteY691" fmla="*/ 412307 h 5142899"/>
              <a:gd name="connsiteX692" fmla="*/ 4415126 w 5132661"/>
              <a:gd name="connsiteY692" fmla="*/ 361624 h 5142899"/>
              <a:gd name="connsiteX693" fmla="*/ 4393538 w 5132661"/>
              <a:gd name="connsiteY693" fmla="*/ 381814 h 5142899"/>
              <a:gd name="connsiteX694" fmla="*/ 4724621 w 5132661"/>
              <a:gd name="connsiteY694" fmla="*/ 1109245 h 5142899"/>
              <a:gd name="connsiteX695" fmla="*/ 4814935 w 5132661"/>
              <a:gd name="connsiteY695" fmla="*/ 1020726 h 5142899"/>
              <a:gd name="connsiteX696" fmla="*/ 4737650 w 5132661"/>
              <a:gd name="connsiteY696" fmla="*/ 941849 h 5142899"/>
              <a:gd name="connsiteX697" fmla="*/ 4707744 w 5132661"/>
              <a:gd name="connsiteY697" fmla="*/ 970419 h 5142899"/>
              <a:gd name="connsiteX698" fmla="*/ 4677839 w 5132661"/>
              <a:gd name="connsiteY698" fmla="*/ 999808 h 5142899"/>
              <a:gd name="connsiteX699" fmla="*/ 4648398 w 5132661"/>
              <a:gd name="connsiteY699" fmla="*/ 1030169 h 5142899"/>
              <a:gd name="connsiteX700" fmla="*/ 4724643 w 5132661"/>
              <a:gd name="connsiteY700" fmla="*/ 1109245 h 5142899"/>
              <a:gd name="connsiteX701" fmla="*/ 4159536 w 5132661"/>
              <a:gd name="connsiteY701" fmla="*/ 358130 h 5142899"/>
              <a:gd name="connsiteX702" fmla="*/ 4068316 w 5132661"/>
              <a:gd name="connsiteY702" fmla="*/ 449656 h 5142899"/>
              <a:gd name="connsiteX703" fmla="*/ 4090568 w 5132661"/>
              <a:gd name="connsiteY703" fmla="*/ 470177 h 5142899"/>
              <a:gd name="connsiteX704" fmla="*/ 4135891 w 5132661"/>
              <a:gd name="connsiteY704" fmla="*/ 515465 h 5142899"/>
              <a:gd name="connsiteX705" fmla="*/ 4145734 w 5132661"/>
              <a:gd name="connsiteY705" fmla="*/ 522630 h 5142899"/>
              <a:gd name="connsiteX706" fmla="*/ 4234477 w 5132661"/>
              <a:gd name="connsiteY706" fmla="*/ 433691 h 5142899"/>
              <a:gd name="connsiteX707" fmla="*/ 4159514 w 5132661"/>
              <a:gd name="connsiteY707" fmla="*/ 358130 h 5142899"/>
              <a:gd name="connsiteX708" fmla="*/ 2733122 w 5132661"/>
              <a:gd name="connsiteY708" fmla="*/ 1774163 h 5142899"/>
              <a:gd name="connsiteX709" fmla="*/ 2733874 w 5132661"/>
              <a:gd name="connsiteY709" fmla="*/ 1780731 h 5142899"/>
              <a:gd name="connsiteX710" fmla="*/ 2740422 w 5132661"/>
              <a:gd name="connsiteY710" fmla="*/ 1787763 h 5142899"/>
              <a:gd name="connsiteX711" fmla="*/ 2748628 w 5132661"/>
              <a:gd name="connsiteY711" fmla="*/ 1781903 h 5142899"/>
              <a:gd name="connsiteX712" fmla="*/ 2723257 w 5132661"/>
              <a:gd name="connsiteY712" fmla="*/ 1750900 h 5142899"/>
              <a:gd name="connsiteX713" fmla="*/ 2710737 w 5132661"/>
              <a:gd name="connsiteY713" fmla="*/ 1755013 h 5142899"/>
              <a:gd name="connsiteX714" fmla="*/ 2675921 w 5132661"/>
              <a:gd name="connsiteY714" fmla="*/ 1774030 h 5142899"/>
              <a:gd name="connsiteX715" fmla="*/ 2552716 w 5132661"/>
              <a:gd name="connsiteY715" fmla="*/ 1896293 h 5142899"/>
              <a:gd name="connsiteX716" fmla="*/ 2528451 w 5132661"/>
              <a:gd name="connsiteY716" fmla="*/ 1935721 h 5142899"/>
              <a:gd name="connsiteX717" fmla="*/ 2521063 w 5132661"/>
              <a:gd name="connsiteY717" fmla="*/ 1958564 h 5142899"/>
              <a:gd name="connsiteX718" fmla="*/ 2546832 w 5132661"/>
              <a:gd name="connsiteY718" fmla="*/ 1983132 h 5142899"/>
              <a:gd name="connsiteX719" fmla="*/ 2567890 w 5132661"/>
              <a:gd name="connsiteY719" fmla="*/ 1976873 h 5142899"/>
              <a:gd name="connsiteX720" fmla="*/ 2660615 w 5132661"/>
              <a:gd name="connsiteY720" fmla="*/ 1893994 h 5142899"/>
              <a:gd name="connsiteX721" fmla="*/ 2663689 w 5132661"/>
              <a:gd name="connsiteY721" fmla="*/ 1882605 h 5142899"/>
              <a:gd name="connsiteX722" fmla="*/ 2648493 w 5132661"/>
              <a:gd name="connsiteY722" fmla="*/ 1893596 h 5142899"/>
              <a:gd name="connsiteX723" fmla="*/ 2608634 w 5132661"/>
              <a:gd name="connsiteY723" fmla="*/ 1925107 h 5142899"/>
              <a:gd name="connsiteX724" fmla="*/ 2553888 w 5132661"/>
              <a:gd name="connsiteY724" fmla="*/ 1958011 h 5142899"/>
              <a:gd name="connsiteX725" fmla="*/ 2543337 w 5132661"/>
              <a:gd name="connsiteY725" fmla="*/ 1957856 h 5142899"/>
              <a:gd name="connsiteX726" fmla="*/ 2567625 w 5132661"/>
              <a:gd name="connsiteY726" fmla="*/ 1911574 h 5142899"/>
              <a:gd name="connsiteX727" fmla="*/ 2656832 w 5132661"/>
              <a:gd name="connsiteY727" fmla="*/ 1813944 h 5142899"/>
              <a:gd name="connsiteX728" fmla="*/ 2704765 w 5132661"/>
              <a:gd name="connsiteY728" fmla="*/ 1778630 h 5142899"/>
              <a:gd name="connsiteX729" fmla="*/ 2730269 w 5132661"/>
              <a:gd name="connsiteY729" fmla="*/ 1769188 h 5142899"/>
              <a:gd name="connsiteX730" fmla="*/ 2733122 w 5132661"/>
              <a:gd name="connsiteY730" fmla="*/ 1774119 h 5142899"/>
              <a:gd name="connsiteX731" fmla="*/ 2367532 w 5132661"/>
              <a:gd name="connsiteY731" fmla="*/ 2124147 h 5142899"/>
              <a:gd name="connsiteX732" fmla="*/ 2429157 w 5132661"/>
              <a:gd name="connsiteY732" fmla="*/ 2062451 h 5142899"/>
              <a:gd name="connsiteX733" fmla="*/ 2451962 w 5132661"/>
              <a:gd name="connsiteY733" fmla="*/ 2059156 h 5142899"/>
              <a:gd name="connsiteX734" fmla="*/ 2458908 w 5132661"/>
              <a:gd name="connsiteY734" fmla="*/ 2055596 h 5142899"/>
              <a:gd name="connsiteX735" fmla="*/ 2459107 w 5132661"/>
              <a:gd name="connsiteY735" fmla="*/ 2047458 h 5142899"/>
              <a:gd name="connsiteX736" fmla="*/ 2449042 w 5132661"/>
              <a:gd name="connsiteY736" fmla="*/ 2040183 h 5142899"/>
              <a:gd name="connsiteX737" fmla="*/ 2421283 w 5132661"/>
              <a:gd name="connsiteY737" fmla="*/ 2044761 h 5142899"/>
              <a:gd name="connsiteX738" fmla="*/ 2345280 w 5132661"/>
              <a:gd name="connsiteY738" fmla="*/ 2119171 h 5142899"/>
              <a:gd name="connsiteX739" fmla="*/ 2339751 w 5132661"/>
              <a:gd name="connsiteY739" fmla="*/ 2135800 h 5142899"/>
              <a:gd name="connsiteX740" fmla="*/ 2362157 w 5132661"/>
              <a:gd name="connsiteY740" fmla="*/ 2162336 h 5142899"/>
              <a:gd name="connsiteX741" fmla="*/ 2375186 w 5132661"/>
              <a:gd name="connsiteY741" fmla="*/ 2160810 h 5142899"/>
              <a:gd name="connsiteX742" fmla="*/ 2420486 w 5132661"/>
              <a:gd name="connsiteY742" fmla="*/ 2127375 h 5142899"/>
              <a:gd name="connsiteX743" fmla="*/ 2420354 w 5132661"/>
              <a:gd name="connsiteY743" fmla="*/ 2112847 h 5142899"/>
              <a:gd name="connsiteX744" fmla="*/ 2361339 w 5132661"/>
              <a:gd name="connsiteY744" fmla="*/ 2139891 h 5142899"/>
              <a:gd name="connsiteX745" fmla="*/ 2367532 w 5132661"/>
              <a:gd name="connsiteY745" fmla="*/ 2124147 h 5142899"/>
              <a:gd name="connsiteX746" fmla="*/ 2188786 w 5132661"/>
              <a:gd name="connsiteY746" fmla="*/ 1597192 h 5142899"/>
              <a:gd name="connsiteX747" fmla="*/ 2155230 w 5132661"/>
              <a:gd name="connsiteY747" fmla="*/ 1632794 h 5142899"/>
              <a:gd name="connsiteX748" fmla="*/ 1984911 w 5132661"/>
              <a:gd name="connsiteY748" fmla="*/ 1799394 h 5142899"/>
              <a:gd name="connsiteX749" fmla="*/ 1836866 w 5132661"/>
              <a:gd name="connsiteY749" fmla="*/ 1945031 h 5142899"/>
              <a:gd name="connsiteX750" fmla="*/ 1716448 w 5132661"/>
              <a:gd name="connsiteY750" fmla="*/ 2061522 h 5142899"/>
              <a:gd name="connsiteX751" fmla="*/ 1624763 w 5132661"/>
              <a:gd name="connsiteY751" fmla="*/ 2150704 h 5142899"/>
              <a:gd name="connsiteX752" fmla="*/ 1599657 w 5132661"/>
              <a:gd name="connsiteY752" fmla="*/ 2172198 h 5142899"/>
              <a:gd name="connsiteX753" fmla="*/ 1547477 w 5132661"/>
              <a:gd name="connsiteY753" fmla="*/ 2168483 h 5142899"/>
              <a:gd name="connsiteX754" fmla="*/ 1483420 w 5132661"/>
              <a:gd name="connsiteY754" fmla="*/ 2107672 h 5142899"/>
              <a:gd name="connsiteX755" fmla="*/ 661860 w 5132661"/>
              <a:gd name="connsiteY755" fmla="*/ 1281329 h 5142899"/>
              <a:gd name="connsiteX756" fmla="*/ 244157 w 5132661"/>
              <a:gd name="connsiteY756" fmla="*/ 861004 h 5142899"/>
              <a:gd name="connsiteX757" fmla="*/ 195672 w 5132661"/>
              <a:gd name="connsiteY757" fmla="*/ 809613 h 5142899"/>
              <a:gd name="connsiteX758" fmla="*/ 173066 w 5132661"/>
              <a:gd name="connsiteY758" fmla="*/ 788606 h 5142899"/>
              <a:gd name="connsiteX759" fmla="*/ 169991 w 5132661"/>
              <a:gd name="connsiteY759" fmla="*/ 753711 h 5142899"/>
              <a:gd name="connsiteX760" fmla="*/ 186846 w 5132661"/>
              <a:gd name="connsiteY760" fmla="*/ 736220 h 5142899"/>
              <a:gd name="connsiteX761" fmla="*/ 406249 w 5132661"/>
              <a:gd name="connsiteY761" fmla="*/ 520971 h 5142899"/>
              <a:gd name="connsiteX762" fmla="*/ 503508 w 5132661"/>
              <a:gd name="connsiteY762" fmla="*/ 424514 h 5142899"/>
              <a:gd name="connsiteX763" fmla="*/ 733151 w 5132661"/>
              <a:gd name="connsiteY763" fmla="*/ 200818 h 5142899"/>
              <a:gd name="connsiteX764" fmla="*/ 751953 w 5132661"/>
              <a:gd name="connsiteY764" fmla="*/ 185472 h 5142899"/>
              <a:gd name="connsiteX765" fmla="*/ 786857 w 5132661"/>
              <a:gd name="connsiteY765" fmla="*/ 184985 h 5142899"/>
              <a:gd name="connsiteX766" fmla="*/ 800239 w 5132661"/>
              <a:gd name="connsiteY766" fmla="*/ 196440 h 5142899"/>
              <a:gd name="connsiteX767" fmla="*/ 1375145 w 5132661"/>
              <a:gd name="connsiteY767" fmla="*/ 772043 h 5142899"/>
              <a:gd name="connsiteX768" fmla="*/ 2067372 w 5132661"/>
              <a:gd name="connsiteY768" fmla="*/ 1468207 h 5142899"/>
              <a:gd name="connsiteX769" fmla="*/ 2121941 w 5132661"/>
              <a:gd name="connsiteY769" fmla="*/ 1523091 h 5142899"/>
              <a:gd name="connsiteX770" fmla="*/ 2147201 w 5132661"/>
              <a:gd name="connsiteY770" fmla="*/ 1550733 h 5142899"/>
              <a:gd name="connsiteX771" fmla="*/ 2179318 w 5132661"/>
              <a:gd name="connsiteY771" fmla="*/ 1583902 h 5142899"/>
              <a:gd name="connsiteX772" fmla="*/ 2188786 w 5132661"/>
              <a:gd name="connsiteY772" fmla="*/ 1597236 h 5142899"/>
              <a:gd name="connsiteX773" fmla="*/ 839656 w 5132661"/>
              <a:gd name="connsiteY773" fmla="*/ 754773 h 5142899"/>
              <a:gd name="connsiteX774" fmla="*/ 1060828 w 5132661"/>
              <a:gd name="connsiteY774" fmla="*/ 542067 h 5142899"/>
              <a:gd name="connsiteX775" fmla="*/ 1066579 w 5132661"/>
              <a:gd name="connsiteY775" fmla="*/ 534416 h 5142899"/>
              <a:gd name="connsiteX776" fmla="*/ 1056537 w 5132661"/>
              <a:gd name="connsiteY776" fmla="*/ 522607 h 5142899"/>
              <a:gd name="connsiteX777" fmla="*/ 1005109 w 5132661"/>
              <a:gd name="connsiteY777" fmla="*/ 470973 h 5142899"/>
              <a:gd name="connsiteX778" fmla="*/ 791900 w 5132661"/>
              <a:gd name="connsiteY778" fmla="*/ 256366 h 5142899"/>
              <a:gd name="connsiteX779" fmla="*/ 771462 w 5132661"/>
              <a:gd name="connsiteY779" fmla="*/ 233722 h 5142899"/>
              <a:gd name="connsiteX780" fmla="*/ 764804 w 5132661"/>
              <a:gd name="connsiteY780" fmla="*/ 237349 h 5142899"/>
              <a:gd name="connsiteX781" fmla="*/ 550290 w 5132661"/>
              <a:gd name="connsiteY781" fmla="*/ 450121 h 5142899"/>
              <a:gd name="connsiteX782" fmla="*/ 542814 w 5132661"/>
              <a:gd name="connsiteY782" fmla="*/ 459032 h 5142899"/>
              <a:gd name="connsiteX783" fmla="*/ 551794 w 5132661"/>
              <a:gd name="connsiteY783" fmla="*/ 469293 h 5142899"/>
              <a:gd name="connsiteX784" fmla="*/ 593534 w 5132661"/>
              <a:gd name="connsiteY784" fmla="*/ 508544 h 5142899"/>
              <a:gd name="connsiteX785" fmla="*/ 824062 w 5132661"/>
              <a:gd name="connsiteY785" fmla="*/ 740222 h 5142899"/>
              <a:gd name="connsiteX786" fmla="*/ 839678 w 5132661"/>
              <a:gd name="connsiteY786" fmla="*/ 754773 h 5142899"/>
              <a:gd name="connsiteX787" fmla="*/ 728418 w 5132661"/>
              <a:gd name="connsiteY787" fmla="*/ 865028 h 5142899"/>
              <a:gd name="connsiteX788" fmla="*/ 715987 w 5132661"/>
              <a:gd name="connsiteY788" fmla="*/ 851584 h 5142899"/>
              <a:gd name="connsiteX789" fmla="*/ 485281 w 5132661"/>
              <a:gd name="connsiteY789" fmla="*/ 619441 h 5142899"/>
              <a:gd name="connsiteX790" fmla="*/ 438277 w 5132661"/>
              <a:gd name="connsiteY790" fmla="*/ 569730 h 5142899"/>
              <a:gd name="connsiteX791" fmla="*/ 431332 w 5132661"/>
              <a:gd name="connsiteY791" fmla="*/ 565927 h 5142899"/>
              <a:gd name="connsiteX792" fmla="*/ 404921 w 5132661"/>
              <a:gd name="connsiteY792" fmla="*/ 590915 h 5142899"/>
              <a:gd name="connsiteX793" fmla="*/ 325911 w 5132661"/>
              <a:gd name="connsiteY793" fmla="*/ 667979 h 5142899"/>
              <a:gd name="connsiteX794" fmla="*/ 232478 w 5132661"/>
              <a:gd name="connsiteY794" fmla="*/ 758996 h 5142899"/>
              <a:gd name="connsiteX795" fmla="*/ 225931 w 5132661"/>
              <a:gd name="connsiteY795" fmla="*/ 770760 h 5142899"/>
              <a:gd name="connsiteX796" fmla="*/ 234204 w 5132661"/>
              <a:gd name="connsiteY796" fmla="*/ 779606 h 5142899"/>
              <a:gd name="connsiteX797" fmla="*/ 266631 w 5132661"/>
              <a:gd name="connsiteY797" fmla="*/ 809525 h 5142899"/>
              <a:gd name="connsiteX798" fmla="*/ 506803 w 5132661"/>
              <a:gd name="connsiteY798" fmla="*/ 1050977 h 5142899"/>
              <a:gd name="connsiteX799" fmla="*/ 523127 w 5132661"/>
              <a:gd name="connsiteY799" fmla="*/ 1066456 h 5142899"/>
              <a:gd name="connsiteX800" fmla="*/ 728418 w 5132661"/>
              <a:gd name="connsiteY800" fmla="*/ 865006 h 5142899"/>
              <a:gd name="connsiteX801" fmla="*/ 1892407 w 5132661"/>
              <a:gd name="connsiteY801" fmla="*/ 1814917 h 5142899"/>
              <a:gd name="connsiteX802" fmla="*/ 1925609 w 5132661"/>
              <a:gd name="connsiteY802" fmla="*/ 1782544 h 5142899"/>
              <a:gd name="connsiteX803" fmla="*/ 2107121 w 5132661"/>
              <a:gd name="connsiteY803" fmla="*/ 1604600 h 5142899"/>
              <a:gd name="connsiteX804" fmla="*/ 2117871 w 5132661"/>
              <a:gd name="connsiteY804" fmla="*/ 1589364 h 5142899"/>
              <a:gd name="connsiteX805" fmla="*/ 2092389 w 5132661"/>
              <a:gd name="connsiteY805" fmla="*/ 1564465 h 5142899"/>
              <a:gd name="connsiteX806" fmla="*/ 1880374 w 5132661"/>
              <a:gd name="connsiteY806" fmla="*/ 1351383 h 5142899"/>
              <a:gd name="connsiteX807" fmla="*/ 1861971 w 5132661"/>
              <a:gd name="connsiteY807" fmla="*/ 1335572 h 5142899"/>
              <a:gd name="connsiteX808" fmla="*/ 1850248 w 5132661"/>
              <a:gd name="connsiteY808" fmla="*/ 1346496 h 5142899"/>
              <a:gd name="connsiteX809" fmla="*/ 1816892 w 5132661"/>
              <a:gd name="connsiteY809" fmla="*/ 1381744 h 5142899"/>
              <a:gd name="connsiteX810" fmla="*/ 1652987 w 5132661"/>
              <a:gd name="connsiteY810" fmla="*/ 1542904 h 5142899"/>
              <a:gd name="connsiteX811" fmla="*/ 1639848 w 5132661"/>
              <a:gd name="connsiteY811" fmla="*/ 1560927 h 5142899"/>
              <a:gd name="connsiteX812" fmla="*/ 1892452 w 5132661"/>
              <a:gd name="connsiteY812" fmla="*/ 1814962 h 5142899"/>
              <a:gd name="connsiteX813" fmla="*/ 946493 w 5132661"/>
              <a:gd name="connsiteY813" fmla="*/ 863503 h 5142899"/>
              <a:gd name="connsiteX814" fmla="*/ 1190426 w 5132661"/>
              <a:gd name="connsiteY814" fmla="*/ 1108847 h 5142899"/>
              <a:gd name="connsiteX815" fmla="*/ 1197482 w 5132661"/>
              <a:gd name="connsiteY815" fmla="*/ 1104955 h 5142899"/>
              <a:gd name="connsiteX816" fmla="*/ 1290605 w 5132661"/>
              <a:gd name="connsiteY816" fmla="*/ 1014424 h 5142899"/>
              <a:gd name="connsiteX817" fmla="*/ 1410713 w 5132661"/>
              <a:gd name="connsiteY817" fmla="*/ 897181 h 5142899"/>
              <a:gd name="connsiteX818" fmla="*/ 1417769 w 5132661"/>
              <a:gd name="connsiteY818" fmla="*/ 887407 h 5142899"/>
              <a:gd name="connsiteX819" fmla="*/ 1171049 w 5132661"/>
              <a:gd name="connsiteY819" fmla="*/ 641134 h 5142899"/>
              <a:gd name="connsiteX820" fmla="*/ 946493 w 5132661"/>
              <a:gd name="connsiteY820" fmla="*/ 863503 h 5142899"/>
              <a:gd name="connsiteX821" fmla="*/ 1779997 w 5132661"/>
              <a:gd name="connsiteY821" fmla="*/ 1924819 h 5142899"/>
              <a:gd name="connsiteX822" fmla="*/ 1525690 w 5132661"/>
              <a:gd name="connsiteY822" fmla="*/ 1669015 h 5142899"/>
              <a:gd name="connsiteX823" fmla="*/ 1473643 w 5132661"/>
              <a:gd name="connsiteY823" fmla="*/ 1718283 h 5142899"/>
              <a:gd name="connsiteX824" fmla="*/ 1423122 w 5132661"/>
              <a:gd name="connsiteY824" fmla="*/ 1767817 h 5142899"/>
              <a:gd name="connsiteX825" fmla="*/ 1371097 w 5132661"/>
              <a:gd name="connsiteY825" fmla="*/ 1818986 h 5142899"/>
              <a:gd name="connsiteX826" fmla="*/ 1320975 w 5132661"/>
              <a:gd name="connsiteY826" fmla="*/ 1869890 h 5142899"/>
              <a:gd name="connsiteX827" fmla="*/ 1575834 w 5132661"/>
              <a:gd name="connsiteY827" fmla="*/ 2126336 h 5142899"/>
              <a:gd name="connsiteX828" fmla="*/ 1780019 w 5132661"/>
              <a:gd name="connsiteY828" fmla="*/ 1924797 h 5142899"/>
              <a:gd name="connsiteX829" fmla="*/ 1532215 w 5132661"/>
              <a:gd name="connsiteY829" fmla="*/ 1449609 h 5142899"/>
              <a:gd name="connsiteX830" fmla="*/ 1588443 w 5132661"/>
              <a:gd name="connsiteY830" fmla="*/ 1394570 h 5142899"/>
              <a:gd name="connsiteX831" fmla="*/ 1645312 w 5132661"/>
              <a:gd name="connsiteY831" fmla="*/ 1338845 h 5142899"/>
              <a:gd name="connsiteX832" fmla="*/ 1700477 w 5132661"/>
              <a:gd name="connsiteY832" fmla="*/ 1284558 h 5142899"/>
              <a:gd name="connsiteX833" fmla="*/ 1757015 w 5132661"/>
              <a:gd name="connsiteY833" fmla="*/ 1230093 h 5142899"/>
              <a:gd name="connsiteX834" fmla="*/ 1526685 w 5132661"/>
              <a:gd name="connsiteY834" fmla="*/ 998857 h 5142899"/>
              <a:gd name="connsiteX835" fmla="*/ 1513701 w 5132661"/>
              <a:gd name="connsiteY835" fmla="*/ 1010333 h 5142899"/>
              <a:gd name="connsiteX836" fmla="*/ 1409629 w 5132661"/>
              <a:gd name="connsiteY836" fmla="*/ 1112651 h 5142899"/>
              <a:gd name="connsiteX837" fmla="*/ 1307769 w 5132661"/>
              <a:gd name="connsiteY837" fmla="*/ 1213884 h 5142899"/>
              <a:gd name="connsiteX838" fmla="*/ 1304009 w 5132661"/>
              <a:gd name="connsiteY838" fmla="*/ 1220960 h 5142899"/>
              <a:gd name="connsiteX839" fmla="*/ 1532193 w 5132661"/>
              <a:gd name="connsiteY839" fmla="*/ 1449609 h 5142899"/>
              <a:gd name="connsiteX840" fmla="*/ 1078922 w 5132661"/>
              <a:gd name="connsiteY840" fmla="*/ 1219280 h 5142899"/>
              <a:gd name="connsiteX841" fmla="*/ 957354 w 5132661"/>
              <a:gd name="connsiteY841" fmla="*/ 1096818 h 5142899"/>
              <a:gd name="connsiteX842" fmla="*/ 836316 w 5132661"/>
              <a:gd name="connsiteY842" fmla="*/ 972874 h 5142899"/>
              <a:gd name="connsiteX843" fmla="*/ 636025 w 5132661"/>
              <a:gd name="connsiteY843" fmla="*/ 1167049 h 5142899"/>
              <a:gd name="connsiteX844" fmla="*/ 630937 w 5132661"/>
              <a:gd name="connsiteY844" fmla="*/ 1174302 h 5142899"/>
              <a:gd name="connsiteX845" fmla="*/ 636689 w 5132661"/>
              <a:gd name="connsiteY845" fmla="*/ 1181621 h 5142899"/>
              <a:gd name="connsiteX846" fmla="*/ 872304 w 5132661"/>
              <a:gd name="connsiteY846" fmla="*/ 1417899 h 5142899"/>
              <a:gd name="connsiteX847" fmla="*/ 874273 w 5132661"/>
              <a:gd name="connsiteY847" fmla="*/ 1418762 h 5142899"/>
              <a:gd name="connsiteX848" fmla="*/ 877348 w 5132661"/>
              <a:gd name="connsiteY848" fmla="*/ 1419226 h 5142899"/>
              <a:gd name="connsiteX849" fmla="*/ 1078944 w 5132661"/>
              <a:gd name="connsiteY849" fmla="*/ 1219280 h 5142899"/>
              <a:gd name="connsiteX850" fmla="*/ 1414872 w 5132661"/>
              <a:gd name="connsiteY850" fmla="*/ 1559865 h 5142899"/>
              <a:gd name="connsiteX851" fmla="*/ 1188767 w 5132661"/>
              <a:gd name="connsiteY851" fmla="*/ 1332919 h 5142899"/>
              <a:gd name="connsiteX852" fmla="*/ 1120772 w 5132661"/>
              <a:gd name="connsiteY852" fmla="*/ 1398396 h 5142899"/>
              <a:gd name="connsiteX853" fmla="*/ 1052865 w 5132661"/>
              <a:gd name="connsiteY853" fmla="*/ 1464779 h 5142899"/>
              <a:gd name="connsiteX854" fmla="*/ 984384 w 5132661"/>
              <a:gd name="connsiteY854" fmla="*/ 1531362 h 5142899"/>
              <a:gd name="connsiteX855" fmla="*/ 1212147 w 5132661"/>
              <a:gd name="connsiteY855" fmla="*/ 1760431 h 5142899"/>
              <a:gd name="connsiteX856" fmla="*/ 1414872 w 5132661"/>
              <a:gd name="connsiteY856" fmla="*/ 1559865 h 5142899"/>
              <a:gd name="connsiteX857" fmla="*/ 951514 w 5132661"/>
              <a:gd name="connsiteY857" fmla="*/ 1496909 h 5142899"/>
              <a:gd name="connsiteX858" fmla="*/ 979296 w 5132661"/>
              <a:gd name="connsiteY858" fmla="*/ 1469290 h 5142899"/>
              <a:gd name="connsiteX859" fmla="*/ 1036497 w 5132661"/>
              <a:gd name="connsiteY859" fmla="*/ 1410978 h 5142899"/>
              <a:gd name="connsiteX860" fmla="*/ 1104514 w 5132661"/>
              <a:gd name="connsiteY860" fmla="*/ 1344705 h 5142899"/>
              <a:gd name="connsiteX861" fmla="*/ 1246299 w 5132661"/>
              <a:gd name="connsiteY861" fmla="*/ 1205216 h 5142899"/>
              <a:gd name="connsiteX862" fmla="*/ 1319913 w 5132661"/>
              <a:gd name="connsiteY862" fmla="*/ 1135405 h 5142899"/>
              <a:gd name="connsiteX863" fmla="*/ 1411266 w 5132661"/>
              <a:gd name="connsiteY863" fmla="*/ 1045648 h 5142899"/>
              <a:gd name="connsiteX864" fmla="*/ 1484083 w 5132661"/>
              <a:gd name="connsiteY864" fmla="*/ 974687 h 5142899"/>
              <a:gd name="connsiteX865" fmla="*/ 1493572 w 5132661"/>
              <a:gd name="connsiteY865" fmla="*/ 962923 h 5142899"/>
              <a:gd name="connsiteX866" fmla="*/ 1453404 w 5132661"/>
              <a:gd name="connsiteY866" fmla="*/ 922987 h 5142899"/>
              <a:gd name="connsiteX867" fmla="*/ 1434867 w 5132661"/>
              <a:gd name="connsiteY867" fmla="*/ 940567 h 5142899"/>
              <a:gd name="connsiteX868" fmla="*/ 1318254 w 5132661"/>
              <a:gd name="connsiteY868" fmla="*/ 1055267 h 5142899"/>
              <a:gd name="connsiteX869" fmla="*/ 923754 w 5132661"/>
              <a:gd name="connsiteY869" fmla="*/ 1442113 h 5142899"/>
              <a:gd name="connsiteX870" fmla="*/ 912142 w 5132661"/>
              <a:gd name="connsiteY870" fmla="*/ 1457504 h 5142899"/>
              <a:gd name="connsiteX871" fmla="*/ 951492 w 5132661"/>
              <a:gd name="connsiteY871" fmla="*/ 1496843 h 5142899"/>
              <a:gd name="connsiteX872" fmla="*/ 1790503 w 5132661"/>
              <a:gd name="connsiteY872" fmla="*/ 1262643 h 5142899"/>
              <a:gd name="connsiteX873" fmla="*/ 1253599 w 5132661"/>
              <a:gd name="connsiteY873" fmla="*/ 1790571 h 5142899"/>
              <a:gd name="connsiteX874" fmla="*/ 1249927 w 5132661"/>
              <a:gd name="connsiteY874" fmla="*/ 1797050 h 5142899"/>
              <a:gd name="connsiteX875" fmla="*/ 1288349 w 5132661"/>
              <a:gd name="connsiteY875" fmla="*/ 1833139 h 5142899"/>
              <a:gd name="connsiteX876" fmla="*/ 1822975 w 5132661"/>
              <a:gd name="connsiteY876" fmla="*/ 1308307 h 5142899"/>
              <a:gd name="connsiteX877" fmla="*/ 1828925 w 5132661"/>
              <a:gd name="connsiteY877" fmla="*/ 1300877 h 5142899"/>
              <a:gd name="connsiteX878" fmla="*/ 1790503 w 5132661"/>
              <a:gd name="connsiteY878" fmla="*/ 1262643 h 5142899"/>
              <a:gd name="connsiteX879" fmla="*/ 1100488 w 5132661"/>
              <a:gd name="connsiteY879" fmla="*/ 568625 h 5142899"/>
              <a:gd name="connsiteX880" fmla="*/ 1084385 w 5132661"/>
              <a:gd name="connsiteY880" fmla="*/ 583794 h 5142899"/>
              <a:gd name="connsiteX881" fmla="*/ 983189 w 5132661"/>
              <a:gd name="connsiteY881" fmla="*/ 685492 h 5142899"/>
              <a:gd name="connsiteX882" fmla="*/ 574776 w 5132661"/>
              <a:gd name="connsiteY882" fmla="*/ 1086203 h 5142899"/>
              <a:gd name="connsiteX883" fmla="*/ 558474 w 5132661"/>
              <a:gd name="connsiteY883" fmla="*/ 1101904 h 5142899"/>
              <a:gd name="connsiteX884" fmla="*/ 597493 w 5132661"/>
              <a:gd name="connsiteY884" fmla="*/ 1138788 h 5142899"/>
              <a:gd name="connsiteX885" fmla="*/ 609305 w 5132661"/>
              <a:gd name="connsiteY885" fmla="*/ 1127665 h 5142899"/>
              <a:gd name="connsiteX886" fmla="*/ 665023 w 5132661"/>
              <a:gd name="connsiteY886" fmla="*/ 1071056 h 5142899"/>
              <a:gd name="connsiteX887" fmla="*/ 824394 w 5132661"/>
              <a:gd name="connsiteY887" fmla="*/ 914893 h 5142899"/>
              <a:gd name="connsiteX888" fmla="*/ 1123094 w 5132661"/>
              <a:gd name="connsiteY888" fmla="*/ 623222 h 5142899"/>
              <a:gd name="connsiteX889" fmla="*/ 1137804 w 5132661"/>
              <a:gd name="connsiteY889" fmla="*/ 605974 h 5142899"/>
              <a:gd name="connsiteX890" fmla="*/ 1100488 w 5132661"/>
              <a:gd name="connsiteY890" fmla="*/ 568625 h 5142899"/>
              <a:gd name="connsiteX891" fmla="*/ 800947 w 5132661"/>
              <a:gd name="connsiteY891" fmla="*/ 792409 h 5142899"/>
              <a:gd name="connsiteX892" fmla="*/ 544473 w 5132661"/>
              <a:gd name="connsiteY892" fmla="*/ 530590 h 5142899"/>
              <a:gd name="connsiteX893" fmla="*/ 519655 w 5132661"/>
              <a:gd name="connsiteY893" fmla="*/ 505470 h 5142899"/>
              <a:gd name="connsiteX894" fmla="*/ 509922 w 5132661"/>
              <a:gd name="connsiteY894" fmla="*/ 496536 h 5142899"/>
              <a:gd name="connsiteX895" fmla="*/ 505122 w 5132661"/>
              <a:gd name="connsiteY895" fmla="*/ 494767 h 5142899"/>
              <a:gd name="connsiteX896" fmla="*/ 467940 w 5132661"/>
              <a:gd name="connsiteY896" fmla="*/ 532514 h 5142899"/>
              <a:gd name="connsiteX897" fmla="*/ 481278 w 5132661"/>
              <a:gd name="connsiteY897" fmla="*/ 547087 h 5142899"/>
              <a:gd name="connsiteX898" fmla="*/ 524609 w 5132661"/>
              <a:gd name="connsiteY898" fmla="*/ 587841 h 5142899"/>
              <a:gd name="connsiteX899" fmla="*/ 753479 w 5132661"/>
              <a:gd name="connsiteY899" fmla="*/ 817839 h 5142899"/>
              <a:gd name="connsiteX900" fmla="*/ 765291 w 5132661"/>
              <a:gd name="connsiteY900" fmla="*/ 828011 h 5142899"/>
              <a:gd name="connsiteX901" fmla="*/ 800947 w 5132661"/>
              <a:gd name="connsiteY901" fmla="*/ 792409 h 5142899"/>
              <a:gd name="connsiteX902" fmla="*/ 1852592 w 5132661"/>
              <a:gd name="connsiteY902" fmla="*/ 1852797 h 5142899"/>
              <a:gd name="connsiteX903" fmla="*/ 1850580 w 5132661"/>
              <a:gd name="connsiteY903" fmla="*/ 1847822 h 5142899"/>
              <a:gd name="connsiteX904" fmla="*/ 1844740 w 5132661"/>
              <a:gd name="connsiteY904" fmla="*/ 1841210 h 5142899"/>
              <a:gd name="connsiteX905" fmla="*/ 1603218 w 5132661"/>
              <a:gd name="connsiteY905" fmla="*/ 1598851 h 5142899"/>
              <a:gd name="connsiteX906" fmla="*/ 1601338 w 5132661"/>
              <a:gd name="connsiteY906" fmla="*/ 1597789 h 5142899"/>
              <a:gd name="connsiteX907" fmla="*/ 1598020 w 5132661"/>
              <a:gd name="connsiteY907" fmla="*/ 1597347 h 5142899"/>
              <a:gd name="connsiteX908" fmla="*/ 1564554 w 5132661"/>
              <a:gd name="connsiteY908" fmla="*/ 1630472 h 5142899"/>
              <a:gd name="connsiteX909" fmla="*/ 1568137 w 5132661"/>
              <a:gd name="connsiteY909" fmla="*/ 1636996 h 5142899"/>
              <a:gd name="connsiteX910" fmla="*/ 1812579 w 5132661"/>
              <a:gd name="connsiteY910" fmla="*/ 1882716 h 5142899"/>
              <a:gd name="connsiteX911" fmla="*/ 1818838 w 5132661"/>
              <a:gd name="connsiteY911" fmla="*/ 1886188 h 5142899"/>
              <a:gd name="connsiteX912" fmla="*/ 1852570 w 5132661"/>
              <a:gd name="connsiteY912" fmla="*/ 1852797 h 5142899"/>
              <a:gd name="connsiteX913" fmla="*/ 872304 w 5132661"/>
              <a:gd name="connsiteY913" fmla="*/ 937427 h 5142899"/>
              <a:gd name="connsiteX914" fmla="*/ 1115618 w 5132661"/>
              <a:gd name="connsiteY914" fmla="*/ 1182063 h 5142899"/>
              <a:gd name="connsiteX915" fmla="*/ 1152049 w 5132661"/>
              <a:gd name="connsiteY915" fmla="*/ 1146307 h 5142899"/>
              <a:gd name="connsiteX916" fmla="*/ 1145855 w 5132661"/>
              <a:gd name="connsiteY916" fmla="*/ 1138390 h 5142899"/>
              <a:gd name="connsiteX917" fmla="*/ 918755 w 5132661"/>
              <a:gd name="connsiteY917" fmla="*/ 910095 h 5142899"/>
              <a:gd name="connsiteX918" fmla="*/ 907828 w 5132661"/>
              <a:gd name="connsiteY918" fmla="*/ 902046 h 5142899"/>
              <a:gd name="connsiteX919" fmla="*/ 872282 w 5132661"/>
              <a:gd name="connsiteY919" fmla="*/ 937449 h 5142899"/>
              <a:gd name="connsiteX920" fmla="*/ 1263752 w 5132661"/>
              <a:gd name="connsiteY920" fmla="*/ 1259393 h 5142899"/>
              <a:gd name="connsiteX921" fmla="*/ 1228980 w 5132661"/>
              <a:gd name="connsiteY921" fmla="*/ 1294066 h 5142899"/>
              <a:gd name="connsiteX922" fmla="*/ 1233338 w 5132661"/>
              <a:gd name="connsiteY922" fmla="*/ 1300368 h 5142899"/>
              <a:gd name="connsiteX923" fmla="*/ 1451369 w 5132661"/>
              <a:gd name="connsiteY923" fmla="*/ 1519288 h 5142899"/>
              <a:gd name="connsiteX924" fmla="*/ 1453293 w 5132661"/>
              <a:gd name="connsiteY924" fmla="*/ 1520305 h 5142899"/>
              <a:gd name="connsiteX925" fmla="*/ 1456522 w 5132661"/>
              <a:gd name="connsiteY925" fmla="*/ 1520703 h 5142899"/>
              <a:gd name="connsiteX926" fmla="*/ 1490078 w 5132661"/>
              <a:gd name="connsiteY926" fmla="*/ 1487843 h 5142899"/>
              <a:gd name="connsiteX927" fmla="*/ 1263752 w 5132661"/>
              <a:gd name="connsiteY927" fmla="*/ 1259415 h 5142899"/>
              <a:gd name="connsiteX928" fmla="*/ 3542869 w 5132661"/>
              <a:gd name="connsiteY928" fmla="*/ 2959534 h 5142899"/>
              <a:gd name="connsiteX929" fmla="*/ 3551961 w 5132661"/>
              <a:gd name="connsiteY929" fmla="*/ 2964863 h 5142899"/>
              <a:gd name="connsiteX930" fmla="*/ 3586732 w 5132661"/>
              <a:gd name="connsiteY930" fmla="*/ 2998519 h 5142899"/>
              <a:gd name="connsiteX931" fmla="*/ 3620309 w 5132661"/>
              <a:gd name="connsiteY931" fmla="*/ 3030340 h 5142899"/>
              <a:gd name="connsiteX932" fmla="*/ 4095899 w 5132661"/>
              <a:gd name="connsiteY932" fmla="*/ 3508513 h 5142899"/>
              <a:gd name="connsiteX933" fmla="*/ 4753863 w 5132661"/>
              <a:gd name="connsiteY933" fmla="*/ 4170203 h 5142899"/>
              <a:gd name="connsiteX934" fmla="*/ 4870653 w 5132661"/>
              <a:gd name="connsiteY934" fmla="*/ 4287933 h 5142899"/>
              <a:gd name="connsiteX935" fmla="*/ 4939312 w 5132661"/>
              <a:gd name="connsiteY935" fmla="*/ 4359756 h 5142899"/>
              <a:gd name="connsiteX936" fmla="*/ 4946346 w 5132661"/>
              <a:gd name="connsiteY936" fmla="*/ 4368225 h 5142899"/>
              <a:gd name="connsiteX937" fmla="*/ 4947032 w 5132661"/>
              <a:gd name="connsiteY937" fmla="*/ 4401351 h 5142899"/>
              <a:gd name="connsiteX938" fmla="*/ 4933052 w 5132661"/>
              <a:gd name="connsiteY938" fmla="*/ 4418334 h 5142899"/>
              <a:gd name="connsiteX939" fmla="*/ 4799363 w 5132661"/>
              <a:gd name="connsiteY939" fmla="*/ 4550326 h 5142899"/>
              <a:gd name="connsiteX940" fmla="*/ 4626544 w 5132661"/>
              <a:gd name="connsiteY940" fmla="*/ 4721106 h 5142899"/>
              <a:gd name="connsiteX941" fmla="*/ 4482104 w 5132661"/>
              <a:gd name="connsiteY941" fmla="*/ 4860927 h 5142899"/>
              <a:gd name="connsiteX942" fmla="*/ 4377590 w 5132661"/>
              <a:gd name="connsiteY942" fmla="*/ 4962757 h 5142899"/>
              <a:gd name="connsiteX943" fmla="*/ 4364650 w 5132661"/>
              <a:gd name="connsiteY943" fmla="*/ 4974765 h 5142899"/>
              <a:gd name="connsiteX944" fmla="*/ 4331050 w 5132661"/>
              <a:gd name="connsiteY944" fmla="*/ 4971072 h 5142899"/>
              <a:gd name="connsiteX945" fmla="*/ 4310302 w 5132661"/>
              <a:gd name="connsiteY945" fmla="*/ 4948207 h 5142899"/>
              <a:gd name="connsiteX946" fmla="*/ 4022197 w 5132661"/>
              <a:gd name="connsiteY946" fmla="*/ 4661113 h 5142899"/>
              <a:gd name="connsiteX947" fmla="*/ 3336230 w 5132661"/>
              <a:gd name="connsiteY947" fmla="*/ 3971163 h 5142899"/>
              <a:gd name="connsiteX948" fmla="*/ 2994795 w 5132661"/>
              <a:gd name="connsiteY948" fmla="*/ 3627769 h 5142899"/>
              <a:gd name="connsiteX949" fmla="*/ 2957767 w 5132661"/>
              <a:gd name="connsiteY949" fmla="*/ 3586948 h 5142899"/>
              <a:gd name="connsiteX950" fmla="*/ 2955290 w 5132661"/>
              <a:gd name="connsiteY950" fmla="*/ 3536707 h 5142899"/>
              <a:gd name="connsiteX951" fmla="*/ 2975396 w 5132661"/>
              <a:gd name="connsiteY951" fmla="*/ 3513268 h 5142899"/>
              <a:gd name="connsiteX952" fmla="*/ 3062768 w 5132661"/>
              <a:gd name="connsiteY952" fmla="*/ 3425611 h 5142899"/>
              <a:gd name="connsiteX953" fmla="*/ 3171086 w 5132661"/>
              <a:gd name="connsiteY953" fmla="*/ 3318717 h 5142899"/>
              <a:gd name="connsiteX954" fmla="*/ 3275025 w 5132661"/>
              <a:gd name="connsiteY954" fmla="*/ 3216665 h 5142899"/>
              <a:gd name="connsiteX955" fmla="*/ 3351625 w 5132661"/>
              <a:gd name="connsiteY955" fmla="*/ 3143404 h 5142899"/>
              <a:gd name="connsiteX956" fmla="*/ 3426698 w 5132661"/>
              <a:gd name="connsiteY956" fmla="*/ 3068706 h 5142899"/>
              <a:gd name="connsiteX957" fmla="*/ 3536499 w 5132661"/>
              <a:gd name="connsiteY957" fmla="*/ 2963205 h 5142899"/>
              <a:gd name="connsiteX958" fmla="*/ 3542825 w 5132661"/>
              <a:gd name="connsiteY958" fmla="*/ 2959490 h 5142899"/>
              <a:gd name="connsiteX959" fmla="*/ 4372635 w 5132661"/>
              <a:gd name="connsiteY959" fmla="*/ 4309073 h 5142899"/>
              <a:gd name="connsiteX960" fmla="*/ 4668703 w 5132661"/>
              <a:gd name="connsiteY960" fmla="*/ 4608528 h 5142899"/>
              <a:gd name="connsiteX961" fmla="*/ 4677086 w 5132661"/>
              <a:gd name="connsiteY961" fmla="*/ 4600899 h 5142899"/>
              <a:gd name="connsiteX962" fmla="*/ 4748333 w 5132661"/>
              <a:gd name="connsiteY962" fmla="*/ 4531486 h 5142899"/>
              <a:gd name="connsiteX963" fmla="*/ 4889057 w 5132661"/>
              <a:gd name="connsiteY963" fmla="*/ 4393921 h 5142899"/>
              <a:gd name="connsiteX964" fmla="*/ 4897263 w 5132661"/>
              <a:gd name="connsiteY964" fmla="*/ 4383704 h 5142899"/>
              <a:gd name="connsiteX965" fmla="*/ 4865920 w 5132661"/>
              <a:gd name="connsiteY965" fmla="*/ 4354184 h 5142899"/>
              <a:gd name="connsiteX966" fmla="*/ 4610197 w 5132661"/>
              <a:gd name="connsiteY966" fmla="*/ 4097075 h 5142899"/>
              <a:gd name="connsiteX967" fmla="*/ 4596926 w 5132661"/>
              <a:gd name="connsiteY967" fmla="*/ 4086040 h 5142899"/>
              <a:gd name="connsiteX968" fmla="*/ 4581509 w 5132661"/>
              <a:gd name="connsiteY968" fmla="*/ 4100591 h 5142899"/>
              <a:gd name="connsiteX969" fmla="*/ 4538509 w 5132661"/>
              <a:gd name="connsiteY969" fmla="*/ 4144994 h 5142899"/>
              <a:gd name="connsiteX970" fmla="*/ 4388649 w 5132661"/>
              <a:gd name="connsiteY970" fmla="*/ 4292201 h 5142899"/>
              <a:gd name="connsiteX971" fmla="*/ 4372635 w 5132661"/>
              <a:gd name="connsiteY971" fmla="*/ 4309029 h 5142899"/>
              <a:gd name="connsiteX972" fmla="*/ 4055089 w 5132661"/>
              <a:gd name="connsiteY972" fmla="*/ 4619164 h 5142899"/>
              <a:gd name="connsiteX973" fmla="*/ 4067896 w 5132661"/>
              <a:gd name="connsiteY973" fmla="*/ 4632897 h 5142899"/>
              <a:gd name="connsiteX974" fmla="*/ 4267369 w 5132661"/>
              <a:gd name="connsiteY974" fmla="*/ 4833727 h 5142899"/>
              <a:gd name="connsiteX975" fmla="*/ 4343990 w 5132661"/>
              <a:gd name="connsiteY975" fmla="*/ 4913290 h 5142899"/>
              <a:gd name="connsiteX976" fmla="*/ 4353126 w 5132661"/>
              <a:gd name="connsiteY976" fmla="*/ 4919415 h 5142899"/>
              <a:gd name="connsiteX977" fmla="*/ 4559588 w 5132661"/>
              <a:gd name="connsiteY977" fmla="*/ 4716882 h 5142899"/>
              <a:gd name="connsiteX978" fmla="*/ 4552045 w 5132661"/>
              <a:gd name="connsiteY978" fmla="*/ 4707727 h 5142899"/>
              <a:gd name="connsiteX979" fmla="*/ 4532404 w 5132661"/>
              <a:gd name="connsiteY979" fmla="*/ 4690037 h 5142899"/>
              <a:gd name="connsiteX980" fmla="*/ 4271903 w 5132661"/>
              <a:gd name="connsiteY980" fmla="*/ 4428262 h 5142899"/>
              <a:gd name="connsiteX981" fmla="*/ 4260003 w 5132661"/>
              <a:gd name="connsiteY981" fmla="*/ 4418378 h 5142899"/>
              <a:gd name="connsiteX982" fmla="*/ 4055111 w 5132661"/>
              <a:gd name="connsiteY982" fmla="*/ 4619143 h 5142899"/>
              <a:gd name="connsiteX983" fmla="*/ 3802839 w 5132661"/>
              <a:gd name="connsiteY983" fmla="*/ 3285127 h 5142899"/>
              <a:gd name="connsiteX984" fmla="*/ 3547116 w 5132661"/>
              <a:gd name="connsiteY984" fmla="*/ 3027576 h 5142899"/>
              <a:gd name="connsiteX985" fmla="*/ 3532053 w 5132661"/>
              <a:gd name="connsiteY985" fmla="*/ 3040822 h 5142899"/>
              <a:gd name="connsiteX986" fmla="*/ 3327050 w 5132661"/>
              <a:gd name="connsiteY986" fmla="*/ 3241918 h 5142899"/>
              <a:gd name="connsiteX987" fmla="*/ 3320990 w 5132661"/>
              <a:gd name="connsiteY987" fmla="*/ 3249724 h 5142899"/>
              <a:gd name="connsiteX988" fmla="*/ 3575495 w 5132661"/>
              <a:gd name="connsiteY988" fmla="*/ 3504334 h 5142899"/>
              <a:gd name="connsiteX989" fmla="*/ 3780211 w 5132661"/>
              <a:gd name="connsiteY989" fmla="*/ 3307351 h 5142899"/>
              <a:gd name="connsiteX990" fmla="*/ 3802839 w 5132661"/>
              <a:gd name="connsiteY990" fmla="*/ 3285105 h 5142899"/>
              <a:gd name="connsiteX991" fmla="*/ 4492964 w 5132661"/>
              <a:gd name="connsiteY991" fmla="*/ 3980694 h 5142899"/>
              <a:gd name="connsiteX992" fmla="*/ 4486351 w 5132661"/>
              <a:gd name="connsiteY992" fmla="*/ 3972644 h 5142899"/>
              <a:gd name="connsiteX993" fmla="*/ 4249474 w 5132661"/>
              <a:gd name="connsiteY993" fmla="*/ 3734929 h 5142899"/>
              <a:gd name="connsiteX994" fmla="*/ 4247572 w 5132661"/>
              <a:gd name="connsiteY994" fmla="*/ 3733823 h 5142899"/>
              <a:gd name="connsiteX995" fmla="*/ 4243281 w 5132661"/>
              <a:gd name="connsiteY995" fmla="*/ 3733779 h 5142899"/>
              <a:gd name="connsiteX996" fmla="*/ 4168937 w 5132661"/>
              <a:gd name="connsiteY996" fmla="*/ 3806752 h 5142899"/>
              <a:gd name="connsiteX997" fmla="*/ 4095987 w 5132661"/>
              <a:gd name="connsiteY997" fmla="*/ 3880411 h 5142899"/>
              <a:gd name="connsiteX998" fmla="*/ 4022064 w 5132661"/>
              <a:gd name="connsiteY998" fmla="*/ 3955087 h 5142899"/>
              <a:gd name="connsiteX999" fmla="*/ 4266506 w 5132661"/>
              <a:gd name="connsiteY999" fmla="*/ 4199834 h 5142899"/>
              <a:gd name="connsiteX1000" fmla="*/ 4492964 w 5132661"/>
              <a:gd name="connsiteY1000" fmla="*/ 3980672 h 5142899"/>
              <a:gd name="connsiteX1001" fmla="*/ 3460740 w 5132661"/>
              <a:gd name="connsiteY1001" fmla="*/ 3615165 h 5142899"/>
              <a:gd name="connsiteX1002" fmla="*/ 3382703 w 5132661"/>
              <a:gd name="connsiteY1002" fmla="*/ 3536331 h 5142899"/>
              <a:gd name="connsiteX1003" fmla="*/ 3228553 w 5132661"/>
              <a:gd name="connsiteY1003" fmla="*/ 3381076 h 5142899"/>
              <a:gd name="connsiteX1004" fmla="*/ 3205084 w 5132661"/>
              <a:gd name="connsiteY1004" fmla="*/ 3361528 h 5142899"/>
              <a:gd name="connsiteX1005" fmla="*/ 3002868 w 5132661"/>
              <a:gd name="connsiteY1005" fmla="*/ 3559351 h 5142899"/>
              <a:gd name="connsiteX1006" fmla="*/ 3258768 w 5132661"/>
              <a:gd name="connsiteY1006" fmla="*/ 3816217 h 5142899"/>
              <a:gd name="connsiteX1007" fmla="*/ 3455586 w 5132661"/>
              <a:gd name="connsiteY1007" fmla="*/ 3622904 h 5142899"/>
              <a:gd name="connsiteX1008" fmla="*/ 3460740 w 5132661"/>
              <a:gd name="connsiteY1008" fmla="*/ 3615165 h 5142899"/>
              <a:gd name="connsiteX1009" fmla="*/ 3911180 w 5132661"/>
              <a:gd name="connsiteY1009" fmla="*/ 3845118 h 5142899"/>
              <a:gd name="connsiteX1010" fmla="*/ 4132352 w 5132661"/>
              <a:gd name="connsiteY1010" fmla="*/ 3628101 h 5142899"/>
              <a:gd name="connsiteX1011" fmla="*/ 4136046 w 5132661"/>
              <a:gd name="connsiteY1011" fmla="*/ 3621688 h 5142899"/>
              <a:gd name="connsiteX1012" fmla="*/ 4129365 w 5132661"/>
              <a:gd name="connsiteY1012" fmla="*/ 3613440 h 5142899"/>
              <a:gd name="connsiteX1013" fmla="*/ 3914497 w 5132661"/>
              <a:gd name="connsiteY1013" fmla="*/ 3397417 h 5142899"/>
              <a:gd name="connsiteX1014" fmla="*/ 3905694 w 5132661"/>
              <a:gd name="connsiteY1014" fmla="*/ 3390982 h 5142899"/>
              <a:gd name="connsiteX1015" fmla="*/ 3890454 w 5132661"/>
              <a:gd name="connsiteY1015" fmla="*/ 3405378 h 5142899"/>
              <a:gd name="connsiteX1016" fmla="*/ 3846038 w 5132661"/>
              <a:gd name="connsiteY1016" fmla="*/ 3451373 h 5142899"/>
              <a:gd name="connsiteX1017" fmla="*/ 3707504 w 5132661"/>
              <a:gd name="connsiteY1017" fmla="*/ 3587612 h 5142899"/>
              <a:gd name="connsiteX1018" fmla="*/ 3682841 w 5132661"/>
              <a:gd name="connsiteY1018" fmla="*/ 3615673 h 5142899"/>
              <a:gd name="connsiteX1019" fmla="*/ 3911202 w 5132661"/>
              <a:gd name="connsiteY1019" fmla="*/ 3845118 h 5142899"/>
              <a:gd name="connsiteX1020" fmla="*/ 3703545 w 5132661"/>
              <a:gd name="connsiteY1020" fmla="*/ 4264780 h 5142899"/>
              <a:gd name="connsiteX1021" fmla="*/ 3714538 w 5132661"/>
              <a:gd name="connsiteY1021" fmla="*/ 4277429 h 5142899"/>
              <a:gd name="connsiteX1022" fmla="*/ 3937214 w 5132661"/>
              <a:gd name="connsiteY1022" fmla="*/ 4501390 h 5142899"/>
              <a:gd name="connsiteX1023" fmla="*/ 3949225 w 5132661"/>
              <a:gd name="connsiteY1023" fmla="*/ 4511606 h 5142899"/>
              <a:gd name="connsiteX1024" fmla="*/ 4153741 w 5132661"/>
              <a:gd name="connsiteY1024" fmla="*/ 4310776 h 5142899"/>
              <a:gd name="connsiteX1025" fmla="*/ 4141111 w 5132661"/>
              <a:gd name="connsiteY1025" fmla="*/ 4296623 h 5142899"/>
              <a:gd name="connsiteX1026" fmla="*/ 4096474 w 5132661"/>
              <a:gd name="connsiteY1026" fmla="*/ 4253989 h 5142899"/>
              <a:gd name="connsiteX1027" fmla="*/ 3921996 w 5132661"/>
              <a:gd name="connsiteY1027" fmla="*/ 4078809 h 5142899"/>
              <a:gd name="connsiteX1028" fmla="*/ 3905716 w 5132661"/>
              <a:gd name="connsiteY1028" fmla="*/ 4067819 h 5142899"/>
              <a:gd name="connsiteX1029" fmla="*/ 3703567 w 5132661"/>
              <a:gd name="connsiteY1029" fmla="*/ 4264780 h 5142899"/>
              <a:gd name="connsiteX1030" fmla="*/ 3592815 w 5132661"/>
              <a:gd name="connsiteY1030" fmla="*/ 4155099 h 5142899"/>
              <a:gd name="connsiteX1031" fmla="*/ 3602548 w 5132661"/>
              <a:gd name="connsiteY1031" fmla="*/ 4147603 h 5142899"/>
              <a:gd name="connsiteX1032" fmla="*/ 3678262 w 5132661"/>
              <a:gd name="connsiteY1032" fmla="*/ 4073281 h 5142899"/>
              <a:gd name="connsiteX1033" fmla="*/ 3780144 w 5132661"/>
              <a:gd name="connsiteY1033" fmla="*/ 3972158 h 5142899"/>
              <a:gd name="connsiteX1034" fmla="*/ 3795960 w 5132661"/>
              <a:gd name="connsiteY1034" fmla="*/ 3952367 h 5142899"/>
              <a:gd name="connsiteX1035" fmla="*/ 3571691 w 5132661"/>
              <a:gd name="connsiteY1035" fmla="*/ 3727034 h 5142899"/>
              <a:gd name="connsiteX1036" fmla="*/ 3564546 w 5132661"/>
              <a:gd name="connsiteY1036" fmla="*/ 3730197 h 5142899"/>
              <a:gd name="connsiteX1037" fmla="*/ 3372307 w 5132661"/>
              <a:gd name="connsiteY1037" fmla="*/ 3916035 h 5142899"/>
              <a:gd name="connsiteX1038" fmla="*/ 3364742 w 5132661"/>
              <a:gd name="connsiteY1038" fmla="*/ 3925588 h 5142899"/>
              <a:gd name="connsiteX1039" fmla="*/ 3592815 w 5132661"/>
              <a:gd name="connsiteY1039" fmla="*/ 4155144 h 5142899"/>
              <a:gd name="connsiteX1040" fmla="*/ 3668485 w 5132661"/>
              <a:gd name="connsiteY1040" fmla="*/ 4229046 h 5142899"/>
              <a:gd name="connsiteX1041" fmla="*/ 3684898 w 5132661"/>
              <a:gd name="connsiteY1041" fmla="*/ 4213633 h 5142899"/>
              <a:gd name="connsiteX1042" fmla="*/ 4067121 w 5132661"/>
              <a:gd name="connsiteY1042" fmla="*/ 3839015 h 5142899"/>
              <a:gd name="connsiteX1043" fmla="*/ 4207270 w 5132661"/>
              <a:gd name="connsiteY1043" fmla="*/ 3704236 h 5142899"/>
              <a:gd name="connsiteX1044" fmla="*/ 4211561 w 5132661"/>
              <a:gd name="connsiteY1044" fmla="*/ 3696718 h 5142899"/>
              <a:gd name="connsiteX1045" fmla="*/ 4169180 w 5132661"/>
              <a:gd name="connsiteY1045" fmla="*/ 3656737 h 5142899"/>
              <a:gd name="connsiteX1046" fmla="*/ 3627874 w 5132661"/>
              <a:gd name="connsiteY1046" fmla="*/ 4189176 h 5142899"/>
              <a:gd name="connsiteX1047" fmla="*/ 3668485 w 5132661"/>
              <a:gd name="connsiteY1047" fmla="*/ 4229046 h 5142899"/>
              <a:gd name="connsiteX1048" fmla="*/ 3329373 w 5132661"/>
              <a:gd name="connsiteY1048" fmla="*/ 3889522 h 5142899"/>
              <a:gd name="connsiteX1049" fmla="*/ 3873599 w 5132661"/>
              <a:gd name="connsiteY1049" fmla="*/ 3357923 h 5142899"/>
              <a:gd name="connsiteX1050" fmla="*/ 3834934 w 5132661"/>
              <a:gd name="connsiteY1050" fmla="*/ 3319690 h 5142899"/>
              <a:gd name="connsiteX1051" fmla="*/ 3819561 w 5132661"/>
              <a:gd name="connsiteY1051" fmla="*/ 3333909 h 5142899"/>
              <a:gd name="connsiteX1052" fmla="*/ 3673861 w 5132661"/>
              <a:gd name="connsiteY1052" fmla="*/ 3478484 h 5142899"/>
              <a:gd name="connsiteX1053" fmla="*/ 3515087 w 5132661"/>
              <a:gd name="connsiteY1053" fmla="*/ 3634978 h 5142899"/>
              <a:gd name="connsiteX1054" fmla="*/ 3455608 w 5132661"/>
              <a:gd name="connsiteY1054" fmla="*/ 3690946 h 5142899"/>
              <a:gd name="connsiteX1055" fmla="*/ 3438267 w 5132661"/>
              <a:gd name="connsiteY1055" fmla="*/ 3707973 h 5142899"/>
              <a:gd name="connsiteX1056" fmla="*/ 3302387 w 5132661"/>
              <a:gd name="connsiteY1056" fmla="*/ 3840873 h 5142899"/>
              <a:gd name="connsiteX1057" fmla="*/ 3293008 w 5132661"/>
              <a:gd name="connsiteY1057" fmla="*/ 3852770 h 5142899"/>
              <a:gd name="connsiteX1058" fmla="*/ 3329373 w 5132661"/>
              <a:gd name="connsiteY1058" fmla="*/ 3889522 h 5142899"/>
              <a:gd name="connsiteX1059" fmla="*/ 4528466 w 5132661"/>
              <a:gd name="connsiteY1059" fmla="*/ 4015146 h 5142899"/>
              <a:gd name="connsiteX1060" fmla="*/ 4522958 w 5132661"/>
              <a:gd name="connsiteY1060" fmla="*/ 4017357 h 5142899"/>
              <a:gd name="connsiteX1061" fmla="*/ 4516256 w 5132661"/>
              <a:gd name="connsiteY1061" fmla="*/ 4023084 h 5142899"/>
              <a:gd name="connsiteX1062" fmla="*/ 3986297 w 5132661"/>
              <a:gd name="connsiteY1062" fmla="*/ 4542587 h 5142899"/>
              <a:gd name="connsiteX1063" fmla="*/ 3985257 w 5132661"/>
              <a:gd name="connsiteY1063" fmla="*/ 4544533 h 5142899"/>
              <a:gd name="connsiteX1064" fmla="*/ 3984859 w 5132661"/>
              <a:gd name="connsiteY1064" fmla="*/ 4548690 h 5142899"/>
              <a:gd name="connsiteX1065" fmla="*/ 4003462 w 5132661"/>
              <a:gd name="connsiteY1065" fmla="*/ 4568083 h 5142899"/>
              <a:gd name="connsiteX1066" fmla="*/ 4019675 w 5132661"/>
              <a:gd name="connsiteY1066" fmla="*/ 4583209 h 5142899"/>
              <a:gd name="connsiteX1067" fmla="*/ 4518512 w 5132661"/>
              <a:gd name="connsiteY1067" fmla="*/ 4097318 h 5142899"/>
              <a:gd name="connsiteX1068" fmla="*/ 4560893 w 5132661"/>
              <a:gd name="connsiteY1068" fmla="*/ 4055370 h 5142899"/>
              <a:gd name="connsiteX1069" fmla="*/ 4561999 w 5132661"/>
              <a:gd name="connsiteY1069" fmla="*/ 4053468 h 5142899"/>
              <a:gd name="connsiteX1070" fmla="*/ 4562398 w 5132661"/>
              <a:gd name="connsiteY1070" fmla="*/ 4049311 h 5142899"/>
              <a:gd name="connsiteX1071" fmla="*/ 4528466 w 5132661"/>
              <a:gd name="connsiteY1071" fmla="*/ 4015168 h 5142899"/>
              <a:gd name="connsiteX1072" fmla="*/ 4633025 w 5132661"/>
              <a:gd name="connsiteY1072" fmla="*/ 4644174 h 5142899"/>
              <a:gd name="connsiteX1073" fmla="*/ 4620970 w 5132661"/>
              <a:gd name="connsiteY1073" fmla="*/ 4630840 h 5142899"/>
              <a:gd name="connsiteX1074" fmla="*/ 4574563 w 5132661"/>
              <a:gd name="connsiteY1074" fmla="*/ 4586791 h 5142899"/>
              <a:gd name="connsiteX1075" fmla="*/ 4348303 w 5132661"/>
              <a:gd name="connsiteY1075" fmla="*/ 4359645 h 5142899"/>
              <a:gd name="connsiteX1076" fmla="*/ 4331935 w 5132661"/>
              <a:gd name="connsiteY1076" fmla="*/ 4348103 h 5142899"/>
              <a:gd name="connsiteX1077" fmla="*/ 4314925 w 5132661"/>
              <a:gd name="connsiteY1077" fmla="*/ 4364554 h 5142899"/>
              <a:gd name="connsiteX1078" fmla="*/ 4298690 w 5132661"/>
              <a:gd name="connsiteY1078" fmla="*/ 4382931 h 5142899"/>
              <a:gd name="connsiteX1079" fmla="*/ 4310900 w 5132661"/>
              <a:gd name="connsiteY1079" fmla="*/ 4396242 h 5142899"/>
              <a:gd name="connsiteX1080" fmla="*/ 4522914 w 5132661"/>
              <a:gd name="connsiteY1080" fmla="*/ 4609501 h 5142899"/>
              <a:gd name="connsiteX1081" fmla="*/ 4565030 w 5132661"/>
              <a:gd name="connsiteY1081" fmla="*/ 4654656 h 5142899"/>
              <a:gd name="connsiteX1082" fmla="*/ 4579031 w 5132661"/>
              <a:gd name="connsiteY1082" fmla="*/ 4668786 h 5142899"/>
              <a:gd name="connsiteX1083" fmla="*/ 4595864 w 5132661"/>
              <a:gd name="connsiteY1083" fmla="*/ 4680440 h 5142899"/>
              <a:gd name="connsiteX1084" fmla="*/ 4633003 w 5132661"/>
              <a:gd name="connsiteY1084" fmla="*/ 4644174 h 5142899"/>
              <a:gd name="connsiteX1085" fmla="*/ 3534066 w 5132661"/>
              <a:gd name="connsiteY1085" fmla="*/ 3545707 h 5142899"/>
              <a:gd name="connsiteX1086" fmla="*/ 3533402 w 5132661"/>
              <a:gd name="connsiteY1086" fmla="*/ 3541528 h 5142899"/>
              <a:gd name="connsiteX1087" fmla="*/ 3528072 w 5132661"/>
              <a:gd name="connsiteY1087" fmla="*/ 3534607 h 5142899"/>
              <a:gd name="connsiteX1088" fmla="*/ 3285068 w 5132661"/>
              <a:gd name="connsiteY1088" fmla="*/ 3290854 h 5142899"/>
              <a:gd name="connsiteX1089" fmla="*/ 3283165 w 5132661"/>
              <a:gd name="connsiteY1089" fmla="*/ 3289771 h 5142899"/>
              <a:gd name="connsiteX1090" fmla="*/ 3279405 w 5132661"/>
              <a:gd name="connsiteY1090" fmla="*/ 3289727 h 5142899"/>
              <a:gd name="connsiteX1091" fmla="*/ 3245916 w 5132661"/>
              <a:gd name="connsiteY1091" fmla="*/ 3322896 h 5142899"/>
              <a:gd name="connsiteX1092" fmla="*/ 3251490 w 5132661"/>
              <a:gd name="connsiteY1092" fmla="*/ 3330326 h 5142899"/>
              <a:gd name="connsiteX1093" fmla="*/ 3494184 w 5132661"/>
              <a:gd name="connsiteY1093" fmla="*/ 3574410 h 5142899"/>
              <a:gd name="connsiteX1094" fmla="*/ 3501086 w 5132661"/>
              <a:gd name="connsiteY1094" fmla="*/ 3578368 h 5142899"/>
              <a:gd name="connsiteX1095" fmla="*/ 3534066 w 5132661"/>
              <a:gd name="connsiteY1095" fmla="*/ 3545707 h 5142899"/>
              <a:gd name="connsiteX1096" fmla="*/ 3947101 w 5132661"/>
              <a:gd name="connsiteY1096" fmla="*/ 4026733 h 5142899"/>
              <a:gd name="connsiteX1097" fmla="*/ 4191986 w 5132661"/>
              <a:gd name="connsiteY1097" fmla="*/ 4273404 h 5142899"/>
              <a:gd name="connsiteX1098" fmla="*/ 4225718 w 5132661"/>
              <a:gd name="connsiteY1098" fmla="*/ 4240301 h 5142899"/>
              <a:gd name="connsiteX1099" fmla="*/ 4223727 w 5132661"/>
              <a:gd name="connsiteY1099" fmla="*/ 4235016 h 5142899"/>
              <a:gd name="connsiteX1100" fmla="*/ 4217976 w 5132661"/>
              <a:gd name="connsiteY1100" fmla="*/ 4228360 h 5142899"/>
              <a:gd name="connsiteX1101" fmla="*/ 3985810 w 5132661"/>
              <a:gd name="connsiteY1101" fmla="*/ 3995531 h 5142899"/>
              <a:gd name="connsiteX1102" fmla="*/ 3983798 w 5132661"/>
              <a:gd name="connsiteY1102" fmla="*/ 3994713 h 5142899"/>
              <a:gd name="connsiteX1103" fmla="*/ 3980303 w 5132661"/>
              <a:gd name="connsiteY1103" fmla="*/ 3994691 h 5142899"/>
              <a:gd name="connsiteX1104" fmla="*/ 3947124 w 5132661"/>
              <a:gd name="connsiteY1104" fmla="*/ 4026733 h 5142899"/>
              <a:gd name="connsiteX1105" fmla="*/ 3871520 w 5132661"/>
              <a:gd name="connsiteY1105" fmla="*/ 3881118 h 5142899"/>
              <a:gd name="connsiteX1106" fmla="*/ 3858491 w 5132661"/>
              <a:gd name="connsiteY1106" fmla="*/ 3866656 h 5142899"/>
              <a:gd name="connsiteX1107" fmla="*/ 3654219 w 5132661"/>
              <a:gd name="connsiteY1107" fmla="*/ 3661314 h 5142899"/>
              <a:gd name="connsiteX1108" fmla="*/ 3644397 w 5132661"/>
              <a:gd name="connsiteY1108" fmla="*/ 3653221 h 5142899"/>
              <a:gd name="connsiteX1109" fmla="*/ 3608431 w 5132661"/>
              <a:gd name="connsiteY1109" fmla="*/ 3688071 h 5142899"/>
              <a:gd name="connsiteX1110" fmla="*/ 3615885 w 5132661"/>
              <a:gd name="connsiteY1110" fmla="*/ 3697005 h 5142899"/>
              <a:gd name="connsiteX1111" fmla="*/ 3826352 w 5132661"/>
              <a:gd name="connsiteY1111" fmla="*/ 3908649 h 5142899"/>
              <a:gd name="connsiteX1112" fmla="*/ 3834182 w 5132661"/>
              <a:gd name="connsiteY1112" fmla="*/ 3914686 h 5142899"/>
              <a:gd name="connsiteX1113" fmla="*/ 3871520 w 5132661"/>
              <a:gd name="connsiteY1113" fmla="*/ 3881118 h 5142899"/>
              <a:gd name="connsiteX1114" fmla="*/ 3962475 w 5132661"/>
              <a:gd name="connsiteY1114" fmla="*/ 1894126 h 5142899"/>
              <a:gd name="connsiteX1115" fmla="*/ 3819517 w 5132661"/>
              <a:gd name="connsiteY1115" fmla="*/ 1753288 h 5142899"/>
              <a:gd name="connsiteX1116" fmla="*/ 3956546 w 5132661"/>
              <a:gd name="connsiteY1116" fmla="*/ 1615811 h 5142899"/>
              <a:gd name="connsiteX1117" fmla="*/ 4099659 w 5132661"/>
              <a:gd name="connsiteY1117" fmla="*/ 1759303 h 5142899"/>
              <a:gd name="connsiteX1118" fmla="*/ 3962475 w 5132661"/>
              <a:gd name="connsiteY1118" fmla="*/ 1894104 h 5142899"/>
              <a:gd name="connsiteX1119" fmla="*/ 3955994 w 5132661"/>
              <a:gd name="connsiteY1119" fmla="*/ 1653735 h 5142899"/>
              <a:gd name="connsiteX1120" fmla="*/ 3856965 w 5132661"/>
              <a:gd name="connsiteY1120" fmla="*/ 1751652 h 5142899"/>
              <a:gd name="connsiteX1121" fmla="*/ 3962961 w 5132661"/>
              <a:gd name="connsiteY1121" fmla="*/ 1857021 h 5142899"/>
              <a:gd name="connsiteX1122" fmla="*/ 4061747 w 5132661"/>
              <a:gd name="connsiteY1122" fmla="*/ 1758839 h 5142899"/>
              <a:gd name="connsiteX1123" fmla="*/ 3955994 w 5132661"/>
              <a:gd name="connsiteY1123" fmla="*/ 1653735 h 5142899"/>
              <a:gd name="connsiteX1124" fmla="*/ 3957586 w 5132661"/>
              <a:gd name="connsiteY1124" fmla="*/ 1339309 h 5142899"/>
              <a:gd name="connsiteX1125" fmla="*/ 4033411 w 5132661"/>
              <a:gd name="connsiteY1125" fmla="*/ 1264103 h 5142899"/>
              <a:gd name="connsiteX1126" fmla="*/ 4108374 w 5132661"/>
              <a:gd name="connsiteY1126" fmla="*/ 1338292 h 5142899"/>
              <a:gd name="connsiteX1127" fmla="*/ 4032217 w 5132661"/>
              <a:gd name="connsiteY1127" fmla="*/ 1414007 h 5142899"/>
              <a:gd name="connsiteX1128" fmla="*/ 3957586 w 5132661"/>
              <a:gd name="connsiteY1128" fmla="*/ 1339309 h 5142899"/>
              <a:gd name="connsiteX1129" fmla="*/ 4032328 w 5132661"/>
              <a:gd name="connsiteY1129" fmla="*/ 1301209 h 5142899"/>
              <a:gd name="connsiteX1130" fmla="*/ 3995056 w 5132661"/>
              <a:gd name="connsiteY1130" fmla="*/ 1339685 h 5142899"/>
              <a:gd name="connsiteX1131" fmla="*/ 4034208 w 5132661"/>
              <a:gd name="connsiteY1131" fmla="*/ 1375907 h 5142899"/>
              <a:gd name="connsiteX1132" fmla="*/ 4070019 w 5132661"/>
              <a:gd name="connsiteY1132" fmla="*/ 1338911 h 5142899"/>
              <a:gd name="connsiteX1133" fmla="*/ 4032328 w 5132661"/>
              <a:gd name="connsiteY1133" fmla="*/ 1301209 h 5142899"/>
              <a:gd name="connsiteX1134" fmla="*/ 3726814 w 5132661"/>
              <a:gd name="connsiteY1134" fmla="*/ 1555796 h 5142899"/>
              <a:gd name="connsiteX1135" fmla="*/ 3801976 w 5132661"/>
              <a:gd name="connsiteY1135" fmla="*/ 1629986 h 5142899"/>
              <a:gd name="connsiteX1136" fmla="*/ 3725664 w 5132661"/>
              <a:gd name="connsiteY1136" fmla="*/ 1705590 h 5142899"/>
              <a:gd name="connsiteX1137" fmla="*/ 3650724 w 5132661"/>
              <a:gd name="connsiteY1137" fmla="*/ 1631025 h 5142899"/>
              <a:gd name="connsiteX1138" fmla="*/ 3726814 w 5132661"/>
              <a:gd name="connsiteY1138" fmla="*/ 1555774 h 5142899"/>
              <a:gd name="connsiteX1139" fmla="*/ 3726881 w 5132661"/>
              <a:gd name="connsiteY1139" fmla="*/ 1667711 h 5142899"/>
              <a:gd name="connsiteX1140" fmla="*/ 3763710 w 5132661"/>
              <a:gd name="connsiteY1140" fmla="*/ 1629256 h 5142899"/>
              <a:gd name="connsiteX1141" fmla="*/ 3726615 w 5132661"/>
              <a:gd name="connsiteY1141" fmla="*/ 1593013 h 5142899"/>
              <a:gd name="connsiteX1142" fmla="*/ 3688482 w 5132661"/>
              <a:gd name="connsiteY1142" fmla="*/ 1630627 h 5142899"/>
              <a:gd name="connsiteX1143" fmla="*/ 3726881 w 5132661"/>
              <a:gd name="connsiteY1143" fmla="*/ 1667711 h 5142899"/>
              <a:gd name="connsiteX1144" fmla="*/ 3577243 w 5132661"/>
              <a:gd name="connsiteY1144" fmla="*/ 1846053 h 5142899"/>
              <a:gd name="connsiteX1145" fmla="*/ 3501418 w 5132661"/>
              <a:gd name="connsiteY1145" fmla="*/ 1772858 h 5142899"/>
              <a:gd name="connsiteX1146" fmla="*/ 3576248 w 5132661"/>
              <a:gd name="connsiteY1146" fmla="*/ 1696436 h 5142899"/>
              <a:gd name="connsiteX1147" fmla="*/ 3652427 w 5132661"/>
              <a:gd name="connsiteY1147" fmla="*/ 1769608 h 5142899"/>
              <a:gd name="connsiteX1148" fmla="*/ 3577265 w 5132661"/>
              <a:gd name="connsiteY1148" fmla="*/ 1846053 h 5142899"/>
              <a:gd name="connsiteX1149" fmla="*/ 3614138 w 5132661"/>
              <a:gd name="connsiteY1149" fmla="*/ 1771576 h 5142899"/>
              <a:gd name="connsiteX1150" fmla="*/ 3576469 w 5132661"/>
              <a:gd name="connsiteY1150" fmla="*/ 1733829 h 5142899"/>
              <a:gd name="connsiteX1151" fmla="*/ 3538777 w 5132661"/>
              <a:gd name="connsiteY1151" fmla="*/ 1771952 h 5142899"/>
              <a:gd name="connsiteX1152" fmla="*/ 3575695 w 5132661"/>
              <a:gd name="connsiteY1152" fmla="*/ 1808615 h 5142899"/>
              <a:gd name="connsiteX1153" fmla="*/ 3614138 w 5132661"/>
              <a:gd name="connsiteY1153" fmla="*/ 1771598 h 5142899"/>
              <a:gd name="connsiteX1154" fmla="*/ 3879859 w 5132661"/>
              <a:gd name="connsiteY1154" fmla="*/ 1554226 h 5142899"/>
              <a:gd name="connsiteX1155" fmla="*/ 3804542 w 5132661"/>
              <a:gd name="connsiteY1155" fmla="*/ 1480192 h 5142899"/>
              <a:gd name="connsiteX1156" fmla="*/ 3880633 w 5132661"/>
              <a:gd name="connsiteY1156" fmla="*/ 1404609 h 5142899"/>
              <a:gd name="connsiteX1157" fmla="*/ 3955662 w 5132661"/>
              <a:gd name="connsiteY1157" fmla="*/ 1478754 h 5142899"/>
              <a:gd name="connsiteX1158" fmla="*/ 3879859 w 5132661"/>
              <a:gd name="connsiteY1158" fmla="*/ 1554249 h 5142899"/>
              <a:gd name="connsiteX1159" fmla="*/ 3879239 w 5132661"/>
              <a:gd name="connsiteY1159" fmla="*/ 1516899 h 5142899"/>
              <a:gd name="connsiteX1160" fmla="*/ 3918059 w 5132661"/>
              <a:gd name="connsiteY1160" fmla="*/ 1480015 h 5142899"/>
              <a:gd name="connsiteX1161" fmla="*/ 3880301 w 5132661"/>
              <a:gd name="connsiteY1161" fmla="*/ 1442069 h 5142899"/>
              <a:gd name="connsiteX1162" fmla="*/ 3842831 w 5132661"/>
              <a:gd name="connsiteY1162" fmla="*/ 1477848 h 5142899"/>
              <a:gd name="connsiteX1163" fmla="*/ 3879239 w 5132661"/>
              <a:gd name="connsiteY1163" fmla="*/ 1516899 h 5142899"/>
              <a:gd name="connsiteX1164" fmla="*/ 3143149 w 5132661"/>
              <a:gd name="connsiteY1164" fmla="*/ 2697959 h 5142899"/>
              <a:gd name="connsiteX1165" fmla="*/ 2999550 w 5132661"/>
              <a:gd name="connsiteY1165" fmla="*/ 2554998 h 5142899"/>
              <a:gd name="connsiteX1166" fmla="*/ 3136447 w 5132661"/>
              <a:gd name="connsiteY1166" fmla="*/ 2419445 h 5142899"/>
              <a:gd name="connsiteX1167" fmla="*/ 3280091 w 5132661"/>
              <a:gd name="connsiteY1167" fmla="*/ 2562450 h 5142899"/>
              <a:gd name="connsiteX1168" fmla="*/ 3143149 w 5132661"/>
              <a:gd name="connsiteY1168" fmla="*/ 2697959 h 5142899"/>
              <a:gd name="connsiteX1169" fmla="*/ 3242001 w 5132661"/>
              <a:gd name="connsiteY1169" fmla="*/ 2561366 h 5142899"/>
              <a:gd name="connsiteX1170" fmla="*/ 3137598 w 5132661"/>
              <a:gd name="connsiteY1170" fmla="*/ 2457170 h 5142899"/>
              <a:gd name="connsiteX1171" fmla="*/ 3037618 w 5132661"/>
              <a:gd name="connsiteY1171" fmla="*/ 2556059 h 5142899"/>
              <a:gd name="connsiteX1172" fmla="*/ 3144255 w 5132661"/>
              <a:gd name="connsiteY1172" fmla="*/ 2660300 h 5142899"/>
              <a:gd name="connsiteX1173" fmla="*/ 3242023 w 5132661"/>
              <a:gd name="connsiteY1173" fmla="*/ 2561366 h 5142899"/>
              <a:gd name="connsiteX1174" fmla="*/ 2799414 w 5132661"/>
              <a:gd name="connsiteY1174" fmla="*/ 2612293 h 5142899"/>
              <a:gd name="connsiteX1175" fmla="*/ 2723544 w 5132661"/>
              <a:gd name="connsiteY1175" fmla="*/ 2687964 h 5142899"/>
              <a:gd name="connsiteX1176" fmla="*/ 2648626 w 5132661"/>
              <a:gd name="connsiteY1176" fmla="*/ 2613465 h 5142899"/>
              <a:gd name="connsiteX1177" fmla="*/ 2724584 w 5132661"/>
              <a:gd name="connsiteY1177" fmla="*/ 2538148 h 5142899"/>
              <a:gd name="connsiteX1178" fmla="*/ 2799414 w 5132661"/>
              <a:gd name="connsiteY1178" fmla="*/ 2612293 h 5142899"/>
              <a:gd name="connsiteX1179" fmla="*/ 2761811 w 5132661"/>
              <a:gd name="connsiteY1179" fmla="*/ 2614062 h 5142899"/>
              <a:gd name="connsiteX1180" fmla="*/ 2724739 w 5132661"/>
              <a:gd name="connsiteY1180" fmla="*/ 2575408 h 5142899"/>
              <a:gd name="connsiteX1181" fmla="*/ 2686605 w 5132661"/>
              <a:gd name="connsiteY1181" fmla="*/ 2612779 h 5142899"/>
              <a:gd name="connsiteX1182" fmla="*/ 2722372 w 5132661"/>
              <a:gd name="connsiteY1182" fmla="*/ 2649995 h 5142899"/>
              <a:gd name="connsiteX1183" fmla="*/ 2761833 w 5132661"/>
              <a:gd name="connsiteY1183" fmla="*/ 2614062 h 5142899"/>
              <a:gd name="connsiteX1184" fmla="*/ 3104617 w 5132661"/>
              <a:gd name="connsiteY1184" fmla="*/ 2314629 h 5142899"/>
              <a:gd name="connsiteX1185" fmla="*/ 3027222 w 5132661"/>
              <a:gd name="connsiteY1185" fmla="*/ 2388641 h 5142899"/>
              <a:gd name="connsiteX1186" fmla="*/ 2953852 w 5132661"/>
              <a:gd name="connsiteY1186" fmla="*/ 2312860 h 5142899"/>
              <a:gd name="connsiteX1187" fmla="*/ 3028991 w 5132661"/>
              <a:gd name="connsiteY1187" fmla="*/ 2238604 h 5142899"/>
              <a:gd name="connsiteX1188" fmla="*/ 3104617 w 5132661"/>
              <a:gd name="connsiteY1188" fmla="*/ 2314629 h 5142899"/>
              <a:gd name="connsiteX1189" fmla="*/ 3066749 w 5132661"/>
              <a:gd name="connsiteY1189" fmla="*/ 2313788 h 5142899"/>
              <a:gd name="connsiteX1190" fmla="*/ 3028593 w 5132661"/>
              <a:gd name="connsiteY1190" fmla="*/ 2276638 h 5142899"/>
              <a:gd name="connsiteX1191" fmla="*/ 2991587 w 5132661"/>
              <a:gd name="connsiteY1191" fmla="*/ 2314894 h 5142899"/>
              <a:gd name="connsiteX1192" fmla="*/ 3028615 w 5132661"/>
              <a:gd name="connsiteY1192" fmla="*/ 2351204 h 5142899"/>
              <a:gd name="connsiteX1193" fmla="*/ 3066749 w 5132661"/>
              <a:gd name="connsiteY1193" fmla="*/ 2313788 h 5142899"/>
              <a:gd name="connsiteX1194" fmla="*/ 3090151 w 5132661"/>
              <a:gd name="connsiteY1194" fmla="*/ 2175714 h 5142899"/>
              <a:gd name="connsiteX1195" fmla="*/ 3165247 w 5132661"/>
              <a:gd name="connsiteY1195" fmla="*/ 2099690 h 5142899"/>
              <a:gd name="connsiteX1196" fmla="*/ 3241006 w 5132661"/>
              <a:gd name="connsiteY1196" fmla="*/ 2173171 h 5142899"/>
              <a:gd name="connsiteX1197" fmla="*/ 3165556 w 5132661"/>
              <a:gd name="connsiteY1197" fmla="*/ 2249484 h 5142899"/>
              <a:gd name="connsiteX1198" fmla="*/ 3090129 w 5132661"/>
              <a:gd name="connsiteY1198" fmla="*/ 2175714 h 5142899"/>
              <a:gd name="connsiteX1199" fmla="*/ 3165955 w 5132661"/>
              <a:gd name="connsiteY1199" fmla="*/ 2136950 h 5142899"/>
              <a:gd name="connsiteX1200" fmla="*/ 3127533 w 5132661"/>
              <a:gd name="connsiteY1200" fmla="*/ 2174387 h 5142899"/>
              <a:gd name="connsiteX1201" fmla="*/ 3165822 w 5132661"/>
              <a:gd name="connsiteY1201" fmla="*/ 2211714 h 5142899"/>
              <a:gd name="connsiteX1202" fmla="*/ 3202695 w 5132661"/>
              <a:gd name="connsiteY1202" fmla="*/ 2175604 h 5142899"/>
              <a:gd name="connsiteX1203" fmla="*/ 3165933 w 5132661"/>
              <a:gd name="connsiteY1203" fmla="*/ 2136972 h 5142899"/>
              <a:gd name="connsiteX1204" fmla="*/ 2791960 w 5132661"/>
              <a:gd name="connsiteY1204" fmla="*/ 2474661 h 5142899"/>
              <a:gd name="connsiteX1205" fmla="*/ 2869179 w 5132661"/>
              <a:gd name="connsiteY1205" fmla="*/ 2400339 h 5142899"/>
              <a:gd name="connsiteX1206" fmla="*/ 2943256 w 5132661"/>
              <a:gd name="connsiteY1206" fmla="*/ 2475501 h 5142899"/>
              <a:gd name="connsiteX1207" fmla="*/ 2866126 w 5132661"/>
              <a:gd name="connsiteY1207" fmla="*/ 2550044 h 5142899"/>
              <a:gd name="connsiteX1208" fmla="*/ 2791960 w 5132661"/>
              <a:gd name="connsiteY1208" fmla="*/ 2474661 h 5142899"/>
              <a:gd name="connsiteX1209" fmla="*/ 2868427 w 5132661"/>
              <a:gd name="connsiteY1209" fmla="*/ 2437644 h 5142899"/>
              <a:gd name="connsiteX1210" fmla="*/ 2830049 w 5132661"/>
              <a:gd name="connsiteY1210" fmla="*/ 2474882 h 5142899"/>
              <a:gd name="connsiteX1211" fmla="*/ 2865838 w 5132661"/>
              <a:gd name="connsiteY1211" fmla="*/ 2512275 h 5142899"/>
              <a:gd name="connsiteX1212" fmla="*/ 2905277 w 5132661"/>
              <a:gd name="connsiteY1212" fmla="*/ 2476319 h 5142899"/>
              <a:gd name="connsiteX1213" fmla="*/ 2868404 w 5132661"/>
              <a:gd name="connsiteY1213" fmla="*/ 2437621 h 5142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</a:cxnLst>
            <a:rect l="l" t="t" r="r" b="b"/>
            <a:pathLst>
              <a:path w="5132661" h="5142899">
                <a:moveTo>
                  <a:pt x="3003819" y="3345474"/>
                </a:moveTo>
                <a:cubicBezTo>
                  <a:pt x="2980439" y="3322277"/>
                  <a:pt x="2958585" y="3300584"/>
                  <a:pt x="2935758" y="3277918"/>
                </a:cubicBezTo>
                <a:cubicBezTo>
                  <a:pt x="2932860" y="3280329"/>
                  <a:pt x="2928835" y="3283314"/>
                  <a:pt x="2925251" y="3286763"/>
                </a:cubicBezTo>
                <a:cubicBezTo>
                  <a:pt x="2915674" y="3295940"/>
                  <a:pt x="2905676" y="3304786"/>
                  <a:pt x="2896960" y="3314736"/>
                </a:cubicBezTo>
                <a:cubicBezTo>
                  <a:pt x="2886210" y="3327009"/>
                  <a:pt x="2872209" y="3332781"/>
                  <a:pt x="2857433" y="3337734"/>
                </a:cubicBezTo>
                <a:cubicBezTo>
                  <a:pt x="2851439" y="3339746"/>
                  <a:pt x="2845511" y="3339393"/>
                  <a:pt x="2840445" y="3335987"/>
                </a:cubicBezTo>
                <a:cubicBezTo>
                  <a:pt x="2832549" y="3330680"/>
                  <a:pt x="2824519" y="3325307"/>
                  <a:pt x="2817684" y="3318761"/>
                </a:cubicBezTo>
                <a:cubicBezTo>
                  <a:pt x="2801183" y="3302972"/>
                  <a:pt x="2785368" y="3286454"/>
                  <a:pt x="2769199" y="3270289"/>
                </a:cubicBezTo>
                <a:cubicBezTo>
                  <a:pt x="2764045" y="3265137"/>
                  <a:pt x="2758626" y="3260228"/>
                  <a:pt x="2752941" y="3254832"/>
                </a:cubicBezTo>
                <a:cubicBezTo>
                  <a:pt x="2737236" y="3267392"/>
                  <a:pt x="2724319" y="3281279"/>
                  <a:pt x="2710383" y="3295476"/>
                </a:cubicBezTo>
                <a:cubicBezTo>
                  <a:pt x="2714033" y="3299854"/>
                  <a:pt x="2716798" y="3303105"/>
                  <a:pt x="2719496" y="3306400"/>
                </a:cubicBezTo>
                <a:cubicBezTo>
                  <a:pt x="2722283" y="3309805"/>
                  <a:pt x="2725513" y="3312967"/>
                  <a:pt x="2727725" y="3316727"/>
                </a:cubicBezTo>
                <a:cubicBezTo>
                  <a:pt x="2735268" y="3329596"/>
                  <a:pt x="2734405" y="3339769"/>
                  <a:pt x="2724495" y="3351134"/>
                </a:cubicBezTo>
                <a:cubicBezTo>
                  <a:pt x="2715780" y="3361130"/>
                  <a:pt x="2706888" y="3371036"/>
                  <a:pt x="2697377" y="3380235"/>
                </a:cubicBezTo>
                <a:cubicBezTo>
                  <a:pt x="2675191" y="3401729"/>
                  <a:pt x="2652674" y="3422914"/>
                  <a:pt x="2630068" y="3443987"/>
                </a:cubicBezTo>
                <a:cubicBezTo>
                  <a:pt x="2622658" y="3450909"/>
                  <a:pt x="2616907" y="3451417"/>
                  <a:pt x="2608081" y="3446398"/>
                </a:cubicBezTo>
                <a:cubicBezTo>
                  <a:pt x="2603657" y="3443877"/>
                  <a:pt x="2599476" y="3440714"/>
                  <a:pt x="2595738" y="3437243"/>
                </a:cubicBezTo>
                <a:cubicBezTo>
                  <a:pt x="2580587" y="3423289"/>
                  <a:pt x="2565678" y="3409093"/>
                  <a:pt x="2550615" y="3395051"/>
                </a:cubicBezTo>
                <a:cubicBezTo>
                  <a:pt x="2548027" y="3392641"/>
                  <a:pt x="2545085" y="3390629"/>
                  <a:pt x="2542497" y="3388594"/>
                </a:cubicBezTo>
                <a:cubicBezTo>
                  <a:pt x="2507017" y="3423533"/>
                  <a:pt x="2472445" y="3457587"/>
                  <a:pt x="2437850" y="3491641"/>
                </a:cubicBezTo>
                <a:cubicBezTo>
                  <a:pt x="2432077" y="3497324"/>
                  <a:pt x="2426370" y="3503118"/>
                  <a:pt x="2420442" y="3508624"/>
                </a:cubicBezTo>
                <a:cubicBezTo>
                  <a:pt x="2404803" y="3523152"/>
                  <a:pt x="2385272" y="3523528"/>
                  <a:pt x="2369037" y="3509066"/>
                </a:cubicBezTo>
                <a:cubicBezTo>
                  <a:pt x="2354195" y="3495842"/>
                  <a:pt x="2339596" y="3482331"/>
                  <a:pt x="2325461" y="3468356"/>
                </a:cubicBezTo>
                <a:cubicBezTo>
                  <a:pt x="2296640" y="3439830"/>
                  <a:pt x="2268238" y="3410906"/>
                  <a:pt x="2239638" y="3382159"/>
                </a:cubicBezTo>
                <a:cubicBezTo>
                  <a:pt x="2232383" y="3374862"/>
                  <a:pt x="2225017" y="3367697"/>
                  <a:pt x="2216944" y="3359736"/>
                </a:cubicBezTo>
                <a:cubicBezTo>
                  <a:pt x="2213471" y="3361859"/>
                  <a:pt x="2210064" y="3363186"/>
                  <a:pt x="2207653" y="3365530"/>
                </a:cubicBezTo>
                <a:cubicBezTo>
                  <a:pt x="2167551" y="3404670"/>
                  <a:pt x="2127581" y="3443921"/>
                  <a:pt x="2087633" y="3483194"/>
                </a:cubicBezTo>
                <a:cubicBezTo>
                  <a:pt x="2085598" y="3485184"/>
                  <a:pt x="2084116" y="3487727"/>
                  <a:pt x="2081816" y="3490756"/>
                </a:cubicBezTo>
                <a:cubicBezTo>
                  <a:pt x="2085112" y="3495909"/>
                  <a:pt x="2088009" y="3500884"/>
                  <a:pt x="2091305" y="3505572"/>
                </a:cubicBezTo>
                <a:cubicBezTo>
                  <a:pt x="2177394" y="3628012"/>
                  <a:pt x="2240456" y="3760912"/>
                  <a:pt x="2274410" y="3907101"/>
                </a:cubicBezTo>
                <a:cubicBezTo>
                  <a:pt x="2292039" y="3982993"/>
                  <a:pt x="2297569" y="4059726"/>
                  <a:pt x="2291597" y="4137475"/>
                </a:cubicBezTo>
                <a:cubicBezTo>
                  <a:pt x="2288986" y="4171308"/>
                  <a:pt x="2285668" y="4204964"/>
                  <a:pt x="2279055" y="4238223"/>
                </a:cubicBezTo>
                <a:cubicBezTo>
                  <a:pt x="2270694" y="4280326"/>
                  <a:pt x="2257068" y="4320682"/>
                  <a:pt x="2237692" y="4359071"/>
                </a:cubicBezTo>
                <a:cubicBezTo>
                  <a:pt x="2214112" y="4405751"/>
                  <a:pt x="2191196" y="4452830"/>
                  <a:pt x="2158084" y="4493872"/>
                </a:cubicBezTo>
                <a:cubicBezTo>
                  <a:pt x="2155319" y="4497299"/>
                  <a:pt x="2152841" y="4501081"/>
                  <a:pt x="2149634" y="4504044"/>
                </a:cubicBezTo>
                <a:cubicBezTo>
                  <a:pt x="2139238" y="4513663"/>
                  <a:pt x="2124750" y="4514879"/>
                  <a:pt x="2113115" y="4506896"/>
                </a:cubicBezTo>
                <a:cubicBezTo>
                  <a:pt x="2108315" y="4503601"/>
                  <a:pt x="2104068" y="4499378"/>
                  <a:pt x="2099932" y="4495221"/>
                </a:cubicBezTo>
                <a:cubicBezTo>
                  <a:pt x="1927356" y="4321677"/>
                  <a:pt x="1754847" y="4148090"/>
                  <a:pt x="1582293" y="3974546"/>
                </a:cubicBezTo>
                <a:cubicBezTo>
                  <a:pt x="1557365" y="3949492"/>
                  <a:pt x="1532237" y="3924637"/>
                  <a:pt x="1507508" y="3900025"/>
                </a:cubicBezTo>
                <a:cubicBezTo>
                  <a:pt x="1498151" y="3898566"/>
                  <a:pt x="1491095" y="3903364"/>
                  <a:pt x="1483862" y="3906482"/>
                </a:cubicBezTo>
                <a:cubicBezTo>
                  <a:pt x="1453404" y="3919573"/>
                  <a:pt x="1423432" y="3933792"/>
                  <a:pt x="1392818" y="3946441"/>
                </a:cubicBezTo>
                <a:cubicBezTo>
                  <a:pt x="1332897" y="3971207"/>
                  <a:pt x="1272799" y="3995531"/>
                  <a:pt x="1212523" y="4019392"/>
                </a:cubicBezTo>
                <a:cubicBezTo>
                  <a:pt x="1172797" y="4035114"/>
                  <a:pt x="1132628" y="4049686"/>
                  <a:pt x="1092680" y="4064834"/>
                </a:cubicBezTo>
                <a:cubicBezTo>
                  <a:pt x="1089960" y="4065873"/>
                  <a:pt x="1087416" y="4067310"/>
                  <a:pt x="1083722" y="4069057"/>
                </a:cubicBezTo>
                <a:cubicBezTo>
                  <a:pt x="1084208" y="4071822"/>
                  <a:pt x="1084186" y="4074674"/>
                  <a:pt x="1085204" y="4077107"/>
                </a:cubicBezTo>
                <a:cubicBezTo>
                  <a:pt x="1099604" y="4111426"/>
                  <a:pt x="1099073" y="4146232"/>
                  <a:pt x="1086885" y="4180684"/>
                </a:cubicBezTo>
                <a:cubicBezTo>
                  <a:pt x="1073193" y="4219404"/>
                  <a:pt x="1050720" y="4251889"/>
                  <a:pt x="1012342" y="4269822"/>
                </a:cubicBezTo>
                <a:cubicBezTo>
                  <a:pt x="961357" y="4293660"/>
                  <a:pt x="912142" y="4288375"/>
                  <a:pt x="865425" y="4257527"/>
                </a:cubicBezTo>
                <a:cubicBezTo>
                  <a:pt x="855405" y="4250915"/>
                  <a:pt x="848017" y="4241783"/>
                  <a:pt x="841780" y="4231677"/>
                </a:cubicBezTo>
                <a:cubicBezTo>
                  <a:pt x="821452" y="4198662"/>
                  <a:pt x="816320" y="4162773"/>
                  <a:pt x="823951" y="4125335"/>
                </a:cubicBezTo>
                <a:cubicBezTo>
                  <a:pt x="830831" y="4091502"/>
                  <a:pt x="848969" y="4064458"/>
                  <a:pt x="877569" y="4044534"/>
                </a:cubicBezTo>
                <a:cubicBezTo>
                  <a:pt x="917539" y="4016672"/>
                  <a:pt x="960959" y="4004797"/>
                  <a:pt x="1009356" y="4015212"/>
                </a:cubicBezTo>
                <a:cubicBezTo>
                  <a:pt x="1014355" y="4016296"/>
                  <a:pt x="1019266" y="4017998"/>
                  <a:pt x="1024110" y="4019701"/>
                </a:cubicBezTo>
                <a:cubicBezTo>
                  <a:pt x="1028202" y="4021138"/>
                  <a:pt x="1032161" y="4023018"/>
                  <a:pt x="1037514" y="4025252"/>
                </a:cubicBezTo>
                <a:cubicBezTo>
                  <a:pt x="1040036" y="4020630"/>
                  <a:pt x="1042911" y="4016561"/>
                  <a:pt x="1044659" y="4012050"/>
                </a:cubicBezTo>
                <a:cubicBezTo>
                  <a:pt x="1086022" y="3904824"/>
                  <a:pt x="1129531" y="3798482"/>
                  <a:pt x="1177464" y="3693998"/>
                </a:cubicBezTo>
                <a:cubicBezTo>
                  <a:pt x="1190337" y="3665914"/>
                  <a:pt x="1203299" y="3637897"/>
                  <a:pt x="1216018" y="3610322"/>
                </a:cubicBezTo>
                <a:cubicBezTo>
                  <a:pt x="1213209" y="3600880"/>
                  <a:pt x="1205976" y="3596368"/>
                  <a:pt x="1200446" y="3590796"/>
                </a:cubicBezTo>
                <a:cubicBezTo>
                  <a:pt x="1119511" y="3509110"/>
                  <a:pt x="1038399" y="3427579"/>
                  <a:pt x="957309" y="3346026"/>
                </a:cubicBezTo>
                <a:cubicBezTo>
                  <a:pt x="846093" y="3234156"/>
                  <a:pt x="734854" y="3122286"/>
                  <a:pt x="623638" y="3010394"/>
                </a:cubicBezTo>
                <a:cubicBezTo>
                  <a:pt x="620519" y="3007254"/>
                  <a:pt x="617246" y="3004247"/>
                  <a:pt x="614414" y="3000864"/>
                </a:cubicBezTo>
                <a:cubicBezTo>
                  <a:pt x="601386" y="2985451"/>
                  <a:pt x="602403" y="2969242"/>
                  <a:pt x="618617" y="2956814"/>
                </a:cubicBezTo>
                <a:cubicBezTo>
                  <a:pt x="634963" y="2944298"/>
                  <a:pt x="651509" y="2931561"/>
                  <a:pt x="669470" y="2921721"/>
                </a:cubicBezTo>
                <a:cubicBezTo>
                  <a:pt x="715323" y="2896600"/>
                  <a:pt x="761309" y="2871635"/>
                  <a:pt x="811012" y="2854409"/>
                </a:cubicBezTo>
                <a:cubicBezTo>
                  <a:pt x="843903" y="2842998"/>
                  <a:pt x="877525" y="2835259"/>
                  <a:pt x="911876" y="2830438"/>
                </a:cubicBezTo>
                <a:cubicBezTo>
                  <a:pt x="964565" y="2823052"/>
                  <a:pt x="1017563" y="2820620"/>
                  <a:pt x="1070671" y="2822853"/>
                </a:cubicBezTo>
                <a:cubicBezTo>
                  <a:pt x="1130527" y="2825374"/>
                  <a:pt x="1189231" y="2835502"/>
                  <a:pt x="1247029" y="2851313"/>
                </a:cubicBezTo>
                <a:cubicBezTo>
                  <a:pt x="1356653" y="2881276"/>
                  <a:pt x="1458867" y="2927846"/>
                  <a:pt x="1555020" y="2987994"/>
                </a:cubicBezTo>
                <a:cubicBezTo>
                  <a:pt x="1581209" y="3004380"/>
                  <a:pt x="1606669" y="3021893"/>
                  <a:pt x="1633367" y="3039473"/>
                </a:cubicBezTo>
                <a:cubicBezTo>
                  <a:pt x="1635336" y="3038434"/>
                  <a:pt x="1638300" y="3037638"/>
                  <a:pt x="1640224" y="3035758"/>
                </a:cubicBezTo>
                <a:cubicBezTo>
                  <a:pt x="1681366" y="2995601"/>
                  <a:pt x="1722420" y="2955310"/>
                  <a:pt x="1763407" y="2914998"/>
                </a:cubicBezTo>
                <a:cubicBezTo>
                  <a:pt x="1764889" y="2913539"/>
                  <a:pt x="1765752" y="2911416"/>
                  <a:pt x="1767499" y="2908674"/>
                </a:cubicBezTo>
                <a:cubicBezTo>
                  <a:pt x="1763142" y="2903809"/>
                  <a:pt x="1759050" y="2898767"/>
                  <a:pt x="1754493" y="2894190"/>
                </a:cubicBezTo>
                <a:cubicBezTo>
                  <a:pt x="1718704" y="2858057"/>
                  <a:pt x="1682738" y="2822101"/>
                  <a:pt x="1647059" y="2785836"/>
                </a:cubicBezTo>
                <a:cubicBezTo>
                  <a:pt x="1637282" y="2775885"/>
                  <a:pt x="1628080" y="2765315"/>
                  <a:pt x="1619078" y="2754656"/>
                </a:cubicBezTo>
                <a:cubicBezTo>
                  <a:pt x="1605452" y="2738558"/>
                  <a:pt x="1606027" y="2718192"/>
                  <a:pt x="1621113" y="2703133"/>
                </a:cubicBezTo>
                <a:cubicBezTo>
                  <a:pt x="1648231" y="2676045"/>
                  <a:pt x="1675748" y="2649354"/>
                  <a:pt x="1703286" y="2622686"/>
                </a:cubicBezTo>
                <a:cubicBezTo>
                  <a:pt x="1712267" y="2613995"/>
                  <a:pt x="1722000" y="2606057"/>
                  <a:pt x="1731135" y="2597521"/>
                </a:cubicBezTo>
                <a:cubicBezTo>
                  <a:pt x="1735293" y="2593629"/>
                  <a:pt x="1738854" y="2589118"/>
                  <a:pt x="1743323" y="2584209"/>
                </a:cubicBezTo>
                <a:cubicBezTo>
                  <a:pt x="1738169" y="2578592"/>
                  <a:pt x="1733745" y="2573772"/>
                  <a:pt x="1729321" y="2568951"/>
                </a:cubicBezTo>
                <a:cubicBezTo>
                  <a:pt x="1716890" y="2555396"/>
                  <a:pt x="1704437" y="2541862"/>
                  <a:pt x="1692094" y="2528241"/>
                </a:cubicBezTo>
                <a:cubicBezTo>
                  <a:pt x="1690126" y="2526074"/>
                  <a:pt x="1688511" y="2523553"/>
                  <a:pt x="1687007" y="2521032"/>
                </a:cubicBezTo>
                <a:cubicBezTo>
                  <a:pt x="1680769" y="2510617"/>
                  <a:pt x="1681012" y="2503939"/>
                  <a:pt x="1689506" y="2495270"/>
                </a:cubicBezTo>
                <a:cubicBezTo>
                  <a:pt x="1713174" y="2471123"/>
                  <a:pt x="1737129" y="2447263"/>
                  <a:pt x="1761084" y="2423403"/>
                </a:cubicBezTo>
                <a:cubicBezTo>
                  <a:pt x="1766283" y="2418206"/>
                  <a:pt x="1772034" y="2413562"/>
                  <a:pt x="1777453" y="2408587"/>
                </a:cubicBezTo>
                <a:cubicBezTo>
                  <a:pt x="1794817" y="2392688"/>
                  <a:pt x="1808730" y="2392400"/>
                  <a:pt x="1826005" y="2407681"/>
                </a:cubicBezTo>
                <a:cubicBezTo>
                  <a:pt x="1829765" y="2411020"/>
                  <a:pt x="1833481" y="2414425"/>
                  <a:pt x="1837618" y="2418140"/>
                </a:cubicBezTo>
                <a:cubicBezTo>
                  <a:pt x="1840648" y="2416150"/>
                  <a:pt x="1843391" y="2414911"/>
                  <a:pt x="1845382" y="2412943"/>
                </a:cubicBezTo>
                <a:cubicBezTo>
                  <a:pt x="1856861" y="2401599"/>
                  <a:pt x="1868165" y="2390056"/>
                  <a:pt x="1880131" y="2377960"/>
                </a:cubicBezTo>
                <a:cubicBezTo>
                  <a:pt x="1876216" y="2373250"/>
                  <a:pt x="1873252" y="2369182"/>
                  <a:pt x="1869757" y="2365621"/>
                </a:cubicBezTo>
                <a:cubicBezTo>
                  <a:pt x="1853743" y="2349324"/>
                  <a:pt x="1837573" y="2333159"/>
                  <a:pt x="1821470" y="2316973"/>
                </a:cubicBezTo>
                <a:cubicBezTo>
                  <a:pt x="1819922" y="2315402"/>
                  <a:pt x="1818396" y="2313788"/>
                  <a:pt x="1816759" y="2312285"/>
                </a:cubicBezTo>
                <a:cubicBezTo>
                  <a:pt x="1790282" y="2287805"/>
                  <a:pt x="1791078" y="2268169"/>
                  <a:pt x="1819701" y="2236901"/>
                </a:cubicBezTo>
                <a:cubicBezTo>
                  <a:pt x="1832552" y="2222859"/>
                  <a:pt x="1846709" y="2210034"/>
                  <a:pt x="1860909" y="2196036"/>
                </a:cubicBezTo>
                <a:cubicBezTo>
                  <a:pt x="1851663" y="2181442"/>
                  <a:pt x="1838746" y="2171557"/>
                  <a:pt x="1827775" y="2160014"/>
                </a:cubicBezTo>
                <a:cubicBezTo>
                  <a:pt x="1817179" y="2148869"/>
                  <a:pt x="1806142" y="2138166"/>
                  <a:pt x="1794706" y="2126690"/>
                </a:cubicBezTo>
                <a:cubicBezTo>
                  <a:pt x="1784841" y="2133722"/>
                  <a:pt x="1777033" y="2141306"/>
                  <a:pt x="1769224" y="2148913"/>
                </a:cubicBezTo>
                <a:cubicBezTo>
                  <a:pt x="1734917" y="2182326"/>
                  <a:pt x="1700721" y="2215827"/>
                  <a:pt x="1666369" y="2249174"/>
                </a:cubicBezTo>
                <a:cubicBezTo>
                  <a:pt x="1645245" y="2269695"/>
                  <a:pt x="1623966" y="2290083"/>
                  <a:pt x="1602621" y="2310383"/>
                </a:cubicBezTo>
                <a:cubicBezTo>
                  <a:pt x="1598396" y="2314407"/>
                  <a:pt x="1593995" y="2318764"/>
                  <a:pt x="1588863" y="2321262"/>
                </a:cubicBezTo>
                <a:cubicBezTo>
                  <a:pt x="1571300" y="2329776"/>
                  <a:pt x="1555971" y="2329842"/>
                  <a:pt x="1540687" y="2314054"/>
                </a:cubicBezTo>
                <a:cubicBezTo>
                  <a:pt x="1513524" y="2285970"/>
                  <a:pt x="1485654" y="2258594"/>
                  <a:pt x="1458115" y="2230886"/>
                </a:cubicBezTo>
                <a:cubicBezTo>
                  <a:pt x="1282974" y="2054689"/>
                  <a:pt x="1107854" y="1878492"/>
                  <a:pt x="932713" y="1702318"/>
                </a:cubicBezTo>
                <a:cubicBezTo>
                  <a:pt x="647394" y="1415224"/>
                  <a:pt x="362076" y="1128218"/>
                  <a:pt x="76758" y="841190"/>
                </a:cubicBezTo>
                <a:cubicBezTo>
                  <a:pt x="60124" y="824451"/>
                  <a:pt x="43291" y="807932"/>
                  <a:pt x="26901" y="790950"/>
                </a:cubicBezTo>
                <a:cubicBezTo>
                  <a:pt x="17212" y="780910"/>
                  <a:pt x="7989" y="770451"/>
                  <a:pt x="2149" y="757404"/>
                </a:cubicBezTo>
                <a:cubicBezTo>
                  <a:pt x="-837" y="750748"/>
                  <a:pt x="-572" y="744822"/>
                  <a:pt x="2083" y="738320"/>
                </a:cubicBezTo>
                <a:cubicBezTo>
                  <a:pt x="5843" y="729144"/>
                  <a:pt x="12501" y="722377"/>
                  <a:pt x="19358" y="715632"/>
                </a:cubicBezTo>
                <a:cubicBezTo>
                  <a:pt x="55700" y="680030"/>
                  <a:pt x="92109" y="644517"/>
                  <a:pt x="128296" y="608760"/>
                </a:cubicBezTo>
                <a:cubicBezTo>
                  <a:pt x="161807" y="575657"/>
                  <a:pt x="194942" y="542155"/>
                  <a:pt x="228519" y="509118"/>
                </a:cubicBezTo>
                <a:cubicBezTo>
                  <a:pt x="258933" y="479177"/>
                  <a:pt x="289768" y="449656"/>
                  <a:pt x="320270" y="419804"/>
                </a:cubicBezTo>
                <a:cubicBezTo>
                  <a:pt x="342876" y="397669"/>
                  <a:pt x="365151" y="375180"/>
                  <a:pt x="387779" y="353067"/>
                </a:cubicBezTo>
                <a:cubicBezTo>
                  <a:pt x="413039" y="328366"/>
                  <a:pt x="438676" y="304064"/>
                  <a:pt x="463914" y="279319"/>
                </a:cubicBezTo>
                <a:cubicBezTo>
                  <a:pt x="509657" y="234474"/>
                  <a:pt x="555112" y="189363"/>
                  <a:pt x="600877" y="144562"/>
                </a:cubicBezTo>
                <a:cubicBezTo>
                  <a:pt x="639321" y="106926"/>
                  <a:pt x="678052" y="69577"/>
                  <a:pt x="716650" y="32095"/>
                </a:cubicBezTo>
                <a:cubicBezTo>
                  <a:pt x="722468" y="26434"/>
                  <a:pt x="728550" y="21017"/>
                  <a:pt x="733925" y="14980"/>
                </a:cubicBezTo>
                <a:cubicBezTo>
                  <a:pt x="745361" y="2022"/>
                  <a:pt x="760778" y="562"/>
                  <a:pt x="776328" y="9"/>
                </a:cubicBezTo>
                <a:cubicBezTo>
                  <a:pt x="784181" y="-256"/>
                  <a:pt x="789843" y="5228"/>
                  <a:pt x="795240" y="10336"/>
                </a:cubicBezTo>
                <a:cubicBezTo>
                  <a:pt x="814993" y="29088"/>
                  <a:pt x="835166" y="47442"/>
                  <a:pt x="854366" y="66747"/>
                </a:cubicBezTo>
                <a:cubicBezTo>
                  <a:pt x="1266052" y="480725"/>
                  <a:pt x="1677650" y="894793"/>
                  <a:pt x="2089248" y="1308860"/>
                </a:cubicBezTo>
                <a:cubicBezTo>
                  <a:pt x="2159411" y="1379445"/>
                  <a:pt x="2229485" y="1450096"/>
                  <a:pt x="2299781" y="1520548"/>
                </a:cubicBezTo>
                <a:cubicBezTo>
                  <a:pt x="2312765" y="1533551"/>
                  <a:pt x="2326789" y="1545492"/>
                  <a:pt x="2340038" y="1558229"/>
                </a:cubicBezTo>
                <a:cubicBezTo>
                  <a:pt x="2344683" y="1562696"/>
                  <a:pt x="2350412" y="1566765"/>
                  <a:pt x="2350854" y="1576140"/>
                </a:cubicBezTo>
                <a:cubicBezTo>
                  <a:pt x="2333867" y="1593698"/>
                  <a:pt x="2316149" y="1612251"/>
                  <a:pt x="2298122" y="1630494"/>
                </a:cubicBezTo>
                <a:cubicBezTo>
                  <a:pt x="2279497" y="1649357"/>
                  <a:pt x="2260607" y="1667976"/>
                  <a:pt x="2241739" y="1686595"/>
                </a:cubicBezTo>
                <a:cubicBezTo>
                  <a:pt x="2223380" y="1704706"/>
                  <a:pt x="2204579" y="1722396"/>
                  <a:pt x="2186574" y="1740839"/>
                </a:cubicBezTo>
                <a:cubicBezTo>
                  <a:pt x="2168679" y="1759148"/>
                  <a:pt x="2148086" y="1774871"/>
                  <a:pt x="2131585" y="1796475"/>
                </a:cubicBezTo>
                <a:cubicBezTo>
                  <a:pt x="2153969" y="1819959"/>
                  <a:pt x="2176177" y="1842249"/>
                  <a:pt x="2199447" y="1865092"/>
                </a:cubicBezTo>
                <a:cubicBezTo>
                  <a:pt x="2214665" y="1850497"/>
                  <a:pt x="2229043" y="1836854"/>
                  <a:pt x="2243244" y="1823077"/>
                </a:cubicBezTo>
                <a:cubicBezTo>
                  <a:pt x="2260696" y="1806139"/>
                  <a:pt x="2277927" y="1788957"/>
                  <a:pt x="2295423" y="1772040"/>
                </a:cubicBezTo>
                <a:cubicBezTo>
                  <a:pt x="2307235" y="1760630"/>
                  <a:pt x="2312300" y="1757733"/>
                  <a:pt x="2328359" y="1752183"/>
                </a:cubicBezTo>
                <a:cubicBezTo>
                  <a:pt x="2360698" y="1783008"/>
                  <a:pt x="2392262" y="1815736"/>
                  <a:pt x="2425087" y="1849148"/>
                </a:cubicBezTo>
                <a:cubicBezTo>
                  <a:pt x="2430374" y="1844284"/>
                  <a:pt x="2435793" y="1839574"/>
                  <a:pt x="2440925" y="1834554"/>
                </a:cubicBezTo>
                <a:cubicBezTo>
                  <a:pt x="2558887" y="1718991"/>
                  <a:pt x="2676828" y="1603428"/>
                  <a:pt x="2794747" y="1487821"/>
                </a:cubicBezTo>
                <a:cubicBezTo>
                  <a:pt x="3012181" y="1274717"/>
                  <a:pt x="3229592" y="1061569"/>
                  <a:pt x="3447070" y="848488"/>
                </a:cubicBezTo>
                <a:cubicBezTo>
                  <a:pt x="3509712" y="787102"/>
                  <a:pt x="3572421" y="725760"/>
                  <a:pt x="3635284" y="664618"/>
                </a:cubicBezTo>
                <a:cubicBezTo>
                  <a:pt x="3689123" y="612254"/>
                  <a:pt x="3743205" y="560133"/>
                  <a:pt x="3797353" y="508079"/>
                </a:cubicBezTo>
                <a:cubicBezTo>
                  <a:pt x="3811664" y="494325"/>
                  <a:pt x="3826639" y="481234"/>
                  <a:pt x="3841371" y="467900"/>
                </a:cubicBezTo>
                <a:cubicBezTo>
                  <a:pt x="3843008" y="466418"/>
                  <a:pt x="3844888" y="465224"/>
                  <a:pt x="3846680" y="463964"/>
                </a:cubicBezTo>
                <a:cubicBezTo>
                  <a:pt x="3863026" y="452531"/>
                  <a:pt x="3869020" y="452774"/>
                  <a:pt x="3883177" y="466484"/>
                </a:cubicBezTo>
                <a:cubicBezTo>
                  <a:pt x="3896404" y="479310"/>
                  <a:pt x="3909233" y="492556"/>
                  <a:pt x="3922306" y="505536"/>
                </a:cubicBezTo>
                <a:cubicBezTo>
                  <a:pt x="3924827" y="508035"/>
                  <a:pt x="3927681" y="510202"/>
                  <a:pt x="3931242" y="513276"/>
                </a:cubicBezTo>
                <a:cubicBezTo>
                  <a:pt x="3941151" y="505757"/>
                  <a:pt x="3949092" y="497133"/>
                  <a:pt x="3957277" y="488841"/>
                </a:cubicBezTo>
                <a:cubicBezTo>
                  <a:pt x="3980059" y="465821"/>
                  <a:pt x="4002334" y="442293"/>
                  <a:pt x="4025338" y="419516"/>
                </a:cubicBezTo>
                <a:cubicBezTo>
                  <a:pt x="4057809" y="387386"/>
                  <a:pt x="4092183" y="357047"/>
                  <a:pt x="4122995" y="323435"/>
                </a:cubicBezTo>
                <a:cubicBezTo>
                  <a:pt x="4140823" y="303976"/>
                  <a:pt x="4173870" y="306452"/>
                  <a:pt x="4189995" y="323369"/>
                </a:cubicBezTo>
                <a:cubicBezTo>
                  <a:pt x="4199661" y="333496"/>
                  <a:pt x="4209747" y="343226"/>
                  <a:pt x="4219613" y="353177"/>
                </a:cubicBezTo>
                <a:cubicBezTo>
                  <a:pt x="4238304" y="372017"/>
                  <a:pt x="4256928" y="390924"/>
                  <a:pt x="4275641" y="409742"/>
                </a:cubicBezTo>
                <a:cubicBezTo>
                  <a:pt x="4278716" y="412838"/>
                  <a:pt x="4282144" y="415602"/>
                  <a:pt x="4284932" y="418079"/>
                </a:cubicBezTo>
                <a:cubicBezTo>
                  <a:pt x="4291899" y="418344"/>
                  <a:pt x="4294598" y="413369"/>
                  <a:pt x="4298092" y="409963"/>
                </a:cubicBezTo>
                <a:cubicBezTo>
                  <a:pt x="4325543" y="383207"/>
                  <a:pt x="4353081" y="356538"/>
                  <a:pt x="4380067" y="329317"/>
                </a:cubicBezTo>
                <a:cubicBezTo>
                  <a:pt x="4388229" y="321091"/>
                  <a:pt x="4397652" y="316536"/>
                  <a:pt x="4408424" y="313219"/>
                </a:cubicBezTo>
                <a:cubicBezTo>
                  <a:pt x="4416144" y="310853"/>
                  <a:pt x="4423001" y="311361"/>
                  <a:pt x="4429548" y="315496"/>
                </a:cubicBezTo>
                <a:cubicBezTo>
                  <a:pt x="4434503" y="318636"/>
                  <a:pt x="4439413" y="322042"/>
                  <a:pt x="4443638" y="326066"/>
                </a:cubicBezTo>
                <a:cubicBezTo>
                  <a:pt x="4466023" y="347383"/>
                  <a:pt x="4488187" y="368944"/>
                  <a:pt x="4510461" y="390371"/>
                </a:cubicBezTo>
                <a:cubicBezTo>
                  <a:pt x="4515195" y="394927"/>
                  <a:pt x="4520083" y="399327"/>
                  <a:pt x="4525259" y="404126"/>
                </a:cubicBezTo>
                <a:cubicBezTo>
                  <a:pt x="4534328" y="400455"/>
                  <a:pt x="4539504" y="393069"/>
                  <a:pt x="4545542" y="387010"/>
                </a:cubicBezTo>
                <a:cubicBezTo>
                  <a:pt x="4562176" y="370337"/>
                  <a:pt x="4578412" y="353310"/>
                  <a:pt x="4594891" y="336460"/>
                </a:cubicBezTo>
                <a:cubicBezTo>
                  <a:pt x="4597457" y="333828"/>
                  <a:pt x="4600155" y="331241"/>
                  <a:pt x="4603097" y="329074"/>
                </a:cubicBezTo>
                <a:cubicBezTo>
                  <a:pt x="4614290" y="320826"/>
                  <a:pt x="4624332" y="320096"/>
                  <a:pt x="4635812" y="327813"/>
                </a:cubicBezTo>
                <a:cubicBezTo>
                  <a:pt x="4643708" y="333121"/>
                  <a:pt x="4651362" y="339091"/>
                  <a:pt x="4658064" y="345813"/>
                </a:cubicBezTo>
                <a:cubicBezTo>
                  <a:pt x="4716946" y="404745"/>
                  <a:pt x="4775628" y="463853"/>
                  <a:pt x="4834201" y="523072"/>
                </a:cubicBezTo>
                <a:cubicBezTo>
                  <a:pt x="4840372" y="529330"/>
                  <a:pt x="4845835" y="536384"/>
                  <a:pt x="4850989" y="543526"/>
                </a:cubicBezTo>
                <a:cubicBezTo>
                  <a:pt x="4858996" y="554671"/>
                  <a:pt x="4859085" y="565153"/>
                  <a:pt x="4851122" y="576210"/>
                </a:cubicBezTo>
                <a:cubicBezTo>
                  <a:pt x="4847273" y="581539"/>
                  <a:pt x="4842407" y="586183"/>
                  <a:pt x="4837651" y="590760"/>
                </a:cubicBezTo>
                <a:cubicBezTo>
                  <a:pt x="4816505" y="611192"/>
                  <a:pt x="4795226" y="631514"/>
                  <a:pt x="4772864" y="652942"/>
                </a:cubicBezTo>
                <a:cubicBezTo>
                  <a:pt x="4777752" y="658315"/>
                  <a:pt x="4782507" y="663711"/>
                  <a:pt x="4787440" y="668908"/>
                </a:cubicBezTo>
                <a:cubicBezTo>
                  <a:pt x="4808697" y="691352"/>
                  <a:pt x="4830064" y="713709"/>
                  <a:pt x="4851232" y="736220"/>
                </a:cubicBezTo>
                <a:cubicBezTo>
                  <a:pt x="4854727" y="739957"/>
                  <a:pt x="4857692" y="744225"/>
                  <a:pt x="4860655" y="748426"/>
                </a:cubicBezTo>
                <a:cubicBezTo>
                  <a:pt x="4865190" y="754839"/>
                  <a:pt x="4866119" y="761915"/>
                  <a:pt x="4864084" y="769478"/>
                </a:cubicBezTo>
                <a:cubicBezTo>
                  <a:pt x="4860589" y="782591"/>
                  <a:pt x="4854064" y="793780"/>
                  <a:pt x="4844265" y="803311"/>
                </a:cubicBezTo>
                <a:cubicBezTo>
                  <a:pt x="4815288" y="831483"/>
                  <a:pt x="4786555" y="859898"/>
                  <a:pt x="4757756" y="888247"/>
                </a:cubicBezTo>
                <a:cubicBezTo>
                  <a:pt x="4757269" y="888734"/>
                  <a:pt x="4757114" y="889552"/>
                  <a:pt x="4756252" y="891409"/>
                </a:cubicBezTo>
                <a:cubicBezTo>
                  <a:pt x="4759083" y="894748"/>
                  <a:pt x="4762047" y="898751"/>
                  <a:pt x="4765520" y="902245"/>
                </a:cubicBezTo>
                <a:cubicBezTo>
                  <a:pt x="4792483" y="929510"/>
                  <a:pt x="4819381" y="956798"/>
                  <a:pt x="4846610" y="983776"/>
                </a:cubicBezTo>
                <a:cubicBezTo>
                  <a:pt x="4857559" y="994611"/>
                  <a:pt x="4864482" y="1006751"/>
                  <a:pt x="4864924" y="1022518"/>
                </a:cubicBezTo>
                <a:cubicBezTo>
                  <a:pt x="4865190" y="1031916"/>
                  <a:pt x="4862912" y="1039987"/>
                  <a:pt x="4856409" y="1046731"/>
                </a:cubicBezTo>
                <a:cubicBezTo>
                  <a:pt x="4851299" y="1052039"/>
                  <a:pt x="4846167" y="1057324"/>
                  <a:pt x="4840903" y="1062498"/>
                </a:cubicBezTo>
                <a:cubicBezTo>
                  <a:pt x="4796177" y="1106393"/>
                  <a:pt x="4751519" y="1150309"/>
                  <a:pt x="4706660" y="1194049"/>
                </a:cubicBezTo>
                <a:cubicBezTo>
                  <a:pt x="4695092" y="1205326"/>
                  <a:pt x="4682838" y="1215941"/>
                  <a:pt x="4671004" y="1226953"/>
                </a:cubicBezTo>
                <a:cubicBezTo>
                  <a:pt x="4666226" y="1231398"/>
                  <a:pt x="4661669" y="1236108"/>
                  <a:pt x="4656206" y="1241481"/>
                </a:cubicBezTo>
                <a:cubicBezTo>
                  <a:pt x="4659922" y="1246081"/>
                  <a:pt x="4662753" y="1250238"/>
                  <a:pt x="4666204" y="1253798"/>
                </a:cubicBezTo>
                <a:cubicBezTo>
                  <a:pt x="4678568" y="1266447"/>
                  <a:pt x="4690889" y="1279162"/>
                  <a:pt x="4703696" y="1291368"/>
                </a:cubicBezTo>
                <a:cubicBezTo>
                  <a:pt x="4715508" y="1302602"/>
                  <a:pt x="4716548" y="1314366"/>
                  <a:pt x="4704426" y="1328142"/>
                </a:cubicBezTo>
                <a:cubicBezTo>
                  <a:pt x="4693234" y="1340857"/>
                  <a:pt x="4681732" y="1353307"/>
                  <a:pt x="4669765" y="1365314"/>
                </a:cubicBezTo>
                <a:cubicBezTo>
                  <a:pt x="4632848" y="1402354"/>
                  <a:pt x="4595775" y="1439238"/>
                  <a:pt x="4558505" y="1475946"/>
                </a:cubicBezTo>
                <a:cubicBezTo>
                  <a:pt x="4427734" y="1604733"/>
                  <a:pt x="4297031" y="1733608"/>
                  <a:pt x="4165995" y="1862129"/>
                </a:cubicBezTo>
                <a:cubicBezTo>
                  <a:pt x="3880765" y="2141926"/>
                  <a:pt x="3595337" y="2421545"/>
                  <a:pt x="3309996" y="2701232"/>
                </a:cubicBezTo>
                <a:cubicBezTo>
                  <a:pt x="3303736" y="2707379"/>
                  <a:pt x="3297587" y="2713637"/>
                  <a:pt x="3290863" y="2720359"/>
                </a:cubicBezTo>
                <a:cubicBezTo>
                  <a:pt x="3324374" y="2752843"/>
                  <a:pt x="3356292" y="2784996"/>
                  <a:pt x="3387724" y="2817126"/>
                </a:cubicBezTo>
                <a:cubicBezTo>
                  <a:pt x="3386043" y="2830151"/>
                  <a:pt x="3379186" y="2838576"/>
                  <a:pt x="3371289" y="2846448"/>
                </a:cubicBezTo>
                <a:cubicBezTo>
                  <a:pt x="3354589" y="2863099"/>
                  <a:pt x="3337800" y="2879662"/>
                  <a:pt x="3321233" y="2896445"/>
                </a:cubicBezTo>
                <a:cubicBezTo>
                  <a:pt x="3305838" y="2912057"/>
                  <a:pt x="3290686" y="2927913"/>
                  <a:pt x="3275667" y="2943392"/>
                </a:cubicBezTo>
                <a:cubicBezTo>
                  <a:pt x="3284935" y="2958163"/>
                  <a:pt x="3324064" y="2998254"/>
                  <a:pt x="3342799" y="3012407"/>
                </a:cubicBezTo>
                <a:cubicBezTo>
                  <a:pt x="3416988" y="2940539"/>
                  <a:pt x="3491287" y="2868539"/>
                  <a:pt x="3565077" y="2797047"/>
                </a:cubicBezTo>
                <a:cubicBezTo>
                  <a:pt x="3579212" y="2800497"/>
                  <a:pt x="3586246" y="2810757"/>
                  <a:pt x="3593611" y="2819426"/>
                </a:cubicBezTo>
                <a:cubicBezTo>
                  <a:pt x="3619403" y="2849831"/>
                  <a:pt x="3648489" y="2877030"/>
                  <a:pt x="3676493" y="2905225"/>
                </a:cubicBezTo>
                <a:cubicBezTo>
                  <a:pt x="3942611" y="3173124"/>
                  <a:pt x="4208907" y="3440825"/>
                  <a:pt x="4475136" y="3708592"/>
                </a:cubicBezTo>
                <a:cubicBezTo>
                  <a:pt x="4679918" y="3914553"/>
                  <a:pt x="4884677" y="4120537"/>
                  <a:pt x="5089348" y="4326608"/>
                </a:cubicBezTo>
                <a:cubicBezTo>
                  <a:pt x="5101779" y="4339124"/>
                  <a:pt x="5113281" y="4352591"/>
                  <a:pt x="5125093" y="4365727"/>
                </a:cubicBezTo>
                <a:cubicBezTo>
                  <a:pt x="5131928" y="4373333"/>
                  <a:pt x="5133919" y="4381781"/>
                  <a:pt x="5131928" y="4392262"/>
                </a:cubicBezTo>
                <a:cubicBezTo>
                  <a:pt x="5129473" y="4405066"/>
                  <a:pt x="5124695" y="4415503"/>
                  <a:pt x="5115117" y="4424790"/>
                </a:cubicBezTo>
                <a:cubicBezTo>
                  <a:pt x="5083929" y="4455063"/>
                  <a:pt x="5053603" y="4486221"/>
                  <a:pt x="5022636" y="4516715"/>
                </a:cubicBezTo>
                <a:cubicBezTo>
                  <a:pt x="4996425" y="4542498"/>
                  <a:pt x="4969549" y="4567619"/>
                  <a:pt x="4943382" y="4593425"/>
                </a:cubicBezTo>
                <a:cubicBezTo>
                  <a:pt x="4916684" y="4619761"/>
                  <a:pt x="4890716" y="4646828"/>
                  <a:pt x="4863973" y="4673120"/>
                </a:cubicBezTo>
                <a:cubicBezTo>
                  <a:pt x="4837784" y="4698882"/>
                  <a:pt x="4810820" y="4723892"/>
                  <a:pt x="4784587" y="4749610"/>
                </a:cubicBezTo>
                <a:cubicBezTo>
                  <a:pt x="4757269" y="4776366"/>
                  <a:pt x="4730593" y="4803765"/>
                  <a:pt x="4703298" y="4830543"/>
                </a:cubicBezTo>
                <a:cubicBezTo>
                  <a:pt x="4677064" y="4856283"/>
                  <a:pt x="4650300" y="4881448"/>
                  <a:pt x="4624022" y="4907143"/>
                </a:cubicBezTo>
                <a:cubicBezTo>
                  <a:pt x="4596661" y="4933878"/>
                  <a:pt x="4569697" y="4961055"/>
                  <a:pt x="4542402" y="4987856"/>
                </a:cubicBezTo>
                <a:cubicBezTo>
                  <a:pt x="4523489" y="5006408"/>
                  <a:pt x="4504267" y="5024630"/>
                  <a:pt x="4485223" y="5043050"/>
                </a:cubicBezTo>
                <a:cubicBezTo>
                  <a:pt x="4458193" y="5069165"/>
                  <a:pt x="4431318" y="5095458"/>
                  <a:pt x="4404111" y="5121396"/>
                </a:cubicBezTo>
                <a:cubicBezTo>
                  <a:pt x="4397232" y="5127964"/>
                  <a:pt x="4389623" y="5133912"/>
                  <a:pt x="4381726" y="5139220"/>
                </a:cubicBezTo>
                <a:cubicBezTo>
                  <a:pt x="4374581" y="5144040"/>
                  <a:pt x="4366928" y="5143996"/>
                  <a:pt x="4358744" y="5139839"/>
                </a:cubicBezTo>
                <a:cubicBezTo>
                  <a:pt x="4345362" y="5133050"/>
                  <a:pt x="4334236" y="5123674"/>
                  <a:pt x="4323817" y="5113170"/>
                </a:cubicBezTo>
                <a:cubicBezTo>
                  <a:pt x="4270842" y="5059811"/>
                  <a:pt x="4217843" y="5006453"/>
                  <a:pt x="4164823" y="4953138"/>
                </a:cubicBezTo>
                <a:cubicBezTo>
                  <a:pt x="3962098" y="4749278"/>
                  <a:pt x="3759352" y="4545440"/>
                  <a:pt x="3556672" y="4341557"/>
                </a:cubicBezTo>
                <a:cubicBezTo>
                  <a:pt x="3338906" y="4122505"/>
                  <a:pt x="3121207" y="3903408"/>
                  <a:pt x="2903464" y="3684356"/>
                </a:cubicBezTo>
                <a:cubicBezTo>
                  <a:pt x="2876434" y="3657179"/>
                  <a:pt x="2849360" y="3630024"/>
                  <a:pt x="2822307" y="3602870"/>
                </a:cubicBezTo>
                <a:cubicBezTo>
                  <a:pt x="2818658" y="3599221"/>
                  <a:pt x="2814942" y="3595639"/>
                  <a:pt x="2811447" y="3591835"/>
                </a:cubicBezTo>
                <a:cubicBezTo>
                  <a:pt x="2795277" y="3574211"/>
                  <a:pt x="2794813" y="3554619"/>
                  <a:pt x="2811115" y="3536752"/>
                </a:cubicBezTo>
                <a:cubicBezTo>
                  <a:pt x="2824497" y="3522069"/>
                  <a:pt x="2838720" y="3508137"/>
                  <a:pt x="2852788" y="3494051"/>
                </a:cubicBezTo>
                <a:cubicBezTo>
                  <a:pt x="2876146" y="3470656"/>
                  <a:pt x="2899615" y="3447348"/>
                  <a:pt x="2923128" y="3424108"/>
                </a:cubicBezTo>
                <a:cubicBezTo>
                  <a:pt x="2935691" y="3411702"/>
                  <a:pt x="2948432" y="3399496"/>
                  <a:pt x="2961085" y="3387157"/>
                </a:cubicBezTo>
                <a:cubicBezTo>
                  <a:pt x="2975263" y="3373314"/>
                  <a:pt x="2989420" y="3359449"/>
                  <a:pt x="3003797" y="3345363"/>
                </a:cubicBezTo>
                <a:close/>
                <a:moveTo>
                  <a:pt x="3623384" y="744446"/>
                </a:moveTo>
                <a:cubicBezTo>
                  <a:pt x="3619027" y="748249"/>
                  <a:pt x="3614426" y="751854"/>
                  <a:pt x="3610289" y="755922"/>
                </a:cubicBezTo>
                <a:cubicBezTo>
                  <a:pt x="3542449" y="822483"/>
                  <a:pt x="3474675" y="889087"/>
                  <a:pt x="3406879" y="955692"/>
                </a:cubicBezTo>
                <a:cubicBezTo>
                  <a:pt x="3354899" y="1006751"/>
                  <a:pt x="3302852" y="1057722"/>
                  <a:pt x="3250959" y="1108869"/>
                </a:cubicBezTo>
                <a:cubicBezTo>
                  <a:pt x="3209043" y="1150176"/>
                  <a:pt x="3167437" y="1191815"/>
                  <a:pt x="3125432" y="1233056"/>
                </a:cubicBezTo>
                <a:cubicBezTo>
                  <a:pt x="3096035" y="1261936"/>
                  <a:pt x="3066152" y="1290307"/>
                  <a:pt x="3036711" y="1319142"/>
                </a:cubicBezTo>
                <a:cubicBezTo>
                  <a:pt x="3031159" y="1324582"/>
                  <a:pt x="3024921" y="1329911"/>
                  <a:pt x="3022643" y="1338204"/>
                </a:cubicBezTo>
                <a:cubicBezTo>
                  <a:pt x="3026093" y="1341919"/>
                  <a:pt x="3029036" y="1345192"/>
                  <a:pt x="3032088" y="1348354"/>
                </a:cubicBezTo>
                <a:cubicBezTo>
                  <a:pt x="3060157" y="1377432"/>
                  <a:pt x="3089753" y="1405007"/>
                  <a:pt x="3117712" y="1434219"/>
                </a:cubicBezTo>
                <a:cubicBezTo>
                  <a:pt x="3127356" y="1444280"/>
                  <a:pt x="3138681" y="1452683"/>
                  <a:pt x="3148547" y="1462568"/>
                </a:cubicBezTo>
                <a:cubicBezTo>
                  <a:pt x="3229194" y="1543413"/>
                  <a:pt x="3309620" y="1624458"/>
                  <a:pt x="3390245" y="1705347"/>
                </a:cubicBezTo>
                <a:cubicBezTo>
                  <a:pt x="3395311" y="1710433"/>
                  <a:pt x="3399270" y="1717156"/>
                  <a:pt x="3407875" y="1719278"/>
                </a:cubicBezTo>
                <a:cubicBezTo>
                  <a:pt x="3412940" y="1714436"/>
                  <a:pt x="3418315" y="1709460"/>
                  <a:pt x="3423557" y="1704330"/>
                </a:cubicBezTo>
                <a:cubicBezTo>
                  <a:pt x="3548797" y="1581602"/>
                  <a:pt x="3674015" y="1458875"/>
                  <a:pt x="3799233" y="1336125"/>
                </a:cubicBezTo>
                <a:cubicBezTo>
                  <a:pt x="3863955" y="1272683"/>
                  <a:pt x="3928676" y="1209262"/>
                  <a:pt x="3993243" y="1145687"/>
                </a:cubicBezTo>
                <a:cubicBezTo>
                  <a:pt x="3997711" y="1141287"/>
                  <a:pt x="4004479" y="1138125"/>
                  <a:pt x="4004258" y="1129191"/>
                </a:cubicBezTo>
                <a:cubicBezTo>
                  <a:pt x="3878200" y="1001112"/>
                  <a:pt x="3749708" y="874537"/>
                  <a:pt x="3623340" y="744512"/>
                </a:cubicBezTo>
                <a:close/>
                <a:moveTo>
                  <a:pt x="2162021" y="2177992"/>
                </a:moveTo>
                <a:cubicBezTo>
                  <a:pt x="2225459" y="2242496"/>
                  <a:pt x="2289163" y="2305739"/>
                  <a:pt x="2352248" y="2369579"/>
                </a:cubicBezTo>
                <a:cubicBezTo>
                  <a:pt x="2415797" y="2433884"/>
                  <a:pt x="2480430" y="2497106"/>
                  <a:pt x="2542210" y="2562185"/>
                </a:cubicBezTo>
                <a:cubicBezTo>
                  <a:pt x="2550504" y="2559907"/>
                  <a:pt x="2554840" y="2555086"/>
                  <a:pt x="2559418" y="2550221"/>
                </a:cubicBezTo>
                <a:cubicBezTo>
                  <a:pt x="2567978" y="2541111"/>
                  <a:pt x="2576870" y="2532310"/>
                  <a:pt x="2585851" y="2523597"/>
                </a:cubicBezTo>
                <a:cubicBezTo>
                  <a:pt x="2594278" y="2515393"/>
                  <a:pt x="2603170" y="2507676"/>
                  <a:pt x="2611532" y="2499405"/>
                </a:cubicBezTo>
                <a:cubicBezTo>
                  <a:pt x="2628276" y="2482865"/>
                  <a:pt x="2644600" y="2465882"/>
                  <a:pt x="2661433" y="2449430"/>
                </a:cubicBezTo>
                <a:cubicBezTo>
                  <a:pt x="2679859" y="2431430"/>
                  <a:pt x="2698925" y="2414093"/>
                  <a:pt x="2717240" y="2396027"/>
                </a:cubicBezTo>
                <a:cubicBezTo>
                  <a:pt x="2741837" y="2371769"/>
                  <a:pt x="2765837" y="2346892"/>
                  <a:pt x="2790411" y="2322611"/>
                </a:cubicBezTo>
                <a:cubicBezTo>
                  <a:pt x="2826488" y="2286943"/>
                  <a:pt x="2862808" y="2251518"/>
                  <a:pt x="2899150" y="2216115"/>
                </a:cubicBezTo>
                <a:cubicBezTo>
                  <a:pt x="2910741" y="2204837"/>
                  <a:pt x="2922973" y="2194223"/>
                  <a:pt x="2934497" y="2182857"/>
                </a:cubicBezTo>
                <a:cubicBezTo>
                  <a:pt x="2961726" y="2156034"/>
                  <a:pt x="2988424" y="2128680"/>
                  <a:pt x="3015808" y="2102011"/>
                </a:cubicBezTo>
                <a:cubicBezTo>
                  <a:pt x="3050071" y="2068643"/>
                  <a:pt x="3084821" y="2035783"/>
                  <a:pt x="3119260" y="2002591"/>
                </a:cubicBezTo>
                <a:cubicBezTo>
                  <a:pt x="3123375" y="1998633"/>
                  <a:pt x="3126848" y="1993989"/>
                  <a:pt x="3131404" y="1988748"/>
                </a:cubicBezTo>
                <a:cubicBezTo>
                  <a:pt x="3099021" y="1956131"/>
                  <a:pt x="3067435" y="1924267"/>
                  <a:pt x="3035826" y="1892468"/>
                </a:cubicBezTo>
                <a:cubicBezTo>
                  <a:pt x="3004129" y="1860603"/>
                  <a:pt x="2972056" y="1829114"/>
                  <a:pt x="2940779" y="1796851"/>
                </a:cubicBezTo>
                <a:cubicBezTo>
                  <a:pt x="2909016" y="1764102"/>
                  <a:pt x="2875350" y="1733210"/>
                  <a:pt x="2845577" y="1698492"/>
                </a:cubicBezTo>
                <a:cubicBezTo>
                  <a:pt x="2822706" y="1671868"/>
                  <a:pt x="2761391" y="1613113"/>
                  <a:pt x="2748229" y="1604313"/>
                </a:cubicBezTo>
                <a:cubicBezTo>
                  <a:pt x="2555481" y="1792185"/>
                  <a:pt x="2362533" y="1980235"/>
                  <a:pt x="2169652" y="2168329"/>
                </a:cubicBezTo>
                <a:cubicBezTo>
                  <a:pt x="2167108" y="2170827"/>
                  <a:pt x="2165184" y="2173945"/>
                  <a:pt x="2162043" y="2177970"/>
                </a:cubicBezTo>
                <a:close/>
                <a:moveTo>
                  <a:pt x="769936" y="53169"/>
                </a:moveTo>
                <a:cubicBezTo>
                  <a:pt x="531643" y="286749"/>
                  <a:pt x="295475" y="518207"/>
                  <a:pt x="59615" y="749377"/>
                </a:cubicBezTo>
                <a:cubicBezTo>
                  <a:pt x="60699" y="751809"/>
                  <a:pt x="60965" y="753468"/>
                  <a:pt x="61938" y="754441"/>
                </a:cubicBezTo>
                <a:cubicBezTo>
                  <a:pt x="543035" y="1238651"/>
                  <a:pt x="1024154" y="1722839"/>
                  <a:pt x="1505318" y="2206982"/>
                </a:cubicBezTo>
                <a:cubicBezTo>
                  <a:pt x="1525579" y="2227370"/>
                  <a:pt x="1546106" y="2247471"/>
                  <a:pt x="1566544" y="2267683"/>
                </a:cubicBezTo>
                <a:cubicBezTo>
                  <a:pt x="1567031" y="2268169"/>
                  <a:pt x="1567805" y="2268412"/>
                  <a:pt x="1568491" y="2268611"/>
                </a:cubicBezTo>
                <a:cubicBezTo>
                  <a:pt x="1569199" y="2268810"/>
                  <a:pt x="1569951" y="2268832"/>
                  <a:pt x="1570681" y="2268943"/>
                </a:cubicBezTo>
                <a:cubicBezTo>
                  <a:pt x="1588951" y="2255233"/>
                  <a:pt x="2143485" y="1713507"/>
                  <a:pt x="2271158" y="1584566"/>
                </a:cubicBezTo>
                <a:cubicBezTo>
                  <a:pt x="2274189" y="1581514"/>
                  <a:pt x="2276821" y="1578086"/>
                  <a:pt x="2280050" y="1574327"/>
                </a:cubicBezTo>
                <a:cubicBezTo>
                  <a:pt x="2277927" y="1571320"/>
                  <a:pt x="2276577" y="1568733"/>
                  <a:pt x="2274609" y="1566765"/>
                </a:cubicBezTo>
                <a:cubicBezTo>
                  <a:pt x="1773715" y="1062830"/>
                  <a:pt x="1272754" y="558939"/>
                  <a:pt x="769936" y="53169"/>
                </a:cubicBezTo>
                <a:close/>
                <a:moveTo>
                  <a:pt x="2855442" y="3563774"/>
                </a:moveTo>
                <a:cubicBezTo>
                  <a:pt x="2860884" y="3569678"/>
                  <a:pt x="2864666" y="3574056"/>
                  <a:pt x="2868736" y="3578169"/>
                </a:cubicBezTo>
                <a:cubicBezTo>
                  <a:pt x="3020409" y="3730838"/>
                  <a:pt x="3172104" y="3883484"/>
                  <a:pt x="3323821" y="4036109"/>
                </a:cubicBezTo>
                <a:cubicBezTo>
                  <a:pt x="3525948" y="4239417"/>
                  <a:pt x="3728141" y="4442680"/>
                  <a:pt x="3930291" y="4645988"/>
                </a:cubicBezTo>
                <a:cubicBezTo>
                  <a:pt x="4071634" y="4788153"/>
                  <a:pt x="4212933" y="4930362"/>
                  <a:pt x="4354276" y="5072504"/>
                </a:cubicBezTo>
                <a:cubicBezTo>
                  <a:pt x="4358722" y="5076971"/>
                  <a:pt x="4362571" y="5082433"/>
                  <a:pt x="4368167" y="5084534"/>
                </a:cubicBezTo>
                <a:cubicBezTo>
                  <a:pt x="4604424" y="4851219"/>
                  <a:pt x="4840925" y="4620204"/>
                  <a:pt x="5076630" y="4389520"/>
                </a:cubicBezTo>
                <a:cubicBezTo>
                  <a:pt x="5075589" y="4386446"/>
                  <a:pt x="5075546" y="4384677"/>
                  <a:pt x="5074638" y="4383771"/>
                </a:cubicBezTo>
                <a:cubicBezTo>
                  <a:pt x="4574386" y="3880322"/>
                  <a:pt x="4074089" y="3376918"/>
                  <a:pt x="3573770" y="2873581"/>
                </a:cubicBezTo>
                <a:cubicBezTo>
                  <a:pt x="3571757" y="2871546"/>
                  <a:pt x="3569214" y="2870065"/>
                  <a:pt x="3565652" y="2867367"/>
                </a:cubicBezTo>
                <a:cubicBezTo>
                  <a:pt x="3329351" y="3099090"/>
                  <a:pt x="3093270" y="3330592"/>
                  <a:pt x="2855465" y="3563796"/>
                </a:cubicBezTo>
                <a:close/>
                <a:moveTo>
                  <a:pt x="3434285" y="1748976"/>
                </a:moveTo>
                <a:cubicBezTo>
                  <a:pt x="3441054" y="1756141"/>
                  <a:pt x="3446473" y="1762111"/>
                  <a:pt x="3452158" y="1767839"/>
                </a:cubicBezTo>
                <a:cubicBezTo>
                  <a:pt x="3513428" y="1829490"/>
                  <a:pt x="3574876" y="1890964"/>
                  <a:pt x="3635970" y="1952792"/>
                </a:cubicBezTo>
                <a:cubicBezTo>
                  <a:pt x="3664924" y="1982114"/>
                  <a:pt x="3693082" y="2012210"/>
                  <a:pt x="3721837" y="2041731"/>
                </a:cubicBezTo>
                <a:cubicBezTo>
                  <a:pt x="3728982" y="2049073"/>
                  <a:pt x="3737410" y="2055198"/>
                  <a:pt x="3744554" y="2062539"/>
                </a:cubicBezTo>
                <a:cubicBezTo>
                  <a:pt x="3765612" y="2084144"/>
                  <a:pt x="3786271" y="2106124"/>
                  <a:pt x="3807218" y="2127840"/>
                </a:cubicBezTo>
                <a:cubicBezTo>
                  <a:pt x="3810094" y="2130825"/>
                  <a:pt x="3813766" y="2133036"/>
                  <a:pt x="3817836" y="2136198"/>
                </a:cubicBezTo>
                <a:cubicBezTo>
                  <a:pt x="4017486" y="1940343"/>
                  <a:pt x="4216229" y="1745394"/>
                  <a:pt x="4414927" y="1550379"/>
                </a:cubicBezTo>
                <a:cubicBezTo>
                  <a:pt x="4416387" y="1548941"/>
                  <a:pt x="4417117" y="1546752"/>
                  <a:pt x="4418599" y="1544209"/>
                </a:cubicBezTo>
                <a:cubicBezTo>
                  <a:pt x="4412428" y="1534988"/>
                  <a:pt x="4404022" y="1527823"/>
                  <a:pt x="4396059" y="1520349"/>
                </a:cubicBezTo>
                <a:cubicBezTo>
                  <a:pt x="4388030" y="1512809"/>
                  <a:pt x="4379315" y="1505976"/>
                  <a:pt x="4371573" y="1498192"/>
                </a:cubicBezTo>
                <a:cubicBezTo>
                  <a:pt x="4263962" y="1390170"/>
                  <a:pt x="4156484" y="1282015"/>
                  <a:pt x="4048939" y="1173926"/>
                </a:cubicBezTo>
                <a:cubicBezTo>
                  <a:pt x="4044427" y="1169393"/>
                  <a:pt x="4039494" y="1165302"/>
                  <a:pt x="4034495" y="1160769"/>
                </a:cubicBezTo>
                <a:cubicBezTo>
                  <a:pt x="4031067" y="1163289"/>
                  <a:pt x="4028523" y="1164771"/>
                  <a:pt x="4026466" y="1166761"/>
                </a:cubicBezTo>
                <a:cubicBezTo>
                  <a:pt x="3831240" y="1357951"/>
                  <a:pt x="3636058" y="1549185"/>
                  <a:pt x="3440899" y="1740441"/>
                </a:cubicBezTo>
                <a:cubicBezTo>
                  <a:pt x="3438864" y="1742431"/>
                  <a:pt x="3437360" y="1744996"/>
                  <a:pt x="3434307" y="1748998"/>
                </a:cubicBezTo>
                <a:close/>
                <a:moveTo>
                  <a:pt x="3579610" y="2368297"/>
                </a:moveTo>
                <a:cubicBezTo>
                  <a:pt x="3583746" y="2364449"/>
                  <a:pt x="3586467" y="2362017"/>
                  <a:pt x="3589077" y="2359474"/>
                </a:cubicBezTo>
                <a:cubicBezTo>
                  <a:pt x="3610665" y="2338378"/>
                  <a:pt x="3632254" y="2317282"/>
                  <a:pt x="3653820" y="2296164"/>
                </a:cubicBezTo>
                <a:cubicBezTo>
                  <a:pt x="3693281" y="2257511"/>
                  <a:pt x="3732765" y="2218901"/>
                  <a:pt x="3772115" y="2180137"/>
                </a:cubicBezTo>
                <a:cubicBezTo>
                  <a:pt x="3776119" y="2176201"/>
                  <a:pt x="3781914" y="2173149"/>
                  <a:pt x="3781405" y="2164901"/>
                </a:cubicBezTo>
                <a:cubicBezTo>
                  <a:pt x="3776406" y="2159704"/>
                  <a:pt x="3770965" y="2153778"/>
                  <a:pt x="3765236" y="2148117"/>
                </a:cubicBezTo>
                <a:cubicBezTo>
                  <a:pt x="3709252" y="2092702"/>
                  <a:pt x="3652958" y="2037596"/>
                  <a:pt x="3597283" y="1981871"/>
                </a:cubicBezTo>
                <a:cubicBezTo>
                  <a:pt x="3515640" y="1900163"/>
                  <a:pt x="3434285" y="1818168"/>
                  <a:pt x="3353107" y="1735996"/>
                </a:cubicBezTo>
                <a:cubicBezTo>
                  <a:pt x="3278056" y="1660037"/>
                  <a:pt x="3201324" y="1585782"/>
                  <a:pt x="3128330" y="1507767"/>
                </a:cubicBezTo>
                <a:cubicBezTo>
                  <a:pt x="3086081" y="1462612"/>
                  <a:pt x="3041312" y="1419779"/>
                  <a:pt x="2997560" y="1376017"/>
                </a:cubicBezTo>
                <a:cubicBezTo>
                  <a:pt x="2994662" y="1373120"/>
                  <a:pt x="2990747" y="1371263"/>
                  <a:pt x="2986898" y="1368631"/>
                </a:cubicBezTo>
                <a:cubicBezTo>
                  <a:pt x="2919036" y="1435391"/>
                  <a:pt x="2852014" y="1501332"/>
                  <a:pt x="2784107" y="1568136"/>
                </a:cubicBezTo>
                <a:cubicBezTo>
                  <a:pt x="3049474" y="1835062"/>
                  <a:pt x="3313757" y="2100862"/>
                  <a:pt x="3579588" y="2368275"/>
                </a:cubicBezTo>
                <a:close/>
                <a:moveTo>
                  <a:pt x="2573243" y="2593519"/>
                </a:moveTo>
                <a:cubicBezTo>
                  <a:pt x="2577800" y="2598472"/>
                  <a:pt x="2581007" y="2602452"/>
                  <a:pt x="2584723" y="2605924"/>
                </a:cubicBezTo>
                <a:cubicBezTo>
                  <a:pt x="2592797" y="2613442"/>
                  <a:pt x="2601489" y="2620297"/>
                  <a:pt x="2609253" y="2628081"/>
                </a:cubicBezTo>
                <a:cubicBezTo>
                  <a:pt x="2664906" y="2683917"/>
                  <a:pt x="2720359" y="2739929"/>
                  <a:pt x="2775923" y="2795831"/>
                </a:cubicBezTo>
                <a:cubicBezTo>
                  <a:pt x="2832527" y="2852772"/>
                  <a:pt x="2889175" y="2909691"/>
                  <a:pt x="2945955" y="2966478"/>
                </a:cubicBezTo>
                <a:cubicBezTo>
                  <a:pt x="2949870" y="2970392"/>
                  <a:pt x="2952746" y="2976517"/>
                  <a:pt x="2960687" y="2975765"/>
                </a:cubicBezTo>
                <a:cubicBezTo>
                  <a:pt x="2965619" y="2971077"/>
                  <a:pt x="2971016" y="2966102"/>
                  <a:pt x="2976237" y="2960927"/>
                </a:cubicBezTo>
                <a:cubicBezTo>
                  <a:pt x="3007690" y="2929903"/>
                  <a:pt x="3039056" y="2898790"/>
                  <a:pt x="3070509" y="2867765"/>
                </a:cubicBezTo>
                <a:cubicBezTo>
                  <a:pt x="3120300" y="2818674"/>
                  <a:pt x="3170047" y="2769517"/>
                  <a:pt x="3220014" y="2720580"/>
                </a:cubicBezTo>
                <a:cubicBezTo>
                  <a:pt x="3269960" y="2671666"/>
                  <a:pt x="3320215" y="2623062"/>
                  <a:pt x="3370183" y="2574192"/>
                </a:cubicBezTo>
                <a:cubicBezTo>
                  <a:pt x="3422805" y="2522735"/>
                  <a:pt x="3475295" y="2471145"/>
                  <a:pt x="3527762" y="2419533"/>
                </a:cubicBezTo>
                <a:cubicBezTo>
                  <a:pt x="3533380" y="2414005"/>
                  <a:pt x="3539618" y="2408764"/>
                  <a:pt x="3543091" y="2400317"/>
                </a:cubicBezTo>
                <a:cubicBezTo>
                  <a:pt x="3415064" y="2272614"/>
                  <a:pt x="3287457" y="2145353"/>
                  <a:pt x="3158921" y="2017164"/>
                </a:cubicBezTo>
                <a:cubicBezTo>
                  <a:pt x="2964535" y="2210476"/>
                  <a:pt x="2768358" y="2400958"/>
                  <a:pt x="2573243" y="2593519"/>
                </a:cubicBezTo>
                <a:close/>
                <a:moveTo>
                  <a:pt x="1220552" y="3538123"/>
                </a:moveTo>
                <a:cubicBezTo>
                  <a:pt x="1223494" y="3541816"/>
                  <a:pt x="1225087" y="3544270"/>
                  <a:pt x="1227100" y="3546282"/>
                </a:cubicBezTo>
                <a:cubicBezTo>
                  <a:pt x="1295051" y="3614811"/>
                  <a:pt x="1363024" y="3683317"/>
                  <a:pt x="1431063" y="3751779"/>
                </a:cubicBezTo>
                <a:cubicBezTo>
                  <a:pt x="1475213" y="3796204"/>
                  <a:pt x="1519430" y="3840585"/>
                  <a:pt x="1563691" y="3884878"/>
                </a:cubicBezTo>
                <a:cubicBezTo>
                  <a:pt x="1567164" y="3888349"/>
                  <a:pt x="1571300" y="3891180"/>
                  <a:pt x="1575481" y="3894563"/>
                </a:cubicBezTo>
                <a:cubicBezTo>
                  <a:pt x="1583090" y="3886934"/>
                  <a:pt x="1590301" y="3880566"/>
                  <a:pt x="1596538" y="3873335"/>
                </a:cubicBezTo>
                <a:cubicBezTo>
                  <a:pt x="1635491" y="3828091"/>
                  <a:pt x="1671589" y="3780747"/>
                  <a:pt x="1703508" y="3730197"/>
                </a:cubicBezTo>
                <a:cubicBezTo>
                  <a:pt x="1762478" y="3636813"/>
                  <a:pt x="1806894" y="3536752"/>
                  <a:pt x="1841090" y="3432024"/>
                </a:cubicBezTo>
                <a:cubicBezTo>
                  <a:pt x="1852261" y="3397793"/>
                  <a:pt x="1860025" y="3362545"/>
                  <a:pt x="1864072" y="3326368"/>
                </a:cubicBezTo>
                <a:cubicBezTo>
                  <a:pt x="1860423" y="3322299"/>
                  <a:pt x="1857348" y="3318098"/>
                  <a:pt x="1853499" y="3314781"/>
                </a:cubicBezTo>
                <a:cubicBezTo>
                  <a:pt x="1837927" y="3301270"/>
                  <a:pt x="1822798" y="3287338"/>
                  <a:pt x="1810212" y="3270931"/>
                </a:cubicBezTo>
                <a:cubicBezTo>
                  <a:pt x="1802182" y="3260471"/>
                  <a:pt x="1791875" y="3257287"/>
                  <a:pt x="1779090" y="3260205"/>
                </a:cubicBezTo>
                <a:cubicBezTo>
                  <a:pt x="1751087" y="3266596"/>
                  <a:pt x="1722796" y="3271837"/>
                  <a:pt x="1695036" y="3279112"/>
                </a:cubicBezTo>
                <a:cubicBezTo>
                  <a:pt x="1649359" y="3291098"/>
                  <a:pt x="1605452" y="3308368"/>
                  <a:pt x="1561767" y="3326147"/>
                </a:cubicBezTo>
                <a:cubicBezTo>
                  <a:pt x="1465127" y="3365508"/>
                  <a:pt x="1374415" y="3415439"/>
                  <a:pt x="1291268" y="3478683"/>
                </a:cubicBezTo>
                <a:cubicBezTo>
                  <a:pt x="1267291" y="3496904"/>
                  <a:pt x="1243667" y="3515589"/>
                  <a:pt x="1220575" y="3538078"/>
                </a:cubicBezTo>
                <a:close/>
                <a:moveTo>
                  <a:pt x="1186356" y="3506877"/>
                </a:moveTo>
                <a:cubicBezTo>
                  <a:pt x="1215509" y="3483415"/>
                  <a:pt x="1243424" y="3460793"/>
                  <a:pt x="1271471" y="3438349"/>
                </a:cubicBezTo>
                <a:cubicBezTo>
                  <a:pt x="1299696" y="3415771"/>
                  <a:pt x="1330243" y="3396510"/>
                  <a:pt x="1361343" y="3378311"/>
                </a:cubicBezTo>
                <a:cubicBezTo>
                  <a:pt x="1391823" y="3360488"/>
                  <a:pt x="1422857" y="3343373"/>
                  <a:pt x="1454642" y="3328049"/>
                </a:cubicBezTo>
                <a:cubicBezTo>
                  <a:pt x="1487091" y="3312414"/>
                  <a:pt x="1520447" y="3298483"/>
                  <a:pt x="1554047" y="3285437"/>
                </a:cubicBezTo>
                <a:cubicBezTo>
                  <a:pt x="1587646" y="3272368"/>
                  <a:pt x="1621599" y="3259962"/>
                  <a:pt x="1656150" y="3249768"/>
                </a:cubicBezTo>
                <a:cubicBezTo>
                  <a:pt x="1690435" y="3239640"/>
                  <a:pt x="1725649" y="3232631"/>
                  <a:pt x="1762235" y="3223807"/>
                </a:cubicBezTo>
                <a:cubicBezTo>
                  <a:pt x="1758806" y="3218876"/>
                  <a:pt x="1756572" y="3214343"/>
                  <a:pt x="1753166" y="3211026"/>
                </a:cubicBezTo>
                <a:cubicBezTo>
                  <a:pt x="1735227" y="3193623"/>
                  <a:pt x="1717266" y="3176198"/>
                  <a:pt x="1698641" y="3159525"/>
                </a:cubicBezTo>
                <a:cubicBezTo>
                  <a:pt x="1692802" y="3154284"/>
                  <a:pt x="1685259" y="3150127"/>
                  <a:pt x="1677783" y="3147650"/>
                </a:cubicBezTo>
                <a:cubicBezTo>
                  <a:pt x="1647767" y="3137721"/>
                  <a:pt x="1617751" y="3127505"/>
                  <a:pt x="1587204" y="3119456"/>
                </a:cubicBezTo>
                <a:cubicBezTo>
                  <a:pt x="1502730" y="3097210"/>
                  <a:pt x="1416553" y="3087127"/>
                  <a:pt x="1329247" y="3087768"/>
                </a:cubicBezTo>
                <a:cubicBezTo>
                  <a:pt x="1270963" y="3088210"/>
                  <a:pt x="1213209" y="3094977"/>
                  <a:pt x="1155787" y="3104905"/>
                </a:cubicBezTo>
                <a:cubicBezTo>
                  <a:pt x="1084474" y="3117223"/>
                  <a:pt x="1014599" y="3134559"/>
                  <a:pt x="947931" y="3163328"/>
                </a:cubicBezTo>
                <a:cubicBezTo>
                  <a:pt x="924993" y="3173213"/>
                  <a:pt x="902719" y="3184358"/>
                  <a:pt x="880644" y="3198908"/>
                </a:cubicBezTo>
                <a:cubicBezTo>
                  <a:pt x="885067" y="3204039"/>
                  <a:pt x="888518" y="3208549"/>
                  <a:pt x="892499" y="3212552"/>
                </a:cubicBezTo>
                <a:cubicBezTo>
                  <a:pt x="923091" y="3243422"/>
                  <a:pt x="953881" y="3274093"/>
                  <a:pt x="984384" y="3305029"/>
                </a:cubicBezTo>
                <a:cubicBezTo>
                  <a:pt x="1014842" y="3335899"/>
                  <a:pt x="1045743" y="3366326"/>
                  <a:pt x="1076290" y="3397130"/>
                </a:cubicBezTo>
                <a:cubicBezTo>
                  <a:pt x="1101661" y="3422737"/>
                  <a:pt x="1128049" y="3447326"/>
                  <a:pt x="1153730" y="3472646"/>
                </a:cubicBezTo>
                <a:cubicBezTo>
                  <a:pt x="1164679" y="3483437"/>
                  <a:pt x="1174987" y="3494914"/>
                  <a:pt x="1186334" y="3506877"/>
                </a:cubicBezTo>
                <a:close/>
                <a:moveTo>
                  <a:pt x="1912492" y="4237449"/>
                </a:moveTo>
                <a:cubicBezTo>
                  <a:pt x="1916982" y="4230417"/>
                  <a:pt x="1920742" y="4225043"/>
                  <a:pt x="1923994" y="4219360"/>
                </a:cubicBezTo>
                <a:cubicBezTo>
                  <a:pt x="1950449" y="4173077"/>
                  <a:pt x="1970533" y="4124053"/>
                  <a:pt x="1985176" y="4072927"/>
                </a:cubicBezTo>
                <a:cubicBezTo>
                  <a:pt x="2006521" y="3998406"/>
                  <a:pt x="2020324" y="3922492"/>
                  <a:pt x="2027048" y="3845185"/>
                </a:cubicBezTo>
                <a:cubicBezTo>
                  <a:pt x="2032645" y="3781035"/>
                  <a:pt x="2030388" y="3717172"/>
                  <a:pt x="2023177" y="3653376"/>
                </a:cubicBezTo>
                <a:cubicBezTo>
                  <a:pt x="2015613" y="3586528"/>
                  <a:pt x="1999399" y="3521560"/>
                  <a:pt x="1978983" y="3457587"/>
                </a:cubicBezTo>
                <a:cubicBezTo>
                  <a:pt x="1973807" y="3441356"/>
                  <a:pt x="1966773" y="3426319"/>
                  <a:pt x="1953169" y="3414665"/>
                </a:cubicBezTo>
                <a:cubicBezTo>
                  <a:pt x="1944322" y="3407081"/>
                  <a:pt x="1937465" y="3397218"/>
                  <a:pt x="1929480" y="3388594"/>
                </a:cubicBezTo>
                <a:cubicBezTo>
                  <a:pt x="1922976" y="3381562"/>
                  <a:pt x="1916363" y="3374597"/>
                  <a:pt x="1909329" y="3368117"/>
                </a:cubicBezTo>
                <a:cubicBezTo>
                  <a:pt x="1906387" y="3365420"/>
                  <a:pt x="1902184" y="3364093"/>
                  <a:pt x="1897252" y="3361461"/>
                </a:cubicBezTo>
                <a:cubicBezTo>
                  <a:pt x="1893248" y="3380257"/>
                  <a:pt x="1889996" y="3397572"/>
                  <a:pt x="1885794" y="3414643"/>
                </a:cubicBezTo>
                <a:cubicBezTo>
                  <a:pt x="1881392" y="3432511"/>
                  <a:pt x="1876504" y="3450290"/>
                  <a:pt x="1871040" y="3467847"/>
                </a:cubicBezTo>
                <a:cubicBezTo>
                  <a:pt x="1865798" y="3484720"/>
                  <a:pt x="1859803" y="3501371"/>
                  <a:pt x="1853698" y="3517956"/>
                </a:cubicBezTo>
                <a:cubicBezTo>
                  <a:pt x="1847594" y="3534540"/>
                  <a:pt x="1841201" y="3551037"/>
                  <a:pt x="1834455" y="3567378"/>
                </a:cubicBezTo>
                <a:cubicBezTo>
                  <a:pt x="1827443" y="3584405"/>
                  <a:pt x="1820099" y="3601277"/>
                  <a:pt x="1812512" y="3618061"/>
                </a:cubicBezTo>
                <a:cubicBezTo>
                  <a:pt x="1805235" y="3634160"/>
                  <a:pt x="1797847" y="3650236"/>
                  <a:pt x="1789796" y="3665980"/>
                </a:cubicBezTo>
                <a:cubicBezTo>
                  <a:pt x="1781744" y="3681725"/>
                  <a:pt x="1773029" y="3697116"/>
                  <a:pt x="1764270" y="3712462"/>
                </a:cubicBezTo>
                <a:cubicBezTo>
                  <a:pt x="1755156" y="3728450"/>
                  <a:pt x="1745888" y="3744393"/>
                  <a:pt x="1736178" y="3760027"/>
                </a:cubicBezTo>
                <a:cubicBezTo>
                  <a:pt x="1726866" y="3775042"/>
                  <a:pt x="1717244" y="3789902"/>
                  <a:pt x="1707091" y="3804364"/>
                </a:cubicBezTo>
                <a:cubicBezTo>
                  <a:pt x="1696960" y="3818804"/>
                  <a:pt x="1686277" y="3832912"/>
                  <a:pt x="1675350" y="3846755"/>
                </a:cubicBezTo>
                <a:cubicBezTo>
                  <a:pt x="1663958" y="3861195"/>
                  <a:pt x="1651837" y="3875037"/>
                  <a:pt x="1640290" y="3889344"/>
                </a:cubicBezTo>
                <a:cubicBezTo>
                  <a:pt x="1629386" y="3902856"/>
                  <a:pt x="1615738" y="3914156"/>
                  <a:pt x="1605740" y="3929524"/>
                </a:cubicBezTo>
                <a:cubicBezTo>
                  <a:pt x="1624342" y="3946728"/>
                  <a:pt x="1642104" y="3963091"/>
                  <a:pt x="1657809" y="3981733"/>
                </a:cubicBezTo>
                <a:cubicBezTo>
                  <a:pt x="1672939" y="3999711"/>
                  <a:pt x="1690988" y="4015234"/>
                  <a:pt x="1707268" y="4032283"/>
                </a:cubicBezTo>
                <a:cubicBezTo>
                  <a:pt x="1724012" y="4049819"/>
                  <a:pt x="1742593" y="4065409"/>
                  <a:pt x="1758784" y="4083586"/>
                </a:cubicBezTo>
                <a:cubicBezTo>
                  <a:pt x="1774931" y="4101718"/>
                  <a:pt x="1792892" y="4118237"/>
                  <a:pt x="1810057" y="4135485"/>
                </a:cubicBezTo>
                <a:cubicBezTo>
                  <a:pt x="1826691" y="4152203"/>
                  <a:pt x="1843280" y="4168987"/>
                  <a:pt x="1860003" y="4185615"/>
                </a:cubicBezTo>
                <a:cubicBezTo>
                  <a:pt x="1877123" y="4202643"/>
                  <a:pt x="1893536" y="4220400"/>
                  <a:pt x="1912426" y="4237449"/>
                </a:cubicBezTo>
                <a:close/>
                <a:moveTo>
                  <a:pt x="2510313" y="3355424"/>
                </a:moveTo>
                <a:cubicBezTo>
                  <a:pt x="2504872" y="3349609"/>
                  <a:pt x="2500536" y="3344744"/>
                  <a:pt x="2495958" y="3340144"/>
                </a:cubicBezTo>
                <a:cubicBezTo>
                  <a:pt x="2328713" y="3171842"/>
                  <a:pt x="2161446" y="3003583"/>
                  <a:pt x="1994201" y="2835303"/>
                </a:cubicBezTo>
                <a:cubicBezTo>
                  <a:pt x="1927201" y="2767880"/>
                  <a:pt x="1860224" y="2700435"/>
                  <a:pt x="1793091" y="2633123"/>
                </a:cubicBezTo>
                <a:cubicBezTo>
                  <a:pt x="1787606" y="2627617"/>
                  <a:pt x="1783226" y="2620320"/>
                  <a:pt x="1774400" y="2618153"/>
                </a:cubicBezTo>
                <a:cubicBezTo>
                  <a:pt x="1737306" y="2655325"/>
                  <a:pt x="1700500" y="2692187"/>
                  <a:pt x="1663848" y="2728917"/>
                </a:cubicBezTo>
                <a:cubicBezTo>
                  <a:pt x="1675239" y="2743998"/>
                  <a:pt x="2378681" y="3451882"/>
                  <a:pt x="2395359" y="3465282"/>
                </a:cubicBezTo>
                <a:cubicBezTo>
                  <a:pt x="2397725" y="3463977"/>
                  <a:pt x="2400778" y="3463071"/>
                  <a:pt x="2402724" y="3461081"/>
                </a:cubicBezTo>
                <a:cubicBezTo>
                  <a:pt x="2437585" y="3425368"/>
                  <a:pt x="2474922" y="3392132"/>
                  <a:pt x="2510313" y="3355424"/>
                </a:cubicBezTo>
                <a:close/>
                <a:moveTo>
                  <a:pt x="665554" y="2984235"/>
                </a:moveTo>
                <a:cubicBezTo>
                  <a:pt x="726604" y="3045620"/>
                  <a:pt x="787808" y="3107139"/>
                  <a:pt x="849367" y="3169033"/>
                </a:cubicBezTo>
                <a:cubicBezTo>
                  <a:pt x="854896" y="3166181"/>
                  <a:pt x="859431" y="3163991"/>
                  <a:pt x="863833" y="3161559"/>
                </a:cubicBezTo>
                <a:cubicBezTo>
                  <a:pt x="893517" y="3145195"/>
                  <a:pt x="923688" y="3130004"/>
                  <a:pt x="955341" y="3117620"/>
                </a:cubicBezTo>
                <a:cubicBezTo>
                  <a:pt x="1009754" y="3096348"/>
                  <a:pt x="1065916" y="3081775"/>
                  <a:pt x="1123205" y="3070984"/>
                </a:cubicBezTo>
                <a:cubicBezTo>
                  <a:pt x="1205179" y="3055527"/>
                  <a:pt x="1287707" y="3046859"/>
                  <a:pt x="1371296" y="3050043"/>
                </a:cubicBezTo>
                <a:cubicBezTo>
                  <a:pt x="1406665" y="3051392"/>
                  <a:pt x="1441835" y="3054355"/>
                  <a:pt x="1476828" y="3059596"/>
                </a:cubicBezTo>
                <a:cubicBezTo>
                  <a:pt x="1513989" y="3065168"/>
                  <a:pt x="1550906" y="3072023"/>
                  <a:pt x="1587292" y="3081488"/>
                </a:cubicBezTo>
                <a:cubicBezTo>
                  <a:pt x="1593198" y="3083013"/>
                  <a:pt x="1599325" y="3083699"/>
                  <a:pt x="1605364" y="3084783"/>
                </a:cubicBezTo>
                <a:cubicBezTo>
                  <a:pt x="1602643" y="3078989"/>
                  <a:pt x="1598883" y="3075694"/>
                  <a:pt x="1594901" y="3072709"/>
                </a:cubicBezTo>
                <a:cubicBezTo>
                  <a:pt x="1555352" y="3043077"/>
                  <a:pt x="1513192" y="3017448"/>
                  <a:pt x="1469971" y="2993677"/>
                </a:cubicBezTo>
                <a:cubicBezTo>
                  <a:pt x="1397464" y="2953829"/>
                  <a:pt x="1321373" y="2922716"/>
                  <a:pt x="1241787" y="2899564"/>
                </a:cubicBezTo>
                <a:cubicBezTo>
                  <a:pt x="1138954" y="2869622"/>
                  <a:pt x="1034683" y="2863696"/>
                  <a:pt x="928952" y="2876389"/>
                </a:cubicBezTo>
                <a:cubicBezTo>
                  <a:pt x="894535" y="2880524"/>
                  <a:pt x="860802" y="2887866"/>
                  <a:pt x="827955" y="2899409"/>
                </a:cubicBezTo>
                <a:cubicBezTo>
                  <a:pt x="780487" y="2916082"/>
                  <a:pt x="736381" y="2939765"/>
                  <a:pt x="692164" y="2963183"/>
                </a:cubicBezTo>
                <a:cubicBezTo>
                  <a:pt x="682785" y="2968158"/>
                  <a:pt x="671903" y="2972404"/>
                  <a:pt x="665576" y="2984212"/>
                </a:cubicBezTo>
                <a:close/>
                <a:moveTo>
                  <a:pt x="1942884" y="4266041"/>
                </a:moveTo>
                <a:cubicBezTo>
                  <a:pt x="1954784" y="4282316"/>
                  <a:pt x="2060471" y="4390272"/>
                  <a:pt x="2117981" y="4444935"/>
                </a:cubicBezTo>
                <a:cubicBezTo>
                  <a:pt x="2121078" y="4447877"/>
                  <a:pt x="2124661" y="4450287"/>
                  <a:pt x="2128753" y="4453537"/>
                </a:cubicBezTo>
                <a:cubicBezTo>
                  <a:pt x="2133266" y="4447346"/>
                  <a:pt x="2137645" y="4442326"/>
                  <a:pt x="2140897" y="4436643"/>
                </a:cubicBezTo>
                <a:cubicBezTo>
                  <a:pt x="2154014" y="4413624"/>
                  <a:pt x="2166932" y="4390493"/>
                  <a:pt x="2179650" y="4367252"/>
                </a:cubicBezTo>
                <a:cubicBezTo>
                  <a:pt x="2211834" y="4308432"/>
                  <a:pt x="2232715" y="4246028"/>
                  <a:pt x="2239704" y="4179092"/>
                </a:cubicBezTo>
                <a:cubicBezTo>
                  <a:pt x="2244593" y="4132146"/>
                  <a:pt x="2247513" y="4085222"/>
                  <a:pt x="2245013" y="4037989"/>
                </a:cubicBezTo>
                <a:cubicBezTo>
                  <a:pt x="2241518" y="3972047"/>
                  <a:pt x="2227295" y="3908207"/>
                  <a:pt x="2207742" y="3845472"/>
                </a:cubicBezTo>
                <a:cubicBezTo>
                  <a:pt x="2179562" y="3755008"/>
                  <a:pt x="2139680" y="3669828"/>
                  <a:pt x="2089270" y="3589624"/>
                </a:cubicBezTo>
                <a:cubicBezTo>
                  <a:pt x="2077127" y="3570297"/>
                  <a:pt x="2064231" y="3551435"/>
                  <a:pt x="2051335" y="3532594"/>
                </a:cubicBezTo>
                <a:cubicBezTo>
                  <a:pt x="2047973" y="3527685"/>
                  <a:pt x="2044368" y="3522489"/>
                  <a:pt x="2037113" y="3517911"/>
                </a:cubicBezTo>
                <a:cubicBezTo>
                  <a:pt x="2037688" y="3523351"/>
                  <a:pt x="2037688" y="3526270"/>
                  <a:pt x="2038351" y="3529034"/>
                </a:cubicBezTo>
                <a:cubicBezTo>
                  <a:pt x="2049079" y="3573459"/>
                  <a:pt x="2057241" y="3618327"/>
                  <a:pt x="2062683" y="3663725"/>
                </a:cubicBezTo>
                <a:cubicBezTo>
                  <a:pt x="2069628" y="3721683"/>
                  <a:pt x="2072039" y="3779819"/>
                  <a:pt x="2067394" y="3837954"/>
                </a:cubicBezTo>
                <a:cubicBezTo>
                  <a:pt x="2062240" y="3902590"/>
                  <a:pt x="2052309" y="3966652"/>
                  <a:pt x="2037555" y="4029873"/>
                </a:cubicBezTo>
                <a:cubicBezTo>
                  <a:pt x="2021762" y="4097583"/>
                  <a:pt x="1999421" y="4162928"/>
                  <a:pt x="1966773" y="4224490"/>
                </a:cubicBezTo>
                <a:cubicBezTo>
                  <a:pt x="1959230" y="4238709"/>
                  <a:pt x="1950758" y="4252419"/>
                  <a:pt x="1942884" y="4266041"/>
                </a:cubicBezTo>
                <a:close/>
                <a:moveTo>
                  <a:pt x="4098044" y="748537"/>
                </a:moveTo>
                <a:cubicBezTo>
                  <a:pt x="4094682" y="751168"/>
                  <a:pt x="4092183" y="752738"/>
                  <a:pt x="4090104" y="754773"/>
                </a:cubicBezTo>
                <a:cubicBezTo>
                  <a:pt x="4027461" y="816136"/>
                  <a:pt x="3964819" y="877522"/>
                  <a:pt x="3902288" y="939019"/>
                </a:cubicBezTo>
                <a:cubicBezTo>
                  <a:pt x="3899368" y="941893"/>
                  <a:pt x="3897355" y="945697"/>
                  <a:pt x="3894280" y="949943"/>
                </a:cubicBezTo>
                <a:cubicBezTo>
                  <a:pt x="4002068" y="1058341"/>
                  <a:pt x="4109038" y="1165899"/>
                  <a:pt x="4216936" y="1274408"/>
                </a:cubicBezTo>
                <a:cubicBezTo>
                  <a:pt x="4223285" y="1268658"/>
                  <a:pt x="4228815" y="1263970"/>
                  <a:pt x="4233990" y="1258906"/>
                </a:cubicBezTo>
                <a:cubicBezTo>
                  <a:pt x="4293536" y="1200705"/>
                  <a:pt x="4353059" y="1142459"/>
                  <a:pt x="4412494" y="1084125"/>
                </a:cubicBezTo>
                <a:cubicBezTo>
                  <a:pt x="4415502" y="1081184"/>
                  <a:pt x="4417736" y="1077447"/>
                  <a:pt x="4421209" y="1072958"/>
                </a:cubicBezTo>
                <a:cubicBezTo>
                  <a:pt x="4384734" y="1036272"/>
                  <a:pt x="4349255" y="999984"/>
                  <a:pt x="4313090" y="964382"/>
                </a:cubicBezTo>
                <a:cubicBezTo>
                  <a:pt x="4276902" y="928802"/>
                  <a:pt x="4241577" y="892360"/>
                  <a:pt x="4205833" y="856360"/>
                </a:cubicBezTo>
                <a:cubicBezTo>
                  <a:pt x="4170110" y="820382"/>
                  <a:pt x="4134785" y="783962"/>
                  <a:pt x="4098066" y="748559"/>
                </a:cubicBezTo>
                <a:close/>
                <a:moveTo>
                  <a:pt x="2678686" y="3331963"/>
                </a:moveTo>
                <a:cubicBezTo>
                  <a:pt x="2671984" y="3324687"/>
                  <a:pt x="2667295" y="3319137"/>
                  <a:pt x="2662119" y="3314073"/>
                </a:cubicBezTo>
                <a:cubicBezTo>
                  <a:pt x="2638916" y="3291496"/>
                  <a:pt x="2615204" y="3269427"/>
                  <a:pt x="2592354" y="3246518"/>
                </a:cubicBezTo>
                <a:cubicBezTo>
                  <a:pt x="2466008" y="3119765"/>
                  <a:pt x="2339861" y="2992814"/>
                  <a:pt x="2213648" y="2865930"/>
                </a:cubicBezTo>
                <a:cubicBezTo>
                  <a:pt x="2146626" y="2798529"/>
                  <a:pt x="2079405" y="2731327"/>
                  <a:pt x="2012626" y="2663683"/>
                </a:cubicBezTo>
                <a:cubicBezTo>
                  <a:pt x="1946932" y="2597101"/>
                  <a:pt x="1881724" y="2530032"/>
                  <a:pt x="1816184" y="2463295"/>
                </a:cubicBezTo>
                <a:cubicBezTo>
                  <a:pt x="1811738" y="2458784"/>
                  <a:pt x="1808354" y="2452503"/>
                  <a:pt x="1799661" y="2451442"/>
                </a:cubicBezTo>
                <a:cubicBezTo>
                  <a:pt x="1780970" y="2470172"/>
                  <a:pt x="1761107" y="2488636"/>
                  <a:pt x="1741841" y="2508892"/>
                </a:cubicBezTo>
                <a:cubicBezTo>
                  <a:pt x="1746021" y="2513602"/>
                  <a:pt x="1749206" y="2517516"/>
                  <a:pt x="1752746" y="2521076"/>
                </a:cubicBezTo>
                <a:cubicBezTo>
                  <a:pt x="1822311" y="2591130"/>
                  <a:pt x="1891921" y="2661163"/>
                  <a:pt x="1961509" y="2731172"/>
                </a:cubicBezTo>
                <a:cubicBezTo>
                  <a:pt x="2110593" y="2881143"/>
                  <a:pt x="2259678" y="3031092"/>
                  <a:pt x="2408785" y="3181041"/>
                </a:cubicBezTo>
                <a:cubicBezTo>
                  <a:pt x="2473728" y="3246341"/>
                  <a:pt x="2538670" y="3311663"/>
                  <a:pt x="2603746" y="3376830"/>
                </a:cubicBezTo>
                <a:cubicBezTo>
                  <a:pt x="2608236" y="3381341"/>
                  <a:pt x="2611598" y="3387820"/>
                  <a:pt x="2620910" y="3388461"/>
                </a:cubicBezTo>
                <a:cubicBezTo>
                  <a:pt x="2639026" y="3370727"/>
                  <a:pt x="2657894" y="3352262"/>
                  <a:pt x="2678642" y="3331940"/>
                </a:cubicBezTo>
                <a:close/>
                <a:moveTo>
                  <a:pt x="2021076" y="2216911"/>
                </a:moveTo>
                <a:cubicBezTo>
                  <a:pt x="2025920" y="2222152"/>
                  <a:pt x="2028796" y="2225469"/>
                  <a:pt x="2031892" y="2228565"/>
                </a:cubicBezTo>
                <a:cubicBezTo>
                  <a:pt x="2325461" y="2523619"/>
                  <a:pt x="2619052" y="2818674"/>
                  <a:pt x="2912665" y="3113706"/>
                </a:cubicBezTo>
                <a:cubicBezTo>
                  <a:pt x="2913152" y="3114193"/>
                  <a:pt x="2913948" y="3114392"/>
                  <a:pt x="2914656" y="3114613"/>
                </a:cubicBezTo>
                <a:cubicBezTo>
                  <a:pt x="2915320" y="3114812"/>
                  <a:pt x="2916049" y="3114856"/>
                  <a:pt x="2917664" y="3115122"/>
                </a:cubicBezTo>
                <a:cubicBezTo>
                  <a:pt x="2935360" y="3098449"/>
                  <a:pt x="2953453" y="3081399"/>
                  <a:pt x="2972410" y="3063510"/>
                </a:cubicBezTo>
                <a:cubicBezTo>
                  <a:pt x="2968119" y="3058534"/>
                  <a:pt x="2964624" y="3054023"/>
                  <a:pt x="2960642" y="3049977"/>
                </a:cubicBezTo>
                <a:cubicBezTo>
                  <a:pt x="2829762" y="2916303"/>
                  <a:pt x="2695408" y="2786035"/>
                  <a:pt x="2566319" y="2650570"/>
                </a:cubicBezTo>
                <a:cubicBezTo>
                  <a:pt x="2526726" y="2609042"/>
                  <a:pt x="2484190" y="2570322"/>
                  <a:pt x="2443645" y="2529678"/>
                </a:cubicBezTo>
                <a:cubicBezTo>
                  <a:pt x="2326081" y="2411794"/>
                  <a:pt x="2208826" y="2293555"/>
                  <a:pt x="2091416" y="2175493"/>
                </a:cubicBezTo>
                <a:cubicBezTo>
                  <a:pt x="2086837" y="2170894"/>
                  <a:pt x="2081816" y="2166714"/>
                  <a:pt x="2076551" y="2161938"/>
                </a:cubicBezTo>
                <a:cubicBezTo>
                  <a:pt x="2057927" y="2180380"/>
                  <a:pt x="2040231" y="2197894"/>
                  <a:pt x="2021054" y="2216889"/>
                </a:cubicBezTo>
                <a:close/>
                <a:moveTo>
                  <a:pt x="4690269" y="1139761"/>
                </a:moveTo>
                <a:cubicBezTo>
                  <a:pt x="4663107" y="1114044"/>
                  <a:pt x="4636320" y="1089963"/>
                  <a:pt x="4610927" y="1064488"/>
                </a:cubicBezTo>
                <a:cubicBezTo>
                  <a:pt x="4447045" y="900078"/>
                  <a:pt x="4283449" y="735424"/>
                  <a:pt x="4119854" y="570725"/>
                </a:cubicBezTo>
                <a:cubicBezTo>
                  <a:pt x="4107423" y="558209"/>
                  <a:pt x="4095987" y="544721"/>
                  <a:pt x="4083822" y="531939"/>
                </a:cubicBezTo>
                <a:cubicBezTo>
                  <a:pt x="4067674" y="514978"/>
                  <a:pt x="4051262" y="498261"/>
                  <a:pt x="4035026" y="481543"/>
                </a:cubicBezTo>
                <a:cubicBezTo>
                  <a:pt x="4020781" y="490344"/>
                  <a:pt x="3982294" y="527119"/>
                  <a:pt x="3966124" y="547374"/>
                </a:cubicBezTo>
                <a:cubicBezTo>
                  <a:pt x="3969309" y="554804"/>
                  <a:pt x="3975990" y="559713"/>
                  <a:pt x="3981586" y="565352"/>
                </a:cubicBezTo>
                <a:cubicBezTo>
                  <a:pt x="4059999" y="644318"/>
                  <a:pt x="4138523" y="723151"/>
                  <a:pt x="4216892" y="802139"/>
                </a:cubicBezTo>
                <a:cubicBezTo>
                  <a:pt x="4225165" y="810475"/>
                  <a:pt x="4232531" y="819697"/>
                  <a:pt x="4240516" y="828321"/>
                </a:cubicBezTo>
                <a:cubicBezTo>
                  <a:pt x="4257503" y="846675"/>
                  <a:pt x="4274580" y="864940"/>
                  <a:pt x="4291678" y="883205"/>
                </a:cubicBezTo>
                <a:cubicBezTo>
                  <a:pt x="4293691" y="885350"/>
                  <a:pt x="4295903" y="887318"/>
                  <a:pt x="4298070" y="889309"/>
                </a:cubicBezTo>
                <a:cubicBezTo>
                  <a:pt x="4319172" y="908702"/>
                  <a:pt x="4341004" y="927365"/>
                  <a:pt x="4361288" y="947599"/>
                </a:cubicBezTo>
                <a:cubicBezTo>
                  <a:pt x="4443174" y="1029351"/>
                  <a:pt x="4524551" y="1111567"/>
                  <a:pt x="4606149" y="1193584"/>
                </a:cubicBezTo>
                <a:cubicBezTo>
                  <a:pt x="4611237" y="1198715"/>
                  <a:pt x="4616700" y="1203491"/>
                  <a:pt x="4621832" y="1208290"/>
                </a:cubicBezTo>
                <a:cubicBezTo>
                  <a:pt x="4640634" y="1193032"/>
                  <a:pt x="4680073" y="1153626"/>
                  <a:pt x="4690292" y="1139783"/>
                </a:cubicBezTo>
                <a:close/>
                <a:moveTo>
                  <a:pt x="4064799" y="716119"/>
                </a:moveTo>
                <a:cubicBezTo>
                  <a:pt x="4062211" y="712913"/>
                  <a:pt x="4060220" y="709949"/>
                  <a:pt x="4057743" y="707451"/>
                </a:cubicBezTo>
                <a:cubicBezTo>
                  <a:pt x="3995477" y="644716"/>
                  <a:pt x="3933166" y="582003"/>
                  <a:pt x="3870790" y="519379"/>
                </a:cubicBezTo>
                <a:cubicBezTo>
                  <a:pt x="3867317" y="515885"/>
                  <a:pt x="3863070" y="513165"/>
                  <a:pt x="3858779" y="509738"/>
                </a:cubicBezTo>
                <a:cubicBezTo>
                  <a:pt x="3852143" y="516040"/>
                  <a:pt x="3846127" y="521435"/>
                  <a:pt x="3840486" y="527185"/>
                </a:cubicBezTo>
                <a:cubicBezTo>
                  <a:pt x="3819849" y="548192"/>
                  <a:pt x="3799565" y="569554"/>
                  <a:pt x="3778685" y="590318"/>
                </a:cubicBezTo>
                <a:cubicBezTo>
                  <a:pt x="3741612" y="627202"/>
                  <a:pt x="3704164" y="663733"/>
                  <a:pt x="3666959" y="700485"/>
                </a:cubicBezTo>
                <a:cubicBezTo>
                  <a:pt x="3663420" y="703979"/>
                  <a:pt x="3660301" y="707871"/>
                  <a:pt x="3656408" y="712271"/>
                </a:cubicBezTo>
                <a:cubicBezTo>
                  <a:pt x="3660567" y="716959"/>
                  <a:pt x="3663685" y="720962"/>
                  <a:pt x="3667313" y="724433"/>
                </a:cubicBezTo>
                <a:cubicBezTo>
                  <a:pt x="3681669" y="738121"/>
                  <a:pt x="3696555" y="751279"/>
                  <a:pt x="3710601" y="765298"/>
                </a:cubicBezTo>
                <a:cubicBezTo>
                  <a:pt x="3754906" y="809547"/>
                  <a:pt x="3798857" y="854127"/>
                  <a:pt x="3843140" y="898419"/>
                </a:cubicBezTo>
                <a:cubicBezTo>
                  <a:pt x="3848670" y="903947"/>
                  <a:pt x="3853205" y="911090"/>
                  <a:pt x="3861632" y="913589"/>
                </a:cubicBezTo>
                <a:cubicBezTo>
                  <a:pt x="3927747" y="849947"/>
                  <a:pt x="3993375" y="786792"/>
                  <a:pt x="4058959" y="723593"/>
                </a:cubicBezTo>
                <a:cubicBezTo>
                  <a:pt x="4060972" y="721647"/>
                  <a:pt x="4062476" y="719148"/>
                  <a:pt x="4064821" y="716119"/>
                </a:cubicBezTo>
                <a:close/>
                <a:moveTo>
                  <a:pt x="4250536" y="1307511"/>
                </a:moveTo>
                <a:cubicBezTo>
                  <a:pt x="4272943" y="1331459"/>
                  <a:pt x="4295571" y="1353440"/>
                  <a:pt x="4317779" y="1375818"/>
                </a:cubicBezTo>
                <a:cubicBezTo>
                  <a:pt x="4340606" y="1398794"/>
                  <a:pt x="4362880" y="1422344"/>
                  <a:pt x="4386371" y="1444612"/>
                </a:cubicBezTo>
                <a:cubicBezTo>
                  <a:pt x="4409198" y="1466216"/>
                  <a:pt x="4427049" y="1492686"/>
                  <a:pt x="4452619" y="1512698"/>
                </a:cubicBezTo>
                <a:cubicBezTo>
                  <a:pt x="4456025" y="1509779"/>
                  <a:pt x="4458878" y="1507568"/>
                  <a:pt x="4461489" y="1505069"/>
                </a:cubicBezTo>
                <a:cubicBezTo>
                  <a:pt x="4512960" y="1455624"/>
                  <a:pt x="4564410" y="1406179"/>
                  <a:pt x="4615838" y="1356690"/>
                </a:cubicBezTo>
                <a:cubicBezTo>
                  <a:pt x="4630127" y="1342936"/>
                  <a:pt x="4644283" y="1329093"/>
                  <a:pt x="4659236" y="1314565"/>
                </a:cubicBezTo>
                <a:cubicBezTo>
                  <a:pt x="4656781" y="1311359"/>
                  <a:pt x="4654525" y="1307622"/>
                  <a:pt x="4651516" y="1304614"/>
                </a:cubicBezTo>
                <a:cubicBezTo>
                  <a:pt x="4588786" y="1241393"/>
                  <a:pt x="4526011" y="1178260"/>
                  <a:pt x="4463148" y="1115171"/>
                </a:cubicBezTo>
                <a:cubicBezTo>
                  <a:pt x="4460184" y="1112186"/>
                  <a:pt x="4456445" y="1109975"/>
                  <a:pt x="4453415" y="1107631"/>
                </a:cubicBezTo>
                <a:cubicBezTo>
                  <a:pt x="4385553" y="1174501"/>
                  <a:pt x="4318597" y="1240464"/>
                  <a:pt x="4250558" y="1307511"/>
                </a:cubicBezTo>
                <a:close/>
                <a:moveTo>
                  <a:pt x="1244065" y="3634956"/>
                </a:moveTo>
                <a:cubicBezTo>
                  <a:pt x="1241079" y="3638958"/>
                  <a:pt x="1239354" y="3640506"/>
                  <a:pt x="1238558" y="3642430"/>
                </a:cubicBezTo>
                <a:cubicBezTo>
                  <a:pt x="1186931" y="3768253"/>
                  <a:pt x="1135393" y="3894121"/>
                  <a:pt x="1083855" y="4019989"/>
                </a:cubicBezTo>
                <a:cubicBezTo>
                  <a:pt x="1083589" y="4020652"/>
                  <a:pt x="1083412" y="4021514"/>
                  <a:pt x="1083633" y="4022156"/>
                </a:cubicBezTo>
                <a:cubicBezTo>
                  <a:pt x="1083855" y="4022753"/>
                  <a:pt x="1084629" y="4023173"/>
                  <a:pt x="1086420" y="4024876"/>
                </a:cubicBezTo>
                <a:cubicBezTo>
                  <a:pt x="1102700" y="4018993"/>
                  <a:pt x="1119909" y="4013178"/>
                  <a:pt x="1136808" y="4006588"/>
                </a:cubicBezTo>
                <a:cubicBezTo>
                  <a:pt x="1250414" y="3962384"/>
                  <a:pt x="1364439" y="3919308"/>
                  <a:pt x="1477027" y="3872760"/>
                </a:cubicBezTo>
                <a:cubicBezTo>
                  <a:pt x="1476231" y="3870283"/>
                  <a:pt x="1476187" y="3868492"/>
                  <a:pt x="1475280" y="3867563"/>
                </a:cubicBezTo>
                <a:cubicBezTo>
                  <a:pt x="1405957" y="3797575"/>
                  <a:pt x="1336591" y="3727654"/>
                  <a:pt x="1267202" y="3657754"/>
                </a:cubicBezTo>
                <a:cubicBezTo>
                  <a:pt x="1259991" y="3650479"/>
                  <a:pt x="1252626" y="3643381"/>
                  <a:pt x="1244043" y="3634956"/>
                </a:cubicBezTo>
                <a:close/>
                <a:moveTo>
                  <a:pt x="2052640" y="2629298"/>
                </a:moveTo>
                <a:cubicBezTo>
                  <a:pt x="2063523" y="2644401"/>
                  <a:pt x="2241585" y="2823981"/>
                  <a:pt x="2257488" y="2836210"/>
                </a:cubicBezTo>
                <a:cubicBezTo>
                  <a:pt x="2266690" y="2831455"/>
                  <a:pt x="2273083" y="2823207"/>
                  <a:pt x="2280205" y="2815910"/>
                </a:cubicBezTo>
                <a:cubicBezTo>
                  <a:pt x="2290491" y="2805384"/>
                  <a:pt x="2300024" y="2794150"/>
                  <a:pt x="2310464" y="2783802"/>
                </a:cubicBezTo>
                <a:cubicBezTo>
                  <a:pt x="2339264" y="2755276"/>
                  <a:pt x="2368373" y="2727059"/>
                  <a:pt x="2397305" y="2698688"/>
                </a:cubicBezTo>
                <a:cubicBezTo>
                  <a:pt x="2402525" y="2693558"/>
                  <a:pt x="2407547" y="2688207"/>
                  <a:pt x="2413673" y="2681905"/>
                </a:cubicBezTo>
                <a:cubicBezTo>
                  <a:pt x="2361980" y="2631686"/>
                  <a:pt x="2311017" y="2581909"/>
                  <a:pt x="2262775" y="2529413"/>
                </a:cubicBezTo>
                <a:cubicBezTo>
                  <a:pt x="2245920" y="2511059"/>
                  <a:pt x="2227981" y="2493634"/>
                  <a:pt x="2208936" y="2475545"/>
                </a:cubicBezTo>
                <a:cubicBezTo>
                  <a:pt x="2156403" y="2527201"/>
                  <a:pt x="2104997" y="2577752"/>
                  <a:pt x="2052640" y="2629276"/>
                </a:cubicBezTo>
                <a:close/>
                <a:moveTo>
                  <a:pt x="2498413" y="3080846"/>
                </a:moveTo>
                <a:cubicBezTo>
                  <a:pt x="2501930" y="3078923"/>
                  <a:pt x="2502704" y="3078702"/>
                  <a:pt x="2503213" y="3078215"/>
                </a:cubicBezTo>
                <a:cubicBezTo>
                  <a:pt x="2552207" y="3030318"/>
                  <a:pt x="2601224" y="2982443"/>
                  <a:pt x="2650130" y="2934436"/>
                </a:cubicBezTo>
                <a:cubicBezTo>
                  <a:pt x="2652563" y="2932048"/>
                  <a:pt x="2654134" y="2928797"/>
                  <a:pt x="2656522" y="2925347"/>
                </a:cubicBezTo>
                <a:cubicBezTo>
                  <a:pt x="2642366" y="2911018"/>
                  <a:pt x="2629117" y="2897242"/>
                  <a:pt x="2615425" y="2883885"/>
                </a:cubicBezTo>
                <a:cubicBezTo>
                  <a:pt x="2601733" y="2870529"/>
                  <a:pt x="2587488" y="2857770"/>
                  <a:pt x="2573752" y="2844458"/>
                </a:cubicBezTo>
                <a:cubicBezTo>
                  <a:pt x="2560015" y="2831124"/>
                  <a:pt x="2546611" y="2817436"/>
                  <a:pt x="2533074" y="2803902"/>
                </a:cubicBezTo>
                <a:cubicBezTo>
                  <a:pt x="2519537" y="2790347"/>
                  <a:pt x="2506509" y="2776261"/>
                  <a:pt x="2492374" y="2763369"/>
                </a:cubicBezTo>
                <a:cubicBezTo>
                  <a:pt x="2478351" y="2750544"/>
                  <a:pt x="2468485" y="2733649"/>
                  <a:pt x="2452670" y="2722106"/>
                </a:cubicBezTo>
                <a:cubicBezTo>
                  <a:pt x="2401906" y="2770379"/>
                  <a:pt x="2351805" y="2818010"/>
                  <a:pt x="2301749" y="2865709"/>
                </a:cubicBezTo>
                <a:cubicBezTo>
                  <a:pt x="2299205" y="2868119"/>
                  <a:pt x="2297215" y="2871126"/>
                  <a:pt x="2293786" y="2875283"/>
                </a:cubicBezTo>
                <a:cubicBezTo>
                  <a:pt x="2362401" y="2944099"/>
                  <a:pt x="2430042" y="3012561"/>
                  <a:pt x="2498391" y="3080891"/>
                </a:cubicBezTo>
                <a:close/>
                <a:moveTo>
                  <a:pt x="3328997" y="2824910"/>
                </a:moveTo>
                <a:cubicBezTo>
                  <a:pt x="3302564" y="2794239"/>
                  <a:pt x="3269429" y="2762264"/>
                  <a:pt x="3255804" y="2754435"/>
                </a:cubicBezTo>
                <a:cubicBezTo>
                  <a:pt x="3170356" y="2838222"/>
                  <a:pt x="3084666" y="2922252"/>
                  <a:pt x="2999041" y="3006325"/>
                </a:cubicBezTo>
                <a:cubicBezTo>
                  <a:pt x="2997029" y="3008294"/>
                  <a:pt x="2995724" y="3010991"/>
                  <a:pt x="2993689" y="3013932"/>
                </a:cubicBezTo>
                <a:cubicBezTo>
                  <a:pt x="3000568" y="3021274"/>
                  <a:pt x="3008066" y="3027532"/>
                  <a:pt x="3013397" y="3035271"/>
                </a:cubicBezTo>
                <a:cubicBezTo>
                  <a:pt x="3024346" y="3051149"/>
                  <a:pt x="3030119" y="3074080"/>
                  <a:pt x="3011561" y="3090908"/>
                </a:cubicBezTo>
                <a:cubicBezTo>
                  <a:pt x="2985947" y="3114149"/>
                  <a:pt x="2961969" y="3139203"/>
                  <a:pt x="2937262" y="3163461"/>
                </a:cubicBezTo>
                <a:cubicBezTo>
                  <a:pt x="2935161" y="3165517"/>
                  <a:pt x="2932993" y="3167574"/>
                  <a:pt x="2930560" y="3169188"/>
                </a:cubicBezTo>
                <a:cubicBezTo>
                  <a:pt x="2923393" y="3174009"/>
                  <a:pt x="2915364" y="3175888"/>
                  <a:pt x="2907600" y="3171709"/>
                </a:cubicBezTo>
                <a:cubicBezTo>
                  <a:pt x="2900610" y="3167950"/>
                  <a:pt x="2894350" y="3162731"/>
                  <a:pt x="2887980" y="3157910"/>
                </a:cubicBezTo>
                <a:cubicBezTo>
                  <a:pt x="2881145" y="3152736"/>
                  <a:pt x="2877119" y="3144001"/>
                  <a:pt x="2868338" y="3141503"/>
                </a:cubicBezTo>
                <a:cubicBezTo>
                  <a:pt x="2846993" y="3159657"/>
                  <a:pt x="2798153" y="3208417"/>
                  <a:pt x="2788664" y="3220844"/>
                </a:cubicBezTo>
                <a:cubicBezTo>
                  <a:pt x="2807753" y="3241188"/>
                  <a:pt x="2826709" y="3261532"/>
                  <a:pt x="2845865" y="3281677"/>
                </a:cubicBezTo>
                <a:cubicBezTo>
                  <a:pt x="2848187" y="3284132"/>
                  <a:pt x="2851527" y="3285613"/>
                  <a:pt x="2854757" y="3287781"/>
                </a:cubicBezTo>
                <a:cubicBezTo>
                  <a:pt x="3013021" y="3133299"/>
                  <a:pt x="3170489" y="2979569"/>
                  <a:pt x="3328953" y="2824888"/>
                </a:cubicBezTo>
                <a:close/>
                <a:moveTo>
                  <a:pt x="2320595" y="1809433"/>
                </a:moveTo>
                <a:cubicBezTo>
                  <a:pt x="2163724" y="1968227"/>
                  <a:pt x="2004442" y="2120122"/>
                  <a:pt x="1847483" y="2276063"/>
                </a:cubicBezTo>
                <a:cubicBezTo>
                  <a:pt x="1851995" y="2281127"/>
                  <a:pt x="1855557" y="2285660"/>
                  <a:pt x="1859671" y="2289641"/>
                </a:cubicBezTo>
                <a:cubicBezTo>
                  <a:pt x="1874491" y="2303926"/>
                  <a:pt x="1889510" y="2317990"/>
                  <a:pt x="1904374" y="2332231"/>
                </a:cubicBezTo>
                <a:cubicBezTo>
                  <a:pt x="1907913" y="2335614"/>
                  <a:pt x="1911098" y="2339351"/>
                  <a:pt x="1915102" y="2343641"/>
                </a:cubicBezTo>
                <a:cubicBezTo>
                  <a:pt x="1943415" y="2316973"/>
                  <a:pt x="1969870" y="2290614"/>
                  <a:pt x="1997143" y="2263724"/>
                </a:cubicBezTo>
                <a:cubicBezTo>
                  <a:pt x="1992918" y="2258771"/>
                  <a:pt x="1989799" y="2254879"/>
                  <a:pt x="1986415" y="2251253"/>
                </a:cubicBezTo>
                <a:cubicBezTo>
                  <a:pt x="1981903" y="2246410"/>
                  <a:pt x="1976461" y="2242253"/>
                  <a:pt x="1972701" y="2236901"/>
                </a:cubicBezTo>
                <a:cubicBezTo>
                  <a:pt x="1960159" y="2219144"/>
                  <a:pt x="1960336" y="2209569"/>
                  <a:pt x="1973962" y="2195859"/>
                </a:cubicBezTo>
                <a:cubicBezTo>
                  <a:pt x="1998337" y="2171292"/>
                  <a:pt x="2023354" y="2147343"/>
                  <a:pt x="2047995" y="2123041"/>
                </a:cubicBezTo>
                <a:cubicBezTo>
                  <a:pt x="2062506" y="2108712"/>
                  <a:pt x="2078940" y="2107429"/>
                  <a:pt x="2096503" y="2116075"/>
                </a:cubicBezTo>
                <a:cubicBezTo>
                  <a:pt x="2101657" y="2118618"/>
                  <a:pt x="2106037" y="2122820"/>
                  <a:pt x="2110505" y="2126579"/>
                </a:cubicBezTo>
                <a:cubicBezTo>
                  <a:pt x="2115990" y="2131201"/>
                  <a:pt x="2121188" y="2136154"/>
                  <a:pt x="2127493" y="2141837"/>
                </a:cubicBezTo>
                <a:cubicBezTo>
                  <a:pt x="2216191" y="2054888"/>
                  <a:pt x="2303895" y="1968935"/>
                  <a:pt x="2392704" y="1881898"/>
                </a:cubicBezTo>
                <a:cubicBezTo>
                  <a:pt x="2368771" y="1857087"/>
                  <a:pt x="2345546" y="1833780"/>
                  <a:pt x="2320617" y="1809433"/>
                </a:cubicBezTo>
                <a:close/>
                <a:moveTo>
                  <a:pt x="2021607" y="2599158"/>
                </a:moveTo>
                <a:cubicBezTo>
                  <a:pt x="2024704" y="2596703"/>
                  <a:pt x="2027137" y="2595067"/>
                  <a:pt x="2029194" y="2593054"/>
                </a:cubicBezTo>
                <a:cubicBezTo>
                  <a:pt x="2077967" y="2545003"/>
                  <a:pt x="2126696" y="2496907"/>
                  <a:pt x="2175403" y="2448811"/>
                </a:cubicBezTo>
                <a:cubicBezTo>
                  <a:pt x="2175890" y="2448346"/>
                  <a:pt x="2176133" y="2447550"/>
                  <a:pt x="2176310" y="2446865"/>
                </a:cubicBezTo>
                <a:cubicBezTo>
                  <a:pt x="2176487" y="2446157"/>
                  <a:pt x="2176421" y="2445405"/>
                  <a:pt x="2176465" y="2444676"/>
                </a:cubicBezTo>
                <a:cubicBezTo>
                  <a:pt x="2163879" y="2428400"/>
                  <a:pt x="2046027" y="2310162"/>
                  <a:pt x="2030565" y="2298685"/>
                </a:cubicBezTo>
                <a:cubicBezTo>
                  <a:pt x="1978585" y="2349147"/>
                  <a:pt x="1926869" y="2400228"/>
                  <a:pt x="1875132" y="2451022"/>
                </a:cubicBezTo>
                <a:cubicBezTo>
                  <a:pt x="1885926" y="2465661"/>
                  <a:pt x="2002429" y="2583523"/>
                  <a:pt x="2021607" y="2599180"/>
                </a:cubicBezTo>
                <a:close/>
                <a:moveTo>
                  <a:pt x="2687224" y="2958782"/>
                </a:moveTo>
                <a:cubicBezTo>
                  <a:pt x="2684791" y="2960352"/>
                  <a:pt x="2683375" y="2960972"/>
                  <a:pt x="2682358" y="2961967"/>
                </a:cubicBezTo>
                <a:cubicBezTo>
                  <a:pt x="2633917" y="3009355"/>
                  <a:pt x="2585497" y="3056743"/>
                  <a:pt x="2537144" y="3104220"/>
                </a:cubicBezTo>
                <a:cubicBezTo>
                  <a:pt x="2534755" y="3106564"/>
                  <a:pt x="2532986" y="3109571"/>
                  <a:pt x="2530398" y="3112977"/>
                </a:cubicBezTo>
                <a:cubicBezTo>
                  <a:pt x="2579503" y="3162532"/>
                  <a:pt x="2627458" y="3211181"/>
                  <a:pt x="2676961" y="3260007"/>
                </a:cubicBezTo>
                <a:cubicBezTo>
                  <a:pt x="2730025" y="3208196"/>
                  <a:pt x="2782028" y="3157424"/>
                  <a:pt x="2833986" y="3106697"/>
                </a:cubicBezTo>
                <a:cubicBezTo>
                  <a:pt x="2824077" y="3092854"/>
                  <a:pt x="2703924" y="2971674"/>
                  <a:pt x="2687224" y="2958782"/>
                </a:cubicBezTo>
                <a:close/>
                <a:moveTo>
                  <a:pt x="3041334" y="3307130"/>
                </a:moveTo>
                <a:cubicBezTo>
                  <a:pt x="3047129" y="3302132"/>
                  <a:pt x="3053411" y="3297245"/>
                  <a:pt x="3059074" y="3291694"/>
                </a:cubicBezTo>
                <a:cubicBezTo>
                  <a:pt x="3072721" y="3278338"/>
                  <a:pt x="3085949" y="3264584"/>
                  <a:pt x="3099552" y="3251206"/>
                </a:cubicBezTo>
                <a:cubicBezTo>
                  <a:pt x="3122578" y="3228562"/>
                  <a:pt x="3145804" y="3206095"/>
                  <a:pt x="3168941" y="3183562"/>
                </a:cubicBezTo>
                <a:cubicBezTo>
                  <a:pt x="3190507" y="3162554"/>
                  <a:pt x="3212074" y="3141569"/>
                  <a:pt x="3233640" y="3120562"/>
                </a:cubicBezTo>
                <a:cubicBezTo>
                  <a:pt x="3253636" y="3101102"/>
                  <a:pt x="3273698" y="3081731"/>
                  <a:pt x="3293495" y="3062072"/>
                </a:cubicBezTo>
                <a:cubicBezTo>
                  <a:pt x="3297432" y="3058158"/>
                  <a:pt x="3300264" y="3053139"/>
                  <a:pt x="3303338" y="3048960"/>
                </a:cubicBezTo>
                <a:cubicBezTo>
                  <a:pt x="3281617" y="3023065"/>
                  <a:pt x="3249610" y="2991974"/>
                  <a:pt x="3236493" y="2983792"/>
                </a:cubicBezTo>
                <a:cubicBezTo>
                  <a:pt x="3220191" y="2996198"/>
                  <a:pt x="2985261" y="3227169"/>
                  <a:pt x="2975661" y="3240215"/>
                </a:cubicBezTo>
                <a:cubicBezTo>
                  <a:pt x="2985350" y="3253793"/>
                  <a:pt x="3021847" y="3291098"/>
                  <a:pt x="3041356" y="3307130"/>
                </a:cubicBezTo>
                <a:close/>
                <a:moveTo>
                  <a:pt x="2162220" y="1900959"/>
                </a:moveTo>
                <a:cubicBezTo>
                  <a:pt x="2138375" y="1872964"/>
                  <a:pt x="2105683" y="1841276"/>
                  <a:pt x="2093075" y="1833603"/>
                </a:cubicBezTo>
                <a:cubicBezTo>
                  <a:pt x="2069495" y="1853792"/>
                  <a:pt x="1843413" y="2076338"/>
                  <a:pt x="1832176" y="2090424"/>
                </a:cubicBezTo>
                <a:cubicBezTo>
                  <a:pt x="1847240" y="2110237"/>
                  <a:pt x="1886170" y="2148427"/>
                  <a:pt x="1900415" y="2156896"/>
                </a:cubicBezTo>
                <a:cubicBezTo>
                  <a:pt x="1987211" y="2072048"/>
                  <a:pt x="2074251" y="1986935"/>
                  <a:pt x="2162220" y="1900959"/>
                </a:cubicBezTo>
                <a:close/>
                <a:moveTo>
                  <a:pt x="1674730" y="3072001"/>
                </a:moveTo>
                <a:cubicBezTo>
                  <a:pt x="1680349" y="3077507"/>
                  <a:pt x="1684883" y="3082240"/>
                  <a:pt x="1689727" y="3086640"/>
                </a:cubicBezTo>
                <a:cubicBezTo>
                  <a:pt x="1715828" y="3110345"/>
                  <a:pt x="1742836" y="3133144"/>
                  <a:pt x="1767964" y="3157844"/>
                </a:cubicBezTo>
                <a:cubicBezTo>
                  <a:pt x="1799462" y="3188780"/>
                  <a:pt x="1829190" y="3221508"/>
                  <a:pt x="1860179" y="3252997"/>
                </a:cubicBezTo>
                <a:cubicBezTo>
                  <a:pt x="1879268" y="3272390"/>
                  <a:pt x="1899397" y="3290699"/>
                  <a:pt x="1918796" y="3309783"/>
                </a:cubicBezTo>
                <a:cubicBezTo>
                  <a:pt x="1939787" y="3330459"/>
                  <a:pt x="1961066" y="3350891"/>
                  <a:pt x="1981128" y="3372451"/>
                </a:cubicBezTo>
                <a:cubicBezTo>
                  <a:pt x="2002142" y="3395029"/>
                  <a:pt x="2021784" y="3418889"/>
                  <a:pt x="2042244" y="3441997"/>
                </a:cubicBezTo>
                <a:cubicBezTo>
                  <a:pt x="2044943" y="3445049"/>
                  <a:pt x="2048902" y="3446973"/>
                  <a:pt x="2052817" y="3449825"/>
                </a:cubicBezTo>
                <a:cubicBezTo>
                  <a:pt x="2069009" y="3433262"/>
                  <a:pt x="2085731" y="3419022"/>
                  <a:pt x="2100617" y="3401398"/>
                </a:cubicBezTo>
                <a:cubicBezTo>
                  <a:pt x="2071707" y="3366791"/>
                  <a:pt x="2036914" y="3339415"/>
                  <a:pt x="2006145" y="3307992"/>
                </a:cubicBezTo>
                <a:cubicBezTo>
                  <a:pt x="1975267" y="3276459"/>
                  <a:pt x="1944034" y="3245257"/>
                  <a:pt x="1912934" y="3213923"/>
                </a:cubicBezTo>
                <a:cubicBezTo>
                  <a:pt x="1881304" y="3182080"/>
                  <a:pt x="1850005" y="3149905"/>
                  <a:pt x="1817931" y="3118527"/>
                </a:cubicBezTo>
                <a:cubicBezTo>
                  <a:pt x="1786500" y="3087790"/>
                  <a:pt x="1759359" y="3052785"/>
                  <a:pt x="1724521" y="3023176"/>
                </a:cubicBezTo>
                <a:cubicBezTo>
                  <a:pt x="1707755" y="3039605"/>
                  <a:pt x="1691674" y="3055394"/>
                  <a:pt x="1674730" y="3072001"/>
                </a:cubicBezTo>
                <a:close/>
                <a:moveTo>
                  <a:pt x="2180292" y="3324732"/>
                </a:moveTo>
                <a:cubicBezTo>
                  <a:pt x="2177659" y="3320950"/>
                  <a:pt x="2176642" y="3318938"/>
                  <a:pt x="2175138" y="3317412"/>
                </a:cubicBezTo>
                <a:cubicBezTo>
                  <a:pt x="2052464" y="3194088"/>
                  <a:pt x="1929745" y="3070785"/>
                  <a:pt x="1807004" y="2947527"/>
                </a:cubicBezTo>
                <a:cubicBezTo>
                  <a:pt x="1806518" y="2947018"/>
                  <a:pt x="1805788" y="2946664"/>
                  <a:pt x="1805102" y="2946443"/>
                </a:cubicBezTo>
                <a:cubicBezTo>
                  <a:pt x="1804416" y="2946244"/>
                  <a:pt x="1803642" y="2946311"/>
                  <a:pt x="1801718" y="2946178"/>
                </a:cubicBezTo>
                <a:cubicBezTo>
                  <a:pt x="1787053" y="2958163"/>
                  <a:pt x="1773847" y="2972647"/>
                  <a:pt x="1761350" y="2987994"/>
                </a:cubicBezTo>
                <a:cubicBezTo>
                  <a:pt x="1762854" y="2990316"/>
                  <a:pt x="1763761" y="2992438"/>
                  <a:pt x="1765265" y="2993964"/>
                </a:cubicBezTo>
                <a:cubicBezTo>
                  <a:pt x="1887962" y="3117267"/>
                  <a:pt x="2010724" y="3240503"/>
                  <a:pt x="2133487" y="3363739"/>
                </a:cubicBezTo>
                <a:cubicBezTo>
                  <a:pt x="2133951" y="3364225"/>
                  <a:pt x="2134770" y="3364402"/>
                  <a:pt x="2135456" y="3364601"/>
                </a:cubicBezTo>
                <a:cubicBezTo>
                  <a:pt x="2136141" y="3364823"/>
                  <a:pt x="2136893" y="3364889"/>
                  <a:pt x="2138884" y="3365265"/>
                </a:cubicBezTo>
                <a:cubicBezTo>
                  <a:pt x="2151979" y="3352461"/>
                  <a:pt x="2165604" y="3339127"/>
                  <a:pt x="2180292" y="3324754"/>
                </a:cubicBezTo>
                <a:close/>
                <a:moveTo>
                  <a:pt x="4319991" y="454190"/>
                </a:moveTo>
                <a:cubicBezTo>
                  <a:pt x="4454454" y="589278"/>
                  <a:pt x="4586906" y="723173"/>
                  <a:pt x="4720463" y="856780"/>
                </a:cubicBezTo>
                <a:cubicBezTo>
                  <a:pt x="4735791" y="844087"/>
                  <a:pt x="4748797" y="831394"/>
                  <a:pt x="4760366" y="817729"/>
                </a:cubicBezTo>
                <a:cubicBezTo>
                  <a:pt x="4759304" y="815539"/>
                  <a:pt x="4758972" y="813969"/>
                  <a:pt x="4758021" y="813063"/>
                </a:cubicBezTo>
                <a:cubicBezTo>
                  <a:pt x="4732982" y="789269"/>
                  <a:pt x="4707633" y="765807"/>
                  <a:pt x="4682860" y="741726"/>
                </a:cubicBezTo>
                <a:cubicBezTo>
                  <a:pt x="4660674" y="720166"/>
                  <a:pt x="4639041" y="698075"/>
                  <a:pt x="4617320" y="676050"/>
                </a:cubicBezTo>
                <a:cubicBezTo>
                  <a:pt x="4532116" y="589610"/>
                  <a:pt x="4444744" y="505293"/>
                  <a:pt x="4362261" y="415005"/>
                </a:cubicBezTo>
                <a:cubicBezTo>
                  <a:pt x="4346689" y="425730"/>
                  <a:pt x="4334523" y="439330"/>
                  <a:pt x="4319991" y="454212"/>
                </a:cubicBezTo>
                <a:close/>
                <a:moveTo>
                  <a:pt x="948307" y="4237603"/>
                </a:moveTo>
                <a:cubicBezTo>
                  <a:pt x="978765" y="4238731"/>
                  <a:pt x="1002809" y="4226856"/>
                  <a:pt x="1022540" y="4204655"/>
                </a:cubicBezTo>
                <a:cubicBezTo>
                  <a:pt x="1046296" y="4177942"/>
                  <a:pt x="1064677" y="4130554"/>
                  <a:pt x="1041452" y="4083652"/>
                </a:cubicBezTo>
                <a:cubicBezTo>
                  <a:pt x="1037293" y="4075249"/>
                  <a:pt x="1031653" y="4069610"/>
                  <a:pt x="1023225" y="4065608"/>
                </a:cubicBezTo>
                <a:cubicBezTo>
                  <a:pt x="992700" y="4051079"/>
                  <a:pt x="962154" y="4051345"/>
                  <a:pt x="931474" y="4064546"/>
                </a:cubicBezTo>
                <a:cubicBezTo>
                  <a:pt x="896746" y="4079517"/>
                  <a:pt x="871309" y="4104107"/>
                  <a:pt x="868301" y="4142738"/>
                </a:cubicBezTo>
                <a:cubicBezTo>
                  <a:pt x="863656" y="4202377"/>
                  <a:pt x="884050" y="4232893"/>
                  <a:pt x="944325" y="4237603"/>
                </a:cubicBezTo>
                <a:cubicBezTo>
                  <a:pt x="945785" y="4237714"/>
                  <a:pt x="947267" y="4237603"/>
                  <a:pt x="948285" y="4237603"/>
                </a:cubicBezTo>
                <a:close/>
                <a:moveTo>
                  <a:pt x="4559522" y="765011"/>
                </a:moveTo>
                <a:cubicBezTo>
                  <a:pt x="4537270" y="741195"/>
                  <a:pt x="4516323" y="717822"/>
                  <a:pt x="4494336" y="695465"/>
                </a:cubicBezTo>
                <a:cubicBezTo>
                  <a:pt x="4470159" y="670876"/>
                  <a:pt x="4445032" y="647193"/>
                  <a:pt x="4420280" y="623178"/>
                </a:cubicBezTo>
                <a:cubicBezTo>
                  <a:pt x="4418179" y="621143"/>
                  <a:pt x="4415768" y="619441"/>
                  <a:pt x="4413467" y="617649"/>
                </a:cubicBezTo>
                <a:cubicBezTo>
                  <a:pt x="4412892" y="617207"/>
                  <a:pt x="4412184" y="616787"/>
                  <a:pt x="4411499" y="616721"/>
                </a:cubicBezTo>
                <a:cubicBezTo>
                  <a:pt x="4410813" y="616654"/>
                  <a:pt x="4410083" y="617030"/>
                  <a:pt x="4407716" y="617672"/>
                </a:cubicBezTo>
                <a:cubicBezTo>
                  <a:pt x="4382279" y="646839"/>
                  <a:pt x="4351024" y="672401"/>
                  <a:pt x="4323950" y="702807"/>
                </a:cubicBezTo>
                <a:cubicBezTo>
                  <a:pt x="4326538" y="706234"/>
                  <a:pt x="4327998" y="708733"/>
                  <a:pt x="4329989" y="710723"/>
                </a:cubicBezTo>
                <a:cubicBezTo>
                  <a:pt x="4374515" y="755591"/>
                  <a:pt x="4419086" y="800392"/>
                  <a:pt x="4463723" y="845149"/>
                </a:cubicBezTo>
                <a:cubicBezTo>
                  <a:pt x="4465603" y="847028"/>
                  <a:pt x="4468323" y="848090"/>
                  <a:pt x="4471531" y="850080"/>
                </a:cubicBezTo>
                <a:cubicBezTo>
                  <a:pt x="4501038" y="821554"/>
                  <a:pt x="4529904" y="793669"/>
                  <a:pt x="4559544" y="765011"/>
                </a:cubicBezTo>
                <a:close/>
                <a:moveTo>
                  <a:pt x="4558570" y="436411"/>
                </a:moveTo>
                <a:cubicBezTo>
                  <a:pt x="4561070" y="440081"/>
                  <a:pt x="4562021" y="442116"/>
                  <a:pt x="4563525" y="443620"/>
                </a:cubicBezTo>
                <a:cubicBezTo>
                  <a:pt x="4620107" y="500583"/>
                  <a:pt x="4676711" y="557502"/>
                  <a:pt x="4733424" y="614355"/>
                </a:cubicBezTo>
                <a:cubicBezTo>
                  <a:pt x="4735814" y="616743"/>
                  <a:pt x="4739131" y="618180"/>
                  <a:pt x="4742383" y="620303"/>
                </a:cubicBezTo>
                <a:cubicBezTo>
                  <a:pt x="4753376" y="609888"/>
                  <a:pt x="4763684" y="600512"/>
                  <a:pt x="4773549" y="590671"/>
                </a:cubicBezTo>
                <a:cubicBezTo>
                  <a:pt x="4783326" y="580920"/>
                  <a:pt x="4794828" y="572782"/>
                  <a:pt x="4804030" y="560841"/>
                </a:cubicBezTo>
                <a:cubicBezTo>
                  <a:pt x="4742073" y="498637"/>
                  <a:pt x="4681223" y="437008"/>
                  <a:pt x="4618934" y="374826"/>
                </a:cubicBezTo>
                <a:cubicBezTo>
                  <a:pt x="4598342" y="395855"/>
                  <a:pt x="4578876" y="415691"/>
                  <a:pt x="4558570" y="436411"/>
                </a:cubicBezTo>
                <a:close/>
                <a:moveTo>
                  <a:pt x="4616169" y="996203"/>
                </a:moveTo>
                <a:cubicBezTo>
                  <a:pt x="4645588" y="966771"/>
                  <a:pt x="4674078" y="938245"/>
                  <a:pt x="4702502" y="909675"/>
                </a:cubicBezTo>
                <a:cubicBezTo>
                  <a:pt x="4702745" y="909431"/>
                  <a:pt x="4702214" y="908414"/>
                  <a:pt x="4701285" y="904788"/>
                </a:cubicBezTo>
                <a:cubicBezTo>
                  <a:pt x="4688544" y="892294"/>
                  <a:pt x="4673813" y="878075"/>
                  <a:pt x="4659324" y="863635"/>
                </a:cubicBezTo>
                <a:cubicBezTo>
                  <a:pt x="4640567" y="844972"/>
                  <a:pt x="4622031" y="826087"/>
                  <a:pt x="4603274" y="807424"/>
                </a:cubicBezTo>
                <a:cubicBezTo>
                  <a:pt x="4599846" y="804018"/>
                  <a:pt x="4595820" y="801232"/>
                  <a:pt x="4591352" y="797583"/>
                </a:cubicBezTo>
                <a:cubicBezTo>
                  <a:pt x="4561999" y="827237"/>
                  <a:pt x="4533753" y="855763"/>
                  <a:pt x="4505661" y="884156"/>
                </a:cubicBezTo>
                <a:cubicBezTo>
                  <a:pt x="4516013" y="898839"/>
                  <a:pt x="4594028" y="978026"/>
                  <a:pt x="4616169" y="996203"/>
                </a:cubicBezTo>
                <a:close/>
                <a:moveTo>
                  <a:pt x="4179068" y="556241"/>
                </a:moveTo>
                <a:cubicBezTo>
                  <a:pt x="4181523" y="560089"/>
                  <a:pt x="4182386" y="562168"/>
                  <a:pt x="4183846" y="563649"/>
                </a:cubicBezTo>
                <a:cubicBezTo>
                  <a:pt x="4218064" y="597969"/>
                  <a:pt x="4252349" y="632200"/>
                  <a:pt x="4286657" y="666431"/>
                </a:cubicBezTo>
                <a:cubicBezTo>
                  <a:pt x="4287143" y="666917"/>
                  <a:pt x="4287918" y="667205"/>
                  <a:pt x="4288581" y="667338"/>
                </a:cubicBezTo>
                <a:cubicBezTo>
                  <a:pt x="4289289" y="667470"/>
                  <a:pt x="4290041" y="667293"/>
                  <a:pt x="4292253" y="667138"/>
                </a:cubicBezTo>
                <a:cubicBezTo>
                  <a:pt x="4319637" y="639232"/>
                  <a:pt x="4350361" y="613138"/>
                  <a:pt x="4378165" y="582512"/>
                </a:cubicBezTo>
                <a:cubicBezTo>
                  <a:pt x="4373851" y="577603"/>
                  <a:pt x="4370246" y="573180"/>
                  <a:pt x="4366331" y="569067"/>
                </a:cubicBezTo>
                <a:cubicBezTo>
                  <a:pt x="4343570" y="545163"/>
                  <a:pt x="4320986" y="521060"/>
                  <a:pt x="4297805" y="497575"/>
                </a:cubicBezTo>
                <a:cubicBezTo>
                  <a:pt x="4288249" y="487890"/>
                  <a:pt x="4278052" y="478580"/>
                  <a:pt x="4265378" y="471283"/>
                </a:cubicBezTo>
                <a:cubicBezTo>
                  <a:pt x="4236490" y="499698"/>
                  <a:pt x="4208266" y="527472"/>
                  <a:pt x="4179068" y="556197"/>
                </a:cubicBezTo>
                <a:close/>
                <a:moveTo>
                  <a:pt x="4393538" y="381769"/>
                </a:moveTo>
                <a:cubicBezTo>
                  <a:pt x="4398979" y="387585"/>
                  <a:pt x="4402275" y="391521"/>
                  <a:pt x="4405991" y="395015"/>
                </a:cubicBezTo>
                <a:cubicBezTo>
                  <a:pt x="4417781" y="406072"/>
                  <a:pt x="4430167" y="416553"/>
                  <a:pt x="4441581" y="428008"/>
                </a:cubicBezTo>
                <a:cubicBezTo>
                  <a:pt x="4544569" y="531386"/>
                  <a:pt x="4647424" y="634920"/>
                  <a:pt x="4750235" y="738497"/>
                </a:cubicBezTo>
                <a:cubicBezTo>
                  <a:pt x="4756451" y="744755"/>
                  <a:pt x="4761804" y="751809"/>
                  <a:pt x="4767798" y="758289"/>
                </a:cubicBezTo>
                <a:cubicBezTo>
                  <a:pt x="4776159" y="767311"/>
                  <a:pt x="4783790" y="777217"/>
                  <a:pt x="4794850" y="783895"/>
                </a:cubicBezTo>
                <a:cubicBezTo>
                  <a:pt x="4803034" y="777306"/>
                  <a:pt x="4810732" y="771910"/>
                  <a:pt x="4814868" y="762247"/>
                </a:cubicBezTo>
                <a:cubicBezTo>
                  <a:pt x="4797460" y="745640"/>
                  <a:pt x="4780295" y="729586"/>
                  <a:pt x="4763529" y="713134"/>
                </a:cubicBezTo>
                <a:cubicBezTo>
                  <a:pt x="4746696" y="696615"/>
                  <a:pt x="4730262" y="679699"/>
                  <a:pt x="4713628" y="662981"/>
                </a:cubicBezTo>
                <a:cubicBezTo>
                  <a:pt x="4697016" y="646242"/>
                  <a:pt x="4680382" y="629524"/>
                  <a:pt x="4663748" y="612807"/>
                </a:cubicBezTo>
                <a:cubicBezTo>
                  <a:pt x="4647114" y="596089"/>
                  <a:pt x="4630458" y="579394"/>
                  <a:pt x="4613825" y="562676"/>
                </a:cubicBezTo>
                <a:cubicBezTo>
                  <a:pt x="4597191" y="545959"/>
                  <a:pt x="4580535" y="529263"/>
                  <a:pt x="4563902" y="512524"/>
                </a:cubicBezTo>
                <a:cubicBezTo>
                  <a:pt x="4547268" y="495806"/>
                  <a:pt x="4530656" y="479067"/>
                  <a:pt x="4514044" y="462327"/>
                </a:cubicBezTo>
                <a:cubicBezTo>
                  <a:pt x="4497433" y="445588"/>
                  <a:pt x="4481485" y="428118"/>
                  <a:pt x="4464032" y="412307"/>
                </a:cubicBezTo>
                <a:cubicBezTo>
                  <a:pt x="4446779" y="396674"/>
                  <a:pt x="4434901" y="375710"/>
                  <a:pt x="4415126" y="361624"/>
                </a:cubicBezTo>
                <a:cubicBezTo>
                  <a:pt x="4407760" y="368524"/>
                  <a:pt x="4401434" y="374428"/>
                  <a:pt x="4393538" y="381814"/>
                </a:cubicBezTo>
                <a:close/>
                <a:moveTo>
                  <a:pt x="4724621" y="1109245"/>
                </a:moveTo>
                <a:cubicBezTo>
                  <a:pt x="4755477" y="1079017"/>
                  <a:pt x="4785272" y="1049783"/>
                  <a:pt x="4814935" y="1020726"/>
                </a:cubicBezTo>
                <a:cubicBezTo>
                  <a:pt x="4804671" y="1006265"/>
                  <a:pt x="4758044" y="958744"/>
                  <a:pt x="4737650" y="941849"/>
                </a:cubicBezTo>
                <a:cubicBezTo>
                  <a:pt x="4727342" y="950761"/>
                  <a:pt x="4717654" y="960712"/>
                  <a:pt x="4707744" y="970419"/>
                </a:cubicBezTo>
                <a:cubicBezTo>
                  <a:pt x="4697768" y="980193"/>
                  <a:pt x="4687682" y="989879"/>
                  <a:pt x="4677839" y="999808"/>
                </a:cubicBezTo>
                <a:cubicBezTo>
                  <a:pt x="4668150" y="1009559"/>
                  <a:pt x="4657445" y="1018405"/>
                  <a:pt x="4648398" y="1030169"/>
                </a:cubicBezTo>
                <a:cubicBezTo>
                  <a:pt x="4673658" y="1056373"/>
                  <a:pt x="4698033" y="1081648"/>
                  <a:pt x="4724643" y="1109245"/>
                </a:cubicBezTo>
                <a:close/>
                <a:moveTo>
                  <a:pt x="4159536" y="358130"/>
                </a:moveTo>
                <a:cubicBezTo>
                  <a:pt x="4133502" y="380111"/>
                  <a:pt x="4079044" y="434819"/>
                  <a:pt x="4068316" y="449656"/>
                </a:cubicBezTo>
                <a:cubicBezTo>
                  <a:pt x="4075682" y="456423"/>
                  <a:pt x="4083335" y="463079"/>
                  <a:pt x="4090568" y="470177"/>
                </a:cubicBezTo>
                <a:cubicBezTo>
                  <a:pt x="4105786" y="485170"/>
                  <a:pt x="4120673" y="500472"/>
                  <a:pt x="4135891" y="515465"/>
                </a:cubicBezTo>
                <a:cubicBezTo>
                  <a:pt x="4138833" y="518362"/>
                  <a:pt x="4142615" y="520396"/>
                  <a:pt x="4145734" y="522630"/>
                </a:cubicBezTo>
                <a:cubicBezTo>
                  <a:pt x="4171060" y="501268"/>
                  <a:pt x="4224612" y="447733"/>
                  <a:pt x="4234477" y="433691"/>
                </a:cubicBezTo>
                <a:cubicBezTo>
                  <a:pt x="4209858" y="408880"/>
                  <a:pt x="4185040" y="383870"/>
                  <a:pt x="4159514" y="358130"/>
                </a:cubicBezTo>
                <a:close/>
                <a:moveTo>
                  <a:pt x="2733122" y="1774163"/>
                </a:moveTo>
                <a:cubicBezTo>
                  <a:pt x="2733631" y="1776286"/>
                  <a:pt x="2733741" y="1778519"/>
                  <a:pt x="2733874" y="1780731"/>
                </a:cubicBezTo>
                <a:cubicBezTo>
                  <a:pt x="2734139" y="1784976"/>
                  <a:pt x="2736440" y="1788360"/>
                  <a:pt x="2740422" y="1787763"/>
                </a:cubicBezTo>
                <a:cubicBezTo>
                  <a:pt x="2743452" y="1787320"/>
                  <a:pt x="2747566" y="1784622"/>
                  <a:pt x="2748628" y="1781903"/>
                </a:cubicBezTo>
                <a:cubicBezTo>
                  <a:pt x="2756193" y="1762642"/>
                  <a:pt x="2743651" y="1747450"/>
                  <a:pt x="2723257" y="1750900"/>
                </a:cubicBezTo>
                <a:cubicBezTo>
                  <a:pt x="2718966" y="1751630"/>
                  <a:pt x="2714586" y="1753023"/>
                  <a:pt x="2710737" y="1755013"/>
                </a:cubicBezTo>
                <a:cubicBezTo>
                  <a:pt x="2698992" y="1761072"/>
                  <a:pt x="2686937" y="1766777"/>
                  <a:pt x="2675921" y="1774030"/>
                </a:cubicBezTo>
                <a:cubicBezTo>
                  <a:pt x="2626683" y="1806470"/>
                  <a:pt x="2587200" y="1848972"/>
                  <a:pt x="2552716" y="1896293"/>
                </a:cubicBezTo>
                <a:cubicBezTo>
                  <a:pt x="2543647" y="1908743"/>
                  <a:pt x="2535795" y="1922166"/>
                  <a:pt x="2528451" y="1935721"/>
                </a:cubicBezTo>
                <a:cubicBezTo>
                  <a:pt x="2524691" y="1942665"/>
                  <a:pt x="2521970" y="1950736"/>
                  <a:pt x="2521063" y="1958564"/>
                </a:cubicBezTo>
                <a:cubicBezTo>
                  <a:pt x="2519205" y="1974618"/>
                  <a:pt x="2531017" y="1985630"/>
                  <a:pt x="2546832" y="1983132"/>
                </a:cubicBezTo>
                <a:cubicBezTo>
                  <a:pt x="2554021" y="1982004"/>
                  <a:pt x="2561365" y="1980014"/>
                  <a:pt x="2567890" y="1976873"/>
                </a:cubicBezTo>
                <a:cubicBezTo>
                  <a:pt x="2606710" y="1958188"/>
                  <a:pt x="2636704" y="1929419"/>
                  <a:pt x="2660615" y="1893994"/>
                </a:cubicBezTo>
                <a:cubicBezTo>
                  <a:pt x="2662008" y="1891937"/>
                  <a:pt x="2662030" y="1888952"/>
                  <a:pt x="2663689" y="1882605"/>
                </a:cubicBezTo>
                <a:cubicBezTo>
                  <a:pt x="2656456" y="1887824"/>
                  <a:pt x="2652364" y="1890566"/>
                  <a:pt x="2648493" y="1893596"/>
                </a:cubicBezTo>
                <a:cubicBezTo>
                  <a:pt x="2635177" y="1904077"/>
                  <a:pt x="2622193" y="1914957"/>
                  <a:pt x="2608634" y="1925107"/>
                </a:cubicBezTo>
                <a:cubicBezTo>
                  <a:pt x="2591536" y="1937910"/>
                  <a:pt x="2573973" y="1950183"/>
                  <a:pt x="2553888" y="1958011"/>
                </a:cubicBezTo>
                <a:cubicBezTo>
                  <a:pt x="2551123" y="1959095"/>
                  <a:pt x="2547518" y="1957989"/>
                  <a:pt x="2543337" y="1957856"/>
                </a:cubicBezTo>
                <a:cubicBezTo>
                  <a:pt x="2548713" y="1939613"/>
                  <a:pt x="2557870" y="1925416"/>
                  <a:pt x="2567625" y="1911574"/>
                </a:cubicBezTo>
                <a:cubicBezTo>
                  <a:pt x="2593195" y="1875242"/>
                  <a:pt x="2623277" y="1842890"/>
                  <a:pt x="2656832" y="1813944"/>
                </a:cubicBezTo>
                <a:cubicBezTo>
                  <a:pt x="2671829" y="1801008"/>
                  <a:pt x="2688441" y="1789930"/>
                  <a:pt x="2704765" y="1778630"/>
                </a:cubicBezTo>
                <a:cubicBezTo>
                  <a:pt x="2711932" y="1773677"/>
                  <a:pt x="2719828" y="1769387"/>
                  <a:pt x="2730269" y="1769188"/>
                </a:cubicBezTo>
                <a:cubicBezTo>
                  <a:pt x="2731751" y="1771664"/>
                  <a:pt x="2732790" y="1772814"/>
                  <a:pt x="2733122" y="1774119"/>
                </a:cubicBezTo>
                <a:close/>
                <a:moveTo>
                  <a:pt x="2367532" y="2124147"/>
                </a:moveTo>
                <a:cubicBezTo>
                  <a:pt x="2383237" y="2098805"/>
                  <a:pt x="2403167" y="2077554"/>
                  <a:pt x="2429157" y="2062451"/>
                </a:cubicBezTo>
                <a:cubicBezTo>
                  <a:pt x="2436191" y="2058360"/>
                  <a:pt x="2443313" y="2054689"/>
                  <a:pt x="2451962" y="2059156"/>
                </a:cubicBezTo>
                <a:cubicBezTo>
                  <a:pt x="2453400" y="2059908"/>
                  <a:pt x="2457735" y="2057586"/>
                  <a:pt x="2458908" y="2055596"/>
                </a:cubicBezTo>
                <a:cubicBezTo>
                  <a:pt x="2460168" y="2053473"/>
                  <a:pt x="2460456" y="2049139"/>
                  <a:pt x="2459107" y="2047458"/>
                </a:cubicBezTo>
                <a:cubicBezTo>
                  <a:pt x="2456563" y="2044296"/>
                  <a:pt x="2452825" y="2041024"/>
                  <a:pt x="2449042" y="2040183"/>
                </a:cubicBezTo>
                <a:cubicBezTo>
                  <a:pt x="2439420" y="2038038"/>
                  <a:pt x="2429998" y="2040426"/>
                  <a:pt x="2421283" y="2044761"/>
                </a:cubicBezTo>
                <a:cubicBezTo>
                  <a:pt x="2387971" y="2061390"/>
                  <a:pt x="2363462" y="2087129"/>
                  <a:pt x="2345280" y="2119171"/>
                </a:cubicBezTo>
                <a:cubicBezTo>
                  <a:pt x="2342449" y="2124169"/>
                  <a:pt x="2340679" y="2130073"/>
                  <a:pt x="2339751" y="2135800"/>
                </a:cubicBezTo>
                <a:cubicBezTo>
                  <a:pt x="2337450" y="2150063"/>
                  <a:pt x="2347691" y="2162004"/>
                  <a:pt x="2362157" y="2162336"/>
                </a:cubicBezTo>
                <a:cubicBezTo>
                  <a:pt x="2366493" y="2162424"/>
                  <a:pt x="2371050" y="2162071"/>
                  <a:pt x="2375186" y="2160810"/>
                </a:cubicBezTo>
                <a:cubicBezTo>
                  <a:pt x="2394186" y="2155039"/>
                  <a:pt x="2408829" y="2143098"/>
                  <a:pt x="2420486" y="2127375"/>
                </a:cubicBezTo>
                <a:cubicBezTo>
                  <a:pt x="2423694" y="2123041"/>
                  <a:pt x="2424711" y="2118110"/>
                  <a:pt x="2420354" y="2112847"/>
                </a:cubicBezTo>
                <a:cubicBezTo>
                  <a:pt x="2401685" y="2120410"/>
                  <a:pt x="2386135" y="2135203"/>
                  <a:pt x="2361339" y="2139891"/>
                </a:cubicBezTo>
                <a:cubicBezTo>
                  <a:pt x="2364325" y="2132129"/>
                  <a:pt x="2365298" y="2127751"/>
                  <a:pt x="2367532" y="2124147"/>
                </a:cubicBezTo>
                <a:close/>
                <a:moveTo>
                  <a:pt x="2188786" y="1597192"/>
                </a:moveTo>
                <a:cubicBezTo>
                  <a:pt x="2177261" y="1609465"/>
                  <a:pt x="2166666" y="1621561"/>
                  <a:pt x="2155230" y="1632794"/>
                </a:cubicBezTo>
                <a:cubicBezTo>
                  <a:pt x="2098583" y="1688431"/>
                  <a:pt x="2041625" y="1743780"/>
                  <a:pt x="1984911" y="1799394"/>
                </a:cubicBezTo>
                <a:cubicBezTo>
                  <a:pt x="1935474" y="1847866"/>
                  <a:pt x="1886369" y="1896647"/>
                  <a:pt x="1836866" y="1945031"/>
                </a:cubicBezTo>
                <a:cubicBezTo>
                  <a:pt x="1796918" y="1984060"/>
                  <a:pt x="1756550" y="2022648"/>
                  <a:pt x="1716448" y="2061522"/>
                </a:cubicBezTo>
                <a:cubicBezTo>
                  <a:pt x="1685834" y="2091198"/>
                  <a:pt x="1655464" y="2121139"/>
                  <a:pt x="1624763" y="2150704"/>
                </a:cubicBezTo>
                <a:cubicBezTo>
                  <a:pt x="1616844" y="2158333"/>
                  <a:pt x="1607863" y="2164857"/>
                  <a:pt x="1599657" y="2172198"/>
                </a:cubicBezTo>
                <a:cubicBezTo>
                  <a:pt x="1584063" y="2186130"/>
                  <a:pt x="1562120" y="2181265"/>
                  <a:pt x="1547477" y="2168483"/>
                </a:cubicBezTo>
                <a:cubicBezTo>
                  <a:pt x="1525314" y="2149134"/>
                  <a:pt x="1504190" y="2128547"/>
                  <a:pt x="1483420" y="2107672"/>
                </a:cubicBezTo>
                <a:cubicBezTo>
                  <a:pt x="1209493" y="1832298"/>
                  <a:pt x="935699" y="1556792"/>
                  <a:pt x="661860" y="1281329"/>
                </a:cubicBezTo>
                <a:cubicBezTo>
                  <a:pt x="522597" y="1141243"/>
                  <a:pt x="383289" y="1001201"/>
                  <a:pt x="244157" y="861004"/>
                </a:cubicBezTo>
                <a:cubicBezTo>
                  <a:pt x="227568" y="844286"/>
                  <a:pt x="212018" y="826574"/>
                  <a:pt x="195672" y="809613"/>
                </a:cubicBezTo>
                <a:cubicBezTo>
                  <a:pt x="188549" y="802205"/>
                  <a:pt x="180653" y="795549"/>
                  <a:pt x="173066" y="788606"/>
                </a:cubicBezTo>
                <a:cubicBezTo>
                  <a:pt x="161143" y="777704"/>
                  <a:pt x="159838" y="766537"/>
                  <a:pt x="169991" y="753711"/>
                </a:cubicBezTo>
                <a:cubicBezTo>
                  <a:pt x="174990" y="747387"/>
                  <a:pt x="181073" y="741903"/>
                  <a:pt x="186846" y="736220"/>
                </a:cubicBezTo>
                <a:cubicBezTo>
                  <a:pt x="259973" y="664463"/>
                  <a:pt x="333188" y="592794"/>
                  <a:pt x="406249" y="520971"/>
                </a:cubicBezTo>
                <a:cubicBezTo>
                  <a:pt x="438808" y="488951"/>
                  <a:pt x="470859" y="456423"/>
                  <a:pt x="503508" y="424514"/>
                </a:cubicBezTo>
                <a:cubicBezTo>
                  <a:pt x="579908" y="349794"/>
                  <a:pt x="656508" y="275295"/>
                  <a:pt x="733151" y="200818"/>
                </a:cubicBezTo>
                <a:cubicBezTo>
                  <a:pt x="738924" y="195201"/>
                  <a:pt x="745516" y="190381"/>
                  <a:pt x="751953" y="185472"/>
                </a:cubicBezTo>
                <a:cubicBezTo>
                  <a:pt x="763389" y="176737"/>
                  <a:pt x="775289" y="177356"/>
                  <a:pt x="786857" y="184985"/>
                </a:cubicBezTo>
                <a:cubicBezTo>
                  <a:pt x="791723" y="188191"/>
                  <a:pt x="796037" y="192327"/>
                  <a:pt x="800239" y="196440"/>
                </a:cubicBezTo>
                <a:cubicBezTo>
                  <a:pt x="994271" y="385927"/>
                  <a:pt x="1183702" y="579991"/>
                  <a:pt x="1375145" y="772043"/>
                </a:cubicBezTo>
                <a:cubicBezTo>
                  <a:pt x="1606182" y="1003810"/>
                  <a:pt x="1836667" y="1236130"/>
                  <a:pt x="2067372" y="1468207"/>
                </a:cubicBezTo>
                <a:cubicBezTo>
                  <a:pt x="2085554" y="1486494"/>
                  <a:pt x="2103958" y="1504605"/>
                  <a:pt x="2121941" y="1523091"/>
                </a:cubicBezTo>
                <a:cubicBezTo>
                  <a:pt x="2130656" y="1532047"/>
                  <a:pt x="2137645" y="1542882"/>
                  <a:pt x="2147201" y="1550733"/>
                </a:cubicBezTo>
                <a:cubicBezTo>
                  <a:pt x="2159278" y="1560661"/>
                  <a:pt x="2168745" y="1572735"/>
                  <a:pt x="2179318" y="1583902"/>
                </a:cubicBezTo>
                <a:cubicBezTo>
                  <a:pt x="2182725" y="1587507"/>
                  <a:pt x="2185158" y="1592040"/>
                  <a:pt x="2188786" y="1597236"/>
                </a:cubicBezTo>
                <a:close/>
                <a:moveTo>
                  <a:pt x="839656" y="754773"/>
                </a:moveTo>
                <a:cubicBezTo>
                  <a:pt x="914508" y="682817"/>
                  <a:pt x="987701" y="612475"/>
                  <a:pt x="1060828" y="542067"/>
                </a:cubicBezTo>
                <a:cubicBezTo>
                  <a:pt x="1062841" y="540121"/>
                  <a:pt x="1064257" y="537534"/>
                  <a:pt x="1066579" y="534416"/>
                </a:cubicBezTo>
                <a:cubicBezTo>
                  <a:pt x="1062996" y="530170"/>
                  <a:pt x="1060032" y="526123"/>
                  <a:pt x="1056537" y="522607"/>
                </a:cubicBezTo>
                <a:cubicBezTo>
                  <a:pt x="1039461" y="505315"/>
                  <a:pt x="1022230" y="488200"/>
                  <a:pt x="1005109" y="470973"/>
                </a:cubicBezTo>
                <a:cubicBezTo>
                  <a:pt x="934018" y="399460"/>
                  <a:pt x="862904" y="327968"/>
                  <a:pt x="791900" y="256366"/>
                </a:cubicBezTo>
                <a:cubicBezTo>
                  <a:pt x="784734" y="249157"/>
                  <a:pt x="778253" y="241285"/>
                  <a:pt x="771462" y="233722"/>
                </a:cubicBezTo>
                <a:cubicBezTo>
                  <a:pt x="768587" y="235248"/>
                  <a:pt x="766264" y="235889"/>
                  <a:pt x="764804" y="237349"/>
                </a:cubicBezTo>
                <a:cubicBezTo>
                  <a:pt x="693248" y="308221"/>
                  <a:pt x="621736" y="379160"/>
                  <a:pt x="550290" y="450121"/>
                </a:cubicBezTo>
                <a:cubicBezTo>
                  <a:pt x="547769" y="452620"/>
                  <a:pt x="545711" y="455561"/>
                  <a:pt x="542814" y="459032"/>
                </a:cubicBezTo>
                <a:cubicBezTo>
                  <a:pt x="546087" y="462814"/>
                  <a:pt x="548675" y="466330"/>
                  <a:pt x="551794" y="469293"/>
                </a:cubicBezTo>
                <a:cubicBezTo>
                  <a:pt x="565641" y="482428"/>
                  <a:pt x="580063" y="495032"/>
                  <a:pt x="593534" y="508544"/>
                </a:cubicBezTo>
                <a:cubicBezTo>
                  <a:pt x="670487" y="585674"/>
                  <a:pt x="747219" y="663003"/>
                  <a:pt x="824062" y="740222"/>
                </a:cubicBezTo>
                <a:cubicBezTo>
                  <a:pt x="828663" y="744844"/>
                  <a:pt x="833595" y="749134"/>
                  <a:pt x="839678" y="754773"/>
                </a:cubicBezTo>
                <a:close/>
                <a:moveTo>
                  <a:pt x="728418" y="865028"/>
                </a:moveTo>
                <a:cubicBezTo>
                  <a:pt x="722954" y="859102"/>
                  <a:pt x="719592" y="855210"/>
                  <a:pt x="715987" y="851584"/>
                </a:cubicBezTo>
                <a:cubicBezTo>
                  <a:pt x="639077" y="774210"/>
                  <a:pt x="562080" y="696925"/>
                  <a:pt x="485281" y="619441"/>
                </a:cubicBezTo>
                <a:cubicBezTo>
                  <a:pt x="469222" y="603254"/>
                  <a:pt x="454026" y="586205"/>
                  <a:pt x="438277" y="569730"/>
                </a:cubicBezTo>
                <a:cubicBezTo>
                  <a:pt x="436486" y="567851"/>
                  <a:pt x="433500" y="567077"/>
                  <a:pt x="431332" y="565927"/>
                </a:cubicBezTo>
                <a:cubicBezTo>
                  <a:pt x="421998" y="574750"/>
                  <a:pt x="413349" y="582733"/>
                  <a:pt x="404921" y="590915"/>
                </a:cubicBezTo>
                <a:cubicBezTo>
                  <a:pt x="378533" y="616566"/>
                  <a:pt x="352255" y="642305"/>
                  <a:pt x="325911" y="667979"/>
                </a:cubicBezTo>
                <a:cubicBezTo>
                  <a:pt x="294767" y="698318"/>
                  <a:pt x="263556" y="728591"/>
                  <a:pt x="232478" y="758996"/>
                </a:cubicBezTo>
                <a:cubicBezTo>
                  <a:pt x="229514" y="761893"/>
                  <a:pt x="225135" y="764215"/>
                  <a:pt x="225931" y="770760"/>
                </a:cubicBezTo>
                <a:cubicBezTo>
                  <a:pt x="228254" y="773259"/>
                  <a:pt x="231041" y="776642"/>
                  <a:pt x="234204" y="779606"/>
                </a:cubicBezTo>
                <a:cubicBezTo>
                  <a:pt x="244954" y="789645"/>
                  <a:pt x="256257" y="799109"/>
                  <a:pt x="266631" y="809525"/>
                </a:cubicBezTo>
                <a:cubicBezTo>
                  <a:pt x="346769" y="889928"/>
                  <a:pt x="426753" y="970508"/>
                  <a:pt x="506803" y="1050977"/>
                </a:cubicBezTo>
                <a:cubicBezTo>
                  <a:pt x="511913" y="1056130"/>
                  <a:pt x="517332" y="1060972"/>
                  <a:pt x="523127" y="1066456"/>
                </a:cubicBezTo>
                <a:cubicBezTo>
                  <a:pt x="591676" y="999188"/>
                  <a:pt x="659472" y="932672"/>
                  <a:pt x="728418" y="865006"/>
                </a:cubicBezTo>
                <a:close/>
                <a:moveTo>
                  <a:pt x="1892407" y="1814917"/>
                </a:moveTo>
                <a:cubicBezTo>
                  <a:pt x="1904639" y="1802976"/>
                  <a:pt x="1915146" y="1792782"/>
                  <a:pt x="1925609" y="1782544"/>
                </a:cubicBezTo>
                <a:cubicBezTo>
                  <a:pt x="1986149" y="1723259"/>
                  <a:pt x="2046712" y="1664018"/>
                  <a:pt x="2107121" y="1604600"/>
                </a:cubicBezTo>
                <a:cubicBezTo>
                  <a:pt x="2111544" y="1600266"/>
                  <a:pt x="2118202" y="1597015"/>
                  <a:pt x="2117871" y="1589364"/>
                </a:cubicBezTo>
                <a:cubicBezTo>
                  <a:pt x="2109200" y="1580895"/>
                  <a:pt x="2100684" y="1572779"/>
                  <a:pt x="2092389" y="1564465"/>
                </a:cubicBezTo>
                <a:cubicBezTo>
                  <a:pt x="2021718" y="1493438"/>
                  <a:pt x="1951112" y="1422344"/>
                  <a:pt x="1880374" y="1351383"/>
                </a:cubicBezTo>
                <a:cubicBezTo>
                  <a:pt x="1874845" y="1345833"/>
                  <a:pt x="1870089" y="1339133"/>
                  <a:pt x="1861971" y="1335572"/>
                </a:cubicBezTo>
                <a:cubicBezTo>
                  <a:pt x="1857680" y="1339531"/>
                  <a:pt x="1853765" y="1342825"/>
                  <a:pt x="1850248" y="1346496"/>
                </a:cubicBezTo>
                <a:cubicBezTo>
                  <a:pt x="1839055" y="1358194"/>
                  <a:pt x="1828394" y="1370378"/>
                  <a:pt x="1816892" y="1381744"/>
                </a:cubicBezTo>
                <a:cubicBezTo>
                  <a:pt x="1762345" y="1435546"/>
                  <a:pt x="1707533" y="1489103"/>
                  <a:pt x="1652987" y="1542904"/>
                </a:cubicBezTo>
                <a:cubicBezTo>
                  <a:pt x="1648010" y="1547814"/>
                  <a:pt x="1640866" y="1551462"/>
                  <a:pt x="1639848" y="1560927"/>
                </a:cubicBezTo>
                <a:cubicBezTo>
                  <a:pt x="1723194" y="1644757"/>
                  <a:pt x="1806783" y="1728787"/>
                  <a:pt x="1892452" y="1814962"/>
                </a:cubicBezTo>
                <a:close/>
                <a:moveTo>
                  <a:pt x="946493" y="863503"/>
                </a:moveTo>
                <a:cubicBezTo>
                  <a:pt x="1028932" y="946427"/>
                  <a:pt x="1109756" y="1027692"/>
                  <a:pt x="1190426" y="1108847"/>
                </a:cubicBezTo>
                <a:cubicBezTo>
                  <a:pt x="1193699" y="1107078"/>
                  <a:pt x="1195978" y="1106415"/>
                  <a:pt x="1197482" y="1104955"/>
                </a:cubicBezTo>
                <a:cubicBezTo>
                  <a:pt x="1228582" y="1074837"/>
                  <a:pt x="1259593" y="1044653"/>
                  <a:pt x="1290605" y="1014424"/>
                </a:cubicBezTo>
                <a:cubicBezTo>
                  <a:pt x="1330685" y="975373"/>
                  <a:pt x="1370743" y="936343"/>
                  <a:pt x="1410713" y="897181"/>
                </a:cubicBezTo>
                <a:cubicBezTo>
                  <a:pt x="1413611" y="894328"/>
                  <a:pt x="1415557" y="890503"/>
                  <a:pt x="1417769" y="887407"/>
                </a:cubicBezTo>
                <a:cubicBezTo>
                  <a:pt x="1388726" y="854458"/>
                  <a:pt x="1186090" y="652080"/>
                  <a:pt x="1171049" y="641134"/>
                </a:cubicBezTo>
                <a:cubicBezTo>
                  <a:pt x="1097082" y="714372"/>
                  <a:pt x="1023004" y="787721"/>
                  <a:pt x="946493" y="863503"/>
                </a:cubicBezTo>
                <a:close/>
                <a:moveTo>
                  <a:pt x="1779997" y="1924819"/>
                </a:moveTo>
                <a:cubicBezTo>
                  <a:pt x="1694571" y="1838247"/>
                  <a:pt x="1610628" y="1753797"/>
                  <a:pt x="1525690" y="1669015"/>
                </a:cubicBezTo>
                <a:cubicBezTo>
                  <a:pt x="1506203" y="1684517"/>
                  <a:pt x="1490542" y="1702096"/>
                  <a:pt x="1473643" y="1718283"/>
                </a:cubicBezTo>
                <a:cubicBezTo>
                  <a:pt x="1456611" y="1734581"/>
                  <a:pt x="1439933" y="1751298"/>
                  <a:pt x="1423122" y="1767817"/>
                </a:cubicBezTo>
                <a:cubicBezTo>
                  <a:pt x="1405758" y="1784866"/>
                  <a:pt x="1388262" y="1801738"/>
                  <a:pt x="1371097" y="1818986"/>
                </a:cubicBezTo>
                <a:cubicBezTo>
                  <a:pt x="1354640" y="1835527"/>
                  <a:pt x="1336635" y="1850608"/>
                  <a:pt x="1320975" y="1869890"/>
                </a:cubicBezTo>
                <a:cubicBezTo>
                  <a:pt x="1406333" y="1955778"/>
                  <a:pt x="1490896" y="2040869"/>
                  <a:pt x="1575834" y="2126336"/>
                </a:cubicBezTo>
                <a:cubicBezTo>
                  <a:pt x="1643807" y="2059245"/>
                  <a:pt x="1710829" y="1993105"/>
                  <a:pt x="1780019" y="1924797"/>
                </a:cubicBezTo>
                <a:close/>
                <a:moveTo>
                  <a:pt x="1532215" y="1449609"/>
                </a:moveTo>
                <a:cubicBezTo>
                  <a:pt x="1551614" y="1430614"/>
                  <a:pt x="1570039" y="1412592"/>
                  <a:pt x="1588443" y="1394570"/>
                </a:cubicBezTo>
                <a:cubicBezTo>
                  <a:pt x="1607399" y="1375995"/>
                  <a:pt x="1626355" y="1357420"/>
                  <a:pt x="1645312" y="1338845"/>
                </a:cubicBezTo>
                <a:cubicBezTo>
                  <a:pt x="1663737" y="1320801"/>
                  <a:pt x="1682561" y="1303132"/>
                  <a:pt x="1700477" y="1284558"/>
                </a:cubicBezTo>
                <a:cubicBezTo>
                  <a:pt x="1718704" y="1265673"/>
                  <a:pt x="1741619" y="1251499"/>
                  <a:pt x="1757015" y="1230093"/>
                </a:cubicBezTo>
                <a:cubicBezTo>
                  <a:pt x="1742880" y="1211562"/>
                  <a:pt x="1541350" y="1009294"/>
                  <a:pt x="1526685" y="998857"/>
                </a:cubicBezTo>
                <a:cubicBezTo>
                  <a:pt x="1522438" y="1002594"/>
                  <a:pt x="1517882" y="1006242"/>
                  <a:pt x="1513701" y="1010333"/>
                </a:cubicBezTo>
                <a:cubicBezTo>
                  <a:pt x="1478951" y="1044387"/>
                  <a:pt x="1444224" y="1078464"/>
                  <a:pt x="1409629" y="1112651"/>
                </a:cubicBezTo>
                <a:cubicBezTo>
                  <a:pt x="1375587" y="1146285"/>
                  <a:pt x="1341634" y="1180051"/>
                  <a:pt x="1307769" y="1213884"/>
                </a:cubicBezTo>
                <a:cubicBezTo>
                  <a:pt x="1305867" y="1215786"/>
                  <a:pt x="1305115" y="1218815"/>
                  <a:pt x="1304009" y="1220960"/>
                </a:cubicBezTo>
                <a:cubicBezTo>
                  <a:pt x="1319006" y="1239513"/>
                  <a:pt x="1516975" y="1438089"/>
                  <a:pt x="1532193" y="1449609"/>
                </a:cubicBezTo>
                <a:close/>
                <a:moveTo>
                  <a:pt x="1078922" y="1219280"/>
                </a:moveTo>
                <a:cubicBezTo>
                  <a:pt x="1037183" y="1177265"/>
                  <a:pt x="997102" y="1137196"/>
                  <a:pt x="957354" y="1096818"/>
                </a:cubicBezTo>
                <a:cubicBezTo>
                  <a:pt x="917163" y="1055997"/>
                  <a:pt x="877281" y="1014867"/>
                  <a:pt x="836316" y="972874"/>
                </a:cubicBezTo>
                <a:cubicBezTo>
                  <a:pt x="768963" y="1038129"/>
                  <a:pt x="702472" y="1102545"/>
                  <a:pt x="636025" y="1167049"/>
                </a:cubicBezTo>
                <a:cubicBezTo>
                  <a:pt x="634012" y="1168995"/>
                  <a:pt x="632751" y="1171692"/>
                  <a:pt x="630937" y="1174302"/>
                </a:cubicBezTo>
                <a:cubicBezTo>
                  <a:pt x="633083" y="1177066"/>
                  <a:pt x="634654" y="1179565"/>
                  <a:pt x="636689" y="1181621"/>
                </a:cubicBezTo>
                <a:cubicBezTo>
                  <a:pt x="715190" y="1260410"/>
                  <a:pt x="793736" y="1339177"/>
                  <a:pt x="872304" y="1417899"/>
                </a:cubicBezTo>
                <a:cubicBezTo>
                  <a:pt x="872769" y="1418364"/>
                  <a:pt x="873587" y="1418585"/>
                  <a:pt x="874273" y="1418762"/>
                </a:cubicBezTo>
                <a:cubicBezTo>
                  <a:pt x="874981" y="1418961"/>
                  <a:pt x="875733" y="1418983"/>
                  <a:pt x="877348" y="1419226"/>
                </a:cubicBezTo>
                <a:cubicBezTo>
                  <a:pt x="943706" y="1353418"/>
                  <a:pt x="1010462" y="1287211"/>
                  <a:pt x="1078944" y="1219280"/>
                </a:cubicBezTo>
                <a:close/>
                <a:moveTo>
                  <a:pt x="1414872" y="1559865"/>
                </a:moveTo>
                <a:cubicBezTo>
                  <a:pt x="1401976" y="1542838"/>
                  <a:pt x="1205246" y="1345147"/>
                  <a:pt x="1188767" y="1332919"/>
                </a:cubicBezTo>
                <a:cubicBezTo>
                  <a:pt x="1165232" y="1353617"/>
                  <a:pt x="1143400" y="1376437"/>
                  <a:pt x="1120772" y="1398396"/>
                </a:cubicBezTo>
                <a:cubicBezTo>
                  <a:pt x="1098055" y="1420442"/>
                  <a:pt x="1075626" y="1442799"/>
                  <a:pt x="1052865" y="1464779"/>
                </a:cubicBezTo>
                <a:cubicBezTo>
                  <a:pt x="1030303" y="1486583"/>
                  <a:pt x="1005087" y="1505710"/>
                  <a:pt x="984384" y="1531362"/>
                </a:cubicBezTo>
                <a:cubicBezTo>
                  <a:pt x="1060939" y="1608337"/>
                  <a:pt x="1136609" y="1684472"/>
                  <a:pt x="1212147" y="1760431"/>
                </a:cubicBezTo>
                <a:cubicBezTo>
                  <a:pt x="1223406" y="1752293"/>
                  <a:pt x="1406289" y="1571055"/>
                  <a:pt x="1414872" y="1559865"/>
                </a:cubicBezTo>
                <a:close/>
                <a:moveTo>
                  <a:pt x="951514" y="1496909"/>
                </a:moveTo>
                <a:cubicBezTo>
                  <a:pt x="961601" y="1486892"/>
                  <a:pt x="970559" y="1478180"/>
                  <a:pt x="979296" y="1469290"/>
                </a:cubicBezTo>
                <a:cubicBezTo>
                  <a:pt x="998385" y="1449875"/>
                  <a:pt x="1017187" y="1430172"/>
                  <a:pt x="1036497" y="1410978"/>
                </a:cubicBezTo>
                <a:cubicBezTo>
                  <a:pt x="1058948" y="1388666"/>
                  <a:pt x="1081930" y="1366885"/>
                  <a:pt x="1104514" y="1344705"/>
                </a:cubicBezTo>
                <a:cubicBezTo>
                  <a:pt x="1151805" y="1298246"/>
                  <a:pt x="1198853" y="1251521"/>
                  <a:pt x="1246299" y="1205216"/>
                </a:cubicBezTo>
                <a:cubicBezTo>
                  <a:pt x="1270498" y="1181599"/>
                  <a:pt x="1295626" y="1158933"/>
                  <a:pt x="1319913" y="1135405"/>
                </a:cubicBezTo>
                <a:cubicBezTo>
                  <a:pt x="1350570" y="1105707"/>
                  <a:pt x="1380763" y="1075523"/>
                  <a:pt x="1411266" y="1045648"/>
                </a:cubicBezTo>
                <a:cubicBezTo>
                  <a:pt x="1435487" y="1021943"/>
                  <a:pt x="1459885" y="998437"/>
                  <a:pt x="1484083" y="974687"/>
                </a:cubicBezTo>
                <a:cubicBezTo>
                  <a:pt x="1487578" y="971260"/>
                  <a:pt x="1490299" y="967014"/>
                  <a:pt x="1493572" y="962923"/>
                </a:cubicBezTo>
                <a:cubicBezTo>
                  <a:pt x="1480212" y="948748"/>
                  <a:pt x="1467715" y="935436"/>
                  <a:pt x="1453404" y="922987"/>
                </a:cubicBezTo>
                <a:cubicBezTo>
                  <a:pt x="1446502" y="929532"/>
                  <a:pt x="1440596" y="934950"/>
                  <a:pt x="1434867" y="940567"/>
                </a:cubicBezTo>
                <a:cubicBezTo>
                  <a:pt x="1395982" y="978778"/>
                  <a:pt x="1357184" y="1017078"/>
                  <a:pt x="1318254" y="1055267"/>
                </a:cubicBezTo>
                <a:cubicBezTo>
                  <a:pt x="1186754" y="1184231"/>
                  <a:pt x="1055210" y="1313128"/>
                  <a:pt x="923754" y="1442113"/>
                </a:cubicBezTo>
                <a:cubicBezTo>
                  <a:pt x="919198" y="1446580"/>
                  <a:pt x="912872" y="1449963"/>
                  <a:pt x="912142" y="1457504"/>
                </a:cubicBezTo>
                <a:cubicBezTo>
                  <a:pt x="924595" y="1469953"/>
                  <a:pt x="936982" y="1482337"/>
                  <a:pt x="951492" y="1496843"/>
                </a:cubicBezTo>
                <a:close/>
                <a:moveTo>
                  <a:pt x="1790503" y="1262643"/>
                </a:moveTo>
                <a:cubicBezTo>
                  <a:pt x="1610252" y="1439570"/>
                  <a:pt x="1435243" y="1618443"/>
                  <a:pt x="1253599" y="1790571"/>
                </a:cubicBezTo>
                <a:cubicBezTo>
                  <a:pt x="1252117" y="1791964"/>
                  <a:pt x="1251476" y="1794242"/>
                  <a:pt x="1249927" y="1797050"/>
                </a:cubicBezTo>
                <a:cubicBezTo>
                  <a:pt x="1261518" y="1809831"/>
                  <a:pt x="1271803" y="1823763"/>
                  <a:pt x="1288349" y="1833139"/>
                </a:cubicBezTo>
                <a:cubicBezTo>
                  <a:pt x="1466166" y="1656875"/>
                  <a:pt x="1643498" y="1481497"/>
                  <a:pt x="1822975" y="1308307"/>
                </a:cubicBezTo>
                <a:cubicBezTo>
                  <a:pt x="1824987" y="1306361"/>
                  <a:pt x="1826514" y="1303907"/>
                  <a:pt x="1828925" y="1300877"/>
                </a:cubicBezTo>
                <a:cubicBezTo>
                  <a:pt x="1817113" y="1287233"/>
                  <a:pt x="1805257" y="1274540"/>
                  <a:pt x="1790503" y="1262643"/>
                </a:cubicBezTo>
                <a:close/>
                <a:moveTo>
                  <a:pt x="1100488" y="568625"/>
                </a:moveTo>
                <a:cubicBezTo>
                  <a:pt x="1093963" y="574772"/>
                  <a:pt x="1089030" y="579151"/>
                  <a:pt x="1084385" y="583794"/>
                </a:cubicBezTo>
                <a:cubicBezTo>
                  <a:pt x="1050631" y="617672"/>
                  <a:pt x="1017297" y="651969"/>
                  <a:pt x="983189" y="685492"/>
                </a:cubicBezTo>
                <a:cubicBezTo>
                  <a:pt x="847177" y="819188"/>
                  <a:pt x="710943" y="952662"/>
                  <a:pt x="574776" y="1086203"/>
                </a:cubicBezTo>
                <a:cubicBezTo>
                  <a:pt x="569645" y="1091245"/>
                  <a:pt x="564402" y="1096198"/>
                  <a:pt x="558474" y="1101904"/>
                </a:cubicBezTo>
                <a:cubicBezTo>
                  <a:pt x="571480" y="1115348"/>
                  <a:pt x="581722" y="1129523"/>
                  <a:pt x="597493" y="1138788"/>
                </a:cubicBezTo>
                <a:cubicBezTo>
                  <a:pt x="601895" y="1134653"/>
                  <a:pt x="605721" y="1131292"/>
                  <a:pt x="609305" y="1127665"/>
                </a:cubicBezTo>
                <a:cubicBezTo>
                  <a:pt x="627885" y="1108803"/>
                  <a:pt x="646156" y="1089631"/>
                  <a:pt x="665023" y="1071056"/>
                </a:cubicBezTo>
                <a:cubicBezTo>
                  <a:pt x="718022" y="1018869"/>
                  <a:pt x="771197" y="966881"/>
                  <a:pt x="824394" y="914893"/>
                </a:cubicBezTo>
                <a:cubicBezTo>
                  <a:pt x="923953" y="817662"/>
                  <a:pt x="1023579" y="720497"/>
                  <a:pt x="1123094" y="623222"/>
                </a:cubicBezTo>
                <a:cubicBezTo>
                  <a:pt x="1128226" y="618202"/>
                  <a:pt x="1132473" y="612276"/>
                  <a:pt x="1137804" y="605974"/>
                </a:cubicBezTo>
                <a:cubicBezTo>
                  <a:pt x="1126479" y="592374"/>
                  <a:pt x="1115021" y="580389"/>
                  <a:pt x="1100488" y="568625"/>
                </a:cubicBezTo>
                <a:close/>
                <a:moveTo>
                  <a:pt x="800947" y="792409"/>
                </a:moveTo>
                <a:cubicBezTo>
                  <a:pt x="716517" y="703360"/>
                  <a:pt x="626779" y="620568"/>
                  <a:pt x="544473" y="530590"/>
                </a:cubicBezTo>
                <a:cubicBezTo>
                  <a:pt x="536532" y="521900"/>
                  <a:pt x="527994" y="513784"/>
                  <a:pt x="519655" y="505470"/>
                </a:cubicBezTo>
                <a:cubicBezTo>
                  <a:pt x="516536" y="502352"/>
                  <a:pt x="513284" y="499367"/>
                  <a:pt x="509922" y="496536"/>
                </a:cubicBezTo>
                <a:cubicBezTo>
                  <a:pt x="508883" y="495674"/>
                  <a:pt x="507224" y="495519"/>
                  <a:pt x="505122" y="494767"/>
                </a:cubicBezTo>
                <a:cubicBezTo>
                  <a:pt x="492824" y="506620"/>
                  <a:pt x="478712" y="517168"/>
                  <a:pt x="467940" y="532514"/>
                </a:cubicBezTo>
                <a:cubicBezTo>
                  <a:pt x="472540" y="537556"/>
                  <a:pt x="476610" y="542620"/>
                  <a:pt x="481278" y="547087"/>
                </a:cubicBezTo>
                <a:cubicBezTo>
                  <a:pt x="495633" y="560775"/>
                  <a:pt x="510608" y="573799"/>
                  <a:pt x="524609" y="587841"/>
                </a:cubicBezTo>
                <a:cubicBezTo>
                  <a:pt x="601010" y="664396"/>
                  <a:pt x="677167" y="741195"/>
                  <a:pt x="753479" y="817839"/>
                </a:cubicBezTo>
                <a:cubicBezTo>
                  <a:pt x="756996" y="821355"/>
                  <a:pt x="761022" y="824362"/>
                  <a:pt x="765291" y="828011"/>
                </a:cubicBezTo>
                <a:cubicBezTo>
                  <a:pt x="778076" y="816667"/>
                  <a:pt x="789910" y="805986"/>
                  <a:pt x="800947" y="792409"/>
                </a:cubicBezTo>
                <a:close/>
                <a:moveTo>
                  <a:pt x="1852592" y="1852797"/>
                </a:moveTo>
                <a:cubicBezTo>
                  <a:pt x="1851663" y="1850431"/>
                  <a:pt x="1851398" y="1848905"/>
                  <a:pt x="1850580" y="1847822"/>
                </a:cubicBezTo>
                <a:cubicBezTo>
                  <a:pt x="1848788" y="1845500"/>
                  <a:pt x="1846797" y="1843311"/>
                  <a:pt x="1844740" y="1841210"/>
                </a:cubicBezTo>
                <a:cubicBezTo>
                  <a:pt x="1764248" y="1760409"/>
                  <a:pt x="1683755" y="1679630"/>
                  <a:pt x="1603218" y="1598851"/>
                </a:cubicBezTo>
                <a:cubicBezTo>
                  <a:pt x="1602732" y="1598364"/>
                  <a:pt x="1602002" y="1598010"/>
                  <a:pt x="1601338" y="1597789"/>
                </a:cubicBezTo>
                <a:cubicBezTo>
                  <a:pt x="1600652" y="1597568"/>
                  <a:pt x="1599878" y="1597590"/>
                  <a:pt x="1598020" y="1597347"/>
                </a:cubicBezTo>
                <a:cubicBezTo>
                  <a:pt x="1586430" y="1607254"/>
                  <a:pt x="1574994" y="1618288"/>
                  <a:pt x="1564554" y="1630472"/>
                </a:cubicBezTo>
                <a:cubicBezTo>
                  <a:pt x="1566058" y="1633281"/>
                  <a:pt x="1566699" y="1635536"/>
                  <a:pt x="1568137" y="1636996"/>
                </a:cubicBezTo>
                <a:cubicBezTo>
                  <a:pt x="1649558" y="1718969"/>
                  <a:pt x="1731046" y="1800876"/>
                  <a:pt x="1812579" y="1882716"/>
                </a:cubicBezTo>
                <a:cubicBezTo>
                  <a:pt x="1814038" y="1884176"/>
                  <a:pt x="1816295" y="1884817"/>
                  <a:pt x="1818838" y="1886188"/>
                </a:cubicBezTo>
                <a:cubicBezTo>
                  <a:pt x="1831159" y="1875773"/>
                  <a:pt x="1842749" y="1864849"/>
                  <a:pt x="1852570" y="1852797"/>
                </a:cubicBezTo>
                <a:close/>
                <a:moveTo>
                  <a:pt x="872304" y="937427"/>
                </a:moveTo>
                <a:cubicBezTo>
                  <a:pt x="954544" y="1020107"/>
                  <a:pt x="1034772" y="1100754"/>
                  <a:pt x="1115618" y="1182063"/>
                </a:cubicBezTo>
                <a:cubicBezTo>
                  <a:pt x="1128868" y="1170034"/>
                  <a:pt x="1143157" y="1161122"/>
                  <a:pt x="1152049" y="1146307"/>
                </a:cubicBezTo>
                <a:cubicBezTo>
                  <a:pt x="1149417" y="1142923"/>
                  <a:pt x="1147868" y="1140424"/>
                  <a:pt x="1145855" y="1138390"/>
                </a:cubicBezTo>
                <a:cubicBezTo>
                  <a:pt x="1070207" y="1062255"/>
                  <a:pt x="994536" y="986120"/>
                  <a:pt x="918755" y="910095"/>
                </a:cubicBezTo>
                <a:cubicBezTo>
                  <a:pt x="915858" y="907176"/>
                  <a:pt x="912075" y="905141"/>
                  <a:pt x="907828" y="902046"/>
                </a:cubicBezTo>
                <a:cubicBezTo>
                  <a:pt x="896216" y="913611"/>
                  <a:pt x="885377" y="924402"/>
                  <a:pt x="872282" y="937449"/>
                </a:cubicBezTo>
                <a:close/>
                <a:moveTo>
                  <a:pt x="1263752" y="1259393"/>
                </a:moveTo>
                <a:cubicBezTo>
                  <a:pt x="1250259" y="1270383"/>
                  <a:pt x="1239022" y="1281572"/>
                  <a:pt x="1228980" y="1294066"/>
                </a:cubicBezTo>
                <a:cubicBezTo>
                  <a:pt x="1230860" y="1296830"/>
                  <a:pt x="1231833" y="1298843"/>
                  <a:pt x="1233338" y="1300368"/>
                </a:cubicBezTo>
                <a:cubicBezTo>
                  <a:pt x="1305978" y="1373386"/>
                  <a:pt x="1378662" y="1446337"/>
                  <a:pt x="1451369" y="1519288"/>
                </a:cubicBezTo>
                <a:cubicBezTo>
                  <a:pt x="1451855" y="1519774"/>
                  <a:pt x="1452607" y="1520084"/>
                  <a:pt x="1453293" y="1520305"/>
                </a:cubicBezTo>
                <a:cubicBezTo>
                  <a:pt x="1453979" y="1520526"/>
                  <a:pt x="1454753" y="1520504"/>
                  <a:pt x="1456522" y="1520703"/>
                </a:cubicBezTo>
                <a:cubicBezTo>
                  <a:pt x="1468423" y="1511106"/>
                  <a:pt x="1481097" y="1501354"/>
                  <a:pt x="1490078" y="1487843"/>
                </a:cubicBezTo>
                <a:cubicBezTo>
                  <a:pt x="1480345" y="1474022"/>
                  <a:pt x="1284301" y="1275956"/>
                  <a:pt x="1263752" y="1259415"/>
                </a:cubicBezTo>
                <a:close/>
                <a:moveTo>
                  <a:pt x="3542869" y="2959534"/>
                </a:moveTo>
                <a:cubicBezTo>
                  <a:pt x="3545833" y="2961215"/>
                  <a:pt x="3549616" y="2962365"/>
                  <a:pt x="3551961" y="2964863"/>
                </a:cubicBezTo>
                <a:cubicBezTo>
                  <a:pt x="3563020" y="2976605"/>
                  <a:pt x="3576469" y="2985650"/>
                  <a:pt x="3586732" y="2998519"/>
                </a:cubicBezTo>
                <a:cubicBezTo>
                  <a:pt x="3596243" y="3010461"/>
                  <a:pt x="3609427" y="3019394"/>
                  <a:pt x="3620309" y="3030340"/>
                </a:cubicBezTo>
                <a:cubicBezTo>
                  <a:pt x="3778906" y="3189665"/>
                  <a:pt x="3937391" y="3349100"/>
                  <a:pt x="4095899" y="3508513"/>
                </a:cubicBezTo>
                <a:cubicBezTo>
                  <a:pt x="4315213" y="3729069"/>
                  <a:pt x="4534549" y="3949625"/>
                  <a:pt x="4753863" y="4170203"/>
                </a:cubicBezTo>
                <a:cubicBezTo>
                  <a:pt x="4792837" y="4209409"/>
                  <a:pt x="4831922" y="4248483"/>
                  <a:pt x="4870653" y="4287933"/>
                </a:cubicBezTo>
                <a:cubicBezTo>
                  <a:pt x="4893857" y="4311572"/>
                  <a:pt x="4916485" y="4335763"/>
                  <a:pt x="4939312" y="4359756"/>
                </a:cubicBezTo>
                <a:cubicBezTo>
                  <a:pt x="4941833" y="4362410"/>
                  <a:pt x="4944466" y="4365129"/>
                  <a:pt x="4946346" y="4368225"/>
                </a:cubicBezTo>
                <a:cubicBezTo>
                  <a:pt x="4952915" y="4379061"/>
                  <a:pt x="4954774" y="4390316"/>
                  <a:pt x="4947032" y="4401351"/>
                </a:cubicBezTo>
                <a:cubicBezTo>
                  <a:pt x="4942829" y="4407343"/>
                  <a:pt x="4938228" y="4413181"/>
                  <a:pt x="4933052" y="4418334"/>
                </a:cubicBezTo>
                <a:cubicBezTo>
                  <a:pt x="4888592" y="4462427"/>
                  <a:pt x="4843911" y="4506321"/>
                  <a:pt x="4799363" y="4550326"/>
                </a:cubicBezTo>
                <a:cubicBezTo>
                  <a:pt x="4741741" y="4607245"/>
                  <a:pt x="4684386" y="4664430"/>
                  <a:pt x="4626544" y="4721106"/>
                </a:cubicBezTo>
                <a:cubicBezTo>
                  <a:pt x="4578677" y="4768007"/>
                  <a:pt x="4530214" y="4814290"/>
                  <a:pt x="4482104" y="4860927"/>
                </a:cubicBezTo>
                <a:cubicBezTo>
                  <a:pt x="4447200" y="4894782"/>
                  <a:pt x="4412450" y="4928836"/>
                  <a:pt x="4377590" y="4962757"/>
                </a:cubicBezTo>
                <a:cubicBezTo>
                  <a:pt x="4373365" y="4966871"/>
                  <a:pt x="4369339" y="4971293"/>
                  <a:pt x="4364650" y="4974765"/>
                </a:cubicBezTo>
                <a:cubicBezTo>
                  <a:pt x="4353258" y="4983168"/>
                  <a:pt x="4340783" y="4981642"/>
                  <a:pt x="4331050" y="4971072"/>
                </a:cubicBezTo>
                <a:cubicBezTo>
                  <a:pt x="4324083" y="4963487"/>
                  <a:pt x="4317735" y="4955283"/>
                  <a:pt x="4310302" y="4948207"/>
                </a:cubicBezTo>
                <a:cubicBezTo>
                  <a:pt x="4212114" y="4854668"/>
                  <a:pt x="4117886" y="4757150"/>
                  <a:pt x="4022197" y="4661113"/>
                </a:cubicBezTo>
                <a:cubicBezTo>
                  <a:pt x="3793328" y="4431336"/>
                  <a:pt x="3564878" y="4201161"/>
                  <a:pt x="3336230" y="3971163"/>
                </a:cubicBezTo>
                <a:cubicBezTo>
                  <a:pt x="3222425" y="3856683"/>
                  <a:pt x="3108510" y="3742315"/>
                  <a:pt x="2994795" y="3627769"/>
                </a:cubicBezTo>
                <a:cubicBezTo>
                  <a:pt x="2981855" y="3614722"/>
                  <a:pt x="2968318" y="3601830"/>
                  <a:pt x="2957767" y="3586948"/>
                </a:cubicBezTo>
                <a:cubicBezTo>
                  <a:pt x="2944561" y="3568329"/>
                  <a:pt x="2941907" y="3552828"/>
                  <a:pt x="2955290" y="3536707"/>
                </a:cubicBezTo>
                <a:cubicBezTo>
                  <a:pt x="2961859" y="3528791"/>
                  <a:pt x="2968185" y="3520587"/>
                  <a:pt x="2975396" y="3513268"/>
                </a:cubicBezTo>
                <a:cubicBezTo>
                  <a:pt x="3004350" y="3483879"/>
                  <a:pt x="3033482" y="3454690"/>
                  <a:pt x="3062768" y="3425611"/>
                </a:cubicBezTo>
                <a:cubicBezTo>
                  <a:pt x="3098778" y="3389877"/>
                  <a:pt x="3134943" y="3354297"/>
                  <a:pt x="3171086" y="3318717"/>
                </a:cubicBezTo>
                <a:cubicBezTo>
                  <a:pt x="3205681" y="3284641"/>
                  <a:pt x="3240209" y="3250498"/>
                  <a:pt x="3275025" y="3216665"/>
                </a:cubicBezTo>
                <a:cubicBezTo>
                  <a:pt x="3300352" y="3192031"/>
                  <a:pt x="3326343" y="3168083"/>
                  <a:pt x="3351625" y="3143404"/>
                </a:cubicBezTo>
                <a:cubicBezTo>
                  <a:pt x="3376885" y="3118748"/>
                  <a:pt x="3401394" y="3093318"/>
                  <a:pt x="3426698" y="3068706"/>
                </a:cubicBezTo>
                <a:cubicBezTo>
                  <a:pt x="3463063" y="3033303"/>
                  <a:pt x="3499847" y="2998298"/>
                  <a:pt x="3536499" y="2963205"/>
                </a:cubicBezTo>
                <a:cubicBezTo>
                  <a:pt x="3538003" y="2961768"/>
                  <a:pt x="3540171" y="2961016"/>
                  <a:pt x="3542825" y="2959490"/>
                </a:cubicBezTo>
                <a:close/>
                <a:moveTo>
                  <a:pt x="4372635" y="4309073"/>
                </a:moveTo>
                <a:cubicBezTo>
                  <a:pt x="4471774" y="4409333"/>
                  <a:pt x="4569962" y="4508665"/>
                  <a:pt x="4668703" y="4608528"/>
                </a:cubicBezTo>
                <a:cubicBezTo>
                  <a:pt x="4671734" y="4605786"/>
                  <a:pt x="4674499" y="4603420"/>
                  <a:pt x="4677086" y="4600899"/>
                </a:cubicBezTo>
                <a:cubicBezTo>
                  <a:pt x="4700865" y="4577791"/>
                  <a:pt x="4724621" y="4554660"/>
                  <a:pt x="4748333" y="4531486"/>
                </a:cubicBezTo>
                <a:cubicBezTo>
                  <a:pt x="4795270" y="4485668"/>
                  <a:pt x="4842208" y="4439827"/>
                  <a:pt x="4889057" y="4393921"/>
                </a:cubicBezTo>
                <a:cubicBezTo>
                  <a:pt x="4891998" y="4391046"/>
                  <a:pt x="4894277" y="4387464"/>
                  <a:pt x="4897263" y="4383704"/>
                </a:cubicBezTo>
                <a:cubicBezTo>
                  <a:pt x="4886093" y="4373223"/>
                  <a:pt x="4875697" y="4364002"/>
                  <a:pt x="4865920" y="4354184"/>
                </a:cubicBezTo>
                <a:cubicBezTo>
                  <a:pt x="4780627" y="4268539"/>
                  <a:pt x="4695468" y="4182741"/>
                  <a:pt x="4610197" y="4097075"/>
                </a:cubicBezTo>
                <a:cubicBezTo>
                  <a:pt x="4606260" y="4093116"/>
                  <a:pt x="4601615" y="4089910"/>
                  <a:pt x="4596926" y="4086040"/>
                </a:cubicBezTo>
                <a:cubicBezTo>
                  <a:pt x="4591064" y="4091547"/>
                  <a:pt x="4586110" y="4095881"/>
                  <a:pt x="4581509" y="4100591"/>
                </a:cubicBezTo>
                <a:cubicBezTo>
                  <a:pt x="4567109" y="4115340"/>
                  <a:pt x="4553151" y="4130510"/>
                  <a:pt x="4538509" y="4144994"/>
                </a:cubicBezTo>
                <a:cubicBezTo>
                  <a:pt x="4488673" y="4194173"/>
                  <a:pt x="4438595" y="4243109"/>
                  <a:pt x="4388649" y="4292201"/>
                </a:cubicBezTo>
                <a:cubicBezTo>
                  <a:pt x="4383496" y="4297265"/>
                  <a:pt x="4378674" y="4302660"/>
                  <a:pt x="4372635" y="4309029"/>
                </a:cubicBezTo>
                <a:close/>
                <a:moveTo>
                  <a:pt x="4055089" y="4619164"/>
                </a:moveTo>
                <a:cubicBezTo>
                  <a:pt x="4059888" y="4624339"/>
                  <a:pt x="4063759" y="4628739"/>
                  <a:pt x="4067896" y="4632897"/>
                </a:cubicBezTo>
                <a:cubicBezTo>
                  <a:pt x="4134387" y="4699833"/>
                  <a:pt x="4201033" y="4766637"/>
                  <a:pt x="4267369" y="4833727"/>
                </a:cubicBezTo>
                <a:cubicBezTo>
                  <a:pt x="4293248" y="4859909"/>
                  <a:pt x="4318376" y="4886843"/>
                  <a:pt x="4343990" y="4913290"/>
                </a:cubicBezTo>
                <a:cubicBezTo>
                  <a:pt x="4346313" y="4915701"/>
                  <a:pt x="4349653" y="4917138"/>
                  <a:pt x="4353126" y="4919415"/>
                </a:cubicBezTo>
                <a:cubicBezTo>
                  <a:pt x="4422337" y="4851528"/>
                  <a:pt x="4490686" y="4784481"/>
                  <a:pt x="4559588" y="4716882"/>
                </a:cubicBezTo>
                <a:cubicBezTo>
                  <a:pt x="4556602" y="4713211"/>
                  <a:pt x="4554611" y="4710138"/>
                  <a:pt x="4552045" y="4707727"/>
                </a:cubicBezTo>
                <a:cubicBezTo>
                  <a:pt x="4545631" y="4701690"/>
                  <a:pt x="4538597" y="4696273"/>
                  <a:pt x="4532404" y="4690037"/>
                </a:cubicBezTo>
                <a:cubicBezTo>
                  <a:pt x="4445518" y="4602823"/>
                  <a:pt x="4358766" y="4515498"/>
                  <a:pt x="4271903" y="4428262"/>
                </a:cubicBezTo>
                <a:cubicBezTo>
                  <a:pt x="4268497" y="4424835"/>
                  <a:pt x="4264449" y="4422048"/>
                  <a:pt x="4260003" y="4418378"/>
                </a:cubicBezTo>
                <a:cubicBezTo>
                  <a:pt x="4191145" y="4485845"/>
                  <a:pt x="4123349" y="4552294"/>
                  <a:pt x="4055111" y="4619143"/>
                </a:cubicBezTo>
                <a:close/>
                <a:moveTo>
                  <a:pt x="3802839" y="3285127"/>
                </a:moveTo>
                <a:cubicBezTo>
                  <a:pt x="3716684" y="3198355"/>
                  <a:pt x="3632320" y="3113397"/>
                  <a:pt x="3547116" y="3027576"/>
                </a:cubicBezTo>
                <a:cubicBezTo>
                  <a:pt x="3541785" y="3032242"/>
                  <a:pt x="3536676" y="3036289"/>
                  <a:pt x="3532053" y="3040822"/>
                </a:cubicBezTo>
                <a:cubicBezTo>
                  <a:pt x="3463660" y="3107802"/>
                  <a:pt x="3395333" y="3174849"/>
                  <a:pt x="3327050" y="3241918"/>
                </a:cubicBezTo>
                <a:cubicBezTo>
                  <a:pt x="3324617" y="3244306"/>
                  <a:pt x="3322825" y="3247314"/>
                  <a:pt x="3320990" y="3249724"/>
                </a:cubicBezTo>
                <a:cubicBezTo>
                  <a:pt x="3338906" y="3271727"/>
                  <a:pt x="3561339" y="3494317"/>
                  <a:pt x="3575495" y="3504334"/>
                </a:cubicBezTo>
                <a:cubicBezTo>
                  <a:pt x="3643623" y="3438791"/>
                  <a:pt x="3711928" y="3373093"/>
                  <a:pt x="3780211" y="3307351"/>
                </a:cubicBezTo>
                <a:cubicBezTo>
                  <a:pt x="3787045" y="3300783"/>
                  <a:pt x="3793726" y="3294061"/>
                  <a:pt x="3802839" y="3285105"/>
                </a:cubicBezTo>
                <a:close/>
                <a:moveTo>
                  <a:pt x="4492964" y="3980694"/>
                </a:moveTo>
                <a:cubicBezTo>
                  <a:pt x="4490001" y="3977067"/>
                  <a:pt x="4488364" y="3974679"/>
                  <a:pt x="4486351" y="3972644"/>
                </a:cubicBezTo>
                <a:cubicBezTo>
                  <a:pt x="4407429" y="3893369"/>
                  <a:pt x="4328462" y="3814138"/>
                  <a:pt x="4249474" y="3734929"/>
                </a:cubicBezTo>
                <a:cubicBezTo>
                  <a:pt x="4248965" y="3734420"/>
                  <a:pt x="4248257" y="3734022"/>
                  <a:pt x="4247572" y="3733823"/>
                </a:cubicBezTo>
                <a:cubicBezTo>
                  <a:pt x="4246886" y="3733647"/>
                  <a:pt x="4246134" y="3733779"/>
                  <a:pt x="4243281" y="3733779"/>
                </a:cubicBezTo>
                <a:cubicBezTo>
                  <a:pt x="4219192" y="3757396"/>
                  <a:pt x="4193910" y="3781897"/>
                  <a:pt x="4168937" y="3806752"/>
                </a:cubicBezTo>
                <a:cubicBezTo>
                  <a:pt x="4144451" y="3831143"/>
                  <a:pt x="4120319" y="3855865"/>
                  <a:pt x="4095987" y="3880411"/>
                </a:cubicBezTo>
                <a:cubicBezTo>
                  <a:pt x="4071302" y="3905332"/>
                  <a:pt x="4044980" y="3928706"/>
                  <a:pt x="4022064" y="3955087"/>
                </a:cubicBezTo>
                <a:cubicBezTo>
                  <a:pt x="4039516" y="3976205"/>
                  <a:pt x="4253345" y="4190237"/>
                  <a:pt x="4266506" y="4199834"/>
                </a:cubicBezTo>
                <a:cubicBezTo>
                  <a:pt x="4341446" y="4127303"/>
                  <a:pt x="4416476" y="4054706"/>
                  <a:pt x="4492964" y="3980672"/>
                </a:cubicBezTo>
                <a:close/>
                <a:moveTo>
                  <a:pt x="3460740" y="3615165"/>
                </a:moveTo>
                <a:cubicBezTo>
                  <a:pt x="3434440" y="3588607"/>
                  <a:pt x="3408582" y="3562469"/>
                  <a:pt x="3382703" y="3536331"/>
                </a:cubicBezTo>
                <a:cubicBezTo>
                  <a:pt x="3331363" y="3484543"/>
                  <a:pt x="3280113" y="3432643"/>
                  <a:pt x="3228553" y="3381076"/>
                </a:cubicBezTo>
                <a:cubicBezTo>
                  <a:pt x="3221541" y="3374066"/>
                  <a:pt x="3215392" y="3365464"/>
                  <a:pt x="3205084" y="3361528"/>
                </a:cubicBezTo>
                <a:cubicBezTo>
                  <a:pt x="3137222" y="3427911"/>
                  <a:pt x="3070001" y="3493675"/>
                  <a:pt x="3002868" y="3559351"/>
                </a:cubicBezTo>
                <a:cubicBezTo>
                  <a:pt x="3016007" y="3576024"/>
                  <a:pt x="3243970" y="3804939"/>
                  <a:pt x="3258768" y="3816217"/>
                </a:cubicBezTo>
                <a:cubicBezTo>
                  <a:pt x="3324308" y="3751956"/>
                  <a:pt x="3390135" y="3687607"/>
                  <a:pt x="3455586" y="3622904"/>
                </a:cubicBezTo>
                <a:cubicBezTo>
                  <a:pt x="3457555" y="3620958"/>
                  <a:pt x="3458749" y="3618216"/>
                  <a:pt x="3460740" y="3615165"/>
                </a:cubicBezTo>
                <a:close/>
                <a:moveTo>
                  <a:pt x="3911180" y="3845118"/>
                </a:moveTo>
                <a:cubicBezTo>
                  <a:pt x="3986386" y="3771349"/>
                  <a:pt x="4059402" y="3699747"/>
                  <a:pt x="4132352" y="3628101"/>
                </a:cubicBezTo>
                <a:cubicBezTo>
                  <a:pt x="4133811" y="3626663"/>
                  <a:pt x="4134475" y="3624452"/>
                  <a:pt x="4136046" y="3621688"/>
                </a:cubicBezTo>
                <a:cubicBezTo>
                  <a:pt x="4133834" y="3618924"/>
                  <a:pt x="4131843" y="3615938"/>
                  <a:pt x="4129365" y="3613440"/>
                </a:cubicBezTo>
                <a:cubicBezTo>
                  <a:pt x="4057787" y="3541373"/>
                  <a:pt x="3986164" y="3469373"/>
                  <a:pt x="3914497" y="3397417"/>
                </a:cubicBezTo>
                <a:cubicBezTo>
                  <a:pt x="3912109" y="3395007"/>
                  <a:pt x="3908968" y="3393348"/>
                  <a:pt x="3905694" y="3390982"/>
                </a:cubicBezTo>
                <a:cubicBezTo>
                  <a:pt x="3899943" y="3396378"/>
                  <a:pt x="3895010" y="3400690"/>
                  <a:pt x="3890454" y="3405378"/>
                </a:cubicBezTo>
                <a:cubicBezTo>
                  <a:pt x="3875590" y="3420658"/>
                  <a:pt x="3861190" y="3436403"/>
                  <a:pt x="3846038" y="3451373"/>
                </a:cubicBezTo>
                <a:cubicBezTo>
                  <a:pt x="3799985" y="3496904"/>
                  <a:pt x="3753601" y="3542125"/>
                  <a:pt x="3707504" y="3587612"/>
                </a:cubicBezTo>
                <a:cubicBezTo>
                  <a:pt x="3698811" y="3596192"/>
                  <a:pt x="3689786" y="3604617"/>
                  <a:pt x="3682841" y="3615673"/>
                </a:cubicBezTo>
                <a:cubicBezTo>
                  <a:pt x="3758644" y="3692074"/>
                  <a:pt x="3833585" y="3767855"/>
                  <a:pt x="3911202" y="3845118"/>
                </a:cubicBezTo>
                <a:close/>
                <a:moveTo>
                  <a:pt x="3703545" y="4264780"/>
                </a:moveTo>
                <a:cubicBezTo>
                  <a:pt x="3707880" y="4269800"/>
                  <a:pt x="3710977" y="4273847"/>
                  <a:pt x="3714538" y="4277429"/>
                </a:cubicBezTo>
                <a:cubicBezTo>
                  <a:pt x="3788727" y="4352127"/>
                  <a:pt x="3862937" y="4426781"/>
                  <a:pt x="3937214" y="4501390"/>
                </a:cubicBezTo>
                <a:cubicBezTo>
                  <a:pt x="3940643" y="4504840"/>
                  <a:pt x="3944624" y="4507714"/>
                  <a:pt x="3949225" y="4511606"/>
                </a:cubicBezTo>
                <a:cubicBezTo>
                  <a:pt x="4018215" y="4444383"/>
                  <a:pt x="4085746" y="4377889"/>
                  <a:pt x="4153741" y="4310776"/>
                </a:cubicBezTo>
                <a:cubicBezTo>
                  <a:pt x="4148853" y="4305269"/>
                  <a:pt x="4145269" y="4300648"/>
                  <a:pt x="4141111" y="4296623"/>
                </a:cubicBezTo>
                <a:cubicBezTo>
                  <a:pt x="4126313" y="4282316"/>
                  <a:pt x="4111007" y="4268539"/>
                  <a:pt x="4096474" y="4253989"/>
                </a:cubicBezTo>
                <a:cubicBezTo>
                  <a:pt x="4038211" y="4195699"/>
                  <a:pt x="3980148" y="4137210"/>
                  <a:pt x="3921996" y="4078809"/>
                </a:cubicBezTo>
                <a:cubicBezTo>
                  <a:pt x="3917484" y="4074276"/>
                  <a:pt x="3914033" y="4068129"/>
                  <a:pt x="3905716" y="4067819"/>
                </a:cubicBezTo>
                <a:cubicBezTo>
                  <a:pt x="3838650" y="4133163"/>
                  <a:pt x="3771363" y="4198729"/>
                  <a:pt x="3703567" y="4264780"/>
                </a:cubicBezTo>
                <a:close/>
                <a:moveTo>
                  <a:pt x="3592815" y="4155099"/>
                </a:moveTo>
                <a:cubicBezTo>
                  <a:pt x="3596863" y="4152004"/>
                  <a:pt x="3600004" y="4150102"/>
                  <a:pt x="3602548" y="4147603"/>
                </a:cubicBezTo>
                <a:cubicBezTo>
                  <a:pt x="3627852" y="4122881"/>
                  <a:pt x="3653135" y="4098158"/>
                  <a:pt x="3678262" y="4073281"/>
                </a:cubicBezTo>
                <a:cubicBezTo>
                  <a:pt x="3712282" y="4039625"/>
                  <a:pt x="3746147" y="4005836"/>
                  <a:pt x="3780144" y="3972158"/>
                </a:cubicBezTo>
                <a:cubicBezTo>
                  <a:pt x="3785807" y="3966541"/>
                  <a:pt x="3791757" y="3961212"/>
                  <a:pt x="3795960" y="3952367"/>
                </a:cubicBezTo>
                <a:cubicBezTo>
                  <a:pt x="3721019" y="3876851"/>
                  <a:pt x="3646631" y="3801489"/>
                  <a:pt x="3571691" y="3727034"/>
                </a:cubicBezTo>
                <a:cubicBezTo>
                  <a:pt x="3568462" y="3728428"/>
                  <a:pt x="3566006" y="3728804"/>
                  <a:pt x="3564546" y="3730197"/>
                </a:cubicBezTo>
                <a:cubicBezTo>
                  <a:pt x="3500400" y="3792069"/>
                  <a:pt x="3436320" y="3854008"/>
                  <a:pt x="3372307" y="3916035"/>
                </a:cubicBezTo>
                <a:cubicBezTo>
                  <a:pt x="3369741" y="3918512"/>
                  <a:pt x="3367816" y="3921652"/>
                  <a:pt x="3364742" y="3925588"/>
                </a:cubicBezTo>
                <a:cubicBezTo>
                  <a:pt x="3440921" y="4002254"/>
                  <a:pt x="3516636" y="4078478"/>
                  <a:pt x="3592815" y="4155144"/>
                </a:cubicBezTo>
                <a:close/>
                <a:moveTo>
                  <a:pt x="3668485" y="4229046"/>
                </a:moveTo>
                <a:cubicBezTo>
                  <a:pt x="3674281" y="4223606"/>
                  <a:pt x="3679700" y="4218719"/>
                  <a:pt x="3684898" y="4213633"/>
                </a:cubicBezTo>
                <a:cubicBezTo>
                  <a:pt x="3812306" y="4088760"/>
                  <a:pt x="3939537" y="3963733"/>
                  <a:pt x="4067121" y="3839015"/>
                </a:cubicBezTo>
                <a:cubicBezTo>
                  <a:pt x="4113462" y="3793705"/>
                  <a:pt x="4160598" y="3749214"/>
                  <a:pt x="4207270" y="3704236"/>
                </a:cubicBezTo>
                <a:cubicBezTo>
                  <a:pt x="4209173" y="3702423"/>
                  <a:pt x="4210013" y="3699504"/>
                  <a:pt x="4211561" y="3696718"/>
                </a:cubicBezTo>
                <a:cubicBezTo>
                  <a:pt x="4197449" y="3682897"/>
                  <a:pt x="4186235" y="3667440"/>
                  <a:pt x="4169180" y="3656737"/>
                </a:cubicBezTo>
                <a:cubicBezTo>
                  <a:pt x="3990146" y="3836251"/>
                  <a:pt x="3809762" y="4012868"/>
                  <a:pt x="3627874" y="4189176"/>
                </a:cubicBezTo>
                <a:cubicBezTo>
                  <a:pt x="3640969" y="4203660"/>
                  <a:pt x="3653046" y="4217237"/>
                  <a:pt x="3668485" y="4229046"/>
                </a:cubicBezTo>
                <a:close/>
                <a:moveTo>
                  <a:pt x="3329373" y="3889522"/>
                </a:moveTo>
                <a:cubicBezTo>
                  <a:pt x="3511770" y="3711356"/>
                  <a:pt x="3692330" y="3535005"/>
                  <a:pt x="3873599" y="3357923"/>
                </a:cubicBezTo>
                <a:cubicBezTo>
                  <a:pt x="3862318" y="3344147"/>
                  <a:pt x="3850196" y="3330923"/>
                  <a:pt x="3834934" y="3319690"/>
                </a:cubicBezTo>
                <a:cubicBezTo>
                  <a:pt x="3829161" y="3325019"/>
                  <a:pt x="3824206" y="3329309"/>
                  <a:pt x="3819561" y="3333909"/>
                </a:cubicBezTo>
                <a:cubicBezTo>
                  <a:pt x="3770965" y="3382071"/>
                  <a:pt x="3722501" y="3430366"/>
                  <a:pt x="3673861" y="3478484"/>
                </a:cubicBezTo>
                <a:cubicBezTo>
                  <a:pt x="3621039" y="3530737"/>
                  <a:pt x="3568174" y="3582990"/>
                  <a:pt x="3515087" y="3634978"/>
                </a:cubicBezTo>
                <a:cubicBezTo>
                  <a:pt x="3495644" y="3654017"/>
                  <a:pt x="3475405" y="3672261"/>
                  <a:pt x="3455608" y="3690946"/>
                </a:cubicBezTo>
                <a:cubicBezTo>
                  <a:pt x="3449724" y="3696496"/>
                  <a:pt x="3444062" y="3702312"/>
                  <a:pt x="3438267" y="3707973"/>
                </a:cubicBezTo>
                <a:cubicBezTo>
                  <a:pt x="3392966" y="3752266"/>
                  <a:pt x="3347621" y="3796514"/>
                  <a:pt x="3302387" y="3840873"/>
                </a:cubicBezTo>
                <a:cubicBezTo>
                  <a:pt x="3298937" y="3844256"/>
                  <a:pt x="3296304" y="3848524"/>
                  <a:pt x="3293008" y="3852770"/>
                </a:cubicBezTo>
                <a:cubicBezTo>
                  <a:pt x="3305307" y="3865197"/>
                  <a:pt x="3316588" y="3876607"/>
                  <a:pt x="3329373" y="3889522"/>
                </a:cubicBezTo>
                <a:close/>
                <a:moveTo>
                  <a:pt x="4528466" y="4015146"/>
                </a:moveTo>
                <a:cubicBezTo>
                  <a:pt x="4525591" y="4016274"/>
                  <a:pt x="4524064" y="4016539"/>
                  <a:pt x="4522958" y="4017357"/>
                </a:cubicBezTo>
                <a:cubicBezTo>
                  <a:pt x="4520614" y="4019104"/>
                  <a:pt x="4518357" y="4021028"/>
                  <a:pt x="4516256" y="4023084"/>
                </a:cubicBezTo>
                <a:cubicBezTo>
                  <a:pt x="4339589" y="4196230"/>
                  <a:pt x="4162921" y="4369397"/>
                  <a:pt x="3986297" y="4542587"/>
                </a:cubicBezTo>
                <a:cubicBezTo>
                  <a:pt x="3985788" y="4543073"/>
                  <a:pt x="3985479" y="4543825"/>
                  <a:pt x="3985257" y="4544533"/>
                </a:cubicBezTo>
                <a:cubicBezTo>
                  <a:pt x="3985058" y="4545218"/>
                  <a:pt x="3985103" y="4545970"/>
                  <a:pt x="3984859" y="4548690"/>
                </a:cubicBezTo>
                <a:cubicBezTo>
                  <a:pt x="3989726" y="4555081"/>
                  <a:pt x="3996848" y="4561383"/>
                  <a:pt x="4003462" y="4568083"/>
                </a:cubicBezTo>
                <a:cubicBezTo>
                  <a:pt x="4008527" y="4573192"/>
                  <a:pt x="4013969" y="4577923"/>
                  <a:pt x="4019675" y="4583209"/>
                </a:cubicBezTo>
                <a:cubicBezTo>
                  <a:pt x="4187075" y="4421208"/>
                  <a:pt x="4350051" y="4256444"/>
                  <a:pt x="4518512" y="4097318"/>
                </a:cubicBezTo>
                <a:cubicBezTo>
                  <a:pt x="4532957" y="4083674"/>
                  <a:pt x="4546781" y="4069389"/>
                  <a:pt x="4560893" y="4055370"/>
                </a:cubicBezTo>
                <a:cubicBezTo>
                  <a:pt x="4561402" y="4054861"/>
                  <a:pt x="4561778" y="4054153"/>
                  <a:pt x="4561999" y="4053468"/>
                </a:cubicBezTo>
                <a:cubicBezTo>
                  <a:pt x="4562220" y="4052826"/>
                  <a:pt x="4562154" y="4052075"/>
                  <a:pt x="4562398" y="4049311"/>
                </a:cubicBezTo>
                <a:cubicBezTo>
                  <a:pt x="4551559" y="4038409"/>
                  <a:pt x="4539791" y="4026556"/>
                  <a:pt x="4528466" y="4015168"/>
                </a:cubicBezTo>
                <a:close/>
                <a:moveTo>
                  <a:pt x="4633025" y="4644174"/>
                </a:moveTo>
                <a:cubicBezTo>
                  <a:pt x="4627782" y="4638337"/>
                  <a:pt x="4624641" y="4634334"/>
                  <a:pt x="4620970" y="4630840"/>
                </a:cubicBezTo>
                <a:cubicBezTo>
                  <a:pt x="4605552" y="4616091"/>
                  <a:pt x="4589626" y="4601872"/>
                  <a:pt x="4574563" y="4586791"/>
                </a:cubicBezTo>
                <a:cubicBezTo>
                  <a:pt x="4499047" y="4511164"/>
                  <a:pt x="4423775" y="4435316"/>
                  <a:pt x="4348303" y="4359645"/>
                </a:cubicBezTo>
                <a:cubicBezTo>
                  <a:pt x="4343813" y="4355156"/>
                  <a:pt x="4340518" y="4348677"/>
                  <a:pt x="4331935" y="4348103"/>
                </a:cubicBezTo>
                <a:cubicBezTo>
                  <a:pt x="4326516" y="4353321"/>
                  <a:pt x="4320566" y="4358783"/>
                  <a:pt x="4314925" y="4364554"/>
                </a:cubicBezTo>
                <a:cubicBezTo>
                  <a:pt x="4309418" y="4370193"/>
                  <a:pt x="4302583" y="4374793"/>
                  <a:pt x="4298690" y="4382931"/>
                </a:cubicBezTo>
                <a:cubicBezTo>
                  <a:pt x="4303047" y="4387707"/>
                  <a:pt x="4306807" y="4392129"/>
                  <a:pt x="4310900" y="4396242"/>
                </a:cubicBezTo>
                <a:cubicBezTo>
                  <a:pt x="4381571" y="4467336"/>
                  <a:pt x="4452375" y="4538297"/>
                  <a:pt x="4522914" y="4609501"/>
                </a:cubicBezTo>
                <a:cubicBezTo>
                  <a:pt x="4537403" y="4624118"/>
                  <a:pt x="4550961" y="4639641"/>
                  <a:pt x="4565030" y="4654656"/>
                </a:cubicBezTo>
                <a:cubicBezTo>
                  <a:pt x="4569564" y="4659499"/>
                  <a:pt x="4574165" y="4664275"/>
                  <a:pt x="4579031" y="4668786"/>
                </a:cubicBezTo>
                <a:cubicBezTo>
                  <a:pt x="4583698" y="4673098"/>
                  <a:pt x="4586839" y="4679621"/>
                  <a:pt x="4595864" y="4680440"/>
                </a:cubicBezTo>
                <a:cubicBezTo>
                  <a:pt x="4607300" y="4669273"/>
                  <a:pt x="4619311" y="4657531"/>
                  <a:pt x="4633003" y="4644174"/>
                </a:cubicBezTo>
                <a:close/>
                <a:moveTo>
                  <a:pt x="3534066" y="3545707"/>
                </a:moveTo>
                <a:cubicBezTo>
                  <a:pt x="3533668" y="3542943"/>
                  <a:pt x="3533800" y="3542059"/>
                  <a:pt x="3533402" y="3541528"/>
                </a:cubicBezTo>
                <a:cubicBezTo>
                  <a:pt x="3531721" y="3539162"/>
                  <a:pt x="3530107" y="3536641"/>
                  <a:pt x="3528072" y="3534607"/>
                </a:cubicBezTo>
                <a:cubicBezTo>
                  <a:pt x="3447092" y="3453319"/>
                  <a:pt x="3366091" y="3372098"/>
                  <a:pt x="3285068" y="3290854"/>
                </a:cubicBezTo>
                <a:cubicBezTo>
                  <a:pt x="3284559" y="3290346"/>
                  <a:pt x="3283851" y="3289948"/>
                  <a:pt x="3283165" y="3289771"/>
                </a:cubicBezTo>
                <a:cubicBezTo>
                  <a:pt x="3282480" y="3289594"/>
                  <a:pt x="3281728" y="3289727"/>
                  <a:pt x="3279405" y="3289727"/>
                </a:cubicBezTo>
                <a:cubicBezTo>
                  <a:pt x="3267814" y="3298992"/>
                  <a:pt x="3256556" y="3310225"/>
                  <a:pt x="3245916" y="3322896"/>
                </a:cubicBezTo>
                <a:cubicBezTo>
                  <a:pt x="3248062" y="3325771"/>
                  <a:pt x="3249500" y="3328314"/>
                  <a:pt x="3251490" y="3330326"/>
                </a:cubicBezTo>
                <a:cubicBezTo>
                  <a:pt x="3332337" y="3411746"/>
                  <a:pt x="3413227" y="3493100"/>
                  <a:pt x="3494184" y="3574410"/>
                </a:cubicBezTo>
                <a:cubicBezTo>
                  <a:pt x="3495644" y="3575892"/>
                  <a:pt x="3497901" y="3576577"/>
                  <a:pt x="3501086" y="3578368"/>
                </a:cubicBezTo>
                <a:cubicBezTo>
                  <a:pt x="3512322" y="3567246"/>
                  <a:pt x="3523625" y="3556056"/>
                  <a:pt x="3534066" y="3545707"/>
                </a:cubicBezTo>
                <a:close/>
                <a:moveTo>
                  <a:pt x="3947101" y="4026733"/>
                </a:moveTo>
                <a:cubicBezTo>
                  <a:pt x="3959864" y="4044092"/>
                  <a:pt x="4175484" y="4261132"/>
                  <a:pt x="4191986" y="4273404"/>
                </a:cubicBezTo>
                <a:cubicBezTo>
                  <a:pt x="4203244" y="4262370"/>
                  <a:pt x="4214658" y="4251136"/>
                  <a:pt x="4225718" y="4240301"/>
                </a:cubicBezTo>
                <a:cubicBezTo>
                  <a:pt x="4224767" y="4237692"/>
                  <a:pt x="4224545" y="4236122"/>
                  <a:pt x="4223727" y="4235016"/>
                </a:cubicBezTo>
                <a:cubicBezTo>
                  <a:pt x="4221980" y="4232672"/>
                  <a:pt x="4220055" y="4230439"/>
                  <a:pt x="4217976" y="4228360"/>
                </a:cubicBezTo>
                <a:cubicBezTo>
                  <a:pt x="4140602" y="4150721"/>
                  <a:pt x="4063206" y="4073104"/>
                  <a:pt x="3985810" y="3995531"/>
                </a:cubicBezTo>
                <a:cubicBezTo>
                  <a:pt x="3985346" y="3995045"/>
                  <a:pt x="3984505" y="3994868"/>
                  <a:pt x="3983798" y="3994713"/>
                </a:cubicBezTo>
                <a:cubicBezTo>
                  <a:pt x="3983134" y="3994581"/>
                  <a:pt x="3982426" y="3994691"/>
                  <a:pt x="3980303" y="3994691"/>
                </a:cubicBezTo>
                <a:cubicBezTo>
                  <a:pt x="3970039" y="4004598"/>
                  <a:pt x="3959002" y="4015279"/>
                  <a:pt x="3947124" y="4026733"/>
                </a:cubicBezTo>
                <a:close/>
                <a:moveTo>
                  <a:pt x="3871520" y="3881118"/>
                </a:moveTo>
                <a:cubicBezTo>
                  <a:pt x="3866322" y="3875325"/>
                  <a:pt x="3862583" y="3870792"/>
                  <a:pt x="3858491" y="3866656"/>
                </a:cubicBezTo>
                <a:cubicBezTo>
                  <a:pt x="3790452" y="3798172"/>
                  <a:pt x="3722368" y="3729710"/>
                  <a:pt x="3654219" y="3661314"/>
                </a:cubicBezTo>
                <a:cubicBezTo>
                  <a:pt x="3651277" y="3658374"/>
                  <a:pt x="3647782" y="3655985"/>
                  <a:pt x="3644397" y="3653221"/>
                </a:cubicBezTo>
                <a:cubicBezTo>
                  <a:pt x="3630639" y="3664079"/>
                  <a:pt x="3618739" y="3674604"/>
                  <a:pt x="3608431" y="3688071"/>
                </a:cubicBezTo>
                <a:cubicBezTo>
                  <a:pt x="3611307" y="3691521"/>
                  <a:pt x="3613386" y="3694484"/>
                  <a:pt x="3615885" y="3697005"/>
                </a:cubicBezTo>
                <a:cubicBezTo>
                  <a:pt x="3686004" y="3767590"/>
                  <a:pt x="3756145" y="3838153"/>
                  <a:pt x="3826352" y="3908649"/>
                </a:cubicBezTo>
                <a:cubicBezTo>
                  <a:pt x="3829272" y="3911590"/>
                  <a:pt x="3832965" y="3913757"/>
                  <a:pt x="3834182" y="3914686"/>
                </a:cubicBezTo>
                <a:cubicBezTo>
                  <a:pt x="3846834" y="3903320"/>
                  <a:pt x="3858292" y="3893015"/>
                  <a:pt x="3871520" y="3881118"/>
                </a:cubicBezTo>
                <a:close/>
                <a:moveTo>
                  <a:pt x="3962475" y="1894126"/>
                </a:moveTo>
                <a:cubicBezTo>
                  <a:pt x="3883862" y="1894038"/>
                  <a:pt x="3820026" y="1831148"/>
                  <a:pt x="3819517" y="1753288"/>
                </a:cubicBezTo>
                <a:cubicBezTo>
                  <a:pt x="3819030" y="1676733"/>
                  <a:pt x="3879881" y="1615679"/>
                  <a:pt x="3956546" y="1615811"/>
                </a:cubicBezTo>
                <a:cubicBezTo>
                  <a:pt x="4035358" y="1615966"/>
                  <a:pt x="4100124" y="1680912"/>
                  <a:pt x="4099659" y="1759303"/>
                </a:cubicBezTo>
                <a:cubicBezTo>
                  <a:pt x="4099195" y="1834797"/>
                  <a:pt x="4038764" y="1894193"/>
                  <a:pt x="3962475" y="1894104"/>
                </a:cubicBezTo>
                <a:close/>
                <a:moveTo>
                  <a:pt x="3955994" y="1653735"/>
                </a:moveTo>
                <a:cubicBezTo>
                  <a:pt x="3901005" y="1653934"/>
                  <a:pt x="3857341" y="1697099"/>
                  <a:pt x="3856965" y="1751652"/>
                </a:cubicBezTo>
                <a:cubicBezTo>
                  <a:pt x="3856567" y="1808770"/>
                  <a:pt x="3905362" y="1857286"/>
                  <a:pt x="3962961" y="1857021"/>
                </a:cubicBezTo>
                <a:cubicBezTo>
                  <a:pt x="4017884" y="1856755"/>
                  <a:pt x="4061415" y="1813502"/>
                  <a:pt x="4061747" y="1758839"/>
                </a:cubicBezTo>
                <a:cubicBezTo>
                  <a:pt x="4062078" y="1701057"/>
                  <a:pt x="4014278" y="1653514"/>
                  <a:pt x="3955994" y="1653735"/>
                </a:cubicBezTo>
                <a:close/>
                <a:moveTo>
                  <a:pt x="3957586" y="1339309"/>
                </a:moveTo>
                <a:cubicBezTo>
                  <a:pt x="3957365" y="1296720"/>
                  <a:pt x="3990500" y="1263838"/>
                  <a:pt x="4033411" y="1264103"/>
                </a:cubicBezTo>
                <a:cubicBezTo>
                  <a:pt x="4074907" y="1264346"/>
                  <a:pt x="4108197" y="1297273"/>
                  <a:pt x="4108374" y="1338292"/>
                </a:cubicBezTo>
                <a:cubicBezTo>
                  <a:pt x="4108573" y="1380042"/>
                  <a:pt x="4074178" y="1414251"/>
                  <a:pt x="4032217" y="1414007"/>
                </a:cubicBezTo>
                <a:cubicBezTo>
                  <a:pt x="3991097" y="1413786"/>
                  <a:pt x="3957785" y="1380440"/>
                  <a:pt x="3957586" y="1339309"/>
                </a:cubicBezTo>
                <a:close/>
                <a:moveTo>
                  <a:pt x="4032328" y="1301209"/>
                </a:moveTo>
                <a:cubicBezTo>
                  <a:pt x="4011779" y="1301496"/>
                  <a:pt x="3994393" y="1319452"/>
                  <a:pt x="3995056" y="1339685"/>
                </a:cubicBezTo>
                <a:cubicBezTo>
                  <a:pt x="3995764" y="1360626"/>
                  <a:pt x="4013084" y="1376658"/>
                  <a:pt x="4034208" y="1375907"/>
                </a:cubicBezTo>
                <a:cubicBezTo>
                  <a:pt x="4054690" y="1375177"/>
                  <a:pt x="4069908" y="1359455"/>
                  <a:pt x="4070019" y="1338911"/>
                </a:cubicBezTo>
                <a:cubicBezTo>
                  <a:pt x="4070130" y="1318081"/>
                  <a:pt x="4052987" y="1300921"/>
                  <a:pt x="4032328" y="1301209"/>
                </a:cubicBezTo>
                <a:close/>
                <a:moveTo>
                  <a:pt x="3726814" y="1555796"/>
                </a:moveTo>
                <a:cubicBezTo>
                  <a:pt x="3768156" y="1556018"/>
                  <a:pt x="3801711" y="1589143"/>
                  <a:pt x="3801976" y="1629986"/>
                </a:cubicBezTo>
                <a:cubicBezTo>
                  <a:pt x="3802241" y="1671492"/>
                  <a:pt x="3767492" y="1705944"/>
                  <a:pt x="3725664" y="1705590"/>
                </a:cubicBezTo>
                <a:cubicBezTo>
                  <a:pt x="3684544" y="1705259"/>
                  <a:pt x="3650879" y="1671757"/>
                  <a:pt x="3650724" y="1631025"/>
                </a:cubicBezTo>
                <a:cubicBezTo>
                  <a:pt x="3650569" y="1588856"/>
                  <a:pt x="3684257" y="1555553"/>
                  <a:pt x="3726814" y="1555774"/>
                </a:cubicBezTo>
                <a:close/>
                <a:moveTo>
                  <a:pt x="3726881" y="1667711"/>
                </a:moveTo>
                <a:cubicBezTo>
                  <a:pt x="3748005" y="1667379"/>
                  <a:pt x="3764351" y="1650330"/>
                  <a:pt x="3763710" y="1629256"/>
                </a:cubicBezTo>
                <a:cubicBezTo>
                  <a:pt x="3763112" y="1609399"/>
                  <a:pt x="3746655" y="1593300"/>
                  <a:pt x="3726615" y="1593013"/>
                </a:cubicBezTo>
                <a:cubicBezTo>
                  <a:pt x="3706133" y="1592703"/>
                  <a:pt x="3688393" y="1610217"/>
                  <a:pt x="3688482" y="1630627"/>
                </a:cubicBezTo>
                <a:cubicBezTo>
                  <a:pt x="3688592" y="1651303"/>
                  <a:pt x="3705889" y="1668020"/>
                  <a:pt x="3726881" y="1667711"/>
                </a:cubicBezTo>
                <a:close/>
                <a:moveTo>
                  <a:pt x="3577243" y="1846053"/>
                </a:moveTo>
                <a:cubicBezTo>
                  <a:pt x="3535504" y="1846340"/>
                  <a:pt x="3502037" y="1814033"/>
                  <a:pt x="3501418" y="1772858"/>
                </a:cubicBezTo>
                <a:cubicBezTo>
                  <a:pt x="3500776" y="1730224"/>
                  <a:pt x="3533535" y="1696745"/>
                  <a:pt x="3576248" y="1696436"/>
                </a:cubicBezTo>
                <a:cubicBezTo>
                  <a:pt x="3617633" y="1696126"/>
                  <a:pt x="3651697" y="1728853"/>
                  <a:pt x="3652427" y="1769608"/>
                </a:cubicBezTo>
                <a:cubicBezTo>
                  <a:pt x="3653179" y="1811600"/>
                  <a:pt x="3619602" y="1845765"/>
                  <a:pt x="3577265" y="1846053"/>
                </a:cubicBezTo>
                <a:close/>
                <a:moveTo>
                  <a:pt x="3614138" y="1771576"/>
                </a:moveTo>
                <a:cubicBezTo>
                  <a:pt x="3614359" y="1750613"/>
                  <a:pt x="3597527" y="1733718"/>
                  <a:pt x="3576469" y="1733829"/>
                </a:cubicBezTo>
                <a:cubicBezTo>
                  <a:pt x="3555743" y="1733917"/>
                  <a:pt x="3538291" y="1751586"/>
                  <a:pt x="3538777" y="1771952"/>
                </a:cubicBezTo>
                <a:cubicBezTo>
                  <a:pt x="3539264" y="1791677"/>
                  <a:pt x="3555831" y="1808129"/>
                  <a:pt x="3575695" y="1808615"/>
                </a:cubicBezTo>
                <a:cubicBezTo>
                  <a:pt x="3596708" y="1809146"/>
                  <a:pt x="3613895" y="1792583"/>
                  <a:pt x="3614138" y="1771598"/>
                </a:cubicBezTo>
                <a:close/>
                <a:moveTo>
                  <a:pt x="3879859" y="1554226"/>
                </a:moveTo>
                <a:cubicBezTo>
                  <a:pt x="3838473" y="1554094"/>
                  <a:pt x="3804830" y="1521035"/>
                  <a:pt x="3804542" y="1480192"/>
                </a:cubicBezTo>
                <a:cubicBezTo>
                  <a:pt x="3804232" y="1438332"/>
                  <a:pt x="3838274" y="1404521"/>
                  <a:pt x="3880633" y="1404609"/>
                </a:cubicBezTo>
                <a:cubicBezTo>
                  <a:pt x="3922107" y="1404698"/>
                  <a:pt x="3955374" y="1437580"/>
                  <a:pt x="3955662" y="1478754"/>
                </a:cubicBezTo>
                <a:cubicBezTo>
                  <a:pt x="3955949" y="1521145"/>
                  <a:pt x="3922571" y="1554381"/>
                  <a:pt x="3879859" y="1554249"/>
                </a:cubicBezTo>
                <a:close/>
                <a:moveTo>
                  <a:pt x="3879239" y="1516899"/>
                </a:moveTo>
                <a:cubicBezTo>
                  <a:pt x="3899899" y="1517497"/>
                  <a:pt x="3917882" y="1500425"/>
                  <a:pt x="3918059" y="1480015"/>
                </a:cubicBezTo>
                <a:cubicBezTo>
                  <a:pt x="3918258" y="1459251"/>
                  <a:pt x="3901182" y="1442091"/>
                  <a:pt x="3880301" y="1442069"/>
                </a:cubicBezTo>
                <a:cubicBezTo>
                  <a:pt x="3860261" y="1442047"/>
                  <a:pt x="3843671" y="1457880"/>
                  <a:pt x="3842831" y="1477848"/>
                </a:cubicBezTo>
                <a:cubicBezTo>
                  <a:pt x="3841946" y="1498634"/>
                  <a:pt x="3858403" y="1516303"/>
                  <a:pt x="3879239" y="1516899"/>
                </a:cubicBezTo>
                <a:close/>
                <a:moveTo>
                  <a:pt x="3143149" y="2697959"/>
                </a:moveTo>
                <a:cubicBezTo>
                  <a:pt x="3069514" y="2698379"/>
                  <a:pt x="2999904" y="2639846"/>
                  <a:pt x="2999550" y="2554998"/>
                </a:cubicBezTo>
                <a:cubicBezTo>
                  <a:pt x="2999241" y="2479614"/>
                  <a:pt x="3060622" y="2419776"/>
                  <a:pt x="3136447" y="2419445"/>
                </a:cubicBezTo>
                <a:cubicBezTo>
                  <a:pt x="3209928" y="2419113"/>
                  <a:pt x="3279648" y="2477602"/>
                  <a:pt x="3280091" y="2562450"/>
                </a:cubicBezTo>
                <a:cubicBezTo>
                  <a:pt x="3280467" y="2637700"/>
                  <a:pt x="3218864" y="2697870"/>
                  <a:pt x="3143149" y="2697959"/>
                </a:cubicBezTo>
                <a:close/>
                <a:moveTo>
                  <a:pt x="3242001" y="2561366"/>
                </a:moveTo>
                <a:cubicBezTo>
                  <a:pt x="3241824" y="2504337"/>
                  <a:pt x="3194975" y="2457590"/>
                  <a:pt x="3137598" y="2457170"/>
                </a:cubicBezTo>
                <a:cubicBezTo>
                  <a:pt x="3081436" y="2456749"/>
                  <a:pt x="3037375" y="2500334"/>
                  <a:pt x="3037618" y="2556059"/>
                </a:cubicBezTo>
                <a:cubicBezTo>
                  <a:pt x="3037861" y="2613907"/>
                  <a:pt x="3086236" y="2661207"/>
                  <a:pt x="3144255" y="2660300"/>
                </a:cubicBezTo>
                <a:cubicBezTo>
                  <a:pt x="3199620" y="2659416"/>
                  <a:pt x="3242178" y="2616362"/>
                  <a:pt x="3242023" y="2561366"/>
                </a:cubicBezTo>
                <a:close/>
                <a:moveTo>
                  <a:pt x="2799414" y="2612293"/>
                </a:moveTo>
                <a:cubicBezTo>
                  <a:pt x="2799613" y="2654374"/>
                  <a:pt x="2765593" y="2688273"/>
                  <a:pt x="2723544" y="2687964"/>
                </a:cubicBezTo>
                <a:cubicBezTo>
                  <a:pt x="2682358" y="2687632"/>
                  <a:pt x="2648781" y="2654263"/>
                  <a:pt x="2648626" y="2613465"/>
                </a:cubicBezTo>
                <a:cubicBezTo>
                  <a:pt x="2648471" y="2571140"/>
                  <a:pt x="2681916" y="2537993"/>
                  <a:pt x="2724584" y="2538148"/>
                </a:cubicBezTo>
                <a:cubicBezTo>
                  <a:pt x="2766146" y="2538302"/>
                  <a:pt x="2799215" y="2571074"/>
                  <a:pt x="2799414" y="2612293"/>
                </a:cubicBezTo>
                <a:close/>
                <a:moveTo>
                  <a:pt x="2761811" y="2614062"/>
                </a:moveTo>
                <a:cubicBezTo>
                  <a:pt x="2762430" y="2593718"/>
                  <a:pt x="2745288" y="2575850"/>
                  <a:pt x="2724739" y="2575408"/>
                </a:cubicBezTo>
                <a:cubicBezTo>
                  <a:pt x="2704057" y="2574944"/>
                  <a:pt x="2686760" y="2591882"/>
                  <a:pt x="2686605" y="2612779"/>
                </a:cubicBezTo>
                <a:cubicBezTo>
                  <a:pt x="2686450" y="2632725"/>
                  <a:pt x="2702310" y="2649244"/>
                  <a:pt x="2722372" y="2649995"/>
                </a:cubicBezTo>
                <a:cubicBezTo>
                  <a:pt x="2743408" y="2650814"/>
                  <a:pt x="2761214" y="2634583"/>
                  <a:pt x="2761833" y="2614062"/>
                </a:cubicBezTo>
                <a:close/>
                <a:moveTo>
                  <a:pt x="3104617" y="2314629"/>
                </a:moveTo>
                <a:cubicBezTo>
                  <a:pt x="3104175" y="2356643"/>
                  <a:pt x="3069846" y="2389481"/>
                  <a:pt x="3027222" y="2388641"/>
                </a:cubicBezTo>
                <a:cubicBezTo>
                  <a:pt x="2985947" y="2387823"/>
                  <a:pt x="2953431" y="2354233"/>
                  <a:pt x="2953852" y="2312860"/>
                </a:cubicBezTo>
                <a:cubicBezTo>
                  <a:pt x="2954272" y="2271796"/>
                  <a:pt x="2987716" y="2238759"/>
                  <a:pt x="3028991" y="2238604"/>
                </a:cubicBezTo>
                <a:cubicBezTo>
                  <a:pt x="3071040" y="2238449"/>
                  <a:pt x="3105060" y="2272658"/>
                  <a:pt x="3104617" y="2314629"/>
                </a:cubicBezTo>
                <a:close/>
                <a:moveTo>
                  <a:pt x="3066749" y="2313788"/>
                </a:moveTo>
                <a:cubicBezTo>
                  <a:pt x="3066661" y="2292825"/>
                  <a:pt x="3049806" y="2276395"/>
                  <a:pt x="3028593" y="2276638"/>
                </a:cubicBezTo>
                <a:cubicBezTo>
                  <a:pt x="3007557" y="2276882"/>
                  <a:pt x="2990968" y="2294041"/>
                  <a:pt x="2991587" y="2314894"/>
                </a:cubicBezTo>
                <a:cubicBezTo>
                  <a:pt x="2992185" y="2334707"/>
                  <a:pt x="3008752" y="2350960"/>
                  <a:pt x="3028615" y="2351204"/>
                </a:cubicBezTo>
                <a:cubicBezTo>
                  <a:pt x="3049363" y="2351469"/>
                  <a:pt x="3066838" y="2334331"/>
                  <a:pt x="3066749" y="2313788"/>
                </a:cubicBezTo>
                <a:close/>
                <a:moveTo>
                  <a:pt x="3090151" y="2175714"/>
                </a:moveTo>
                <a:cubicBezTo>
                  <a:pt x="3089709" y="2133080"/>
                  <a:pt x="3122556" y="2099844"/>
                  <a:pt x="3165247" y="2099690"/>
                </a:cubicBezTo>
                <a:cubicBezTo>
                  <a:pt x="3206654" y="2099557"/>
                  <a:pt x="3240408" y="2132284"/>
                  <a:pt x="3241006" y="2173171"/>
                </a:cubicBezTo>
                <a:cubicBezTo>
                  <a:pt x="3241603" y="2214921"/>
                  <a:pt x="3207517" y="2249417"/>
                  <a:pt x="3165556" y="2249484"/>
                </a:cubicBezTo>
                <a:cubicBezTo>
                  <a:pt x="3124171" y="2249550"/>
                  <a:pt x="3090572" y="2216668"/>
                  <a:pt x="3090129" y="2175714"/>
                </a:cubicBezTo>
                <a:close/>
                <a:moveTo>
                  <a:pt x="3165955" y="2136950"/>
                </a:moveTo>
                <a:cubicBezTo>
                  <a:pt x="3145472" y="2136618"/>
                  <a:pt x="3127688" y="2153933"/>
                  <a:pt x="3127533" y="2174387"/>
                </a:cubicBezTo>
                <a:cubicBezTo>
                  <a:pt x="3127378" y="2194709"/>
                  <a:pt x="3144985" y="2211869"/>
                  <a:pt x="3165822" y="2211714"/>
                </a:cubicBezTo>
                <a:cubicBezTo>
                  <a:pt x="3186017" y="2211560"/>
                  <a:pt x="3202186" y="2195727"/>
                  <a:pt x="3202695" y="2175604"/>
                </a:cubicBezTo>
                <a:cubicBezTo>
                  <a:pt x="3203248" y="2154486"/>
                  <a:pt x="3186902" y="2137304"/>
                  <a:pt x="3165933" y="2136972"/>
                </a:cubicBezTo>
                <a:close/>
                <a:moveTo>
                  <a:pt x="2791960" y="2474661"/>
                </a:moveTo>
                <a:cubicBezTo>
                  <a:pt x="2792468" y="2432513"/>
                  <a:pt x="2826621" y="2399653"/>
                  <a:pt x="2869179" y="2400339"/>
                </a:cubicBezTo>
                <a:cubicBezTo>
                  <a:pt x="2910608" y="2401024"/>
                  <a:pt x="2943655" y="2434548"/>
                  <a:pt x="2943256" y="2475501"/>
                </a:cubicBezTo>
                <a:cubicBezTo>
                  <a:pt x="2942836" y="2517516"/>
                  <a:pt x="2908153" y="2551039"/>
                  <a:pt x="2866126" y="2550044"/>
                </a:cubicBezTo>
                <a:cubicBezTo>
                  <a:pt x="2824741" y="2549049"/>
                  <a:pt x="2791495" y="2515260"/>
                  <a:pt x="2791960" y="2474661"/>
                </a:cubicBezTo>
                <a:close/>
                <a:moveTo>
                  <a:pt x="2868427" y="2437644"/>
                </a:moveTo>
                <a:cubicBezTo>
                  <a:pt x="2847701" y="2437135"/>
                  <a:pt x="2830160" y="2454162"/>
                  <a:pt x="2830049" y="2474882"/>
                </a:cubicBezTo>
                <a:cubicBezTo>
                  <a:pt x="2829961" y="2494872"/>
                  <a:pt x="2845798" y="2511413"/>
                  <a:pt x="2865838" y="2512275"/>
                </a:cubicBezTo>
                <a:cubicBezTo>
                  <a:pt x="2886896" y="2513182"/>
                  <a:pt x="2904570" y="2497084"/>
                  <a:pt x="2905277" y="2476319"/>
                </a:cubicBezTo>
                <a:cubicBezTo>
                  <a:pt x="2905985" y="2455489"/>
                  <a:pt x="2889462" y="2438130"/>
                  <a:pt x="2868404" y="2437621"/>
                </a:cubicBezTo>
                <a:close/>
              </a:path>
            </a:pathLst>
          </a:custGeom>
          <a:solidFill>
            <a:schemeClr val="tx2"/>
          </a:solidFill>
          <a:ln w="2209" cap="flat">
            <a:noFill/>
            <a:prstDash val="solid"/>
            <a:miter/>
          </a:ln>
        </p:spPr>
        <p:txBody>
          <a:bodyPr rtlCol="0" anchor="ctr"/>
          <a:lstStyle/>
          <a:p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181111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D18E5E-C200-FF34-060C-9F66488951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ángulo: esquinas redondeadas 4">
            <a:extLst>
              <a:ext uri="{FF2B5EF4-FFF2-40B4-BE49-F238E27FC236}">
                <a16:creationId xmlns:a16="http://schemas.microsoft.com/office/drawing/2014/main" id="{A818B1E9-FE56-55B3-2F24-16ED69CE7F96}"/>
              </a:ext>
            </a:extLst>
          </p:cNvPr>
          <p:cNvSpPr>
            <a:spLocks/>
          </p:cNvSpPr>
          <p:nvPr/>
        </p:nvSpPr>
        <p:spPr>
          <a:xfrm>
            <a:off x="3283858" y="1682803"/>
            <a:ext cx="2582627" cy="2652683"/>
          </a:xfrm>
          <a:prstGeom prst="roundRect">
            <a:avLst>
              <a:gd name="adj" fmla="val 3463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24" name="Rectángulo: esquinas redondeadas 4">
            <a:extLst>
              <a:ext uri="{FF2B5EF4-FFF2-40B4-BE49-F238E27FC236}">
                <a16:creationId xmlns:a16="http://schemas.microsoft.com/office/drawing/2014/main" id="{6932B207-2BD7-B04E-E9DF-8255A6537F8D}"/>
              </a:ext>
            </a:extLst>
          </p:cNvPr>
          <p:cNvSpPr>
            <a:spLocks/>
          </p:cNvSpPr>
          <p:nvPr/>
        </p:nvSpPr>
        <p:spPr>
          <a:xfrm>
            <a:off x="6019374" y="1682803"/>
            <a:ext cx="2582627" cy="2652683"/>
          </a:xfrm>
          <a:prstGeom prst="roundRect">
            <a:avLst>
              <a:gd name="adj" fmla="val 3463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21" name="Rectángulo: esquinas redondeadas 4">
            <a:extLst>
              <a:ext uri="{FF2B5EF4-FFF2-40B4-BE49-F238E27FC236}">
                <a16:creationId xmlns:a16="http://schemas.microsoft.com/office/drawing/2014/main" id="{5BB8ECA4-289E-FD37-05DA-656A7ADE6F04}"/>
              </a:ext>
            </a:extLst>
          </p:cNvPr>
          <p:cNvSpPr>
            <a:spLocks/>
          </p:cNvSpPr>
          <p:nvPr/>
        </p:nvSpPr>
        <p:spPr>
          <a:xfrm>
            <a:off x="3280685" y="1682804"/>
            <a:ext cx="2582627" cy="653142"/>
          </a:xfrm>
          <a:prstGeom prst="round2SameRect">
            <a:avLst>
              <a:gd name="adj1" fmla="val 13151"/>
              <a:gd name="adj2" fmla="val 0"/>
            </a:avLst>
          </a:prstGeom>
          <a:solidFill>
            <a:schemeClr val="tx2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22" name="Rectángulo: esquinas redondeadas 4">
            <a:extLst>
              <a:ext uri="{FF2B5EF4-FFF2-40B4-BE49-F238E27FC236}">
                <a16:creationId xmlns:a16="http://schemas.microsoft.com/office/drawing/2014/main" id="{3A6299B5-94D3-4D80-BB66-87AD18E57F8F}"/>
              </a:ext>
            </a:extLst>
          </p:cNvPr>
          <p:cNvSpPr>
            <a:spLocks/>
          </p:cNvSpPr>
          <p:nvPr/>
        </p:nvSpPr>
        <p:spPr>
          <a:xfrm>
            <a:off x="6020712" y="1682804"/>
            <a:ext cx="2582627" cy="653142"/>
          </a:xfrm>
          <a:prstGeom prst="round2SameRect">
            <a:avLst>
              <a:gd name="adj1" fmla="val 13151"/>
              <a:gd name="adj2" fmla="val 0"/>
            </a:avLst>
          </a:prstGeom>
          <a:solidFill>
            <a:schemeClr val="tx2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E82FC6E9-23AF-E5DD-E4A5-D9B9F7D2EFB0}"/>
              </a:ext>
            </a:extLst>
          </p:cNvPr>
          <p:cNvSpPr>
            <a:spLocks/>
          </p:cNvSpPr>
          <p:nvPr/>
        </p:nvSpPr>
        <p:spPr>
          <a:xfrm>
            <a:off x="540658" y="1682803"/>
            <a:ext cx="2582627" cy="2652683"/>
          </a:xfrm>
          <a:prstGeom prst="roundRect">
            <a:avLst>
              <a:gd name="adj" fmla="val 3463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20" name="Rectángulo: esquinas redondeadas 4">
            <a:extLst>
              <a:ext uri="{FF2B5EF4-FFF2-40B4-BE49-F238E27FC236}">
                <a16:creationId xmlns:a16="http://schemas.microsoft.com/office/drawing/2014/main" id="{BA7B973E-B76E-47AE-B082-877F532A8DE9}"/>
              </a:ext>
            </a:extLst>
          </p:cNvPr>
          <p:cNvSpPr>
            <a:spLocks/>
          </p:cNvSpPr>
          <p:nvPr/>
        </p:nvSpPr>
        <p:spPr>
          <a:xfrm>
            <a:off x="540657" y="1682804"/>
            <a:ext cx="2582627" cy="653142"/>
          </a:xfrm>
          <a:prstGeom prst="round2SameRect">
            <a:avLst>
              <a:gd name="adj1" fmla="val 13151"/>
              <a:gd name="adj2" fmla="val 0"/>
            </a:avLst>
          </a:prstGeom>
          <a:solidFill>
            <a:schemeClr val="tx2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104E28CE-4273-D273-E2C4-73E9D399EB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9" progId="TCLayout.ActiveDocument.1">
                  <p:embed/>
                </p:oleObj>
              </mc:Choice>
              <mc:Fallback>
                <p:oleObj name="Diapositiva de think-cell" r:id="rId4" imgW="378" imgH="379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4E28CE-4273-D273-E2C4-73E9D399EB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Title 1">
            <a:extLst>
              <a:ext uri="{FF2B5EF4-FFF2-40B4-BE49-F238E27FC236}">
                <a16:creationId xmlns:a16="http://schemas.microsoft.com/office/drawing/2014/main" id="{9331E265-74C0-1F1B-6812-9BF8B222DC9D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3332096" cy="769441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noProof="0">
                <a:solidFill>
                  <a:schemeClr val="tx2"/>
                </a:solidFill>
                <a:latin typeface="Pulso Light" pitchFamily="2" charset="0"/>
              </a:rPr>
              <a:t>Servicios satelitales </a:t>
            </a: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para el consumidor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C800C5-25E9-9847-6CDE-7F4C5AEF53CC}"/>
              </a:ext>
            </a:extLst>
          </p:cNvPr>
          <p:cNvSpPr txBox="1">
            <a:spLocks/>
          </p:cNvSpPr>
          <p:nvPr/>
        </p:nvSpPr>
        <p:spPr>
          <a:xfrm>
            <a:off x="749954" y="1841150"/>
            <a:ext cx="1547572" cy="338554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100" b="0" spc="0" noProof="0">
                <a:solidFill>
                  <a:srgbClr val="FFFFFF"/>
                </a:solidFill>
              </a:rPr>
              <a:t>Comunicación directa al dispositivo (D2D)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77AEC79-8D9C-6AA8-86CC-D896F7406378}"/>
              </a:ext>
            </a:extLst>
          </p:cNvPr>
          <p:cNvSpPr txBox="1">
            <a:spLocks/>
          </p:cNvSpPr>
          <p:nvPr/>
        </p:nvSpPr>
        <p:spPr>
          <a:xfrm>
            <a:off x="749954" y="2512571"/>
            <a:ext cx="2016298" cy="161582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900" b="0" spc="0" noProof="0">
                <a:solidFill>
                  <a:schemeClr val="tx2"/>
                </a:solidFill>
                <a:latin typeface="Pulso Light" pitchFamily="2" charset="0"/>
              </a:rPr>
              <a:t>Conecta teléfonos móviles de alta gama directamente a satélites</a:t>
            </a:r>
          </a:p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900" b="0" spc="0" noProof="0">
                <a:solidFill>
                  <a:schemeClr val="tx2"/>
                </a:solidFill>
                <a:latin typeface="Pulso Light" pitchFamily="2" charset="0"/>
              </a:rPr>
              <a:t>Los servicios actuales se limitan a SOS y mensajería; se están iniciando las primeras pruebas de datos</a:t>
            </a:r>
          </a:p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900" b="0" spc="0" noProof="0">
                <a:solidFill>
                  <a:schemeClr val="tx2"/>
                </a:solidFill>
                <a:latin typeface="Pulso Light" pitchFamily="2" charset="0"/>
              </a:rPr>
              <a:t>Solo funciona en exteriores con línea de visión directa</a:t>
            </a:r>
          </a:p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900" b="0" spc="0" noProof="0">
                <a:solidFill>
                  <a:schemeClr val="tx2"/>
                </a:solidFill>
                <a:latin typeface="Pulso Light" pitchFamily="2" charset="0"/>
              </a:rPr>
              <a:t>Amplía la cobertura y los servicios de emergencia en zonas remota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C490B0B-C52C-6A7D-319E-643B111647A0}"/>
              </a:ext>
            </a:extLst>
          </p:cNvPr>
          <p:cNvSpPr txBox="1">
            <a:spLocks/>
          </p:cNvSpPr>
          <p:nvPr/>
        </p:nvSpPr>
        <p:spPr>
          <a:xfrm>
            <a:off x="3489982" y="1841150"/>
            <a:ext cx="1450852" cy="338554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100" b="0" spc="0" noProof="0">
                <a:solidFill>
                  <a:srgbClr val="FFFFFF"/>
                </a:solidFill>
              </a:rPr>
              <a:t>Banda ancha hasta el hogar (BTH)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2ACED3B-2827-498C-DABB-356C0359F95B}"/>
              </a:ext>
            </a:extLst>
          </p:cNvPr>
          <p:cNvSpPr txBox="1">
            <a:spLocks/>
          </p:cNvSpPr>
          <p:nvPr/>
        </p:nvSpPr>
        <p:spPr>
          <a:xfrm>
            <a:off x="3489982" y="2512571"/>
            <a:ext cx="2016298" cy="161582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900" b="0" spc="0" noProof="0">
                <a:solidFill>
                  <a:schemeClr val="tx2"/>
                </a:solidFill>
                <a:latin typeface="Pulso Light" pitchFamily="2" charset="0"/>
              </a:rPr>
              <a:t>Terminales de usuario dedicadas para hogares o pequeñas instalaciones</a:t>
            </a:r>
          </a:p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900" b="0" spc="0" noProof="0">
                <a:solidFill>
                  <a:schemeClr val="tx2"/>
                </a:solidFill>
                <a:latin typeface="Pulso Light" pitchFamily="2" charset="0"/>
              </a:rPr>
              <a:t>Funciona mejor en zonas rurales o remotas de baja densidad</a:t>
            </a:r>
          </a:p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900" b="0" spc="0" noProof="0">
                <a:solidFill>
                  <a:schemeClr val="tx2"/>
                </a:solidFill>
                <a:latin typeface="Pulso Light" pitchFamily="2" charset="0"/>
              </a:rPr>
              <a:t>Actualmente solo cubre una pequeña parte de los hogares</a:t>
            </a:r>
          </a:p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900" b="0" spc="0" noProof="0">
                <a:solidFill>
                  <a:schemeClr val="tx2"/>
                </a:solidFill>
                <a:latin typeface="Pulso Light" pitchFamily="2" charset="0"/>
              </a:rPr>
              <a:t>No es escalable para zonas densamente pobladas: capacidad total y espectro por haz limitado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ABB45A3-DABD-5A7D-3CE7-BBD6F8B03989}"/>
              </a:ext>
            </a:extLst>
          </p:cNvPr>
          <p:cNvSpPr txBox="1">
            <a:spLocks/>
          </p:cNvSpPr>
          <p:nvPr/>
        </p:nvSpPr>
        <p:spPr>
          <a:xfrm>
            <a:off x="6230010" y="1917990"/>
            <a:ext cx="1547572" cy="16927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100" b="0" spc="0" noProof="0" err="1">
                <a:solidFill>
                  <a:srgbClr val="FFFFFF"/>
                </a:solidFill>
              </a:rPr>
              <a:t>Wi</a:t>
            </a:r>
            <a:r>
              <a:rPr lang="es-ES_tradnl" sz="1100" b="0" spc="0" noProof="0">
                <a:solidFill>
                  <a:srgbClr val="FFFFFF"/>
                </a:solidFill>
              </a:rPr>
              <a:t>-Fi vía satélit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DFC6ABA-9137-EE2B-F4BB-8950FDF8CADF}"/>
              </a:ext>
            </a:extLst>
          </p:cNvPr>
          <p:cNvSpPr txBox="1">
            <a:spLocks/>
          </p:cNvSpPr>
          <p:nvPr/>
        </p:nvSpPr>
        <p:spPr>
          <a:xfrm>
            <a:off x="6230010" y="2512571"/>
            <a:ext cx="2099482" cy="161582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900" b="0" spc="0" noProof="0">
                <a:solidFill>
                  <a:schemeClr val="tx2"/>
                </a:solidFill>
                <a:latin typeface="Pulso Light" pitchFamily="2" charset="0"/>
              </a:rPr>
              <a:t>Enlaces satelitales utilizados para </a:t>
            </a:r>
            <a:r>
              <a:rPr lang="es-ES_tradnl" sz="900" b="0" spc="0" noProof="0" err="1">
                <a:solidFill>
                  <a:schemeClr val="tx2"/>
                </a:solidFill>
                <a:latin typeface="Pulso Light" pitchFamily="2" charset="0"/>
              </a:rPr>
              <a:t>Wi</a:t>
            </a:r>
            <a:r>
              <a:rPr lang="es-ES_tradnl" sz="900" b="0" spc="0" noProof="0">
                <a:solidFill>
                  <a:schemeClr val="tx2"/>
                </a:solidFill>
                <a:latin typeface="Pulso Light" pitchFamily="2" charset="0"/>
              </a:rPr>
              <a:t>-Fi comunitario compartido, por ejemplo Escuelas e iglesias</a:t>
            </a:r>
          </a:p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900" b="0" spc="0" noProof="0">
                <a:solidFill>
                  <a:schemeClr val="tx2"/>
                </a:solidFill>
                <a:latin typeface="Pulso Light" pitchFamily="2" charset="0"/>
              </a:rPr>
              <a:t>Se suele implementar donde la cobertura móvil o de fibra óptica es inexistente o poco fiable</a:t>
            </a:r>
          </a:p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900" b="0" spc="0" noProof="0">
                <a:solidFill>
                  <a:schemeClr val="tx2"/>
                </a:solidFill>
                <a:latin typeface="Pulso Light" pitchFamily="2" charset="0"/>
              </a:rPr>
              <a:t>No ofrece la comodidad del uso doméstico ni la movilidad</a:t>
            </a:r>
          </a:p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900" b="0" spc="0" noProof="0">
                <a:solidFill>
                  <a:schemeClr val="tx2"/>
                </a:solidFill>
                <a:latin typeface="Pulso Light" pitchFamily="2" charset="0"/>
              </a:rPr>
              <a:t>Se aplica principalmente en entornos en desarrollo y zonas de bajos 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A150A7B3-860E-B133-9807-15A259987B0C}"/>
              </a:ext>
            </a:extLst>
          </p:cNvPr>
          <p:cNvSpPr txBox="1"/>
          <p:nvPr/>
        </p:nvSpPr>
        <p:spPr>
          <a:xfrm>
            <a:off x="7707264" y="4518191"/>
            <a:ext cx="896079" cy="9233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65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" panose="02000000000000000000" pitchFamily="2" charset="0"/>
              </a:defRPr>
            </a:lvl1pPr>
          </a:lstStyle>
          <a:p>
            <a:pPr>
              <a:spcAft>
                <a:spcPts val="200"/>
              </a:spcAft>
            </a:pPr>
            <a:r>
              <a:rPr lang="es-AR" sz="600">
                <a:latin typeface="Pulso Light" pitchFamily="2" charset="0"/>
              </a:rPr>
              <a:t>Fuente: GSMA </a:t>
            </a:r>
            <a:r>
              <a:rPr lang="es-AR" sz="600" err="1">
                <a:latin typeface="Pulso Light" pitchFamily="2" charset="0"/>
              </a:rPr>
              <a:t>Intelligence</a:t>
            </a:r>
            <a:endParaRPr lang="es-AR" sz="600">
              <a:solidFill>
                <a:srgbClr val="24272A">
                  <a:lumMod val="75000"/>
                  <a:lumOff val="25000"/>
                </a:srgbClr>
              </a:solidFill>
              <a:latin typeface="Pulso Light" pitchFamily="2" charset="0"/>
              <a:cs typeface="Open Sans Light" panose="020B0306030504020204" pitchFamily="34" charset="0"/>
            </a:endParaRP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FC9370B6-DCDF-99DF-EDC2-A2F546A1E6D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99440" y="1844204"/>
            <a:ext cx="169372" cy="330344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5DC0C978-4F8C-51A8-322E-3699F06052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166334" y="1830905"/>
            <a:ext cx="202966" cy="356940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7747941B-7BD4-0C2B-B34D-DCC86F750C0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16457" y="1842104"/>
            <a:ext cx="426930" cy="334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721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DAD737-4736-063F-A7A5-E8CCF48344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9CE88A3E-E558-27E0-49A6-EC205DFFCB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9" progId="TCLayout.ActiveDocument.1">
                  <p:embed/>
                </p:oleObj>
              </mc:Choice>
              <mc:Fallback>
                <p:oleObj name="Diapositiva de think-cell" r:id="rId4" imgW="378" imgH="379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E88A3E-E558-27E0-49A6-EC205DFFCB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Title 1">
            <a:extLst>
              <a:ext uri="{FF2B5EF4-FFF2-40B4-BE49-F238E27FC236}">
                <a16:creationId xmlns:a16="http://schemas.microsoft.com/office/drawing/2014/main" id="{372FF880-0BE7-D851-ACB5-7196E787473B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2845010" cy="769441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noProof="0">
                <a:solidFill>
                  <a:schemeClr val="tx2"/>
                </a:solidFill>
                <a:latin typeface="Pulso Light" pitchFamily="2" charset="0"/>
              </a:rPr>
              <a:t>Espectro D2D:</a:t>
            </a:r>
            <a:br>
              <a:rPr lang="es-ES_tradnl" sz="2600" b="0" noProof="0">
                <a:solidFill>
                  <a:schemeClr val="tx2"/>
                </a:solidFill>
                <a:latin typeface="Pulso Light" pitchFamily="2" charset="0"/>
              </a:rPr>
            </a:b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¿Qué ha cambiado?</a:t>
            </a:r>
          </a:p>
        </p:txBody>
      </p:sp>
      <p:sp>
        <p:nvSpPr>
          <p:cNvPr id="20" name="Rectángulo: esquinas redondeadas 4">
            <a:extLst>
              <a:ext uri="{FF2B5EF4-FFF2-40B4-BE49-F238E27FC236}">
                <a16:creationId xmlns:a16="http://schemas.microsoft.com/office/drawing/2014/main" id="{D3AA9355-1351-BA81-A41C-5954F2B3F257}"/>
              </a:ext>
            </a:extLst>
          </p:cNvPr>
          <p:cNvSpPr>
            <a:spLocks/>
          </p:cNvSpPr>
          <p:nvPr/>
        </p:nvSpPr>
        <p:spPr>
          <a:xfrm>
            <a:off x="4571330" y="1682803"/>
            <a:ext cx="2015337" cy="2652683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21" name="Rectángulo: esquinas redondeadas 4">
            <a:extLst>
              <a:ext uri="{FF2B5EF4-FFF2-40B4-BE49-F238E27FC236}">
                <a16:creationId xmlns:a16="http://schemas.microsoft.com/office/drawing/2014/main" id="{6A4ACE72-6D05-BD4D-B8C2-839EE5470F2E}"/>
              </a:ext>
            </a:extLst>
          </p:cNvPr>
          <p:cNvSpPr>
            <a:spLocks/>
          </p:cNvSpPr>
          <p:nvPr/>
        </p:nvSpPr>
        <p:spPr>
          <a:xfrm>
            <a:off x="2555994" y="1682803"/>
            <a:ext cx="2015337" cy="2652683"/>
          </a:xfrm>
          <a:prstGeom prst="rect">
            <a:avLst/>
          </a:prstGeom>
          <a:solidFill>
            <a:srgbClr val="059BCE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22" name="Rectángulo: esquinas redondeadas 4">
            <a:extLst>
              <a:ext uri="{FF2B5EF4-FFF2-40B4-BE49-F238E27FC236}">
                <a16:creationId xmlns:a16="http://schemas.microsoft.com/office/drawing/2014/main" id="{7E84D8D1-80DF-7922-8951-31752841A4DF}"/>
              </a:ext>
            </a:extLst>
          </p:cNvPr>
          <p:cNvSpPr>
            <a:spLocks/>
          </p:cNvSpPr>
          <p:nvPr/>
        </p:nvSpPr>
        <p:spPr>
          <a:xfrm rot="16200000">
            <a:off x="221985" y="2001473"/>
            <a:ext cx="2652684" cy="2015340"/>
          </a:xfrm>
          <a:prstGeom prst="round2SameRect">
            <a:avLst>
              <a:gd name="adj1" fmla="val 4847"/>
              <a:gd name="adj2" fmla="val 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24" name="Rectángulo: esquinas redondeadas 4">
            <a:extLst>
              <a:ext uri="{FF2B5EF4-FFF2-40B4-BE49-F238E27FC236}">
                <a16:creationId xmlns:a16="http://schemas.microsoft.com/office/drawing/2014/main" id="{1AF73382-1674-90AC-DC9C-B2227E0A996F}"/>
              </a:ext>
            </a:extLst>
          </p:cNvPr>
          <p:cNvSpPr>
            <a:spLocks/>
          </p:cNvSpPr>
          <p:nvPr/>
        </p:nvSpPr>
        <p:spPr>
          <a:xfrm rot="5400000">
            <a:off x="6267986" y="2001478"/>
            <a:ext cx="2652684" cy="2015340"/>
          </a:xfrm>
          <a:prstGeom prst="round2SameRect">
            <a:avLst>
              <a:gd name="adj1" fmla="val 4847"/>
              <a:gd name="adj2" fmla="val 0"/>
            </a:avLst>
          </a:prstGeom>
          <a:solidFill>
            <a:schemeClr val="tx2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D12AEDD2-68D0-78E9-30F4-DC848617AA4C}"/>
              </a:ext>
            </a:extLst>
          </p:cNvPr>
          <p:cNvSpPr txBox="1">
            <a:spLocks/>
          </p:cNvSpPr>
          <p:nvPr/>
        </p:nvSpPr>
        <p:spPr>
          <a:xfrm>
            <a:off x="834479" y="1887255"/>
            <a:ext cx="208390" cy="55399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3600" b="0" spc="0" noProof="0">
                <a:solidFill>
                  <a:srgbClr val="FFFFFF"/>
                </a:solidFill>
                <a:latin typeface="Pulso Light" pitchFamily="2" charset="0"/>
              </a:rPr>
              <a:t>1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AD4DD66-4635-80DE-3C73-B951CBA72C66}"/>
              </a:ext>
            </a:extLst>
          </p:cNvPr>
          <p:cNvSpPr txBox="1">
            <a:spLocks/>
          </p:cNvSpPr>
          <p:nvPr/>
        </p:nvSpPr>
        <p:spPr>
          <a:xfrm>
            <a:off x="834480" y="3100751"/>
            <a:ext cx="1339182" cy="846386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es-ES_tradnl" sz="1100" b="0" spc="0" noProof="0">
                <a:solidFill>
                  <a:srgbClr val="FFFFFF"/>
                </a:solidFill>
                <a:latin typeface="Pulso Light" pitchFamily="2" charset="0"/>
              </a:rPr>
              <a:t>Adquisición de espectro satelital tras las primeras pruebas en bandas móviles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A15C270B-B859-6AFA-9D58-3F5123FF33F2}"/>
              </a:ext>
            </a:extLst>
          </p:cNvPr>
          <p:cNvSpPr txBox="1">
            <a:spLocks/>
          </p:cNvSpPr>
          <p:nvPr/>
        </p:nvSpPr>
        <p:spPr>
          <a:xfrm>
            <a:off x="834479" y="2505612"/>
            <a:ext cx="1339182" cy="43088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400" b="0" spc="0" noProof="0">
                <a:solidFill>
                  <a:srgbClr val="FFFFFF"/>
                </a:solidFill>
              </a:rPr>
              <a:t>SpaceX y </a:t>
            </a:r>
            <a:r>
              <a:rPr lang="es-ES_tradnl" sz="1400" b="0" spc="0" noProof="0" err="1">
                <a:solidFill>
                  <a:srgbClr val="FFFFFF"/>
                </a:solidFill>
              </a:rPr>
              <a:t>Echostar</a:t>
            </a:r>
            <a:endParaRPr lang="es-ES_tradnl" sz="1400" b="0" spc="0" noProof="0">
              <a:solidFill>
                <a:srgbClr val="FFFFFF"/>
              </a:solidFill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261FD610-EA37-6122-6827-05A5517537FF}"/>
              </a:ext>
            </a:extLst>
          </p:cNvPr>
          <p:cNvSpPr txBox="1">
            <a:spLocks/>
          </p:cNvSpPr>
          <p:nvPr/>
        </p:nvSpPr>
        <p:spPr>
          <a:xfrm>
            <a:off x="2849816" y="1887255"/>
            <a:ext cx="277320" cy="55399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3600" b="0" spc="0" noProof="0">
                <a:solidFill>
                  <a:srgbClr val="FFFFFF"/>
                </a:solidFill>
                <a:latin typeface="Pulso Light" pitchFamily="2" charset="0"/>
              </a:rPr>
              <a:t>2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9D874925-7CAE-9E4C-832E-C9251F575C6D}"/>
              </a:ext>
            </a:extLst>
          </p:cNvPr>
          <p:cNvSpPr txBox="1">
            <a:spLocks/>
          </p:cNvSpPr>
          <p:nvPr/>
        </p:nvSpPr>
        <p:spPr>
          <a:xfrm>
            <a:off x="2849817" y="3100751"/>
            <a:ext cx="1339182" cy="846386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es-ES_tradnl" sz="1100" b="0" spc="0" noProof="0">
                <a:solidFill>
                  <a:srgbClr val="FFFFFF"/>
                </a:solidFill>
                <a:latin typeface="Pulso Light" pitchFamily="2" charset="0"/>
              </a:rPr>
              <a:t>Adquisición de espectro satelital tras las primeras pruebas en bandas móviles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63EECC3-1B3C-9E22-1CAE-DE837363DD6A}"/>
              </a:ext>
            </a:extLst>
          </p:cNvPr>
          <p:cNvSpPr txBox="1">
            <a:spLocks/>
          </p:cNvSpPr>
          <p:nvPr/>
        </p:nvSpPr>
        <p:spPr>
          <a:xfrm>
            <a:off x="2849816" y="2505612"/>
            <a:ext cx="1339182" cy="43088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400" b="0" spc="0" noProof="0">
                <a:solidFill>
                  <a:srgbClr val="FFFFFF"/>
                </a:solidFill>
              </a:rPr>
              <a:t>AST y Ligado Networks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AEC35270-2DEE-EA71-9C99-864E0714D6ED}"/>
              </a:ext>
            </a:extLst>
          </p:cNvPr>
          <p:cNvSpPr txBox="1">
            <a:spLocks/>
          </p:cNvSpPr>
          <p:nvPr/>
        </p:nvSpPr>
        <p:spPr>
          <a:xfrm>
            <a:off x="4865144" y="1887255"/>
            <a:ext cx="277320" cy="55399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3600" b="0" spc="0" noProof="0">
                <a:solidFill>
                  <a:srgbClr val="FFFFFF"/>
                </a:solidFill>
                <a:latin typeface="Pulso Light" pitchFamily="2" charset="0"/>
              </a:rPr>
              <a:t>3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129D9E2A-B29D-0CA1-26CB-AF5ACCDD2783}"/>
              </a:ext>
            </a:extLst>
          </p:cNvPr>
          <p:cNvSpPr txBox="1">
            <a:spLocks/>
          </p:cNvSpPr>
          <p:nvPr/>
        </p:nvSpPr>
        <p:spPr>
          <a:xfrm>
            <a:off x="4865145" y="3100751"/>
            <a:ext cx="1339182" cy="948978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es-ES_tradnl" sz="1100" b="0" spc="0" noProof="0">
                <a:solidFill>
                  <a:srgbClr val="FFFFFF"/>
                </a:solidFill>
                <a:latin typeface="Pulso Light" pitchFamily="2" charset="0"/>
              </a:rPr>
              <a:t>Desarrollo de una red con capacidad D2D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es-ES_tradnl" sz="1100" b="0" spc="0" noProof="0">
                <a:solidFill>
                  <a:srgbClr val="FFFFFF"/>
                </a:solidFill>
                <a:latin typeface="Pulso Light" pitchFamily="2" charset="0"/>
              </a:rPr>
              <a:t>Uso continuado del espectro satelital de </a:t>
            </a:r>
            <a:r>
              <a:rPr lang="es-ES_tradnl" sz="1100" b="0" spc="0" noProof="0" err="1">
                <a:solidFill>
                  <a:srgbClr val="FFFFFF"/>
                </a:solidFill>
                <a:latin typeface="Pulso Light" pitchFamily="2" charset="0"/>
              </a:rPr>
              <a:t>Viasat</a:t>
            </a:r>
            <a:endParaRPr lang="es-ES_tradnl" sz="1100" b="0" spc="0" noProof="0">
              <a:solidFill>
                <a:srgbClr val="FFFFFF"/>
              </a:solidFill>
              <a:latin typeface="Pulso Light" pitchFamily="2" charset="0"/>
            </a:endParaRP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8B77F3C4-848D-409E-6B0E-ABEB8A7C287A}"/>
              </a:ext>
            </a:extLst>
          </p:cNvPr>
          <p:cNvSpPr txBox="1">
            <a:spLocks/>
          </p:cNvSpPr>
          <p:nvPr/>
        </p:nvSpPr>
        <p:spPr>
          <a:xfrm>
            <a:off x="4865144" y="2505612"/>
            <a:ext cx="1339182" cy="43088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400" b="0" spc="0" noProof="0" err="1">
                <a:solidFill>
                  <a:srgbClr val="FFFFFF"/>
                </a:solidFill>
              </a:rPr>
              <a:t>Viasat</a:t>
            </a:r>
            <a:r>
              <a:rPr lang="es-ES_tradnl" sz="1400" b="0" spc="0" noProof="0">
                <a:solidFill>
                  <a:srgbClr val="FFFFFF"/>
                </a:solidFill>
              </a:rPr>
              <a:t> y Space42</a:t>
            </a:r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2F8CA0E4-AD94-6385-8DAF-97BCF965E554}"/>
              </a:ext>
            </a:extLst>
          </p:cNvPr>
          <p:cNvSpPr txBox="1">
            <a:spLocks/>
          </p:cNvSpPr>
          <p:nvPr/>
        </p:nvSpPr>
        <p:spPr>
          <a:xfrm>
            <a:off x="6880477" y="1887255"/>
            <a:ext cx="290144" cy="55399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3600" b="0" spc="0" noProof="0">
                <a:solidFill>
                  <a:srgbClr val="FFFFFF"/>
                </a:solidFill>
                <a:latin typeface="Pulso Light" pitchFamily="2" charset="0"/>
              </a:rPr>
              <a:t>4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96720648-AA0F-238A-A19F-6C2CAB594B30}"/>
              </a:ext>
            </a:extLst>
          </p:cNvPr>
          <p:cNvSpPr txBox="1">
            <a:spLocks/>
          </p:cNvSpPr>
          <p:nvPr/>
        </p:nvSpPr>
        <p:spPr>
          <a:xfrm>
            <a:off x="6880478" y="3100751"/>
            <a:ext cx="1339182" cy="779701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es-ES_tradnl" sz="1100" b="0" spc="0" noProof="0">
                <a:solidFill>
                  <a:srgbClr val="FFFFFF"/>
                </a:solidFill>
                <a:latin typeface="Pulso Light" pitchFamily="2" charset="0"/>
              </a:rPr>
              <a:t>Inversión en segunda generación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es-ES_tradnl" sz="1100" b="0" spc="0" noProof="0">
                <a:solidFill>
                  <a:srgbClr val="FFFFFF"/>
                </a:solidFill>
                <a:latin typeface="Pulso Light" pitchFamily="2" charset="0"/>
              </a:rPr>
              <a:t>Uso continuado del espectro satelital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88D8F56-8395-C29A-7366-062E9B9CD0D0}"/>
              </a:ext>
            </a:extLst>
          </p:cNvPr>
          <p:cNvSpPr txBox="1">
            <a:spLocks/>
          </p:cNvSpPr>
          <p:nvPr/>
        </p:nvSpPr>
        <p:spPr>
          <a:xfrm>
            <a:off x="6880477" y="2505612"/>
            <a:ext cx="1339182" cy="43088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400" b="0" spc="0" noProof="0">
                <a:solidFill>
                  <a:srgbClr val="FFFFFF"/>
                </a:solidFill>
              </a:rPr>
              <a:t>Apple y </a:t>
            </a:r>
            <a:r>
              <a:rPr lang="es-ES_tradnl" sz="1400" b="0" spc="0" noProof="0" err="1">
                <a:solidFill>
                  <a:srgbClr val="FFFFFF"/>
                </a:solidFill>
              </a:rPr>
              <a:t>Globalstar</a:t>
            </a:r>
            <a:endParaRPr lang="es-ES_tradnl" sz="1400" b="0" spc="0" noProof="0">
              <a:solidFill>
                <a:srgbClr val="FFFFFF"/>
              </a:solidFill>
            </a:endParaRP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038E3B14-D83E-C2CD-CC96-D2A3B721F716}"/>
              </a:ext>
            </a:extLst>
          </p:cNvPr>
          <p:cNvSpPr txBox="1"/>
          <p:nvPr/>
        </p:nvSpPr>
        <p:spPr>
          <a:xfrm>
            <a:off x="7707264" y="4518191"/>
            <a:ext cx="896079" cy="9233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65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" panose="02000000000000000000" pitchFamily="2" charset="0"/>
              </a:defRPr>
            </a:lvl1pPr>
          </a:lstStyle>
          <a:p>
            <a:pPr>
              <a:spcAft>
                <a:spcPts val="200"/>
              </a:spcAft>
            </a:pPr>
            <a:r>
              <a:rPr lang="es-AR" sz="600">
                <a:latin typeface="Pulso Light" pitchFamily="2" charset="0"/>
              </a:rPr>
              <a:t>Fuente: GSMA </a:t>
            </a:r>
            <a:r>
              <a:rPr lang="es-AR" sz="600" err="1">
                <a:latin typeface="Pulso Light" pitchFamily="2" charset="0"/>
              </a:rPr>
              <a:t>Intelligence</a:t>
            </a:r>
            <a:endParaRPr lang="es-AR" sz="600">
              <a:solidFill>
                <a:srgbClr val="24272A">
                  <a:lumMod val="75000"/>
                  <a:lumOff val="25000"/>
                </a:srgbClr>
              </a:solidFill>
              <a:latin typeface="Pulso Light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1382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DC6176-B65B-6B29-FD83-4417696DE3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upo 19">
            <a:extLst>
              <a:ext uri="{FF2B5EF4-FFF2-40B4-BE49-F238E27FC236}">
                <a16:creationId xmlns:a16="http://schemas.microsoft.com/office/drawing/2014/main" id="{BC9A43B1-EE60-203E-8B7E-110AAE9D65E1}"/>
              </a:ext>
            </a:extLst>
          </p:cNvPr>
          <p:cNvGrpSpPr/>
          <p:nvPr/>
        </p:nvGrpSpPr>
        <p:grpSpPr>
          <a:xfrm>
            <a:off x="450852" y="3494571"/>
            <a:ext cx="8242296" cy="209760"/>
            <a:chOff x="508522" y="3494571"/>
            <a:chExt cx="8015264" cy="209760"/>
          </a:xfrm>
        </p:grpSpPr>
        <p:sp>
          <p:nvSpPr>
            <p:cNvPr id="14" name="Redondear rectángulo de esquina del mismo lado 53">
              <a:extLst>
                <a:ext uri="{FF2B5EF4-FFF2-40B4-BE49-F238E27FC236}">
                  <a16:creationId xmlns:a16="http://schemas.microsoft.com/office/drawing/2014/main" id="{43920FAC-1886-BE41-9B4C-FA5DBE87AF7F}"/>
                </a:ext>
              </a:extLst>
            </p:cNvPr>
            <p:cNvSpPr/>
            <p:nvPr/>
          </p:nvSpPr>
          <p:spPr>
            <a:xfrm rot="5400000">
              <a:off x="6407053" y="1587598"/>
              <a:ext cx="209760" cy="402370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40000">
                  <a:srgbClr val="FFFFFF"/>
                </a:gs>
                <a:gs pos="100000">
                  <a:srgbClr val="F0F0F0">
                    <a:alpha val="0"/>
                  </a:srgbClr>
                </a:gs>
              </a:gsLst>
              <a:lin ang="5400000" scaled="0"/>
            </a:gra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s-AR" sz="825" b="1">
                <a:solidFill>
                  <a:schemeClr val="tx1"/>
                </a:solidFill>
              </a:endParaRPr>
            </a:p>
          </p:txBody>
        </p:sp>
        <p:sp>
          <p:nvSpPr>
            <p:cNvPr id="15" name="Redondear rectángulo de esquina del mismo lado 53">
              <a:extLst>
                <a:ext uri="{FF2B5EF4-FFF2-40B4-BE49-F238E27FC236}">
                  <a16:creationId xmlns:a16="http://schemas.microsoft.com/office/drawing/2014/main" id="{51E4334B-284A-9A3C-1417-626D78616FB2}"/>
                </a:ext>
              </a:extLst>
            </p:cNvPr>
            <p:cNvSpPr/>
            <p:nvPr/>
          </p:nvSpPr>
          <p:spPr>
            <a:xfrm rot="16200000">
              <a:off x="2415495" y="1587598"/>
              <a:ext cx="209760" cy="402370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40000">
                  <a:srgbClr val="FFFFFF"/>
                </a:gs>
                <a:gs pos="100000">
                  <a:srgbClr val="F0F0F0">
                    <a:alpha val="0"/>
                  </a:srgbClr>
                </a:gs>
              </a:gsLst>
              <a:lin ang="5400000" scaled="0"/>
            </a:gra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s-AR" sz="825" b="1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46CE90DD-9C0D-3847-9489-CE184BD34B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9" progId="TCLayout.ActiveDocument.1">
                  <p:embed/>
                </p:oleObj>
              </mc:Choice>
              <mc:Fallback>
                <p:oleObj name="Diapositiva de think-cell" r:id="rId4" imgW="378" imgH="379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CE90DD-9C0D-3847-9489-CE184BD34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Title 1">
            <a:extLst>
              <a:ext uri="{FF2B5EF4-FFF2-40B4-BE49-F238E27FC236}">
                <a16:creationId xmlns:a16="http://schemas.microsoft.com/office/drawing/2014/main" id="{0486B832-1775-B4BE-6E64-200E30B2BC83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3602848" cy="769441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noProof="0">
                <a:solidFill>
                  <a:schemeClr val="tx2"/>
                </a:solidFill>
                <a:latin typeface="Pulso Light" pitchFamily="2" charset="0"/>
              </a:rPr>
              <a:t>Capacidades teóricas </a:t>
            </a: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máximas de D2D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15E131D7-9934-909F-D5B1-9E3E6898F807}"/>
              </a:ext>
            </a:extLst>
          </p:cNvPr>
          <p:cNvSpPr txBox="1"/>
          <p:nvPr/>
        </p:nvSpPr>
        <p:spPr>
          <a:xfrm>
            <a:off x="7707264" y="4518191"/>
            <a:ext cx="896079" cy="9233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65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" panose="02000000000000000000" pitchFamily="2" charset="0"/>
              </a:defRPr>
            </a:lvl1pPr>
          </a:lstStyle>
          <a:p>
            <a:pPr>
              <a:spcAft>
                <a:spcPts val="200"/>
              </a:spcAft>
            </a:pPr>
            <a:r>
              <a:rPr lang="es-AR" sz="600">
                <a:latin typeface="Pulso Light" pitchFamily="2" charset="0"/>
              </a:rPr>
              <a:t>Fuente: GSMA </a:t>
            </a:r>
            <a:r>
              <a:rPr lang="es-AR" sz="600" err="1">
                <a:latin typeface="Pulso Light" pitchFamily="2" charset="0"/>
              </a:rPr>
              <a:t>Intelligence</a:t>
            </a:r>
            <a:endParaRPr lang="es-AR" sz="600">
              <a:solidFill>
                <a:srgbClr val="24272A">
                  <a:lumMod val="75000"/>
                  <a:lumOff val="25000"/>
                </a:srgbClr>
              </a:solidFill>
              <a:latin typeface="Pulso Light" pitchFamily="2" charset="0"/>
              <a:cs typeface="Open Sans Light" panose="020B0306030504020204" pitchFamily="34" charset="0"/>
            </a:endParaRPr>
          </a:p>
        </p:txBody>
      </p:sp>
      <p:grpSp>
        <p:nvGrpSpPr>
          <p:cNvPr id="48" name="Grupo 47">
            <a:extLst>
              <a:ext uri="{FF2B5EF4-FFF2-40B4-BE49-F238E27FC236}">
                <a16:creationId xmlns:a16="http://schemas.microsoft.com/office/drawing/2014/main" id="{B79336D9-6A60-27C8-AF8E-8ABE06402CBE}"/>
              </a:ext>
            </a:extLst>
          </p:cNvPr>
          <p:cNvGrpSpPr/>
          <p:nvPr/>
        </p:nvGrpSpPr>
        <p:grpSpPr>
          <a:xfrm>
            <a:off x="540658" y="2290907"/>
            <a:ext cx="7983141" cy="1382067"/>
            <a:chOff x="540658" y="2313959"/>
            <a:chExt cx="7983141" cy="1382067"/>
          </a:xfrm>
        </p:grpSpPr>
        <p:grpSp>
          <p:nvGrpSpPr>
            <p:cNvPr id="47" name="Grupo 46">
              <a:extLst>
                <a:ext uri="{FF2B5EF4-FFF2-40B4-BE49-F238E27FC236}">
                  <a16:creationId xmlns:a16="http://schemas.microsoft.com/office/drawing/2014/main" id="{E39DB7C1-7C82-17EE-2F09-565630134A73}"/>
                </a:ext>
              </a:extLst>
            </p:cNvPr>
            <p:cNvGrpSpPr/>
            <p:nvPr/>
          </p:nvGrpSpPr>
          <p:grpSpPr>
            <a:xfrm>
              <a:off x="540658" y="2313959"/>
              <a:ext cx="3499480" cy="1382067"/>
              <a:chOff x="540658" y="2313959"/>
              <a:chExt cx="3499480" cy="1382067"/>
            </a:xfrm>
          </p:grpSpPr>
          <p:graphicFrame>
            <p:nvGraphicFramePr>
              <p:cNvPr id="4" name="Gráfico 3">
                <a:extLst>
                  <a:ext uri="{FF2B5EF4-FFF2-40B4-BE49-F238E27FC236}">
                    <a16:creationId xmlns:a16="http://schemas.microsoft.com/office/drawing/2014/main" id="{8C373B40-874D-E711-33BD-7D06A5D6DF6E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218030998"/>
                  </p:ext>
                </p:extLst>
              </p:nvPr>
            </p:nvGraphicFramePr>
            <p:xfrm>
              <a:off x="540658" y="2893445"/>
              <a:ext cx="1671855" cy="80258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6"/>
              </a:graphicData>
            </a:graphic>
          </p:graphicFrame>
          <p:graphicFrame>
            <p:nvGraphicFramePr>
              <p:cNvPr id="16" name="Gráfico 15">
                <a:extLst>
                  <a:ext uri="{FF2B5EF4-FFF2-40B4-BE49-F238E27FC236}">
                    <a16:creationId xmlns:a16="http://schemas.microsoft.com/office/drawing/2014/main" id="{C5B726DC-CF38-FAD2-CB13-4FA3913E53C8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160847557"/>
                  </p:ext>
                </p:extLst>
              </p:nvPr>
            </p:nvGraphicFramePr>
            <p:xfrm>
              <a:off x="2368283" y="2313959"/>
              <a:ext cx="1671855" cy="138206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7"/>
              </a:graphicData>
            </a:graphic>
          </p:graphicFrame>
        </p:grpSp>
        <p:grpSp>
          <p:nvGrpSpPr>
            <p:cNvPr id="46" name="Grupo 45">
              <a:extLst>
                <a:ext uri="{FF2B5EF4-FFF2-40B4-BE49-F238E27FC236}">
                  <a16:creationId xmlns:a16="http://schemas.microsoft.com/office/drawing/2014/main" id="{7887D8EC-5E9E-9D22-F6B5-44FF0D36872E}"/>
                </a:ext>
              </a:extLst>
            </p:cNvPr>
            <p:cNvGrpSpPr/>
            <p:nvPr/>
          </p:nvGrpSpPr>
          <p:grpSpPr>
            <a:xfrm>
              <a:off x="5016367" y="2321643"/>
              <a:ext cx="3507432" cy="1374382"/>
              <a:chOff x="5016367" y="2613939"/>
              <a:chExt cx="3507432" cy="1082086"/>
            </a:xfrm>
          </p:grpSpPr>
          <p:graphicFrame>
            <p:nvGraphicFramePr>
              <p:cNvPr id="17" name="Gráfico 16">
                <a:extLst>
                  <a:ext uri="{FF2B5EF4-FFF2-40B4-BE49-F238E27FC236}">
                    <a16:creationId xmlns:a16="http://schemas.microsoft.com/office/drawing/2014/main" id="{F91E5276-E174-9A4D-BE99-28B957FDA9B3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40153211"/>
                  </p:ext>
                </p:extLst>
              </p:nvPr>
            </p:nvGraphicFramePr>
            <p:xfrm>
              <a:off x="5016367" y="3191770"/>
              <a:ext cx="1671855" cy="504255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8"/>
              </a:graphicData>
            </a:graphic>
          </p:graphicFrame>
          <p:graphicFrame>
            <p:nvGraphicFramePr>
              <p:cNvPr id="18" name="Gráfico 17">
                <a:extLst>
                  <a:ext uri="{FF2B5EF4-FFF2-40B4-BE49-F238E27FC236}">
                    <a16:creationId xmlns:a16="http://schemas.microsoft.com/office/drawing/2014/main" id="{5CD3997A-8931-4CD6-1955-284462A78924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174889483"/>
                  </p:ext>
                </p:extLst>
              </p:nvPr>
            </p:nvGraphicFramePr>
            <p:xfrm>
              <a:off x="6851944" y="2613939"/>
              <a:ext cx="1671855" cy="108208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9"/>
              </a:graphicData>
            </a:graphic>
          </p:graphicFrame>
        </p:grpSp>
      </p:grpSp>
      <p:sp>
        <p:nvSpPr>
          <p:cNvPr id="21" name="Marcador de texto 8">
            <a:extLst>
              <a:ext uri="{FF2B5EF4-FFF2-40B4-BE49-F238E27FC236}">
                <a16:creationId xmlns:a16="http://schemas.microsoft.com/office/drawing/2014/main" id="{9B92B80B-30E1-8996-66DA-2AD40EC29658}"/>
              </a:ext>
            </a:extLst>
          </p:cNvPr>
          <p:cNvSpPr txBox="1">
            <a:spLocks/>
          </p:cNvSpPr>
          <p:nvPr/>
        </p:nvSpPr>
        <p:spPr>
          <a:xfrm>
            <a:off x="540657" y="1457931"/>
            <a:ext cx="5836289" cy="39171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ctualmente, la mayoría de las pruebas de D2D utilizan 2 x 5 MHz; Analizamos el impacto de una mayor disponibilidad teórica de espectro.</a:t>
            </a:r>
            <a:endParaRPr lang="es-ES_tradnl" sz="1000" noProof="0">
              <a:solidFill>
                <a:schemeClr val="bg1">
                  <a:lumMod val="25000"/>
                </a:schemeClr>
              </a:solidFill>
              <a:latin typeface="Pulso Light" pitchFamily="2" charset="0"/>
              <a:ea typeface="Roboto" panose="02000000000000000000" pitchFamily="2" charset="0"/>
              <a:cs typeface="Open Sans" pitchFamily="2" charset="0"/>
            </a:endParaRP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7E362D9D-B1C4-4A55-A845-2428B83F5FE4}"/>
              </a:ext>
            </a:extLst>
          </p:cNvPr>
          <p:cNvGrpSpPr/>
          <p:nvPr/>
        </p:nvGrpSpPr>
        <p:grpSpPr>
          <a:xfrm>
            <a:off x="4105057" y="2586046"/>
            <a:ext cx="812448" cy="276999"/>
            <a:chOff x="4105057" y="2682793"/>
            <a:chExt cx="812448" cy="276999"/>
          </a:xfrm>
        </p:grpSpPr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40773FB4-2D44-D6EC-07D9-156BF76D6DD7}"/>
                </a:ext>
              </a:extLst>
            </p:cNvPr>
            <p:cNvSpPr txBox="1"/>
            <p:nvPr/>
          </p:nvSpPr>
          <p:spPr>
            <a:xfrm>
              <a:off x="4310990" y="2682793"/>
              <a:ext cx="442477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s-AR" sz="9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Zonas rurales</a:t>
              </a:r>
            </a:p>
          </p:txBody>
        </p:sp>
        <p:grpSp>
          <p:nvGrpSpPr>
            <p:cNvPr id="34" name="Grupo 33">
              <a:extLst>
                <a:ext uri="{FF2B5EF4-FFF2-40B4-BE49-F238E27FC236}">
                  <a16:creationId xmlns:a16="http://schemas.microsoft.com/office/drawing/2014/main" id="{E20A23FA-88D4-7FA3-5DF1-4F36E61CFF12}"/>
                </a:ext>
              </a:extLst>
            </p:cNvPr>
            <p:cNvGrpSpPr/>
            <p:nvPr/>
          </p:nvGrpSpPr>
          <p:grpSpPr>
            <a:xfrm>
              <a:off x="4105057" y="2821292"/>
              <a:ext cx="812448" cy="1"/>
              <a:chOff x="4105057" y="2821292"/>
              <a:chExt cx="812448" cy="1"/>
            </a:xfrm>
          </p:grpSpPr>
          <p:cxnSp>
            <p:nvCxnSpPr>
              <p:cNvPr id="25" name="Conector recto de flecha 24">
                <a:extLst>
                  <a:ext uri="{FF2B5EF4-FFF2-40B4-BE49-F238E27FC236}">
                    <a16:creationId xmlns:a16="http://schemas.microsoft.com/office/drawing/2014/main" id="{C6C61F88-8467-FF47-C493-47AF7D8E8E0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105057" y="2821292"/>
                <a:ext cx="184293" cy="1"/>
              </a:xfrm>
              <a:prstGeom prst="straightConnector1">
                <a:avLst/>
              </a:prstGeom>
              <a:ln>
                <a:solidFill>
                  <a:schemeClr val="bg1">
                    <a:lumMod val="2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Conector recto de flecha 30">
                <a:extLst>
                  <a:ext uri="{FF2B5EF4-FFF2-40B4-BE49-F238E27FC236}">
                    <a16:creationId xmlns:a16="http://schemas.microsoft.com/office/drawing/2014/main" id="{D0CC3AB2-15CB-D38D-0EA7-8F0E66B9E69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33212" y="2821292"/>
                <a:ext cx="184293" cy="1"/>
              </a:xfrm>
              <a:prstGeom prst="straightConnector1">
                <a:avLst/>
              </a:prstGeom>
              <a:ln>
                <a:solidFill>
                  <a:schemeClr val="bg1">
                    <a:lumMod val="2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" name="Grupo 5">
            <a:extLst>
              <a:ext uri="{FF2B5EF4-FFF2-40B4-BE49-F238E27FC236}">
                <a16:creationId xmlns:a16="http://schemas.microsoft.com/office/drawing/2014/main" id="{1002EB35-9567-A42A-DE4F-9663D079C459}"/>
              </a:ext>
            </a:extLst>
          </p:cNvPr>
          <p:cNvGrpSpPr/>
          <p:nvPr/>
        </p:nvGrpSpPr>
        <p:grpSpPr>
          <a:xfrm>
            <a:off x="4126004" y="3391439"/>
            <a:ext cx="812448" cy="415498"/>
            <a:chOff x="4126004" y="3488186"/>
            <a:chExt cx="812448" cy="415498"/>
          </a:xfrm>
        </p:grpSpPr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50E173C7-9D6F-EEB8-3D25-884D103B4761}"/>
                </a:ext>
              </a:extLst>
            </p:cNvPr>
            <p:cNvSpPr txBox="1"/>
            <p:nvPr/>
          </p:nvSpPr>
          <p:spPr>
            <a:xfrm>
              <a:off x="4310990" y="3488186"/>
              <a:ext cx="442477" cy="4154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s-AR" sz="9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Todas las áreas</a:t>
              </a:r>
            </a:p>
          </p:txBody>
        </p:sp>
        <p:grpSp>
          <p:nvGrpSpPr>
            <p:cNvPr id="35" name="Grupo 34">
              <a:extLst>
                <a:ext uri="{FF2B5EF4-FFF2-40B4-BE49-F238E27FC236}">
                  <a16:creationId xmlns:a16="http://schemas.microsoft.com/office/drawing/2014/main" id="{41AEF6D3-3358-C9D9-1E09-41A8EF815ED7}"/>
                </a:ext>
              </a:extLst>
            </p:cNvPr>
            <p:cNvGrpSpPr/>
            <p:nvPr/>
          </p:nvGrpSpPr>
          <p:grpSpPr>
            <a:xfrm>
              <a:off x="4126004" y="3695935"/>
              <a:ext cx="812448" cy="1"/>
              <a:chOff x="4105057" y="3695935"/>
              <a:chExt cx="812448" cy="1"/>
            </a:xfrm>
          </p:grpSpPr>
          <p:cxnSp>
            <p:nvCxnSpPr>
              <p:cNvPr id="30" name="Conector recto de flecha 29">
                <a:extLst>
                  <a:ext uri="{FF2B5EF4-FFF2-40B4-BE49-F238E27FC236}">
                    <a16:creationId xmlns:a16="http://schemas.microsoft.com/office/drawing/2014/main" id="{5BDB04AF-60C8-B79C-9FB4-546C8AEFED6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105057" y="3695935"/>
                <a:ext cx="184293" cy="1"/>
              </a:xfrm>
              <a:prstGeom prst="straightConnector1">
                <a:avLst/>
              </a:prstGeom>
              <a:ln>
                <a:solidFill>
                  <a:schemeClr val="bg1">
                    <a:lumMod val="2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Conector recto de flecha 31">
                <a:extLst>
                  <a:ext uri="{FF2B5EF4-FFF2-40B4-BE49-F238E27FC236}">
                    <a16:creationId xmlns:a16="http://schemas.microsoft.com/office/drawing/2014/main" id="{06131D53-FE1E-B44C-34BC-C37B236E5E9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33212" y="3695935"/>
                <a:ext cx="184293" cy="1"/>
              </a:xfrm>
              <a:prstGeom prst="straightConnector1">
                <a:avLst/>
              </a:prstGeom>
              <a:ln>
                <a:solidFill>
                  <a:schemeClr val="bg1">
                    <a:lumMod val="2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5" name="Grupo 44">
            <a:extLst>
              <a:ext uri="{FF2B5EF4-FFF2-40B4-BE49-F238E27FC236}">
                <a16:creationId xmlns:a16="http://schemas.microsoft.com/office/drawing/2014/main" id="{8578F6CD-C1B5-4AA7-F16C-B9C3148C6C03}"/>
              </a:ext>
            </a:extLst>
          </p:cNvPr>
          <p:cNvGrpSpPr/>
          <p:nvPr/>
        </p:nvGrpSpPr>
        <p:grpSpPr>
          <a:xfrm>
            <a:off x="2273882" y="3014441"/>
            <a:ext cx="4479946" cy="890220"/>
            <a:chOff x="2273882" y="3091281"/>
            <a:chExt cx="4479946" cy="962108"/>
          </a:xfrm>
        </p:grpSpPr>
        <p:cxnSp>
          <p:nvCxnSpPr>
            <p:cNvPr id="37" name="Conector recto 36">
              <a:extLst>
                <a:ext uri="{FF2B5EF4-FFF2-40B4-BE49-F238E27FC236}">
                  <a16:creationId xmlns:a16="http://schemas.microsoft.com/office/drawing/2014/main" id="{9BE3BBD0-C13D-73A4-5318-BBF0C633EA28}"/>
                </a:ext>
              </a:extLst>
            </p:cNvPr>
            <p:cNvCxnSpPr/>
            <p:nvPr/>
          </p:nvCxnSpPr>
          <p:spPr>
            <a:xfrm>
              <a:off x="2273882" y="3091281"/>
              <a:ext cx="0" cy="962108"/>
            </a:xfrm>
            <a:prstGeom prst="line">
              <a:avLst/>
            </a:prstGeom>
            <a:ln w="6350">
              <a:solidFill>
                <a:schemeClr val="bg1">
                  <a:lumMod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Conector recto 2">
              <a:extLst>
                <a:ext uri="{FF2B5EF4-FFF2-40B4-BE49-F238E27FC236}">
                  <a16:creationId xmlns:a16="http://schemas.microsoft.com/office/drawing/2014/main" id="{E8FFC018-6FF2-C5FE-F899-19654A911B62}"/>
                </a:ext>
              </a:extLst>
            </p:cNvPr>
            <p:cNvCxnSpPr/>
            <p:nvPr/>
          </p:nvCxnSpPr>
          <p:spPr>
            <a:xfrm>
              <a:off x="6753828" y="3091281"/>
              <a:ext cx="0" cy="962108"/>
            </a:xfrm>
            <a:prstGeom prst="line">
              <a:avLst/>
            </a:prstGeom>
            <a:ln w="6350">
              <a:solidFill>
                <a:schemeClr val="bg1">
                  <a:lumMod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CuadroTexto 4">
            <a:extLst>
              <a:ext uri="{FF2B5EF4-FFF2-40B4-BE49-F238E27FC236}">
                <a16:creationId xmlns:a16="http://schemas.microsoft.com/office/drawing/2014/main" id="{AF8D2D5E-C050-6D71-6D9E-25B9CE07A0CB}"/>
              </a:ext>
            </a:extLst>
          </p:cNvPr>
          <p:cNvSpPr txBox="1"/>
          <p:nvPr/>
        </p:nvSpPr>
        <p:spPr>
          <a:xfrm>
            <a:off x="540657" y="2063425"/>
            <a:ext cx="344004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s-AR" sz="90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</a:rPr>
              <a:t>Adopción de D2D para servicio de 2 Mbps (% de población rural)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7570B34F-17BF-8A2E-530A-DD111FAC5644}"/>
              </a:ext>
            </a:extLst>
          </p:cNvPr>
          <p:cNvSpPr txBox="1"/>
          <p:nvPr/>
        </p:nvSpPr>
        <p:spPr>
          <a:xfrm>
            <a:off x="5019607" y="2047979"/>
            <a:ext cx="351378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s-AR" sz="90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</a:rPr>
              <a:t>Adopción de D2D para servicio de 20 Mbps (% de población rural)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5C4DC5B5-F2F1-C172-7509-6A18484F2023}"/>
              </a:ext>
            </a:extLst>
          </p:cNvPr>
          <p:cNvSpPr txBox="1"/>
          <p:nvPr/>
        </p:nvSpPr>
        <p:spPr>
          <a:xfrm>
            <a:off x="804313" y="3781554"/>
            <a:ext cx="114454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s-AR" sz="800" err="1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Starlink</a:t>
            </a:r>
            <a:r>
              <a:rPr lang="es-AR" sz="800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 12.000 satélites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496C3AD4-4C59-C6CB-1E45-C09CDA17AD59}"/>
              </a:ext>
            </a:extLst>
          </p:cNvPr>
          <p:cNvSpPr txBox="1"/>
          <p:nvPr/>
        </p:nvSpPr>
        <p:spPr>
          <a:xfrm>
            <a:off x="2621519" y="3781554"/>
            <a:ext cx="116538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s-AR" sz="800" err="1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Starlink</a:t>
            </a:r>
            <a:r>
              <a:rPr lang="es-AR" sz="800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 42.000 satélites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C2F1974F-AD88-034D-D9B0-E11C4358CF1E}"/>
              </a:ext>
            </a:extLst>
          </p:cNvPr>
          <p:cNvSpPr txBox="1"/>
          <p:nvPr/>
        </p:nvSpPr>
        <p:spPr>
          <a:xfrm>
            <a:off x="5280022" y="3781554"/>
            <a:ext cx="114454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s-AR" sz="800" err="1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Starlink</a:t>
            </a:r>
            <a:r>
              <a:rPr lang="es-AR" sz="800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 12.000 satélites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77B236FB-EB86-8A13-37AD-5CF5AAB045D7}"/>
              </a:ext>
            </a:extLst>
          </p:cNvPr>
          <p:cNvSpPr txBox="1"/>
          <p:nvPr/>
        </p:nvSpPr>
        <p:spPr>
          <a:xfrm>
            <a:off x="7105179" y="3781554"/>
            <a:ext cx="116538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s-AR" sz="800" err="1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Starlink</a:t>
            </a:r>
            <a:r>
              <a:rPr lang="es-AR" sz="800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 42.000 satélites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EFC70480-B7A6-B612-28CE-A8458D17450E}"/>
              </a:ext>
            </a:extLst>
          </p:cNvPr>
          <p:cNvSpPr txBox="1"/>
          <p:nvPr/>
        </p:nvSpPr>
        <p:spPr>
          <a:xfrm>
            <a:off x="3576535" y="4040455"/>
            <a:ext cx="199093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s-AR" sz="800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Escenarios de disponibilidad de espectro: </a:t>
            </a:r>
          </a:p>
        </p:txBody>
      </p:sp>
      <p:grpSp>
        <p:nvGrpSpPr>
          <p:cNvPr id="44" name="Grupo 43">
            <a:extLst>
              <a:ext uri="{FF2B5EF4-FFF2-40B4-BE49-F238E27FC236}">
                <a16:creationId xmlns:a16="http://schemas.microsoft.com/office/drawing/2014/main" id="{E71FA4C0-0FCD-B924-1378-9AB4C1F96561}"/>
              </a:ext>
            </a:extLst>
          </p:cNvPr>
          <p:cNvGrpSpPr/>
          <p:nvPr/>
        </p:nvGrpSpPr>
        <p:grpSpPr>
          <a:xfrm>
            <a:off x="1383100" y="4263965"/>
            <a:ext cx="6377801" cy="166940"/>
            <a:chOff x="1875395" y="4317753"/>
            <a:chExt cx="6377801" cy="166940"/>
          </a:xfrm>
        </p:grpSpPr>
        <p:grpSp>
          <p:nvGrpSpPr>
            <p:cNvPr id="43" name="Grupo 42">
              <a:extLst>
                <a:ext uri="{FF2B5EF4-FFF2-40B4-BE49-F238E27FC236}">
                  <a16:creationId xmlns:a16="http://schemas.microsoft.com/office/drawing/2014/main" id="{CFA66AA7-F22D-6157-5BCD-26D8588810A7}"/>
                </a:ext>
              </a:extLst>
            </p:cNvPr>
            <p:cNvGrpSpPr/>
            <p:nvPr/>
          </p:nvGrpSpPr>
          <p:grpSpPr>
            <a:xfrm>
              <a:off x="1875395" y="4317753"/>
              <a:ext cx="1405348" cy="166940"/>
              <a:chOff x="2522455" y="4317753"/>
              <a:chExt cx="1405348" cy="166940"/>
            </a:xfrm>
          </p:grpSpPr>
          <p:sp>
            <p:nvSpPr>
              <p:cNvPr id="23" name="CuadroTexto 22">
                <a:extLst>
                  <a:ext uri="{FF2B5EF4-FFF2-40B4-BE49-F238E27FC236}">
                    <a16:creationId xmlns:a16="http://schemas.microsoft.com/office/drawing/2014/main" id="{8573A614-1E34-B0E6-7896-81A58C857253}"/>
                  </a:ext>
                </a:extLst>
              </p:cNvPr>
              <p:cNvSpPr txBox="1"/>
              <p:nvPr/>
            </p:nvSpPr>
            <p:spPr>
              <a:xfrm>
                <a:off x="2743183" y="4339668"/>
                <a:ext cx="118462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s-AR" sz="800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</a:rPr>
                  <a:t>80 MHz de espectro móvil</a:t>
                </a:r>
              </a:p>
            </p:txBody>
          </p:sp>
          <p:sp>
            <p:nvSpPr>
              <p:cNvPr id="29" name="Elipse 28">
                <a:extLst>
                  <a:ext uri="{FF2B5EF4-FFF2-40B4-BE49-F238E27FC236}">
                    <a16:creationId xmlns:a16="http://schemas.microsoft.com/office/drawing/2014/main" id="{EBE116CB-6121-E2D2-50AA-0FD39FF006EA}"/>
                  </a:ext>
                </a:extLst>
              </p:cNvPr>
              <p:cNvSpPr/>
              <p:nvPr/>
            </p:nvSpPr>
            <p:spPr>
              <a:xfrm>
                <a:off x="2522455" y="4317753"/>
                <a:ext cx="166940" cy="166940"/>
              </a:xfrm>
              <a:prstGeom prst="ellipse">
                <a:avLst/>
              </a:prstGeom>
              <a:solidFill>
                <a:schemeClr val="accent1"/>
              </a:solidFill>
              <a:ln w="38100" cap="rnd" cmpd="sng">
                <a:noFill/>
                <a:prstDash val="sysDash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noAutofit/>
              </a:bodyPr>
              <a:lstStyle/>
              <a:p>
                <a:pPr algn="ctr">
                  <a:spcBef>
                    <a:spcPts val="1000"/>
                  </a:spcBef>
                </a:pPr>
                <a:endParaRPr lang="es-AR" sz="1400" b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2" name="Grupo 41">
              <a:extLst>
                <a:ext uri="{FF2B5EF4-FFF2-40B4-BE49-F238E27FC236}">
                  <a16:creationId xmlns:a16="http://schemas.microsoft.com/office/drawing/2014/main" id="{D90D5C6C-FF59-127F-22C3-3B512111ABA7}"/>
                </a:ext>
              </a:extLst>
            </p:cNvPr>
            <p:cNvGrpSpPr/>
            <p:nvPr/>
          </p:nvGrpSpPr>
          <p:grpSpPr>
            <a:xfrm>
              <a:off x="3497614" y="4317753"/>
              <a:ext cx="1466262" cy="166940"/>
              <a:chOff x="3974385" y="4317753"/>
              <a:chExt cx="1466262" cy="166940"/>
            </a:xfrm>
          </p:grpSpPr>
          <p:sp>
            <p:nvSpPr>
              <p:cNvPr id="24" name="CuadroTexto 23">
                <a:extLst>
                  <a:ext uri="{FF2B5EF4-FFF2-40B4-BE49-F238E27FC236}">
                    <a16:creationId xmlns:a16="http://schemas.microsoft.com/office/drawing/2014/main" id="{1809397B-49F2-1A24-7B53-1A0B33CAC62A}"/>
                  </a:ext>
                </a:extLst>
              </p:cNvPr>
              <p:cNvSpPr txBox="1"/>
              <p:nvPr/>
            </p:nvSpPr>
            <p:spPr>
              <a:xfrm>
                <a:off x="4195113" y="4339668"/>
                <a:ext cx="1245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s-AR" sz="800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</a:rPr>
                  <a:t>800 MHz de espectro móvil</a:t>
                </a:r>
              </a:p>
            </p:txBody>
          </p:sp>
          <p:sp>
            <p:nvSpPr>
              <p:cNvPr id="36" name="Elipse 35">
                <a:extLst>
                  <a:ext uri="{FF2B5EF4-FFF2-40B4-BE49-F238E27FC236}">
                    <a16:creationId xmlns:a16="http://schemas.microsoft.com/office/drawing/2014/main" id="{76E8A7AD-D2DC-4281-2E43-785B906047AD}"/>
                  </a:ext>
                </a:extLst>
              </p:cNvPr>
              <p:cNvSpPr/>
              <p:nvPr/>
            </p:nvSpPr>
            <p:spPr>
              <a:xfrm>
                <a:off x="3974385" y="4317753"/>
                <a:ext cx="166940" cy="166940"/>
              </a:xfrm>
              <a:prstGeom prst="ellipse">
                <a:avLst/>
              </a:prstGeom>
              <a:solidFill>
                <a:schemeClr val="bg2"/>
              </a:solidFill>
              <a:ln w="38100" cap="rnd" cmpd="sng">
                <a:noFill/>
                <a:prstDash val="sysDash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noAutofit/>
              </a:bodyPr>
              <a:lstStyle/>
              <a:p>
                <a:pPr algn="ctr">
                  <a:spcBef>
                    <a:spcPts val="1000"/>
                  </a:spcBef>
                </a:pPr>
                <a:endParaRPr lang="es-AR" sz="1400" b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83C0A472-E3EC-B606-021C-62429C5CF034}"/>
                </a:ext>
              </a:extLst>
            </p:cNvPr>
            <p:cNvGrpSpPr/>
            <p:nvPr/>
          </p:nvGrpSpPr>
          <p:grpSpPr>
            <a:xfrm>
              <a:off x="5180747" y="4317753"/>
              <a:ext cx="1400538" cy="166940"/>
              <a:chOff x="5287684" y="4317753"/>
              <a:chExt cx="1400538" cy="166940"/>
            </a:xfrm>
          </p:grpSpPr>
          <p:sp>
            <p:nvSpPr>
              <p:cNvPr id="26" name="CuadroTexto 25">
                <a:extLst>
                  <a:ext uri="{FF2B5EF4-FFF2-40B4-BE49-F238E27FC236}">
                    <a16:creationId xmlns:a16="http://schemas.microsoft.com/office/drawing/2014/main" id="{A7D41C9E-9FDC-9818-B331-8669AA1B8D58}"/>
                  </a:ext>
                </a:extLst>
              </p:cNvPr>
              <p:cNvSpPr txBox="1"/>
              <p:nvPr/>
            </p:nvSpPr>
            <p:spPr>
              <a:xfrm>
                <a:off x="5508412" y="4339668"/>
                <a:ext cx="117981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s-AR" sz="800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</a:rPr>
                  <a:t>70 MHz de espectro móvil</a:t>
                </a:r>
              </a:p>
            </p:txBody>
          </p:sp>
          <p:sp>
            <p:nvSpPr>
              <p:cNvPr id="38" name="Elipse 37">
                <a:extLst>
                  <a:ext uri="{FF2B5EF4-FFF2-40B4-BE49-F238E27FC236}">
                    <a16:creationId xmlns:a16="http://schemas.microsoft.com/office/drawing/2014/main" id="{7E0F403A-FC4E-241C-ED19-EE1A33434CBA}"/>
                  </a:ext>
                </a:extLst>
              </p:cNvPr>
              <p:cNvSpPr/>
              <p:nvPr/>
            </p:nvSpPr>
            <p:spPr>
              <a:xfrm>
                <a:off x="5287684" y="4317753"/>
                <a:ext cx="166940" cy="166940"/>
              </a:xfrm>
              <a:prstGeom prst="ellipse">
                <a:avLst/>
              </a:prstGeom>
              <a:solidFill>
                <a:schemeClr val="tx2">
                  <a:lumMod val="75000"/>
                  <a:lumOff val="25000"/>
                </a:schemeClr>
              </a:solidFill>
              <a:ln w="38100" cap="rnd" cmpd="sng">
                <a:noFill/>
                <a:prstDash val="sysDash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noAutofit/>
              </a:bodyPr>
              <a:lstStyle/>
              <a:p>
                <a:pPr algn="ctr">
                  <a:spcBef>
                    <a:spcPts val="1000"/>
                  </a:spcBef>
                </a:pPr>
                <a:endParaRPr lang="es-AR" sz="1400" b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0" name="Grupo 39">
              <a:extLst>
                <a:ext uri="{FF2B5EF4-FFF2-40B4-BE49-F238E27FC236}">
                  <a16:creationId xmlns:a16="http://schemas.microsoft.com/office/drawing/2014/main" id="{CB91500F-C947-3ADC-81FE-D2B26249A30B}"/>
                </a:ext>
              </a:extLst>
            </p:cNvPr>
            <p:cNvGrpSpPr/>
            <p:nvPr/>
          </p:nvGrpSpPr>
          <p:grpSpPr>
            <a:xfrm>
              <a:off x="6798156" y="4317753"/>
              <a:ext cx="1455040" cy="166940"/>
              <a:chOff x="6798156" y="4317753"/>
              <a:chExt cx="1455040" cy="166940"/>
            </a:xfrm>
          </p:grpSpPr>
          <p:sp>
            <p:nvSpPr>
              <p:cNvPr id="28" name="CuadroTexto 27">
                <a:extLst>
                  <a:ext uri="{FF2B5EF4-FFF2-40B4-BE49-F238E27FC236}">
                    <a16:creationId xmlns:a16="http://schemas.microsoft.com/office/drawing/2014/main" id="{BD8890EA-4F84-DFA9-24D2-58127BACF2E5}"/>
                  </a:ext>
                </a:extLst>
              </p:cNvPr>
              <p:cNvSpPr txBox="1"/>
              <p:nvPr/>
            </p:nvSpPr>
            <p:spPr>
              <a:xfrm>
                <a:off x="7018884" y="4339668"/>
                <a:ext cx="1234312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s-AR" sz="800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</a:rPr>
                  <a:t>140 MHz de espectro móvil</a:t>
                </a:r>
              </a:p>
            </p:txBody>
          </p:sp>
          <p:sp>
            <p:nvSpPr>
              <p:cNvPr id="39" name="Elipse 38">
                <a:extLst>
                  <a:ext uri="{FF2B5EF4-FFF2-40B4-BE49-F238E27FC236}">
                    <a16:creationId xmlns:a16="http://schemas.microsoft.com/office/drawing/2014/main" id="{D1F03E8E-D75D-9971-9C2B-A54B02DB44ED}"/>
                  </a:ext>
                </a:extLst>
              </p:cNvPr>
              <p:cNvSpPr/>
              <p:nvPr/>
            </p:nvSpPr>
            <p:spPr>
              <a:xfrm>
                <a:off x="6798156" y="4317753"/>
                <a:ext cx="166940" cy="166940"/>
              </a:xfrm>
              <a:prstGeom prst="ellipse">
                <a:avLst/>
              </a:prstGeom>
              <a:solidFill>
                <a:schemeClr val="tx2"/>
              </a:solidFill>
              <a:ln w="38100" cap="rnd" cmpd="sng">
                <a:noFill/>
                <a:prstDash val="sysDash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noAutofit/>
              </a:bodyPr>
              <a:lstStyle/>
              <a:p>
                <a:pPr algn="ctr">
                  <a:spcBef>
                    <a:spcPts val="1000"/>
                  </a:spcBef>
                </a:pPr>
                <a:endParaRPr lang="es-AR" sz="1400" b="1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8542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DA1E58-3D30-F64F-3E7C-0EC129D392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379A4349-25DE-3E95-1659-B401A4986A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9" progId="TCLayout.ActiveDocument.1">
                  <p:embed/>
                </p:oleObj>
              </mc:Choice>
              <mc:Fallback>
                <p:oleObj name="Diapositiva de think-cell" r:id="rId4" imgW="378" imgH="379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9A4349-25DE-3E95-1659-B401A4986A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4ABE19D8-8098-2DC4-D795-A6F12947656F}"/>
              </a:ext>
            </a:extLst>
          </p:cNvPr>
          <p:cNvSpPr txBox="1">
            <a:spLocks/>
          </p:cNvSpPr>
          <p:nvPr/>
        </p:nvSpPr>
        <p:spPr>
          <a:xfrm>
            <a:off x="540657" y="606143"/>
            <a:ext cx="2779607" cy="718145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tx2"/>
                </a:solidFill>
                <a:latin typeface="Pulso Light" pitchFamily="2" charset="0"/>
              </a:rPr>
              <a:t>Disrupción del 2024:</a:t>
            </a:r>
            <a:br>
              <a:rPr lang="es-ES_tradnl" sz="2500" b="0" noProof="0">
                <a:solidFill>
                  <a:schemeClr val="tx2"/>
                </a:solidFill>
                <a:latin typeface="Pulso Light" pitchFamily="2" charset="0"/>
              </a:rPr>
            </a:br>
            <a:r>
              <a:rPr lang="es-ES_tradnl" sz="2500" b="0" noProof="0">
                <a:solidFill>
                  <a:schemeClr val="bg2"/>
                </a:solidFill>
                <a:latin typeface="Pulso Light" pitchFamily="2" charset="0"/>
              </a:rPr>
              <a:t>Satélites LEO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8C3E3CAB-C0F9-F6C2-53E7-015D9C9A25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70797" y="2508946"/>
            <a:ext cx="1778912" cy="509553"/>
          </a:xfrm>
          <a:prstGeom prst="roundRect">
            <a:avLst>
              <a:gd name="adj" fmla="val 6524"/>
            </a:avLst>
          </a:prstGeom>
        </p:spPr>
      </p:pic>
      <p:sp>
        <p:nvSpPr>
          <p:cNvPr id="4" name="Triángulo isósceles 6">
            <a:extLst>
              <a:ext uri="{FF2B5EF4-FFF2-40B4-BE49-F238E27FC236}">
                <a16:creationId xmlns:a16="http://schemas.microsoft.com/office/drawing/2014/main" id="{0F65C0B3-EAD9-8807-2F69-091553941C39}"/>
              </a:ext>
            </a:extLst>
          </p:cNvPr>
          <p:cNvSpPr/>
          <p:nvPr/>
        </p:nvSpPr>
        <p:spPr>
          <a:xfrm rot="5400000">
            <a:off x="4454089" y="2308901"/>
            <a:ext cx="1514592" cy="228394"/>
          </a:xfrm>
          <a:prstGeom prst="triangle">
            <a:avLst/>
          </a:prstGeom>
          <a:noFill/>
          <a:ln w="22225" cap="rnd" cmpd="sng">
            <a:solidFill>
              <a:schemeClr val="accent1"/>
            </a:solidFill>
            <a:prstDash val="sysDot"/>
            <a:round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EA5C3B2C-31FF-02AE-763E-9BA086C8A9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77511" y="2508946"/>
            <a:ext cx="1342335" cy="509553"/>
          </a:xfrm>
          <a:prstGeom prst="roundRect">
            <a:avLst>
              <a:gd name="adj" fmla="val 7304"/>
            </a:avLst>
          </a:prstGeom>
        </p:spPr>
      </p:pic>
      <p:sp>
        <p:nvSpPr>
          <p:cNvPr id="8" name="Rectángulo redondeado 7">
            <a:extLst>
              <a:ext uri="{FF2B5EF4-FFF2-40B4-BE49-F238E27FC236}">
                <a16:creationId xmlns:a16="http://schemas.microsoft.com/office/drawing/2014/main" id="{BFB5205F-9708-3360-1473-1F509EDE1693}"/>
              </a:ext>
            </a:extLst>
          </p:cNvPr>
          <p:cNvSpPr/>
          <p:nvPr/>
        </p:nvSpPr>
        <p:spPr>
          <a:xfrm>
            <a:off x="5404328" y="3177545"/>
            <a:ext cx="3445380" cy="1249574"/>
          </a:xfrm>
          <a:prstGeom prst="roundRect">
            <a:avLst>
              <a:gd name="adj" fmla="val 10952"/>
            </a:avLst>
          </a:prstGeom>
          <a:solidFill>
            <a:schemeClr val="tx2">
              <a:lumMod val="10000"/>
              <a:lumOff val="90000"/>
            </a:schemeClr>
          </a:solidFill>
          <a:ln w="12700" cap="rnd" cmpd="sng">
            <a:solidFill>
              <a:schemeClr val="tx2">
                <a:lumMod val="75000"/>
                <a:lumOff val="25000"/>
              </a:schemeClr>
            </a:solidFill>
            <a:prstDash val="solid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11705802-6931-DB95-236A-40128CEAABF9}"/>
              </a:ext>
            </a:extLst>
          </p:cNvPr>
          <p:cNvSpPr txBox="1"/>
          <p:nvPr/>
        </p:nvSpPr>
        <p:spPr>
          <a:xfrm>
            <a:off x="5590053" y="3550675"/>
            <a:ext cx="2308039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0"/>
              </a:spcBef>
              <a:defRPr sz="90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71450" indent="-171450">
              <a:spcAft>
                <a:spcPts val="200"/>
              </a:spcAft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es-AR"/>
              <a:t>Mensajería, Voz y datos baja velocidad</a:t>
            </a:r>
          </a:p>
          <a:p>
            <a:pPr marL="171450" indent="-171450">
              <a:spcAft>
                <a:spcPts val="200"/>
              </a:spcAft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es-AR"/>
              <a:t>Cobertura total nacional/internacional</a:t>
            </a:r>
          </a:p>
          <a:p>
            <a:pPr marL="171450" indent="-171450">
              <a:spcAft>
                <a:spcPts val="200"/>
              </a:spcAft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es-AR"/>
              <a:t>Servicio complementario móvil</a:t>
            </a:r>
          </a:p>
          <a:p>
            <a:pPr marL="171450" indent="-171450">
              <a:spcAft>
                <a:spcPts val="200"/>
              </a:spcAft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es-AR"/>
              <a:t>Espectro terrestre licenciado (acuerdos con operadoras y regulador)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1AE0CF3D-C5D3-02EF-3911-132A0BB05168}"/>
              </a:ext>
            </a:extLst>
          </p:cNvPr>
          <p:cNvSpPr txBox="1"/>
          <p:nvPr/>
        </p:nvSpPr>
        <p:spPr>
          <a:xfrm>
            <a:off x="1516356" y="1655433"/>
            <a:ext cx="109004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s-AR" sz="1050">
                <a:solidFill>
                  <a:schemeClr val="tx2"/>
                </a:solidFill>
                <a:latin typeface="Pulso" pitchFamily="2" charset="0"/>
              </a:rPr>
              <a:t>Mercado Internet 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7E4C32E7-CE68-C0FE-1D2E-AF6544F5540A}"/>
              </a:ext>
            </a:extLst>
          </p:cNvPr>
          <p:cNvSpPr txBox="1"/>
          <p:nvPr/>
        </p:nvSpPr>
        <p:spPr>
          <a:xfrm>
            <a:off x="5578360" y="3307199"/>
            <a:ext cx="846386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0"/>
              </a:spcBef>
              <a:defRPr sz="1050">
                <a:solidFill>
                  <a:schemeClr val="tx2"/>
                </a:solidFill>
                <a:latin typeface="Pulso" pitchFamily="2" charset="0"/>
              </a:defRPr>
            </a:lvl1pPr>
          </a:lstStyle>
          <a:p>
            <a:r>
              <a:rPr lang="es-AR"/>
              <a:t>Direct </a:t>
            </a:r>
            <a:r>
              <a:rPr lang="es-AR" err="1"/>
              <a:t>To</a:t>
            </a:r>
            <a:r>
              <a:rPr lang="es-AR"/>
              <a:t> Cell</a:t>
            </a:r>
          </a:p>
        </p:txBody>
      </p:sp>
      <p:pic>
        <p:nvPicPr>
          <p:cNvPr id="43" name="Picture 43">
            <a:extLst>
              <a:ext uri="{FF2B5EF4-FFF2-40B4-BE49-F238E27FC236}">
                <a16:creationId xmlns:a16="http://schemas.microsoft.com/office/drawing/2014/main" id="{26882612-38B7-1C81-2E01-75798BAECE7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05377" y="3115694"/>
            <a:ext cx="1000418" cy="1373277"/>
          </a:xfrm>
          <a:prstGeom prst="roundRect">
            <a:avLst>
              <a:gd name="adj" fmla="val 6570"/>
            </a:avLst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92C35269-C97A-8D7B-CD1D-D151016E510A}"/>
              </a:ext>
            </a:extLst>
          </p:cNvPr>
          <p:cNvSpPr txBox="1"/>
          <p:nvPr/>
        </p:nvSpPr>
        <p:spPr>
          <a:xfrm>
            <a:off x="5729814" y="1016294"/>
            <a:ext cx="1729641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s-AR" sz="1050">
                <a:solidFill>
                  <a:schemeClr val="tx2"/>
                </a:solidFill>
                <a:latin typeface="Pulso" pitchFamily="2" charset="0"/>
              </a:rPr>
              <a:t> Impacto en el Mercado al 2030</a:t>
            </a:r>
          </a:p>
        </p:txBody>
      </p:sp>
      <p:sp>
        <p:nvSpPr>
          <p:cNvPr id="47" name="Rectángulo redondeado 46">
            <a:extLst>
              <a:ext uri="{FF2B5EF4-FFF2-40B4-BE49-F238E27FC236}">
                <a16:creationId xmlns:a16="http://schemas.microsoft.com/office/drawing/2014/main" id="{990E4359-EE73-9253-A0BB-6579EA843DDC}"/>
              </a:ext>
            </a:extLst>
          </p:cNvPr>
          <p:cNvSpPr/>
          <p:nvPr/>
        </p:nvSpPr>
        <p:spPr>
          <a:xfrm>
            <a:off x="579470" y="2040524"/>
            <a:ext cx="463399" cy="208877"/>
          </a:xfrm>
          <a:prstGeom prst="roundRect">
            <a:avLst/>
          </a:prstGeom>
          <a:solidFill>
            <a:schemeClr val="bg2"/>
          </a:solidFill>
          <a:ln w="6350" cap="rnd" cmpd="sng">
            <a:solidFill>
              <a:schemeClr val="bg2">
                <a:lumMod val="75000"/>
              </a:schemeClr>
            </a:solidFill>
            <a:prstDash val="solid"/>
            <a:round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0800" rIns="0" bIns="0" rtlCol="0" anchor="ctr" anchorCtr="1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AR" sz="1000" b="1">
                <a:solidFill>
                  <a:srgbClr val="FFFFFF"/>
                </a:solidFill>
                <a:latin typeface="Pulso" pitchFamily="2" charset="0"/>
              </a:rPr>
              <a:t>2025</a:t>
            </a:r>
            <a:endParaRPr lang="es-ES_tradnl" sz="1000" b="1">
              <a:solidFill>
                <a:schemeClr val="tx1"/>
              </a:solidFill>
            </a:endParaRPr>
          </a:p>
        </p:txBody>
      </p:sp>
      <p:sp>
        <p:nvSpPr>
          <p:cNvPr id="48" name="Rectángulo redondeado 47">
            <a:extLst>
              <a:ext uri="{FF2B5EF4-FFF2-40B4-BE49-F238E27FC236}">
                <a16:creationId xmlns:a16="http://schemas.microsoft.com/office/drawing/2014/main" id="{27B15D3D-19BE-21C7-AFBF-B4C14E455893}"/>
              </a:ext>
            </a:extLst>
          </p:cNvPr>
          <p:cNvSpPr/>
          <p:nvPr/>
        </p:nvSpPr>
        <p:spPr>
          <a:xfrm>
            <a:off x="1102942" y="2040524"/>
            <a:ext cx="463399" cy="208877"/>
          </a:xfrm>
          <a:prstGeom prst="roundRect">
            <a:avLst/>
          </a:prstGeom>
          <a:solidFill>
            <a:schemeClr val="accent1"/>
          </a:solidFill>
          <a:ln w="6350" cap="rnd" cmpd="sng">
            <a:solidFill>
              <a:schemeClr val="accent1">
                <a:lumMod val="75000"/>
              </a:schemeClr>
            </a:solidFill>
            <a:prstDash val="solid"/>
            <a:round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0800" rIns="0" bIns="0" rtlCol="0" anchor="ctr" anchorCtr="1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AR" sz="1000" b="1">
                <a:solidFill>
                  <a:srgbClr val="FFFFFF"/>
                </a:solidFill>
                <a:latin typeface="Pulso" pitchFamily="2" charset="0"/>
              </a:rPr>
              <a:t>2030</a:t>
            </a:r>
            <a:endParaRPr lang="es-ES_tradnl" sz="1000" b="1">
              <a:solidFill>
                <a:srgbClr val="FFFFFF"/>
              </a:solidFill>
              <a:latin typeface="Pulso" pitchFamily="2" charset="0"/>
            </a:endParaRPr>
          </a:p>
        </p:txBody>
      </p:sp>
      <p:sp>
        <p:nvSpPr>
          <p:cNvPr id="49" name="Elipse 48">
            <a:extLst>
              <a:ext uri="{FF2B5EF4-FFF2-40B4-BE49-F238E27FC236}">
                <a16:creationId xmlns:a16="http://schemas.microsoft.com/office/drawing/2014/main" id="{52C15691-FA57-4234-31B8-2C74AA7A9DA8}"/>
              </a:ext>
            </a:extLst>
          </p:cNvPr>
          <p:cNvSpPr/>
          <p:nvPr/>
        </p:nvSpPr>
        <p:spPr>
          <a:xfrm>
            <a:off x="2776184" y="2035188"/>
            <a:ext cx="447027" cy="447027"/>
          </a:xfrm>
          <a:prstGeom prst="ellipse">
            <a:avLst/>
          </a:prstGeom>
          <a:solidFill>
            <a:schemeClr val="bg2"/>
          </a:solidFill>
          <a:ln w="6350" cap="rnd" cmpd="sng">
            <a:solidFill>
              <a:schemeClr val="bg2">
                <a:lumMod val="75000"/>
              </a:schemeClr>
            </a:solidFill>
            <a:prstDash val="solid"/>
            <a:round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0800" rIns="0" bIns="0" rtlCol="0" anchor="ctr" anchorCtr="1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ES_tradnl" sz="750">
                <a:solidFill>
                  <a:srgbClr val="FFFFFF"/>
                </a:solidFill>
                <a:latin typeface="Pulso" pitchFamily="2" charset="0"/>
              </a:rPr>
              <a:t>7,8K</a:t>
            </a:r>
            <a:br>
              <a:rPr lang="es-ES_tradnl" sz="750">
                <a:solidFill>
                  <a:srgbClr val="FFFFFF"/>
                </a:solidFill>
                <a:latin typeface="Pulso" pitchFamily="2" charset="0"/>
              </a:rPr>
            </a:br>
            <a:r>
              <a:rPr lang="es-ES_tradnl" sz="750">
                <a:solidFill>
                  <a:srgbClr val="FFFFFF"/>
                </a:solidFill>
                <a:latin typeface="Pulso" pitchFamily="2" charset="0"/>
              </a:rPr>
              <a:t>V1/2</a:t>
            </a:r>
          </a:p>
        </p:txBody>
      </p:sp>
      <p:sp>
        <p:nvSpPr>
          <p:cNvPr id="50" name="Elipse 49">
            <a:extLst>
              <a:ext uri="{FF2B5EF4-FFF2-40B4-BE49-F238E27FC236}">
                <a16:creationId xmlns:a16="http://schemas.microsoft.com/office/drawing/2014/main" id="{926EADA4-6043-C656-F79F-A5329DFBADAE}"/>
              </a:ext>
            </a:extLst>
          </p:cNvPr>
          <p:cNvSpPr/>
          <p:nvPr/>
        </p:nvSpPr>
        <p:spPr>
          <a:xfrm>
            <a:off x="3558066" y="1955807"/>
            <a:ext cx="605788" cy="605788"/>
          </a:xfrm>
          <a:prstGeom prst="ellipse">
            <a:avLst/>
          </a:prstGeom>
          <a:solidFill>
            <a:schemeClr val="accent1"/>
          </a:solidFill>
          <a:ln w="6350" cap="rnd" cmpd="sng">
            <a:solidFill>
              <a:schemeClr val="accent1">
                <a:lumMod val="75000"/>
              </a:schemeClr>
            </a:solidFill>
            <a:prstDash val="solid"/>
            <a:round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0800" rIns="0" bIns="0" rtlCol="0" anchor="ctr" anchorCtr="1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ES_tradnl" sz="850">
                <a:solidFill>
                  <a:srgbClr val="FFFFFF"/>
                </a:solidFill>
                <a:latin typeface="Pulso" pitchFamily="2" charset="0"/>
              </a:rPr>
              <a:t>25K V3</a:t>
            </a:r>
          </a:p>
        </p:txBody>
      </p:sp>
      <p:grpSp>
        <p:nvGrpSpPr>
          <p:cNvPr id="53" name="Grupo 52">
            <a:extLst>
              <a:ext uri="{FF2B5EF4-FFF2-40B4-BE49-F238E27FC236}">
                <a16:creationId xmlns:a16="http://schemas.microsoft.com/office/drawing/2014/main" id="{110C4AD2-15F3-4D9D-E172-FC4D63EC68B1}"/>
              </a:ext>
            </a:extLst>
          </p:cNvPr>
          <p:cNvGrpSpPr/>
          <p:nvPr/>
        </p:nvGrpSpPr>
        <p:grpSpPr>
          <a:xfrm>
            <a:off x="3296667" y="2193828"/>
            <a:ext cx="187943" cy="129747"/>
            <a:chOff x="2919473" y="1836207"/>
            <a:chExt cx="187943" cy="129747"/>
          </a:xfrm>
          <a:solidFill>
            <a:schemeClr val="tx2"/>
          </a:solidFill>
        </p:grpSpPr>
        <p:sp>
          <p:nvSpPr>
            <p:cNvPr id="51" name="Gráfico 7">
              <a:extLst>
                <a:ext uri="{FF2B5EF4-FFF2-40B4-BE49-F238E27FC236}">
                  <a16:creationId xmlns:a16="http://schemas.microsoft.com/office/drawing/2014/main" id="{501E2BA5-295F-F2F7-FB34-2529FD7A7E10}"/>
                </a:ext>
              </a:extLst>
            </p:cNvPr>
            <p:cNvSpPr/>
            <p:nvPr/>
          </p:nvSpPr>
          <p:spPr>
            <a:xfrm rot="16200000">
              <a:off x="2891399" y="1864281"/>
              <a:ext cx="129747" cy="73600"/>
            </a:xfrm>
            <a:custGeom>
              <a:avLst/>
              <a:gdLst>
                <a:gd name="connsiteX0" fmla="*/ 14771 w 219527"/>
                <a:gd name="connsiteY0" fmla="*/ 0 h 124528"/>
                <a:gd name="connsiteX1" fmla="*/ 204757 w 219527"/>
                <a:gd name="connsiteY1" fmla="*/ 0 h 124528"/>
                <a:gd name="connsiteX2" fmla="*/ 215168 w 219527"/>
                <a:gd name="connsiteY2" fmla="*/ 25179 h 124528"/>
                <a:gd name="connsiteX3" fmla="*/ 120212 w 219527"/>
                <a:gd name="connsiteY3" fmla="*/ 120209 h 124528"/>
                <a:gd name="connsiteX4" fmla="*/ 99316 w 219527"/>
                <a:gd name="connsiteY4" fmla="*/ 120209 h 124528"/>
                <a:gd name="connsiteX5" fmla="*/ 4360 w 219527"/>
                <a:gd name="connsiteY5" fmla="*/ 25179 h 124528"/>
                <a:gd name="connsiteX6" fmla="*/ 14771 w 219527"/>
                <a:gd name="connsiteY6" fmla="*/ 0 h 12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527" h="124528">
                  <a:moveTo>
                    <a:pt x="14771" y="0"/>
                  </a:moveTo>
                  <a:lnTo>
                    <a:pt x="204757" y="0"/>
                  </a:lnTo>
                  <a:cubicBezTo>
                    <a:pt x="217900" y="0"/>
                    <a:pt x="224471" y="15875"/>
                    <a:pt x="215168" y="25179"/>
                  </a:cubicBezTo>
                  <a:lnTo>
                    <a:pt x="120212" y="120209"/>
                  </a:lnTo>
                  <a:cubicBezTo>
                    <a:pt x="114453" y="125968"/>
                    <a:pt x="105075" y="125968"/>
                    <a:pt x="99316" y="120209"/>
                  </a:cubicBezTo>
                  <a:lnTo>
                    <a:pt x="4360" y="25179"/>
                  </a:lnTo>
                  <a:cubicBezTo>
                    <a:pt x="-4944" y="15875"/>
                    <a:pt x="1628" y="0"/>
                    <a:pt x="14771" y="0"/>
                  </a:cubicBezTo>
                  <a:close/>
                </a:path>
              </a:pathLst>
            </a:custGeom>
            <a:grpFill/>
            <a:ln w="7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AR"/>
            </a:p>
          </p:txBody>
        </p:sp>
        <p:sp>
          <p:nvSpPr>
            <p:cNvPr id="52" name="Gráfico 7">
              <a:extLst>
                <a:ext uri="{FF2B5EF4-FFF2-40B4-BE49-F238E27FC236}">
                  <a16:creationId xmlns:a16="http://schemas.microsoft.com/office/drawing/2014/main" id="{321AF10D-EF11-A4DB-F335-1BBA76528ACC}"/>
                </a:ext>
              </a:extLst>
            </p:cNvPr>
            <p:cNvSpPr/>
            <p:nvPr/>
          </p:nvSpPr>
          <p:spPr>
            <a:xfrm rot="16200000">
              <a:off x="3005742" y="1864281"/>
              <a:ext cx="129747" cy="73600"/>
            </a:xfrm>
            <a:custGeom>
              <a:avLst/>
              <a:gdLst>
                <a:gd name="connsiteX0" fmla="*/ 14771 w 219527"/>
                <a:gd name="connsiteY0" fmla="*/ 0 h 124528"/>
                <a:gd name="connsiteX1" fmla="*/ 204757 w 219527"/>
                <a:gd name="connsiteY1" fmla="*/ 0 h 124528"/>
                <a:gd name="connsiteX2" fmla="*/ 215168 w 219527"/>
                <a:gd name="connsiteY2" fmla="*/ 25179 h 124528"/>
                <a:gd name="connsiteX3" fmla="*/ 120212 w 219527"/>
                <a:gd name="connsiteY3" fmla="*/ 120209 h 124528"/>
                <a:gd name="connsiteX4" fmla="*/ 99316 w 219527"/>
                <a:gd name="connsiteY4" fmla="*/ 120209 h 124528"/>
                <a:gd name="connsiteX5" fmla="*/ 4360 w 219527"/>
                <a:gd name="connsiteY5" fmla="*/ 25179 h 124528"/>
                <a:gd name="connsiteX6" fmla="*/ 14771 w 219527"/>
                <a:gd name="connsiteY6" fmla="*/ 0 h 12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527" h="124528">
                  <a:moveTo>
                    <a:pt x="14771" y="0"/>
                  </a:moveTo>
                  <a:lnTo>
                    <a:pt x="204757" y="0"/>
                  </a:lnTo>
                  <a:cubicBezTo>
                    <a:pt x="217900" y="0"/>
                    <a:pt x="224471" y="15875"/>
                    <a:pt x="215168" y="25179"/>
                  </a:cubicBezTo>
                  <a:lnTo>
                    <a:pt x="120212" y="120209"/>
                  </a:lnTo>
                  <a:cubicBezTo>
                    <a:pt x="114453" y="125968"/>
                    <a:pt x="105075" y="125968"/>
                    <a:pt x="99316" y="120209"/>
                  </a:cubicBezTo>
                  <a:lnTo>
                    <a:pt x="4360" y="25179"/>
                  </a:lnTo>
                  <a:cubicBezTo>
                    <a:pt x="-4944" y="15875"/>
                    <a:pt x="1628" y="0"/>
                    <a:pt x="14771" y="0"/>
                  </a:cubicBezTo>
                  <a:close/>
                </a:path>
              </a:pathLst>
            </a:custGeom>
            <a:grpFill/>
            <a:ln w="7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AR"/>
            </a:p>
          </p:txBody>
        </p:sp>
      </p:grpSp>
      <p:sp>
        <p:nvSpPr>
          <p:cNvPr id="66" name="Gráfico 54">
            <a:extLst>
              <a:ext uri="{FF2B5EF4-FFF2-40B4-BE49-F238E27FC236}">
                <a16:creationId xmlns:a16="http://schemas.microsoft.com/office/drawing/2014/main" id="{AF3533B0-54D5-C065-4642-A14A14D8D400}"/>
              </a:ext>
            </a:extLst>
          </p:cNvPr>
          <p:cNvSpPr/>
          <p:nvPr/>
        </p:nvSpPr>
        <p:spPr>
          <a:xfrm>
            <a:off x="4668481" y="3480315"/>
            <a:ext cx="244706" cy="326274"/>
          </a:xfrm>
          <a:custGeom>
            <a:avLst/>
            <a:gdLst>
              <a:gd name="connsiteX0" fmla="*/ 21315 w 127887"/>
              <a:gd name="connsiteY0" fmla="*/ 0 h 170516"/>
              <a:gd name="connsiteX1" fmla="*/ 0 w 127887"/>
              <a:gd name="connsiteY1" fmla="*/ 21315 h 170516"/>
              <a:gd name="connsiteX2" fmla="*/ 0 w 127887"/>
              <a:gd name="connsiteY2" fmla="*/ 149202 h 170516"/>
              <a:gd name="connsiteX3" fmla="*/ 21315 w 127887"/>
              <a:gd name="connsiteY3" fmla="*/ 170516 h 170516"/>
              <a:gd name="connsiteX4" fmla="*/ 106573 w 127887"/>
              <a:gd name="connsiteY4" fmla="*/ 170516 h 170516"/>
              <a:gd name="connsiteX5" fmla="*/ 127887 w 127887"/>
              <a:gd name="connsiteY5" fmla="*/ 149202 h 170516"/>
              <a:gd name="connsiteX6" fmla="*/ 127887 w 127887"/>
              <a:gd name="connsiteY6" fmla="*/ 21315 h 170516"/>
              <a:gd name="connsiteX7" fmla="*/ 106573 w 127887"/>
              <a:gd name="connsiteY7" fmla="*/ 0 h 170516"/>
              <a:gd name="connsiteX8" fmla="*/ 21315 w 127887"/>
              <a:gd name="connsiteY8" fmla="*/ 0 h 170516"/>
              <a:gd name="connsiteX9" fmla="*/ 58615 w 127887"/>
              <a:gd name="connsiteY9" fmla="*/ 117230 h 170516"/>
              <a:gd name="connsiteX10" fmla="*/ 69272 w 127887"/>
              <a:gd name="connsiteY10" fmla="*/ 117230 h 170516"/>
              <a:gd name="connsiteX11" fmla="*/ 79929 w 127887"/>
              <a:gd name="connsiteY11" fmla="*/ 127887 h 170516"/>
              <a:gd name="connsiteX12" fmla="*/ 79929 w 127887"/>
              <a:gd name="connsiteY12" fmla="*/ 154530 h 170516"/>
              <a:gd name="connsiteX13" fmla="*/ 47958 w 127887"/>
              <a:gd name="connsiteY13" fmla="*/ 154530 h 170516"/>
              <a:gd name="connsiteX14" fmla="*/ 47958 w 127887"/>
              <a:gd name="connsiteY14" fmla="*/ 127887 h 170516"/>
              <a:gd name="connsiteX15" fmla="*/ 58615 w 127887"/>
              <a:gd name="connsiteY15" fmla="*/ 117230 h 170516"/>
              <a:gd name="connsiteX16" fmla="*/ 31972 w 127887"/>
              <a:gd name="connsiteY16" fmla="*/ 37300 h 170516"/>
              <a:gd name="connsiteX17" fmla="*/ 37300 w 127887"/>
              <a:gd name="connsiteY17" fmla="*/ 31972 h 170516"/>
              <a:gd name="connsiteX18" fmla="*/ 47958 w 127887"/>
              <a:gd name="connsiteY18" fmla="*/ 31972 h 170516"/>
              <a:gd name="connsiteX19" fmla="*/ 53286 w 127887"/>
              <a:gd name="connsiteY19" fmla="*/ 37300 h 170516"/>
              <a:gd name="connsiteX20" fmla="*/ 53286 w 127887"/>
              <a:gd name="connsiteY20" fmla="*/ 47958 h 170516"/>
              <a:gd name="connsiteX21" fmla="*/ 47958 w 127887"/>
              <a:gd name="connsiteY21" fmla="*/ 53286 h 170516"/>
              <a:gd name="connsiteX22" fmla="*/ 37300 w 127887"/>
              <a:gd name="connsiteY22" fmla="*/ 53286 h 170516"/>
              <a:gd name="connsiteX23" fmla="*/ 31972 w 127887"/>
              <a:gd name="connsiteY23" fmla="*/ 47958 h 170516"/>
              <a:gd name="connsiteX24" fmla="*/ 31972 w 127887"/>
              <a:gd name="connsiteY24" fmla="*/ 37300 h 170516"/>
              <a:gd name="connsiteX25" fmla="*/ 79929 w 127887"/>
              <a:gd name="connsiteY25" fmla="*/ 31972 h 170516"/>
              <a:gd name="connsiteX26" fmla="*/ 90587 w 127887"/>
              <a:gd name="connsiteY26" fmla="*/ 31972 h 170516"/>
              <a:gd name="connsiteX27" fmla="*/ 95915 w 127887"/>
              <a:gd name="connsiteY27" fmla="*/ 37300 h 170516"/>
              <a:gd name="connsiteX28" fmla="*/ 95915 w 127887"/>
              <a:gd name="connsiteY28" fmla="*/ 47958 h 170516"/>
              <a:gd name="connsiteX29" fmla="*/ 90587 w 127887"/>
              <a:gd name="connsiteY29" fmla="*/ 53286 h 170516"/>
              <a:gd name="connsiteX30" fmla="*/ 79929 w 127887"/>
              <a:gd name="connsiteY30" fmla="*/ 53286 h 170516"/>
              <a:gd name="connsiteX31" fmla="*/ 74601 w 127887"/>
              <a:gd name="connsiteY31" fmla="*/ 47958 h 170516"/>
              <a:gd name="connsiteX32" fmla="*/ 74601 w 127887"/>
              <a:gd name="connsiteY32" fmla="*/ 37300 h 170516"/>
              <a:gd name="connsiteX33" fmla="*/ 79929 w 127887"/>
              <a:gd name="connsiteY33" fmla="*/ 31972 h 170516"/>
              <a:gd name="connsiteX34" fmla="*/ 31972 w 127887"/>
              <a:gd name="connsiteY34" fmla="*/ 79929 h 170516"/>
              <a:gd name="connsiteX35" fmla="*/ 37300 w 127887"/>
              <a:gd name="connsiteY35" fmla="*/ 74601 h 170516"/>
              <a:gd name="connsiteX36" fmla="*/ 47958 w 127887"/>
              <a:gd name="connsiteY36" fmla="*/ 74601 h 170516"/>
              <a:gd name="connsiteX37" fmla="*/ 53286 w 127887"/>
              <a:gd name="connsiteY37" fmla="*/ 79929 h 170516"/>
              <a:gd name="connsiteX38" fmla="*/ 53286 w 127887"/>
              <a:gd name="connsiteY38" fmla="*/ 90587 h 170516"/>
              <a:gd name="connsiteX39" fmla="*/ 47958 w 127887"/>
              <a:gd name="connsiteY39" fmla="*/ 95915 h 170516"/>
              <a:gd name="connsiteX40" fmla="*/ 37300 w 127887"/>
              <a:gd name="connsiteY40" fmla="*/ 95915 h 170516"/>
              <a:gd name="connsiteX41" fmla="*/ 31972 w 127887"/>
              <a:gd name="connsiteY41" fmla="*/ 90587 h 170516"/>
              <a:gd name="connsiteX42" fmla="*/ 31972 w 127887"/>
              <a:gd name="connsiteY42" fmla="*/ 79929 h 170516"/>
              <a:gd name="connsiteX43" fmla="*/ 79929 w 127887"/>
              <a:gd name="connsiteY43" fmla="*/ 74601 h 170516"/>
              <a:gd name="connsiteX44" fmla="*/ 90587 w 127887"/>
              <a:gd name="connsiteY44" fmla="*/ 74601 h 170516"/>
              <a:gd name="connsiteX45" fmla="*/ 95915 w 127887"/>
              <a:gd name="connsiteY45" fmla="*/ 79929 h 170516"/>
              <a:gd name="connsiteX46" fmla="*/ 95915 w 127887"/>
              <a:gd name="connsiteY46" fmla="*/ 90587 h 170516"/>
              <a:gd name="connsiteX47" fmla="*/ 90587 w 127887"/>
              <a:gd name="connsiteY47" fmla="*/ 95915 h 170516"/>
              <a:gd name="connsiteX48" fmla="*/ 79929 w 127887"/>
              <a:gd name="connsiteY48" fmla="*/ 95915 h 170516"/>
              <a:gd name="connsiteX49" fmla="*/ 74601 w 127887"/>
              <a:gd name="connsiteY49" fmla="*/ 90587 h 170516"/>
              <a:gd name="connsiteX50" fmla="*/ 74601 w 127887"/>
              <a:gd name="connsiteY50" fmla="*/ 79929 h 170516"/>
              <a:gd name="connsiteX51" fmla="*/ 79929 w 127887"/>
              <a:gd name="connsiteY51" fmla="*/ 74601 h 170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7887" h="170516">
                <a:moveTo>
                  <a:pt x="21315" y="0"/>
                </a:moveTo>
                <a:cubicBezTo>
                  <a:pt x="9558" y="0"/>
                  <a:pt x="0" y="9558"/>
                  <a:pt x="0" y="21315"/>
                </a:cubicBezTo>
                <a:lnTo>
                  <a:pt x="0" y="149202"/>
                </a:lnTo>
                <a:cubicBezTo>
                  <a:pt x="0" y="160958"/>
                  <a:pt x="9558" y="170516"/>
                  <a:pt x="21315" y="170516"/>
                </a:cubicBezTo>
                <a:lnTo>
                  <a:pt x="106573" y="170516"/>
                </a:lnTo>
                <a:cubicBezTo>
                  <a:pt x="118329" y="170516"/>
                  <a:pt x="127887" y="160958"/>
                  <a:pt x="127887" y="149202"/>
                </a:cubicBezTo>
                <a:lnTo>
                  <a:pt x="127887" y="21315"/>
                </a:lnTo>
                <a:cubicBezTo>
                  <a:pt x="127887" y="9558"/>
                  <a:pt x="118329" y="0"/>
                  <a:pt x="106573" y="0"/>
                </a:cubicBezTo>
                <a:lnTo>
                  <a:pt x="21315" y="0"/>
                </a:lnTo>
                <a:close/>
                <a:moveTo>
                  <a:pt x="58615" y="117230"/>
                </a:moveTo>
                <a:lnTo>
                  <a:pt x="69272" y="117230"/>
                </a:lnTo>
                <a:cubicBezTo>
                  <a:pt x="75167" y="117230"/>
                  <a:pt x="79929" y="121992"/>
                  <a:pt x="79929" y="127887"/>
                </a:cubicBezTo>
                <a:lnTo>
                  <a:pt x="79929" y="154530"/>
                </a:lnTo>
                <a:lnTo>
                  <a:pt x="47958" y="154530"/>
                </a:lnTo>
                <a:lnTo>
                  <a:pt x="47958" y="127887"/>
                </a:lnTo>
                <a:cubicBezTo>
                  <a:pt x="47958" y="121992"/>
                  <a:pt x="52720" y="117230"/>
                  <a:pt x="58615" y="117230"/>
                </a:cubicBezTo>
                <a:close/>
                <a:moveTo>
                  <a:pt x="31972" y="37300"/>
                </a:moveTo>
                <a:cubicBezTo>
                  <a:pt x="31972" y="34370"/>
                  <a:pt x="34370" y="31972"/>
                  <a:pt x="37300" y="31972"/>
                </a:cubicBezTo>
                <a:lnTo>
                  <a:pt x="47958" y="31972"/>
                </a:lnTo>
                <a:cubicBezTo>
                  <a:pt x="50888" y="31972"/>
                  <a:pt x="53286" y="34370"/>
                  <a:pt x="53286" y="37300"/>
                </a:cubicBezTo>
                <a:lnTo>
                  <a:pt x="53286" y="47958"/>
                </a:lnTo>
                <a:cubicBezTo>
                  <a:pt x="53286" y="50888"/>
                  <a:pt x="50888" y="53286"/>
                  <a:pt x="47958" y="53286"/>
                </a:cubicBezTo>
                <a:lnTo>
                  <a:pt x="37300" y="53286"/>
                </a:lnTo>
                <a:cubicBezTo>
                  <a:pt x="34370" y="53286"/>
                  <a:pt x="31972" y="50888"/>
                  <a:pt x="31972" y="47958"/>
                </a:cubicBezTo>
                <a:lnTo>
                  <a:pt x="31972" y="37300"/>
                </a:lnTo>
                <a:close/>
                <a:moveTo>
                  <a:pt x="79929" y="31972"/>
                </a:moveTo>
                <a:lnTo>
                  <a:pt x="90587" y="31972"/>
                </a:lnTo>
                <a:cubicBezTo>
                  <a:pt x="93517" y="31972"/>
                  <a:pt x="95915" y="34370"/>
                  <a:pt x="95915" y="37300"/>
                </a:cubicBezTo>
                <a:lnTo>
                  <a:pt x="95915" y="47958"/>
                </a:lnTo>
                <a:cubicBezTo>
                  <a:pt x="95915" y="50888"/>
                  <a:pt x="93517" y="53286"/>
                  <a:pt x="90587" y="53286"/>
                </a:cubicBezTo>
                <a:lnTo>
                  <a:pt x="79929" y="53286"/>
                </a:lnTo>
                <a:cubicBezTo>
                  <a:pt x="76999" y="53286"/>
                  <a:pt x="74601" y="50888"/>
                  <a:pt x="74601" y="47958"/>
                </a:cubicBezTo>
                <a:lnTo>
                  <a:pt x="74601" y="37300"/>
                </a:lnTo>
                <a:cubicBezTo>
                  <a:pt x="74601" y="34370"/>
                  <a:pt x="76999" y="31972"/>
                  <a:pt x="79929" y="31972"/>
                </a:cubicBezTo>
                <a:close/>
                <a:moveTo>
                  <a:pt x="31972" y="79929"/>
                </a:moveTo>
                <a:cubicBezTo>
                  <a:pt x="31972" y="76999"/>
                  <a:pt x="34370" y="74601"/>
                  <a:pt x="37300" y="74601"/>
                </a:cubicBezTo>
                <a:lnTo>
                  <a:pt x="47958" y="74601"/>
                </a:lnTo>
                <a:cubicBezTo>
                  <a:pt x="50888" y="74601"/>
                  <a:pt x="53286" y="76999"/>
                  <a:pt x="53286" y="79929"/>
                </a:cubicBezTo>
                <a:lnTo>
                  <a:pt x="53286" y="90587"/>
                </a:lnTo>
                <a:cubicBezTo>
                  <a:pt x="53286" y="93517"/>
                  <a:pt x="50888" y="95915"/>
                  <a:pt x="47958" y="95915"/>
                </a:cubicBezTo>
                <a:lnTo>
                  <a:pt x="37300" y="95915"/>
                </a:lnTo>
                <a:cubicBezTo>
                  <a:pt x="34370" y="95915"/>
                  <a:pt x="31972" y="93517"/>
                  <a:pt x="31972" y="90587"/>
                </a:cubicBezTo>
                <a:lnTo>
                  <a:pt x="31972" y="79929"/>
                </a:lnTo>
                <a:close/>
                <a:moveTo>
                  <a:pt x="79929" y="74601"/>
                </a:moveTo>
                <a:lnTo>
                  <a:pt x="90587" y="74601"/>
                </a:lnTo>
                <a:cubicBezTo>
                  <a:pt x="93517" y="74601"/>
                  <a:pt x="95915" y="76999"/>
                  <a:pt x="95915" y="79929"/>
                </a:cubicBezTo>
                <a:lnTo>
                  <a:pt x="95915" y="90587"/>
                </a:lnTo>
                <a:cubicBezTo>
                  <a:pt x="95915" y="93517"/>
                  <a:pt x="93517" y="95915"/>
                  <a:pt x="90587" y="95915"/>
                </a:cubicBezTo>
                <a:lnTo>
                  <a:pt x="79929" y="95915"/>
                </a:lnTo>
                <a:cubicBezTo>
                  <a:pt x="76999" y="95915"/>
                  <a:pt x="74601" y="93517"/>
                  <a:pt x="74601" y="90587"/>
                </a:cubicBezTo>
                <a:lnTo>
                  <a:pt x="74601" y="79929"/>
                </a:lnTo>
                <a:cubicBezTo>
                  <a:pt x="74601" y="76999"/>
                  <a:pt x="76999" y="74601"/>
                  <a:pt x="79929" y="74601"/>
                </a:cubicBezTo>
                <a:close/>
              </a:path>
            </a:pathLst>
          </a:custGeom>
          <a:solidFill>
            <a:schemeClr val="tx2"/>
          </a:solidFill>
          <a:ln w="327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70" name="Gráfico 62">
            <a:extLst>
              <a:ext uri="{FF2B5EF4-FFF2-40B4-BE49-F238E27FC236}">
                <a16:creationId xmlns:a16="http://schemas.microsoft.com/office/drawing/2014/main" id="{18E19158-12F1-DCFF-45BA-C764C50DC52B}"/>
              </a:ext>
            </a:extLst>
          </p:cNvPr>
          <p:cNvSpPr/>
          <p:nvPr/>
        </p:nvSpPr>
        <p:spPr>
          <a:xfrm>
            <a:off x="1878800" y="2071847"/>
            <a:ext cx="272612" cy="272612"/>
          </a:xfrm>
          <a:custGeom>
            <a:avLst/>
            <a:gdLst>
              <a:gd name="connsiteX0" fmla="*/ 66121 w 170378"/>
              <a:gd name="connsiteY0" fmla="*/ 2348 h 170378"/>
              <a:gd name="connsiteX1" fmla="*/ 77411 w 170378"/>
              <a:gd name="connsiteY1" fmla="*/ 2348 h 170378"/>
              <a:gd name="connsiteX2" fmla="*/ 107184 w 170378"/>
              <a:gd name="connsiteY2" fmla="*/ 32122 h 170378"/>
              <a:gd name="connsiteX3" fmla="*/ 125501 w 170378"/>
              <a:gd name="connsiteY3" fmla="*/ 13804 h 170378"/>
              <a:gd name="connsiteX4" fmla="*/ 140588 w 170378"/>
              <a:gd name="connsiteY4" fmla="*/ 13804 h 170378"/>
              <a:gd name="connsiteX5" fmla="*/ 156574 w 170378"/>
              <a:gd name="connsiteY5" fmla="*/ 29790 h 170378"/>
              <a:gd name="connsiteX6" fmla="*/ 156574 w 170378"/>
              <a:gd name="connsiteY6" fmla="*/ 44877 h 170378"/>
              <a:gd name="connsiteX7" fmla="*/ 138257 w 170378"/>
              <a:gd name="connsiteY7" fmla="*/ 63194 h 170378"/>
              <a:gd name="connsiteX8" fmla="*/ 168030 w 170378"/>
              <a:gd name="connsiteY8" fmla="*/ 92968 h 170378"/>
              <a:gd name="connsiteX9" fmla="*/ 168030 w 170378"/>
              <a:gd name="connsiteY9" fmla="*/ 104258 h 170378"/>
              <a:gd name="connsiteX10" fmla="*/ 136059 w 170378"/>
              <a:gd name="connsiteY10" fmla="*/ 136230 h 170378"/>
              <a:gd name="connsiteX11" fmla="*/ 124769 w 170378"/>
              <a:gd name="connsiteY11" fmla="*/ 136230 h 170378"/>
              <a:gd name="connsiteX12" fmla="*/ 94995 w 170378"/>
              <a:gd name="connsiteY12" fmla="*/ 106456 h 170378"/>
              <a:gd name="connsiteX13" fmla="*/ 89833 w 170378"/>
              <a:gd name="connsiteY13" fmla="*/ 111618 h 170378"/>
              <a:gd name="connsiteX14" fmla="*/ 95761 w 170378"/>
              <a:gd name="connsiteY14" fmla="*/ 138561 h 170378"/>
              <a:gd name="connsiteX15" fmla="*/ 88701 w 170378"/>
              <a:gd name="connsiteY15" fmla="*/ 167802 h 170378"/>
              <a:gd name="connsiteX16" fmla="*/ 80774 w 170378"/>
              <a:gd name="connsiteY16" fmla="*/ 168834 h 170378"/>
              <a:gd name="connsiteX17" fmla="*/ 48703 w 170378"/>
              <a:gd name="connsiteY17" fmla="*/ 136763 h 170378"/>
              <a:gd name="connsiteX18" fmla="*/ 28720 w 170378"/>
              <a:gd name="connsiteY18" fmla="*/ 156745 h 170378"/>
              <a:gd name="connsiteX19" fmla="*/ 13634 w 170378"/>
              <a:gd name="connsiteY19" fmla="*/ 156745 h 170378"/>
              <a:gd name="connsiteX20" fmla="*/ 13634 w 170378"/>
              <a:gd name="connsiteY20" fmla="*/ 141658 h 170378"/>
              <a:gd name="connsiteX21" fmla="*/ 33616 w 170378"/>
              <a:gd name="connsiteY21" fmla="*/ 121676 h 170378"/>
              <a:gd name="connsiteX22" fmla="*/ 1544 w 170378"/>
              <a:gd name="connsiteY22" fmla="*/ 89604 h 170378"/>
              <a:gd name="connsiteX23" fmla="*/ 2577 w 170378"/>
              <a:gd name="connsiteY23" fmla="*/ 81678 h 170378"/>
              <a:gd name="connsiteX24" fmla="*/ 31817 w 170378"/>
              <a:gd name="connsiteY24" fmla="*/ 74617 h 170378"/>
              <a:gd name="connsiteX25" fmla="*/ 58760 w 170378"/>
              <a:gd name="connsiteY25" fmla="*/ 80545 h 170378"/>
              <a:gd name="connsiteX26" fmla="*/ 63922 w 170378"/>
              <a:gd name="connsiteY26" fmla="*/ 75383 h 170378"/>
              <a:gd name="connsiteX27" fmla="*/ 34149 w 170378"/>
              <a:gd name="connsiteY27" fmla="*/ 45643 h 170378"/>
              <a:gd name="connsiteX28" fmla="*/ 34149 w 170378"/>
              <a:gd name="connsiteY28" fmla="*/ 34353 h 170378"/>
              <a:gd name="connsiteX29" fmla="*/ 66121 w 170378"/>
              <a:gd name="connsiteY29" fmla="*/ 2348 h 170378"/>
              <a:gd name="connsiteX30" fmla="*/ 71782 w 170378"/>
              <a:gd name="connsiteY30" fmla="*/ 19300 h 170378"/>
              <a:gd name="connsiteX31" fmla="*/ 51100 w 170378"/>
              <a:gd name="connsiteY31" fmla="*/ 39981 h 170378"/>
              <a:gd name="connsiteX32" fmla="*/ 75212 w 170378"/>
              <a:gd name="connsiteY32" fmla="*/ 64093 h 170378"/>
              <a:gd name="connsiteX33" fmla="*/ 95894 w 170378"/>
              <a:gd name="connsiteY33" fmla="*/ 43412 h 170378"/>
              <a:gd name="connsiteX34" fmla="*/ 71782 w 170378"/>
              <a:gd name="connsiteY34" fmla="*/ 19300 h 170378"/>
              <a:gd name="connsiteX35" fmla="*/ 130397 w 170378"/>
              <a:gd name="connsiteY35" fmla="*/ 119278 h 170378"/>
              <a:gd name="connsiteX36" fmla="*/ 151079 w 170378"/>
              <a:gd name="connsiteY36" fmla="*/ 98596 h 170378"/>
              <a:gd name="connsiteX37" fmla="*/ 126967 w 170378"/>
              <a:gd name="connsiteY37" fmla="*/ 74484 h 170378"/>
              <a:gd name="connsiteX38" fmla="*/ 106285 w 170378"/>
              <a:gd name="connsiteY38" fmla="*/ 95166 h 170378"/>
              <a:gd name="connsiteX39" fmla="*/ 130397 w 170378"/>
              <a:gd name="connsiteY39" fmla="*/ 119278 h 1703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70378" h="170378">
                <a:moveTo>
                  <a:pt x="66121" y="2348"/>
                </a:moveTo>
                <a:cubicBezTo>
                  <a:pt x="69251" y="-783"/>
                  <a:pt x="74313" y="-783"/>
                  <a:pt x="77411" y="2348"/>
                </a:cubicBezTo>
                <a:lnTo>
                  <a:pt x="107184" y="32122"/>
                </a:lnTo>
                <a:lnTo>
                  <a:pt x="125501" y="13804"/>
                </a:lnTo>
                <a:cubicBezTo>
                  <a:pt x="129664" y="9641"/>
                  <a:pt x="136425" y="9641"/>
                  <a:pt x="140588" y="13804"/>
                </a:cubicBezTo>
                <a:lnTo>
                  <a:pt x="156574" y="29790"/>
                </a:lnTo>
                <a:cubicBezTo>
                  <a:pt x="160737" y="33953"/>
                  <a:pt x="160737" y="40714"/>
                  <a:pt x="156574" y="44877"/>
                </a:cubicBezTo>
                <a:lnTo>
                  <a:pt x="138257" y="63194"/>
                </a:lnTo>
                <a:lnTo>
                  <a:pt x="168030" y="92968"/>
                </a:lnTo>
                <a:cubicBezTo>
                  <a:pt x="171161" y="96098"/>
                  <a:pt x="171161" y="101161"/>
                  <a:pt x="168030" y="104258"/>
                </a:cubicBezTo>
                <a:lnTo>
                  <a:pt x="136059" y="136230"/>
                </a:lnTo>
                <a:cubicBezTo>
                  <a:pt x="132928" y="139360"/>
                  <a:pt x="127866" y="139360"/>
                  <a:pt x="124769" y="136230"/>
                </a:cubicBezTo>
                <a:lnTo>
                  <a:pt x="94995" y="106456"/>
                </a:lnTo>
                <a:lnTo>
                  <a:pt x="89833" y="111618"/>
                </a:lnTo>
                <a:cubicBezTo>
                  <a:pt x="93630" y="119811"/>
                  <a:pt x="95761" y="128936"/>
                  <a:pt x="95761" y="138561"/>
                </a:cubicBezTo>
                <a:cubicBezTo>
                  <a:pt x="95761" y="149118"/>
                  <a:pt x="93197" y="159043"/>
                  <a:pt x="88701" y="167802"/>
                </a:cubicBezTo>
                <a:cubicBezTo>
                  <a:pt x="87135" y="170799"/>
                  <a:pt x="83139" y="171232"/>
                  <a:pt x="80774" y="168834"/>
                </a:cubicBezTo>
                <a:lnTo>
                  <a:pt x="48703" y="136763"/>
                </a:lnTo>
                <a:lnTo>
                  <a:pt x="28720" y="156745"/>
                </a:lnTo>
                <a:cubicBezTo>
                  <a:pt x="24557" y="160908"/>
                  <a:pt x="17797" y="160908"/>
                  <a:pt x="13634" y="156745"/>
                </a:cubicBezTo>
                <a:cubicBezTo>
                  <a:pt x="9471" y="152582"/>
                  <a:pt x="9471" y="145821"/>
                  <a:pt x="13634" y="141658"/>
                </a:cubicBezTo>
                <a:lnTo>
                  <a:pt x="33616" y="121676"/>
                </a:lnTo>
                <a:lnTo>
                  <a:pt x="1544" y="89604"/>
                </a:lnTo>
                <a:cubicBezTo>
                  <a:pt x="-854" y="87206"/>
                  <a:pt x="-421" y="83210"/>
                  <a:pt x="2577" y="81678"/>
                </a:cubicBezTo>
                <a:cubicBezTo>
                  <a:pt x="11336" y="77149"/>
                  <a:pt x="21293" y="74617"/>
                  <a:pt x="31817" y="74617"/>
                </a:cubicBezTo>
                <a:cubicBezTo>
                  <a:pt x="41442" y="74617"/>
                  <a:pt x="50568" y="76749"/>
                  <a:pt x="58760" y="80545"/>
                </a:cubicBezTo>
                <a:lnTo>
                  <a:pt x="63922" y="75383"/>
                </a:lnTo>
                <a:lnTo>
                  <a:pt x="34149" y="45643"/>
                </a:lnTo>
                <a:cubicBezTo>
                  <a:pt x="31018" y="42512"/>
                  <a:pt x="31018" y="37450"/>
                  <a:pt x="34149" y="34353"/>
                </a:cubicBezTo>
                <a:lnTo>
                  <a:pt x="66121" y="2348"/>
                </a:lnTo>
                <a:close/>
                <a:moveTo>
                  <a:pt x="71782" y="19300"/>
                </a:moveTo>
                <a:lnTo>
                  <a:pt x="51100" y="39981"/>
                </a:lnTo>
                <a:lnTo>
                  <a:pt x="75212" y="64093"/>
                </a:lnTo>
                <a:lnTo>
                  <a:pt x="95894" y="43412"/>
                </a:lnTo>
                <a:lnTo>
                  <a:pt x="71782" y="19300"/>
                </a:lnTo>
                <a:close/>
                <a:moveTo>
                  <a:pt x="130397" y="119278"/>
                </a:moveTo>
                <a:lnTo>
                  <a:pt x="151079" y="98596"/>
                </a:lnTo>
                <a:lnTo>
                  <a:pt x="126967" y="74484"/>
                </a:lnTo>
                <a:lnTo>
                  <a:pt x="106285" y="95166"/>
                </a:lnTo>
                <a:lnTo>
                  <a:pt x="130397" y="119278"/>
                </a:lnTo>
                <a:close/>
              </a:path>
            </a:pathLst>
          </a:custGeom>
          <a:solidFill>
            <a:schemeClr val="tx2"/>
          </a:solidFill>
          <a:ln w="327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71" name="Elipse 70">
            <a:extLst>
              <a:ext uri="{FF2B5EF4-FFF2-40B4-BE49-F238E27FC236}">
                <a16:creationId xmlns:a16="http://schemas.microsoft.com/office/drawing/2014/main" id="{6AD5D6F1-BF69-FEFA-3F93-04215A3BC54A}"/>
              </a:ext>
            </a:extLst>
          </p:cNvPr>
          <p:cNvSpPr/>
          <p:nvPr/>
        </p:nvSpPr>
        <p:spPr>
          <a:xfrm>
            <a:off x="3361850" y="3013298"/>
            <a:ext cx="414154" cy="414154"/>
          </a:xfrm>
          <a:prstGeom prst="ellipse">
            <a:avLst/>
          </a:prstGeom>
          <a:solidFill>
            <a:schemeClr val="bg2"/>
          </a:solidFill>
          <a:ln w="6350" cap="rnd" cmpd="sng">
            <a:solidFill>
              <a:schemeClr val="bg2">
                <a:lumMod val="75000"/>
              </a:schemeClr>
            </a:solidFill>
            <a:prstDash val="solid"/>
            <a:round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0800" rIns="0" bIns="0" rtlCol="0" anchor="ctr" anchorCtr="1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ES_tradnl" sz="700">
                <a:solidFill>
                  <a:srgbClr val="FFFFFF"/>
                </a:solidFill>
                <a:latin typeface="Pulso" pitchFamily="2" charset="0"/>
              </a:rPr>
              <a:t>2,6</a:t>
            </a:r>
            <a:br>
              <a:rPr lang="es-ES_tradnl" sz="700">
                <a:solidFill>
                  <a:srgbClr val="FFFFFF"/>
                </a:solidFill>
                <a:latin typeface="Pulso" pitchFamily="2" charset="0"/>
              </a:rPr>
            </a:br>
            <a:r>
              <a:rPr lang="es-ES_tradnl" sz="700" err="1">
                <a:solidFill>
                  <a:srgbClr val="FFFFFF"/>
                </a:solidFill>
                <a:latin typeface="Pulso" pitchFamily="2" charset="0"/>
              </a:rPr>
              <a:t>TBps</a:t>
            </a:r>
            <a:endParaRPr lang="es-ES_tradnl" sz="700">
              <a:solidFill>
                <a:srgbClr val="FFFFFF"/>
              </a:solidFill>
              <a:latin typeface="Pulso" pitchFamily="2" charset="0"/>
            </a:endParaRPr>
          </a:p>
        </p:txBody>
      </p:sp>
      <p:sp>
        <p:nvSpPr>
          <p:cNvPr id="72" name="Elipse 71">
            <a:extLst>
              <a:ext uri="{FF2B5EF4-FFF2-40B4-BE49-F238E27FC236}">
                <a16:creationId xmlns:a16="http://schemas.microsoft.com/office/drawing/2014/main" id="{F228DD51-D6AF-A5E6-2921-58A53FCDB3A7}"/>
              </a:ext>
            </a:extLst>
          </p:cNvPr>
          <p:cNvSpPr/>
          <p:nvPr/>
        </p:nvSpPr>
        <p:spPr>
          <a:xfrm>
            <a:off x="4060292" y="2939755"/>
            <a:ext cx="561240" cy="561240"/>
          </a:xfrm>
          <a:prstGeom prst="ellipse">
            <a:avLst/>
          </a:prstGeom>
          <a:solidFill>
            <a:schemeClr val="accent1"/>
          </a:solidFill>
          <a:ln w="6350" cap="rnd" cmpd="sng">
            <a:solidFill>
              <a:schemeClr val="accent1">
                <a:lumMod val="75000"/>
              </a:schemeClr>
            </a:solidFill>
            <a:prstDash val="solid"/>
            <a:round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0800" rIns="0" bIns="0" rtlCol="0" anchor="ctr" anchorCtr="1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ES_tradnl" sz="800">
                <a:solidFill>
                  <a:srgbClr val="FFFFFF"/>
                </a:solidFill>
                <a:latin typeface="Pulso" pitchFamily="2" charset="0"/>
              </a:rPr>
              <a:t>13,4</a:t>
            </a:r>
            <a:br>
              <a:rPr lang="es-ES_tradnl" sz="800">
                <a:solidFill>
                  <a:srgbClr val="FFFFFF"/>
                </a:solidFill>
                <a:latin typeface="Pulso" pitchFamily="2" charset="0"/>
              </a:rPr>
            </a:br>
            <a:r>
              <a:rPr lang="es-ES_tradnl" sz="800" err="1">
                <a:solidFill>
                  <a:srgbClr val="FFFFFF"/>
                </a:solidFill>
                <a:latin typeface="Pulso" pitchFamily="2" charset="0"/>
              </a:rPr>
              <a:t>TBps</a:t>
            </a:r>
            <a:endParaRPr lang="es-ES_tradnl" sz="800">
              <a:solidFill>
                <a:srgbClr val="FFFFFF"/>
              </a:solidFill>
              <a:latin typeface="Pulso" pitchFamily="2" charset="0"/>
            </a:endParaRPr>
          </a:p>
        </p:txBody>
      </p:sp>
      <p:grpSp>
        <p:nvGrpSpPr>
          <p:cNvPr id="73" name="Grupo 72">
            <a:extLst>
              <a:ext uri="{FF2B5EF4-FFF2-40B4-BE49-F238E27FC236}">
                <a16:creationId xmlns:a16="http://schemas.microsoft.com/office/drawing/2014/main" id="{BAB14BAD-CD7E-935A-81CD-BD8EEC5DCA59}"/>
              </a:ext>
            </a:extLst>
          </p:cNvPr>
          <p:cNvGrpSpPr/>
          <p:nvPr/>
        </p:nvGrpSpPr>
        <p:grpSpPr>
          <a:xfrm>
            <a:off x="3824176" y="3155502"/>
            <a:ext cx="187943" cy="129747"/>
            <a:chOff x="2919473" y="1836207"/>
            <a:chExt cx="187943" cy="129747"/>
          </a:xfrm>
          <a:solidFill>
            <a:schemeClr val="tx2"/>
          </a:solidFill>
        </p:grpSpPr>
        <p:sp>
          <p:nvSpPr>
            <p:cNvPr id="74" name="Gráfico 7">
              <a:extLst>
                <a:ext uri="{FF2B5EF4-FFF2-40B4-BE49-F238E27FC236}">
                  <a16:creationId xmlns:a16="http://schemas.microsoft.com/office/drawing/2014/main" id="{0F7225D1-C5F5-58EF-D140-C056FB232410}"/>
                </a:ext>
              </a:extLst>
            </p:cNvPr>
            <p:cNvSpPr/>
            <p:nvPr/>
          </p:nvSpPr>
          <p:spPr>
            <a:xfrm rot="16200000">
              <a:off x="2891399" y="1864281"/>
              <a:ext cx="129747" cy="73600"/>
            </a:xfrm>
            <a:custGeom>
              <a:avLst/>
              <a:gdLst>
                <a:gd name="connsiteX0" fmla="*/ 14771 w 219527"/>
                <a:gd name="connsiteY0" fmla="*/ 0 h 124528"/>
                <a:gd name="connsiteX1" fmla="*/ 204757 w 219527"/>
                <a:gd name="connsiteY1" fmla="*/ 0 h 124528"/>
                <a:gd name="connsiteX2" fmla="*/ 215168 w 219527"/>
                <a:gd name="connsiteY2" fmla="*/ 25179 h 124528"/>
                <a:gd name="connsiteX3" fmla="*/ 120212 w 219527"/>
                <a:gd name="connsiteY3" fmla="*/ 120209 h 124528"/>
                <a:gd name="connsiteX4" fmla="*/ 99316 w 219527"/>
                <a:gd name="connsiteY4" fmla="*/ 120209 h 124528"/>
                <a:gd name="connsiteX5" fmla="*/ 4360 w 219527"/>
                <a:gd name="connsiteY5" fmla="*/ 25179 h 124528"/>
                <a:gd name="connsiteX6" fmla="*/ 14771 w 219527"/>
                <a:gd name="connsiteY6" fmla="*/ 0 h 12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527" h="124528">
                  <a:moveTo>
                    <a:pt x="14771" y="0"/>
                  </a:moveTo>
                  <a:lnTo>
                    <a:pt x="204757" y="0"/>
                  </a:lnTo>
                  <a:cubicBezTo>
                    <a:pt x="217900" y="0"/>
                    <a:pt x="224471" y="15875"/>
                    <a:pt x="215168" y="25179"/>
                  </a:cubicBezTo>
                  <a:lnTo>
                    <a:pt x="120212" y="120209"/>
                  </a:lnTo>
                  <a:cubicBezTo>
                    <a:pt x="114453" y="125968"/>
                    <a:pt x="105075" y="125968"/>
                    <a:pt x="99316" y="120209"/>
                  </a:cubicBezTo>
                  <a:lnTo>
                    <a:pt x="4360" y="25179"/>
                  </a:lnTo>
                  <a:cubicBezTo>
                    <a:pt x="-4944" y="15875"/>
                    <a:pt x="1628" y="0"/>
                    <a:pt x="14771" y="0"/>
                  </a:cubicBezTo>
                  <a:close/>
                </a:path>
              </a:pathLst>
            </a:custGeom>
            <a:grpFill/>
            <a:ln w="7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AR"/>
            </a:p>
          </p:txBody>
        </p:sp>
        <p:sp>
          <p:nvSpPr>
            <p:cNvPr id="75" name="Gráfico 7">
              <a:extLst>
                <a:ext uri="{FF2B5EF4-FFF2-40B4-BE49-F238E27FC236}">
                  <a16:creationId xmlns:a16="http://schemas.microsoft.com/office/drawing/2014/main" id="{C232AC61-D940-5850-2ED8-DCEF2760D410}"/>
                </a:ext>
              </a:extLst>
            </p:cNvPr>
            <p:cNvSpPr/>
            <p:nvPr/>
          </p:nvSpPr>
          <p:spPr>
            <a:xfrm rot="16200000">
              <a:off x="3005742" y="1864281"/>
              <a:ext cx="129747" cy="73600"/>
            </a:xfrm>
            <a:custGeom>
              <a:avLst/>
              <a:gdLst>
                <a:gd name="connsiteX0" fmla="*/ 14771 w 219527"/>
                <a:gd name="connsiteY0" fmla="*/ 0 h 124528"/>
                <a:gd name="connsiteX1" fmla="*/ 204757 w 219527"/>
                <a:gd name="connsiteY1" fmla="*/ 0 h 124528"/>
                <a:gd name="connsiteX2" fmla="*/ 215168 w 219527"/>
                <a:gd name="connsiteY2" fmla="*/ 25179 h 124528"/>
                <a:gd name="connsiteX3" fmla="*/ 120212 w 219527"/>
                <a:gd name="connsiteY3" fmla="*/ 120209 h 124528"/>
                <a:gd name="connsiteX4" fmla="*/ 99316 w 219527"/>
                <a:gd name="connsiteY4" fmla="*/ 120209 h 124528"/>
                <a:gd name="connsiteX5" fmla="*/ 4360 w 219527"/>
                <a:gd name="connsiteY5" fmla="*/ 25179 h 124528"/>
                <a:gd name="connsiteX6" fmla="*/ 14771 w 219527"/>
                <a:gd name="connsiteY6" fmla="*/ 0 h 12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527" h="124528">
                  <a:moveTo>
                    <a:pt x="14771" y="0"/>
                  </a:moveTo>
                  <a:lnTo>
                    <a:pt x="204757" y="0"/>
                  </a:lnTo>
                  <a:cubicBezTo>
                    <a:pt x="217900" y="0"/>
                    <a:pt x="224471" y="15875"/>
                    <a:pt x="215168" y="25179"/>
                  </a:cubicBezTo>
                  <a:lnTo>
                    <a:pt x="120212" y="120209"/>
                  </a:lnTo>
                  <a:cubicBezTo>
                    <a:pt x="114453" y="125968"/>
                    <a:pt x="105075" y="125968"/>
                    <a:pt x="99316" y="120209"/>
                  </a:cubicBezTo>
                  <a:lnTo>
                    <a:pt x="4360" y="25179"/>
                  </a:lnTo>
                  <a:cubicBezTo>
                    <a:pt x="-4944" y="15875"/>
                    <a:pt x="1628" y="0"/>
                    <a:pt x="14771" y="0"/>
                  </a:cubicBezTo>
                  <a:close/>
                </a:path>
              </a:pathLst>
            </a:custGeom>
            <a:grpFill/>
            <a:ln w="7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AR"/>
            </a:p>
          </p:txBody>
        </p:sp>
      </p:grpSp>
      <p:sp>
        <p:nvSpPr>
          <p:cNvPr id="76" name="Elipse 75">
            <a:extLst>
              <a:ext uri="{FF2B5EF4-FFF2-40B4-BE49-F238E27FC236}">
                <a16:creationId xmlns:a16="http://schemas.microsoft.com/office/drawing/2014/main" id="{AA24E443-4D3E-0195-A638-F29B49D2AA41}"/>
              </a:ext>
            </a:extLst>
          </p:cNvPr>
          <p:cNvSpPr/>
          <p:nvPr/>
        </p:nvSpPr>
        <p:spPr>
          <a:xfrm>
            <a:off x="2455017" y="3970284"/>
            <a:ext cx="421311" cy="421311"/>
          </a:xfrm>
          <a:prstGeom prst="ellipse">
            <a:avLst/>
          </a:prstGeom>
          <a:solidFill>
            <a:schemeClr val="bg2"/>
          </a:solidFill>
          <a:ln w="6350" cap="rnd" cmpd="sng">
            <a:solidFill>
              <a:schemeClr val="bg2">
                <a:lumMod val="75000"/>
              </a:schemeClr>
            </a:solidFill>
            <a:prstDash val="solid"/>
            <a:round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0800" rIns="0" bIns="0" rtlCol="0" anchor="ctr" anchorCtr="1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ES_tradnl" sz="600">
                <a:solidFill>
                  <a:srgbClr val="FFFFFF"/>
                </a:solidFill>
                <a:latin typeface="Pulso"/>
              </a:rPr>
              <a:t>8</a:t>
            </a:r>
            <a:br>
              <a:rPr lang="es-ES_tradnl" sz="600">
                <a:latin typeface="Pulso" pitchFamily="2" charset="0"/>
              </a:rPr>
            </a:br>
            <a:r>
              <a:rPr lang="es-ES_tradnl" sz="600">
                <a:solidFill>
                  <a:srgbClr val="FFFFFF"/>
                </a:solidFill>
                <a:latin typeface="Pulso"/>
              </a:rPr>
              <a:t>antenas</a:t>
            </a:r>
            <a:endParaRPr lang="es-MX"/>
          </a:p>
        </p:txBody>
      </p:sp>
      <p:sp>
        <p:nvSpPr>
          <p:cNvPr id="77" name="Elipse 76">
            <a:extLst>
              <a:ext uri="{FF2B5EF4-FFF2-40B4-BE49-F238E27FC236}">
                <a16:creationId xmlns:a16="http://schemas.microsoft.com/office/drawing/2014/main" id="{CC0FB5EB-D40D-4F9F-8792-B21CA59B68B1}"/>
              </a:ext>
            </a:extLst>
          </p:cNvPr>
          <p:cNvSpPr/>
          <p:nvPr/>
        </p:nvSpPr>
        <p:spPr>
          <a:xfrm>
            <a:off x="3164526" y="3895470"/>
            <a:ext cx="570939" cy="570939"/>
          </a:xfrm>
          <a:prstGeom prst="ellipse">
            <a:avLst/>
          </a:prstGeom>
          <a:solidFill>
            <a:schemeClr val="accent1"/>
          </a:solidFill>
          <a:ln w="6350" cap="rnd" cmpd="sng">
            <a:solidFill>
              <a:schemeClr val="accent1">
                <a:lumMod val="75000"/>
              </a:schemeClr>
            </a:solidFill>
            <a:prstDash val="solid"/>
            <a:round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0800" rIns="0" bIns="0" rtlCol="0" anchor="ctr" anchorCtr="1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ES_tradnl" sz="800">
                <a:solidFill>
                  <a:srgbClr val="FFFFFF"/>
                </a:solidFill>
                <a:latin typeface="Pulso" pitchFamily="2" charset="0"/>
              </a:rPr>
              <a:t>40</a:t>
            </a:r>
            <a:br>
              <a:rPr lang="es-ES_tradnl" sz="800">
                <a:solidFill>
                  <a:srgbClr val="FFFFFF"/>
                </a:solidFill>
                <a:latin typeface="Pulso" pitchFamily="2" charset="0"/>
              </a:rPr>
            </a:br>
            <a:r>
              <a:rPr lang="es-ES_tradnl" sz="800">
                <a:solidFill>
                  <a:srgbClr val="FFFFFF"/>
                </a:solidFill>
                <a:latin typeface="Pulso" pitchFamily="2" charset="0"/>
              </a:rPr>
              <a:t>antenas</a:t>
            </a:r>
          </a:p>
        </p:txBody>
      </p:sp>
      <p:grpSp>
        <p:nvGrpSpPr>
          <p:cNvPr id="78" name="Grupo 77">
            <a:extLst>
              <a:ext uri="{FF2B5EF4-FFF2-40B4-BE49-F238E27FC236}">
                <a16:creationId xmlns:a16="http://schemas.microsoft.com/office/drawing/2014/main" id="{EE0C5BCA-0A19-4C03-8B25-2E410932E7A3}"/>
              </a:ext>
            </a:extLst>
          </p:cNvPr>
          <p:cNvGrpSpPr/>
          <p:nvPr/>
        </p:nvGrpSpPr>
        <p:grpSpPr>
          <a:xfrm>
            <a:off x="2935841" y="4116066"/>
            <a:ext cx="187943" cy="129747"/>
            <a:chOff x="2919473" y="1836207"/>
            <a:chExt cx="187943" cy="129747"/>
          </a:xfrm>
          <a:solidFill>
            <a:schemeClr val="tx2"/>
          </a:solidFill>
        </p:grpSpPr>
        <p:sp>
          <p:nvSpPr>
            <p:cNvPr id="79" name="Gráfico 7">
              <a:extLst>
                <a:ext uri="{FF2B5EF4-FFF2-40B4-BE49-F238E27FC236}">
                  <a16:creationId xmlns:a16="http://schemas.microsoft.com/office/drawing/2014/main" id="{5838138C-97C1-F65A-BB45-6C2C6E54B4A6}"/>
                </a:ext>
              </a:extLst>
            </p:cNvPr>
            <p:cNvSpPr/>
            <p:nvPr/>
          </p:nvSpPr>
          <p:spPr>
            <a:xfrm rot="16200000">
              <a:off x="2891399" y="1864281"/>
              <a:ext cx="129747" cy="73600"/>
            </a:xfrm>
            <a:custGeom>
              <a:avLst/>
              <a:gdLst>
                <a:gd name="connsiteX0" fmla="*/ 14771 w 219527"/>
                <a:gd name="connsiteY0" fmla="*/ 0 h 124528"/>
                <a:gd name="connsiteX1" fmla="*/ 204757 w 219527"/>
                <a:gd name="connsiteY1" fmla="*/ 0 h 124528"/>
                <a:gd name="connsiteX2" fmla="*/ 215168 w 219527"/>
                <a:gd name="connsiteY2" fmla="*/ 25179 h 124528"/>
                <a:gd name="connsiteX3" fmla="*/ 120212 w 219527"/>
                <a:gd name="connsiteY3" fmla="*/ 120209 h 124528"/>
                <a:gd name="connsiteX4" fmla="*/ 99316 w 219527"/>
                <a:gd name="connsiteY4" fmla="*/ 120209 h 124528"/>
                <a:gd name="connsiteX5" fmla="*/ 4360 w 219527"/>
                <a:gd name="connsiteY5" fmla="*/ 25179 h 124528"/>
                <a:gd name="connsiteX6" fmla="*/ 14771 w 219527"/>
                <a:gd name="connsiteY6" fmla="*/ 0 h 12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527" h="124528">
                  <a:moveTo>
                    <a:pt x="14771" y="0"/>
                  </a:moveTo>
                  <a:lnTo>
                    <a:pt x="204757" y="0"/>
                  </a:lnTo>
                  <a:cubicBezTo>
                    <a:pt x="217900" y="0"/>
                    <a:pt x="224471" y="15875"/>
                    <a:pt x="215168" y="25179"/>
                  </a:cubicBezTo>
                  <a:lnTo>
                    <a:pt x="120212" y="120209"/>
                  </a:lnTo>
                  <a:cubicBezTo>
                    <a:pt x="114453" y="125968"/>
                    <a:pt x="105075" y="125968"/>
                    <a:pt x="99316" y="120209"/>
                  </a:cubicBezTo>
                  <a:lnTo>
                    <a:pt x="4360" y="25179"/>
                  </a:lnTo>
                  <a:cubicBezTo>
                    <a:pt x="-4944" y="15875"/>
                    <a:pt x="1628" y="0"/>
                    <a:pt x="14771" y="0"/>
                  </a:cubicBezTo>
                  <a:close/>
                </a:path>
              </a:pathLst>
            </a:custGeom>
            <a:grpFill/>
            <a:ln w="7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AR"/>
            </a:p>
          </p:txBody>
        </p:sp>
        <p:sp>
          <p:nvSpPr>
            <p:cNvPr id="80" name="Gráfico 7">
              <a:extLst>
                <a:ext uri="{FF2B5EF4-FFF2-40B4-BE49-F238E27FC236}">
                  <a16:creationId xmlns:a16="http://schemas.microsoft.com/office/drawing/2014/main" id="{8D9AC0F9-A36A-749B-59FF-A3EB773A60AF}"/>
                </a:ext>
              </a:extLst>
            </p:cNvPr>
            <p:cNvSpPr/>
            <p:nvPr/>
          </p:nvSpPr>
          <p:spPr>
            <a:xfrm rot="16200000">
              <a:off x="3005742" y="1864281"/>
              <a:ext cx="129747" cy="73600"/>
            </a:xfrm>
            <a:custGeom>
              <a:avLst/>
              <a:gdLst>
                <a:gd name="connsiteX0" fmla="*/ 14771 w 219527"/>
                <a:gd name="connsiteY0" fmla="*/ 0 h 124528"/>
                <a:gd name="connsiteX1" fmla="*/ 204757 w 219527"/>
                <a:gd name="connsiteY1" fmla="*/ 0 h 124528"/>
                <a:gd name="connsiteX2" fmla="*/ 215168 w 219527"/>
                <a:gd name="connsiteY2" fmla="*/ 25179 h 124528"/>
                <a:gd name="connsiteX3" fmla="*/ 120212 w 219527"/>
                <a:gd name="connsiteY3" fmla="*/ 120209 h 124528"/>
                <a:gd name="connsiteX4" fmla="*/ 99316 w 219527"/>
                <a:gd name="connsiteY4" fmla="*/ 120209 h 124528"/>
                <a:gd name="connsiteX5" fmla="*/ 4360 w 219527"/>
                <a:gd name="connsiteY5" fmla="*/ 25179 h 124528"/>
                <a:gd name="connsiteX6" fmla="*/ 14771 w 219527"/>
                <a:gd name="connsiteY6" fmla="*/ 0 h 12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527" h="124528">
                  <a:moveTo>
                    <a:pt x="14771" y="0"/>
                  </a:moveTo>
                  <a:lnTo>
                    <a:pt x="204757" y="0"/>
                  </a:lnTo>
                  <a:cubicBezTo>
                    <a:pt x="217900" y="0"/>
                    <a:pt x="224471" y="15875"/>
                    <a:pt x="215168" y="25179"/>
                  </a:cubicBezTo>
                  <a:lnTo>
                    <a:pt x="120212" y="120209"/>
                  </a:lnTo>
                  <a:cubicBezTo>
                    <a:pt x="114453" y="125968"/>
                    <a:pt x="105075" y="125968"/>
                    <a:pt x="99316" y="120209"/>
                  </a:cubicBezTo>
                  <a:lnTo>
                    <a:pt x="4360" y="25179"/>
                  </a:lnTo>
                  <a:cubicBezTo>
                    <a:pt x="-4944" y="15875"/>
                    <a:pt x="1628" y="0"/>
                    <a:pt x="14771" y="0"/>
                  </a:cubicBezTo>
                  <a:close/>
                </a:path>
              </a:pathLst>
            </a:custGeom>
            <a:grpFill/>
            <a:ln w="7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AR"/>
            </a:p>
          </p:txBody>
        </p:sp>
      </p:grpSp>
      <p:sp>
        <p:nvSpPr>
          <p:cNvPr id="81" name="Elipse 80">
            <a:extLst>
              <a:ext uri="{FF2B5EF4-FFF2-40B4-BE49-F238E27FC236}">
                <a16:creationId xmlns:a16="http://schemas.microsoft.com/office/drawing/2014/main" id="{2E4BC249-C38B-624E-355D-D7AB53141E9E}"/>
              </a:ext>
            </a:extLst>
          </p:cNvPr>
          <p:cNvSpPr/>
          <p:nvPr/>
        </p:nvSpPr>
        <p:spPr>
          <a:xfrm>
            <a:off x="587462" y="3365809"/>
            <a:ext cx="460079" cy="460079"/>
          </a:xfrm>
          <a:prstGeom prst="ellipse">
            <a:avLst/>
          </a:prstGeom>
          <a:solidFill>
            <a:schemeClr val="bg2"/>
          </a:solidFill>
          <a:ln w="6350" cap="rnd" cmpd="sng">
            <a:solidFill>
              <a:schemeClr val="bg2">
                <a:lumMod val="75000"/>
              </a:schemeClr>
            </a:solidFill>
            <a:prstDash val="solid"/>
            <a:round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0800" rIns="0" bIns="0" rtlCol="0" anchor="ctr" anchorCtr="1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ES_tradnl" sz="700">
                <a:solidFill>
                  <a:srgbClr val="FFFFFF"/>
                </a:solidFill>
                <a:latin typeface="Pulso" pitchFamily="2" charset="0"/>
              </a:rPr>
              <a:t>0,6MMusers</a:t>
            </a:r>
          </a:p>
        </p:txBody>
      </p:sp>
      <p:sp>
        <p:nvSpPr>
          <p:cNvPr id="82" name="Elipse 81">
            <a:extLst>
              <a:ext uri="{FF2B5EF4-FFF2-40B4-BE49-F238E27FC236}">
                <a16:creationId xmlns:a16="http://schemas.microsoft.com/office/drawing/2014/main" id="{02C3CEB2-FDF1-7510-0595-CFCD52704B77}"/>
              </a:ext>
            </a:extLst>
          </p:cNvPr>
          <p:cNvSpPr/>
          <p:nvPr/>
        </p:nvSpPr>
        <p:spPr>
          <a:xfrm>
            <a:off x="1474859" y="3335710"/>
            <a:ext cx="564095" cy="564095"/>
          </a:xfrm>
          <a:prstGeom prst="ellipse">
            <a:avLst/>
          </a:prstGeom>
          <a:solidFill>
            <a:schemeClr val="accent1"/>
          </a:solidFill>
          <a:ln w="6350" cap="rnd" cmpd="sng">
            <a:solidFill>
              <a:schemeClr val="accent1">
                <a:lumMod val="75000"/>
              </a:schemeClr>
            </a:solidFill>
            <a:prstDash val="solid"/>
            <a:round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0800" rIns="0" bIns="0" rtlCol="0" anchor="ctr" anchorCtr="1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ES_tradnl" sz="800">
                <a:solidFill>
                  <a:srgbClr val="FFFFFF"/>
                </a:solidFill>
                <a:latin typeface="Pulso" pitchFamily="2" charset="0"/>
              </a:rPr>
              <a:t>2,5MM</a:t>
            </a:r>
            <a:br>
              <a:rPr lang="es-ES_tradnl" sz="800">
                <a:solidFill>
                  <a:srgbClr val="FFFFFF"/>
                </a:solidFill>
                <a:latin typeface="Pulso" pitchFamily="2" charset="0"/>
              </a:rPr>
            </a:br>
            <a:r>
              <a:rPr lang="es-ES_tradnl" sz="800" err="1">
                <a:solidFill>
                  <a:srgbClr val="FFFFFF"/>
                </a:solidFill>
                <a:latin typeface="Pulso" pitchFamily="2" charset="0"/>
              </a:rPr>
              <a:t>users</a:t>
            </a:r>
            <a:endParaRPr lang="es-ES_tradnl" sz="800">
              <a:solidFill>
                <a:srgbClr val="FFFFFF"/>
              </a:solidFill>
              <a:latin typeface="Pulso" pitchFamily="2" charset="0"/>
            </a:endParaRPr>
          </a:p>
        </p:txBody>
      </p:sp>
      <p:grpSp>
        <p:nvGrpSpPr>
          <p:cNvPr id="83" name="Grupo 82">
            <a:extLst>
              <a:ext uri="{FF2B5EF4-FFF2-40B4-BE49-F238E27FC236}">
                <a16:creationId xmlns:a16="http://schemas.microsoft.com/office/drawing/2014/main" id="{B6FF8CB2-EEED-DDFA-03DC-7172AF6647AA}"/>
              </a:ext>
            </a:extLst>
          </p:cNvPr>
          <p:cNvGrpSpPr/>
          <p:nvPr/>
        </p:nvGrpSpPr>
        <p:grpSpPr>
          <a:xfrm>
            <a:off x="1161179" y="3687805"/>
            <a:ext cx="187943" cy="129747"/>
            <a:chOff x="2919473" y="1836207"/>
            <a:chExt cx="187943" cy="129747"/>
          </a:xfrm>
          <a:solidFill>
            <a:schemeClr val="tx2"/>
          </a:solidFill>
        </p:grpSpPr>
        <p:sp>
          <p:nvSpPr>
            <p:cNvPr id="84" name="Gráfico 7">
              <a:extLst>
                <a:ext uri="{FF2B5EF4-FFF2-40B4-BE49-F238E27FC236}">
                  <a16:creationId xmlns:a16="http://schemas.microsoft.com/office/drawing/2014/main" id="{677AF0FB-CF3A-92EE-278A-A7040BFD7626}"/>
                </a:ext>
              </a:extLst>
            </p:cNvPr>
            <p:cNvSpPr/>
            <p:nvPr/>
          </p:nvSpPr>
          <p:spPr>
            <a:xfrm rot="16200000">
              <a:off x="2891399" y="1864281"/>
              <a:ext cx="129747" cy="73600"/>
            </a:xfrm>
            <a:custGeom>
              <a:avLst/>
              <a:gdLst>
                <a:gd name="connsiteX0" fmla="*/ 14771 w 219527"/>
                <a:gd name="connsiteY0" fmla="*/ 0 h 124528"/>
                <a:gd name="connsiteX1" fmla="*/ 204757 w 219527"/>
                <a:gd name="connsiteY1" fmla="*/ 0 h 124528"/>
                <a:gd name="connsiteX2" fmla="*/ 215168 w 219527"/>
                <a:gd name="connsiteY2" fmla="*/ 25179 h 124528"/>
                <a:gd name="connsiteX3" fmla="*/ 120212 w 219527"/>
                <a:gd name="connsiteY3" fmla="*/ 120209 h 124528"/>
                <a:gd name="connsiteX4" fmla="*/ 99316 w 219527"/>
                <a:gd name="connsiteY4" fmla="*/ 120209 h 124528"/>
                <a:gd name="connsiteX5" fmla="*/ 4360 w 219527"/>
                <a:gd name="connsiteY5" fmla="*/ 25179 h 124528"/>
                <a:gd name="connsiteX6" fmla="*/ 14771 w 219527"/>
                <a:gd name="connsiteY6" fmla="*/ 0 h 12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527" h="124528">
                  <a:moveTo>
                    <a:pt x="14771" y="0"/>
                  </a:moveTo>
                  <a:lnTo>
                    <a:pt x="204757" y="0"/>
                  </a:lnTo>
                  <a:cubicBezTo>
                    <a:pt x="217900" y="0"/>
                    <a:pt x="224471" y="15875"/>
                    <a:pt x="215168" y="25179"/>
                  </a:cubicBezTo>
                  <a:lnTo>
                    <a:pt x="120212" y="120209"/>
                  </a:lnTo>
                  <a:cubicBezTo>
                    <a:pt x="114453" y="125968"/>
                    <a:pt x="105075" y="125968"/>
                    <a:pt x="99316" y="120209"/>
                  </a:cubicBezTo>
                  <a:lnTo>
                    <a:pt x="4360" y="25179"/>
                  </a:lnTo>
                  <a:cubicBezTo>
                    <a:pt x="-4944" y="15875"/>
                    <a:pt x="1628" y="0"/>
                    <a:pt x="14771" y="0"/>
                  </a:cubicBezTo>
                  <a:close/>
                </a:path>
              </a:pathLst>
            </a:custGeom>
            <a:grpFill/>
            <a:ln w="7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AR"/>
            </a:p>
          </p:txBody>
        </p:sp>
        <p:sp>
          <p:nvSpPr>
            <p:cNvPr id="85" name="Gráfico 7">
              <a:extLst>
                <a:ext uri="{FF2B5EF4-FFF2-40B4-BE49-F238E27FC236}">
                  <a16:creationId xmlns:a16="http://schemas.microsoft.com/office/drawing/2014/main" id="{1A14D85F-BE75-298B-D256-5BBC97A70813}"/>
                </a:ext>
              </a:extLst>
            </p:cNvPr>
            <p:cNvSpPr/>
            <p:nvPr/>
          </p:nvSpPr>
          <p:spPr>
            <a:xfrm rot="16200000">
              <a:off x="3005742" y="1864281"/>
              <a:ext cx="129747" cy="73600"/>
            </a:xfrm>
            <a:custGeom>
              <a:avLst/>
              <a:gdLst>
                <a:gd name="connsiteX0" fmla="*/ 14771 w 219527"/>
                <a:gd name="connsiteY0" fmla="*/ 0 h 124528"/>
                <a:gd name="connsiteX1" fmla="*/ 204757 w 219527"/>
                <a:gd name="connsiteY1" fmla="*/ 0 h 124528"/>
                <a:gd name="connsiteX2" fmla="*/ 215168 w 219527"/>
                <a:gd name="connsiteY2" fmla="*/ 25179 h 124528"/>
                <a:gd name="connsiteX3" fmla="*/ 120212 w 219527"/>
                <a:gd name="connsiteY3" fmla="*/ 120209 h 124528"/>
                <a:gd name="connsiteX4" fmla="*/ 99316 w 219527"/>
                <a:gd name="connsiteY4" fmla="*/ 120209 h 124528"/>
                <a:gd name="connsiteX5" fmla="*/ 4360 w 219527"/>
                <a:gd name="connsiteY5" fmla="*/ 25179 h 124528"/>
                <a:gd name="connsiteX6" fmla="*/ 14771 w 219527"/>
                <a:gd name="connsiteY6" fmla="*/ 0 h 12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527" h="124528">
                  <a:moveTo>
                    <a:pt x="14771" y="0"/>
                  </a:moveTo>
                  <a:lnTo>
                    <a:pt x="204757" y="0"/>
                  </a:lnTo>
                  <a:cubicBezTo>
                    <a:pt x="217900" y="0"/>
                    <a:pt x="224471" y="15875"/>
                    <a:pt x="215168" y="25179"/>
                  </a:cubicBezTo>
                  <a:lnTo>
                    <a:pt x="120212" y="120209"/>
                  </a:lnTo>
                  <a:cubicBezTo>
                    <a:pt x="114453" y="125968"/>
                    <a:pt x="105075" y="125968"/>
                    <a:pt x="99316" y="120209"/>
                  </a:cubicBezTo>
                  <a:lnTo>
                    <a:pt x="4360" y="25179"/>
                  </a:lnTo>
                  <a:cubicBezTo>
                    <a:pt x="-4944" y="15875"/>
                    <a:pt x="1628" y="0"/>
                    <a:pt x="14771" y="0"/>
                  </a:cubicBezTo>
                  <a:close/>
                </a:path>
              </a:pathLst>
            </a:custGeom>
            <a:grpFill/>
            <a:ln w="7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AR"/>
            </a:p>
          </p:txBody>
        </p:sp>
      </p:grpSp>
      <p:sp>
        <p:nvSpPr>
          <p:cNvPr id="86" name="Elipse 85">
            <a:extLst>
              <a:ext uri="{FF2B5EF4-FFF2-40B4-BE49-F238E27FC236}">
                <a16:creationId xmlns:a16="http://schemas.microsoft.com/office/drawing/2014/main" id="{A7AD8195-A046-AC84-5F9B-D8B41C08E8EF}"/>
              </a:ext>
            </a:extLst>
          </p:cNvPr>
          <p:cNvSpPr/>
          <p:nvPr/>
        </p:nvSpPr>
        <p:spPr>
          <a:xfrm>
            <a:off x="692064" y="3799265"/>
            <a:ext cx="460079" cy="460079"/>
          </a:xfrm>
          <a:prstGeom prst="ellipse">
            <a:avLst/>
          </a:prstGeom>
          <a:solidFill>
            <a:schemeClr val="bg2"/>
          </a:solidFill>
          <a:ln w="6350" cap="rnd" cmpd="sng">
            <a:solidFill>
              <a:schemeClr val="bg2">
                <a:lumMod val="75000"/>
              </a:schemeClr>
            </a:solidFill>
            <a:prstDash val="solid"/>
            <a:round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0800" rIns="0" bIns="0" rtlCol="0" anchor="ctr" anchorCtr="1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ES_tradnl" sz="500">
                <a:solidFill>
                  <a:srgbClr val="FFFFFF"/>
                </a:solidFill>
                <a:latin typeface="Pulso" pitchFamily="2" charset="0"/>
              </a:rPr>
              <a:t>1,9 Cliente/km2</a:t>
            </a:r>
          </a:p>
        </p:txBody>
      </p:sp>
      <p:sp>
        <p:nvSpPr>
          <p:cNvPr id="87" name="Elipse 86">
            <a:extLst>
              <a:ext uri="{FF2B5EF4-FFF2-40B4-BE49-F238E27FC236}">
                <a16:creationId xmlns:a16="http://schemas.microsoft.com/office/drawing/2014/main" id="{D0DDA501-E74D-E560-7532-C48396D9BC2B}"/>
              </a:ext>
            </a:extLst>
          </p:cNvPr>
          <p:cNvSpPr/>
          <p:nvPr/>
        </p:nvSpPr>
        <p:spPr>
          <a:xfrm>
            <a:off x="1511598" y="3769166"/>
            <a:ext cx="564095" cy="564095"/>
          </a:xfrm>
          <a:prstGeom prst="ellipse">
            <a:avLst/>
          </a:prstGeom>
          <a:solidFill>
            <a:schemeClr val="accent1"/>
          </a:solidFill>
          <a:ln w="6350" cap="rnd" cmpd="sng">
            <a:solidFill>
              <a:schemeClr val="accent1">
                <a:lumMod val="75000"/>
              </a:schemeClr>
            </a:solidFill>
            <a:prstDash val="solid"/>
            <a:round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0800" rIns="0" bIns="0" rtlCol="0" anchor="ctr" anchorCtr="1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ES_tradnl" sz="600">
                <a:solidFill>
                  <a:srgbClr val="FFFFFF"/>
                </a:solidFill>
                <a:latin typeface="Pulso" pitchFamily="2" charset="0"/>
              </a:rPr>
              <a:t>15,9 Cliente/km2</a:t>
            </a:r>
          </a:p>
        </p:txBody>
      </p:sp>
      <p:grpSp>
        <p:nvGrpSpPr>
          <p:cNvPr id="92" name="Grupo 91">
            <a:extLst>
              <a:ext uri="{FF2B5EF4-FFF2-40B4-BE49-F238E27FC236}">
                <a16:creationId xmlns:a16="http://schemas.microsoft.com/office/drawing/2014/main" id="{6A87D734-5282-A889-9152-CF1D1F87F0AF}"/>
              </a:ext>
            </a:extLst>
          </p:cNvPr>
          <p:cNvGrpSpPr/>
          <p:nvPr/>
        </p:nvGrpSpPr>
        <p:grpSpPr>
          <a:xfrm>
            <a:off x="1136171" y="3319423"/>
            <a:ext cx="284699" cy="299246"/>
            <a:chOff x="1041291" y="2668068"/>
            <a:chExt cx="284699" cy="299246"/>
          </a:xfrm>
        </p:grpSpPr>
        <p:sp>
          <p:nvSpPr>
            <p:cNvPr id="67" name="Gráfico 56">
              <a:extLst>
                <a:ext uri="{FF2B5EF4-FFF2-40B4-BE49-F238E27FC236}">
                  <a16:creationId xmlns:a16="http://schemas.microsoft.com/office/drawing/2014/main" id="{00F18374-7089-D8AF-0770-EEE7876355E5}"/>
                </a:ext>
              </a:extLst>
            </p:cNvPr>
            <p:cNvSpPr/>
            <p:nvPr/>
          </p:nvSpPr>
          <p:spPr>
            <a:xfrm>
              <a:off x="1041291" y="2694509"/>
              <a:ext cx="272784" cy="272805"/>
            </a:xfrm>
            <a:custGeom>
              <a:avLst/>
              <a:gdLst>
                <a:gd name="connsiteX0" fmla="*/ 92487 w 170486"/>
                <a:gd name="connsiteY0" fmla="*/ 2847 h 170499"/>
                <a:gd name="connsiteX1" fmla="*/ 78000 w 170486"/>
                <a:gd name="connsiteY1" fmla="*/ 2847 h 170499"/>
                <a:gd name="connsiteX2" fmla="*/ 3399 w 170486"/>
                <a:gd name="connsiteY2" fmla="*/ 72120 h 170499"/>
                <a:gd name="connsiteX3" fmla="*/ 734 w 170486"/>
                <a:gd name="connsiteY3" fmla="*/ 83809 h 170499"/>
                <a:gd name="connsiteX4" fmla="*/ 10626 w 170486"/>
                <a:gd name="connsiteY4" fmla="*/ 90570 h 170499"/>
                <a:gd name="connsiteX5" fmla="*/ 15954 w 170486"/>
                <a:gd name="connsiteY5" fmla="*/ 90570 h 170499"/>
                <a:gd name="connsiteX6" fmla="*/ 15954 w 170486"/>
                <a:gd name="connsiteY6" fmla="*/ 149185 h 170499"/>
                <a:gd name="connsiteX7" fmla="*/ 37269 w 170486"/>
                <a:gd name="connsiteY7" fmla="*/ 170499 h 170499"/>
                <a:gd name="connsiteX8" fmla="*/ 133184 w 170486"/>
                <a:gd name="connsiteY8" fmla="*/ 170499 h 170499"/>
                <a:gd name="connsiteX9" fmla="*/ 154499 w 170486"/>
                <a:gd name="connsiteY9" fmla="*/ 149185 h 170499"/>
                <a:gd name="connsiteX10" fmla="*/ 154499 w 170486"/>
                <a:gd name="connsiteY10" fmla="*/ 90570 h 170499"/>
                <a:gd name="connsiteX11" fmla="*/ 159827 w 170486"/>
                <a:gd name="connsiteY11" fmla="*/ 90570 h 170499"/>
                <a:gd name="connsiteX12" fmla="*/ 169752 w 170486"/>
                <a:gd name="connsiteY12" fmla="*/ 83809 h 170499"/>
                <a:gd name="connsiteX13" fmla="*/ 167087 w 170486"/>
                <a:gd name="connsiteY13" fmla="*/ 72120 h 170499"/>
                <a:gd name="connsiteX14" fmla="*/ 92487 w 170486"/>
                <a:gd name="connsiteY14" fmla="*/ 2847 h 170499"/>
                <a:gd name="connsiteX15" fmla="*/ 79898 w 170486"/>
                <a:gd name="connsiteY15" fmla="*/ 106556 h 170499"/>
                <a:gd name="connsiteX16" fmla="*/ 90555 w 170486"/>
                <a:gd name="connsiteY16" fmla="*/ 106556 h 170499"/>
                <a:gd name="connsiteX17" fmla="*/ 106541 w 170486"/>
                <a:gd name="connsiteY17" fmla="*/ 122542 h 170499"/>
                <a:gd name="connsiteX18" fmla="*/ 106541 w 170486"/>
                <a:gd name="connsiteY18" fmla="*/ 154513 h 170499"/>
                <a:gd name="connsiteX19" fmla="*/ 63912 w 170486"/>
                <a:gd name="connsiteY19" fmla="*/ 154513 h 170499"/>
                <a:gd name="connsiteX20" fmla="*/ 63912 w 170486"/>
                <a:gd name="connsiteY20" fmla="*/ 122542 h 170499"/>
                <a:gd name="connsiteX21" fmla="*/ 79898 w 170486"/>
                <a:gd name="connsiteY21" fmla="*/ 106556 h 170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0486" h="170499">
                  <a:moveTo>
                    <a:pt x="92487" y="2847"/>
                  </a:moveTo>
                  <a:cubicBezTo>
                    <a:pt x="88390" y="-949"/>
                    <a:pt x="82063" y="-949"/>
                    <a:pt x="78000" y="2847"/>
                  </a:cubicBezTo>
                  <a:lnTo>
                    <a:pt x="3399" y="72120"/>
                  </a:lnTo>
                  <a:cubicBezTo>
                    <a:pt x="202" y="75117"/>
                    <a:pt x="-864" y="79746"/>
                    <a:pt x="734" y="83809"/>
                  </a:cubicBezTo>
                  <a:cubicBezTo>
                    <a:pt x="2333" y="87872"/>
                    <a:pt x="6230" y="90570"/>
                    <a:pt x="10626" y="90570"/>
                  </a:cubicBezTo>
                  <a:lnTo>
                    <a:pt x="15954" y="90570"/>
                  </a:lnTo>
                  <a:lnTo>
                    <a:pt x="15954" y="149185"/>
                  </a:lnTo>
                  <a:cubicBezTo>
                    <a:pt x="15954" y="160941"/>
                    <a:pt x="25513" y="170499"/>
                    <a:pt x="37269" y="170499"/>
                  </a:cubicBezTo>
                  <a:lnTo>
                    <a:pt x="133184" y="170499"/>
                  </a:lnTo>
                  <a:cubicBezTo>
                    <a:pt x="144940" y="170499"/>
                    <a:pt x="154499" y="160941"/>
                    <a:pt x="154499" y="149185"/>
                  </a:cubicBezTo>
                  <a:lnTo>
                    <a:pt x="154499" y="90570"/>
                  </a:lnTo>
                  <a:lnTo>
                    <a:pt x="159827" y="90570"/>
                  </a:lnTo>
                  <a:cubicBezTo>
                    <a:pt x="164223" y="90570"/>
                    <a:pt x="168153" y="87872"/>
                    <a:pt x="169752" y="83809"/>
                  </a:cubicBezTo>
                  <a:cubicBezTo>
                    <a:pt x="171350" y="79746"/>
                    <a:pt x="170285" y="75084"/>
                    <a:pt x="167087" y="72120"/>
                  </a:cubicBezTo>
                  <a:lnTo>
                    <a:pt x="92487" y="2847"/>
                  </a:lnTo>
                  <a:close/>
                  <a:moveTo>
                    <a:pt x="79898" y="106556"/>
                  </a:moveTo>
                  <a:lnTo>
                    <a:pt x="90555" y="106556"/>
                  </a:lnTo>
                  <a:cubicBezTo>
                    <a:pt x="99381" y="106556"/>
                    <a:pt x="106541" y="113716"/>
                    <a:pt x="106541" y="122542"/>
                  </a:cubicBezTo>
                  <a:lnTo>
                    <a:pt x="106541" y="154513"/>
                  </a:lnTo>
                  <a:lnTo>
                    <a:pt x="63912" y="154513"/>
                  </a:lnTo>
                  <a:lnTo>
                    <a:pt x="63912" y="122542"/>
                  </a:lnTo>
                  <a:cubicBezTo>
                    <a:pt x="63912" y="113716"/>
                    <a:pt x="71072" y="106556"/>
                    <a:pt x="79898" y="106556"/>
                  </a:cubicBezTo>
                  <a:close/>
                </a:path>
              </a:pathLst>
            </a:custGeom>
            <a:solidFill>
              <a:schemeClr val="tx2"/>
            </a:solidFill>
            <a:ln w="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1" name="Gráfico 60">
              <a:extLst>
                <a:ext uri="{FF2B5EF4-FFF2-40B4-BE49-F238E27FC236}">
                  <a16:creationId xmlns:a16="http://schemas.microsoft.com/office/drawing/2014/main" id="{0C7E7713-8DF7-1DAF-766A-486A8610D831}"/>
                </a:ext>
              </a:extLst>
            </p:cNvPr>
            <p:cNvSpPr/>
            <p:nvPr/>
          </p:nvSpPr>
          <p:spPr>
            <a:xfrm>
              <a:off x="1219707" y="2668068"/>
              <a:ext cx="106283" cy="106325"/>
            </a:xfrm>
            <a:custGeom>
              <a:avLst/>
              <a:gdLst>
                <a:gd name="connsiteX0" fmla="*/ 77232 w 170482"/>
                <a:gd name="connsiteY0" fmla="*/ 0 h 170549"/>
                <a:gd name="connsiteX1" fmla="*/ 170483 w 170482"/>
                <a:gd name="connsiteY1" fmla="*/ 93251 h 170549"/>
                <a:gd name="connsiteX2" fmla="*/ 162490 w 170482"/>
                <a:gd name="connsiteY2" fmla="*/ 101244 h 170549"/>
                <a:gd name="connsiteX3" fmla="*/ 154497 w 170482"/>
                <a:gd name="connsiteY3" fmla="*/ 93251 h 170549"/>
                <a:gd name="connsiteX4" fmla="*/ 77232 w 170482"/>
                <a:gd name="connsiteY4" fmla="*/ 15986 h 170549"/>
                <a:gd name="connsiteX5" fmla="*/ 69239 w 170482"/>
                <a:gd name="connsiteY5" fmla="*/ 7993 h 170549"/>
                <a:gd name="connsiteX6" fmla="*/ 77232 w 170482"/>
                <a:gd name="connsiteY6" fmla="*/ 0 h 170549"/>
                <a:gd name="connsiteX7" fmla="*/ 69239 w 170482"/>
                <a:gd name="connsiteY7" fmla="*/ 39965 h 170549"/>
                <a:gd name="connsiteX8" fmla="*/ 77232 w 170482"/>
                <a:gd name="connsiteY8" fmla="*/ 31972 h 170549"/>
                <a:gd name="connsiteX9" fmla="*/ 138511 w 170482"/>
                <a:gd name="connsiteY9" fmla="*/ 93251 h 170549"/>
                <a:gd name="connsiteX10" fmla="*/ 130518 w 170482"/>
                <a:gd name="connsiteY10" fmla="*/ 101244 h 170549"/>
                <a:gd name="connsiteX11" fmla="*/ 122525 w 170482"/>
                <a:gd name="connsiteY11" fmla="*/ 93251 h 170549"/>
                <a:gd name="connsiteX12" fmla="*/ 77232 w 170482"/>
                <a:gd name="connsiteY12" fmla="*/ 47958 h 170549"/>
                <a:gd name="connsiteX13" fmla="*/ 69239 w 170482"/>
                <a:gd name="connsiteY13" fmla="*/ 39965 h 170549"/>
                <a:gd name="connsiteX14" fmla="*/ 8759 w 170482"/>
                <a:gd name="connsiteY14" fmla="*/ 47525 h 170549"/>
                <a:gd name="connsiteX15" fmla="*/ 24245 w 170482"/>
                <a:gd name="connsiteY15" fmla="*/ 45593 h 170549"/>
                <a:gd name="connsiteX16" fmla="*/ 67041 w 170482"/>
                <a:gd name="connsiteY16" fmla="*/ 88389 h 170549"/>
                <a:gd name="connsiteX17" fmla="*/ 77698 w 170482"/>
                <a:gd name="connsiteY17" fmla="*/ 77731 h 170549"/>
                <a:gd name="connsiteX18" fmla="*/ 92785 w 170482"/>
                <a:gd name="connsiteY18" fmla="*/ 77731 h 170549"/>
                <a:gd name="connsiteX19" fmla="*/ 92785 w 170482"/>
                <a:gd name="connsiteY19" fmla="*/ 92818 h 170549"/>
                <a:gd name="connsiteX20" fmla="*/ 82127 w 170482"/>
                <a:gd name="connsiteY20" fmla="*/ 103475 h 170549"/>
                <a:gd name="connsiteX21" fmla="*/ 124923 w 170482"/>
                <a:gd name="connsiteY21" fmla="*/ 146271 h 170549"/>
                <a:gd name="connsiteX22" fmla="*/ 122991 w 170482"/>
                <a:gd name="connsiteY22" fmla="*/ 161757 h 170549"/>
                <a:gd name="connsiteX23" fmla="*/ 85258 w 170482"/>
                <a:gd name="connsiteY23" fmla="*/ 170549 h 170549"/>
                <a:gd name="connsiteX24" fmla="*/ 0 w 170482"/>
                <a:gd name="connsiteY24" fmla="*/ 85291 h 170549"/>
                <a:gd name="connsiteX25" fmla="*/ 8792 w 170482"/>
                <a:gd name="connsiteY25" fmla="*/ 47558 h 170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70482" h="170549">
                  <a:moveTo>
                    <a:pt x="77232" y="0"/>
                  </a:moveTo>
                  <a:cubicBezTo>
                    <a:pt x="128720" y="0"/>
                    <a:pt x="170483" y="41763"/>
                    <a:pt x="170483" y="93251"/>
                  </a:cubicBezTo>
                  <a:cubicBezTo>
                    <a:pt x="170483" y="97680"/>
                    <a:pt x="166919" y="101244"/>
                    <a:pt x="162490" y="101244"/>
                  </a:cubicBezTo>
                  <a:cubicBezTo>
                    <a:pt x="158060" y="101244"/>
                    <a:pt x="154497" y="97680"/>
                    <a:pt x="154497" y="93251"/>
                  </a:cubicBezTo>
                  <a:cubicBezTo>
                    <a:pt x="154497" y="50589"/>
                    <a:pt x="119894" y="15986"/>
                    <a:pt x="77232" y="15986"/>
                  </a:cubicBezTo>
                  <a:cubicBezTo>
                    <a:pt x="72802" y="15986"/>
                    <a:pt x="69239" y="12422"/>
                    <a:pt x="69239" y="7993"/>
                  </a:cubicBezTo>
                  <a:cubicBezTo>
                    <a:pt x="69239" y="3564"/>
                    <a:pt x="72802" y="0"/>
                    <a:pt x="77232" y="0"/>
                  </a:cubicBezTo>
                  <a:close/>
                  <a:moveTo>
                    <a:pt x="69239" y="39965"/>
                  </a:moveTo>
                  <a:cubicBezTo>
                    <a:pt x="69239" y="35535"/>
                    <a:pt x="72802" y="31972"/>
                    <a:pt x="77232" y="31972"/>
                  </a:cubicBezTo>
                  <a:cubicBezTo>
                    <a:pt x="111069" y="31972"/>
                    <a:pt x="138511" y="59414"/>
                    <a:pt x="138511" y="93251"/>
                  </a:cubicBezTo>
                  <a:cubicBezTo>
                    <a:pt x="138511" y="97680"/>
                    <a:pt x="134947" y="101244"/>
                    <a:pt x="130518" y="101244"/>
                  </a:cubicBezTo>
                  <a:cubicBezTo>
                    <a:pt x="126089" y="101244"/>
                    <a:pt x="122525" y="97680"/>
                    <a:pt x="122525" y="93251"/>
                  </a:cubicBezTo>
                  <a:cubicBezTo>
                    <a:pt x="122525" y="68240"/>
                    <a:pt x="102243" y="47958"/>
                    <a:pt x="77232" y="47958"/>
                  </a:cubicBezTo>
                  <a:cubicBezTo>
                    <a:pt x="72802" y="47958"/>
                    <a:pt x="69239" y="44394"/>
                    <a:pt x="69239" y="39965"/>
                  </a:cubicBezTo>
                  <a:close/>
                  <a:moveTo>
                    <a:pt x="8759" y="47525"/>
                  </a:moveTo>
                  <a:cubicBezTo>
                    <a:pt x="11690" y="41563"/>
                    <a:pt x="19549" y="40897"/>
                    <a:pt x="24245" y="45593"/>
                  </a:cubicBezTo>
                  <a:lnTo>
                    <a:pt x="67041" y="88389"/>
                  </a:lnTo>
                  <a:lnTo>
                    <a:pt x="77698" y="77731"/>
                  </a:lnTo>
                  <a:cubicBezTo>
                    <a:pt x="81861" y="73568"/>
                    <a:pt x="88622" y="73568"/>
                    <a:pt x="92785" y="77731"/>
                  </a:cubicBezTo>
                  <a:cubicBezTo>
                    <a:pt x="96948" y="81894"/>
                    <a:pt x="96948" y="88655"/>
                    <a:pt x="92785" y="92818"/>
                  </a:cubicBezTo>
                  <a:lnTo>
                    <a:pt x="82127" y="103475"/>
                  </a:lnTo>
                  <a:lnTo>
                    <a:pt x="124923" y="146271"/>
                  </a:lnTo>
                  <a:cubicBezTo>
                    <a:pt x="129619" y="150967"/>
                    <a:pt x="128919" y="158793"/>
                    <a:pt x="122991" y="161757"/>
                  </a:cubicBezTo>
                  <a:cubicBezTo>
                    <a:pt x="111601" y="167385"/>
                    <a:pt x="98813" y="170549"/>
                    <a:pt x="85258" y="170549"/>
                  </a:cubicBezTo>
                  <a:cubicBezTo>
                    <a:pt x="38166" y="170549"/>
                    <a:pt x="0" y="132383"/>
                    <a:pt x="0" y="85291"/>
                  </a:cubicBezTo>
                  <a:cubicBezTo>
                    <a:pt x="0" y="71737"/>
                    <a:pt x="3164" y="58915"/>
                    <a:pt x="8792" y="47558"/>
                  </a:cubicBezTo>
                  <a:close/>
                </a:path>
              </a:pathLst>
            </a:custGeom>
            <a:solidFill>
              <a:schemeClr val="tx2"/>
            </a:solidFill>
            <a:ln w="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grpSp>
        <p:nvGrpSpPr>
          <p:cNvPr id="98" name="Grupo 97">
            <a:extLst>
              <a:ext uri="{FF2B5EF4-FFF2-40B4-BE49-F238E27FC236}">
                <a16:creationId xmlns:a16="http://schemas.microsoft.com/office/drawing/2014/main" id="{828C008E-BF3D-C572-067D-CE3EDB6BD610}"/>
              </a:ext>
            </a:extLst>
          </p:cNvPr>
          <p:cNvGrpSpPr/>
          <p:nvPr/>
        </p:nvGrpSpPr>
        <p:grpSpPr>
          <a:xfrm>
            <a:off x="2766079" y="3274629"/>
            <a:ext cx="531838" cy="531838"/>
            <a:chOff x="2706407" y="2575675"/>
            <a:chExt cx="531838" cy="531838"/>
          </a:xfrm>
        </p:grpSpPr>
        <p:grpSp>
          <p:nvGrpSpPr>
            <p:cNvPr id="96" name="Grupo 95">
              <a:extLst>
                <a:ext uri="{FF2B5EF4-FFF2-40B4-BE49-F238E27FC236}">
                  <a16:creationId xmlns:a16="http://schemas.microsoft.com/office/drawing/2014/main" id="{22874969-ACD0-BF4E-E34F-3E194ECD592D}"/>
                </a:ext>
              </a:extLst>
            </p:cNvPr>
            <p:cNvGrpSpPr/>
            <p:nvPr/>
          </p:nvGrpSpPr>
          <p:grpSpPr>
            <a:xfrm>
              <a:off x="2767520" y="2631497"/>
              <a:ext cx="409613" cy="420194"/>
              <a:chOff x="5150004" y="654843"/>
              <a:chExt cx="599309" cy="614791"/>
            </a:xfrm>
          </p:grpSpPr>
          <p:sp>
            <p:nvSpPr>
              <p:cNvPr id="69" name="Gráfico 60">
                <a:extLst>
                  <a:ext uri="{FF2B5EF4-FFF2-40B4-BE49-F238E27FC236}">
                    <a16:creationId xmlns:a16="http://schemas.microsoft.com/office/drawing/2014/main" id="{6C651C44-3B60-8F62-D9C6-B28E7E707EB6}"/>
                  </a:ext>
                </a:extLst>
              </p:cNvPr>
              <p:cNvSpPr/>
              <p:nvPr/>
            </p:nvSpPr>
            <p:spPr>
              <a:xfrm flipH="1">
                <a:off x="5150004" y="654843"/>
                <a:ext cx="272778" cy="272885"/>
              </a:xfrm>
              <a:custGeom>
                <a:avLst/>
                <a:gdLst>
                  <a:gd name="connsiteX0" fmla="*/ 77232 w 170482"/>
                  <a:gd name="connsiteY0" fmla="*/ 0 h 170549"/>
                  <a:gd name="connsiteX1" fmla="*/ 170483 w 170482"/>
                  <a:gd name="connsiteY1" fmla="*/ 93251 h 170549"/>
                  <a:gd name="connsiteX2" fmla="*/ 162490 w 170482"/>
                  <a:gd name="connsiteY2" fmla="*/ 101244 h 170549"/>
                  <a:gd name="connsiteX3" fmla="*/ 154497 w 170482"/>
                  <a:gd name="connsiteY3" fmla="*/ 93251 h 170549"/>
                  <a:gd name="connsiteX4" fmla="*/ 77232 w 170482"/>
                  <a:gd name="connsiteY4" fmla="*/ 15986 h 170549"/>
                  <a:gd name="connsiteX5" fmla="*/ 69239 w 170482"/>
                  <a:gd name="connsiteY5" fmla="*/ 7993 h 170549"/>
                  <a:gd name="connsiteX6" fmla="*/ 77232 w 170482"/>
                  <a:gd name="connsiteY6" fmla="*/ 0 h 170549"/>
                  <a:gd name="connsiteX7" fmla="*/ 69239 w 170482"/>
                  <a:gd name="connsiteY7" fmla="*/ 39965 h 170549"/>
                  <a:gd name="connsiteX8" fmla="*/ 77232 w 170482"/>
                  <a:gd name="connsiteY8" fmla="*/ 31972 h 170549"/>
                  <a:gd name="connsiteX9" fmla="*/ 138511 w 170482"/>
                  <a:gd name="connsiteY9" fmla="*/ 93251 h 170549"/>
                  <a:gd name="connsiteX10" fmla="*/ 130518 w 170482"/>
                  <a:gd name="connsiteY10" fmla="*/ 101244 h 170549"/>
                  <a:gd name="connsiteX11" fmla="*/ 122525 w 170482"/>
                  <a:gd name="connsiteY11" fmla="*/ 93251 h 170549"/>
                  <a:gd name="connsiteX12" fmla="*/ 77232 w 170482"/>
                  <a:gd name="connsiteY12" fmla="*/ 47958 h 170549"/>
                  <a:gd name="connsiteX13" fmla="*/ 69239 w 170482"/>
                  <a:gd name="connsiteY13" fmla="*/ 39965 h 170549"/>
                  <a:gd name="connsiteX14" fmla="*/ 8759 w 170482"/>
                  <a:gd name="connsiteY14" fmla="*/ 47525 h 170549"/>
                  <a:gd name="connsiteX15" fmla="*/ 24245 w 170482"/>
                  <a:gd name="connsiteY15" fmla="*/ 45593 h 170549"/>
                  <a:gd name="connsiteX16" fmla="*/ 67041 w 170482"/>
                  <a:gd name="connsiteY16" fmla="*/ 88389 h 170549"/>
                  <a:gd name="connsiteX17" fmla="*/ 77698 w 170482"/>
                  <a:gd name="connsiteY17" fmla="*/ 77731 h 170549"/>
                  <a:gd name="connsiteX18" fmla="*/ 92785 w 170482"/>
                  <a:gd name="connsiteY18" fmla="*/ 77731 h 170549"/>
                  <a:gd name="connsiteX19" fmla="*/ 92785 w 170482"/>
                  <a:gd name="connsiteY19" fmla="*/ 92818 h 170549"/>
                  <a:gd name="connsiteX20" fmla="*/ 82127 w 170482"/>
                  <a:gd name="connsiteY20" fmla="*/ 103475 h 170549"/>
                  <a:gd name="connsiteX21" fmla="*/ 124923 w 170482"/>
                  <a:gd name="connsiteY21" fmla="*/ 146271 h 170549"/>
                  <a:gd name="connsiteX22" fmla="*/ 122991 w 170482"/>
                  <a:gd name="connsiteY22" fmla="*/ 161757 h 170549"/>
                  <a:gd name="connsiteX23" fmla="*/ 85258 w 170482"/>
                  <a:gd name="connsiteY23" fmla="*/ 170549 h 170549"/>
                  <a:gd name="connsiteX24" fmla="*/ 0 w 170482"/>
                  <a:gd name="connsiteY24" fmla="*/ 85291 h 170549"/>
                  <a:gd name="connsiteX25" fmla="*/ 8792 w 170482"/>
                  <a:gd name="connsiteY25" fmla="*/ 47558 h 170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70482" h="170549">
                    <a:moveTo>
                      <a:pt x="77232" y="0"/>
                    </a:moveTo>
                    <a:cubicBezTo>
                      <a:pt x="128720" y="0"/>
                      <a:pt x="170483" y="41763"/>
                      <a:pt x="170483" y="93251"/>
                    </a:cubicBezTo>
                    <a:cubicBezTo>
                      <a:pt x="170483" y="97680"/>
                      <a:pt x="166919" y="101244"/>
                      <a:pt x="162490" y="101244"/>
                    </a:cubicBezTo>
                    <a:cubicBezTo>
                      <a:pt x="158060" y="101244"/>
                      <a:pt x="154497" y="97680"/>
                      <a:pt x="154497" y="93251"/>
                    </a:cubicBezTo>
                    <a:cubicBezTo>
                      <a:pt x="154497" y="50589"/>
                      <a:pt x="119894" y="15986"/>
                      <a:pt x="77232" y="15986"/>
                    </a:cubicBezTo>
                    <a:cubicBezTo>
                      <a:pt x="72802" y="15986"/>
                      <a:pt x="69239" y="12422"/>
                      <a:pt x="69239" y="7993"/>
                    </a:cubicBezTo>
                    <a:cubicBezTo>
                      <a:pt x="69239" y="3564"/>
                      <a:pt x="72802" y="0"/>
                      <a:pt x="77232" y="0"/>
                    </a:cubicBezTo>
                    <a:close/>
                    <a:moveTo>
                      <a:pt x="69239" y="39965"/>
                    </a:moveTo>
                    <a:cubicBezTo>
                      <a:pt x="69239" y="35535"/>
                      <a:pt x="72802" y="31972"/>
                      <a:pt x="77232" y="31972"/>
                    </a:cubicBezTo>
                    <a:cubicBezTo>
                      <a:pt x="111069" y="31972"/>
                      <a:pt x="138511" y="59414"/>
                      <a:pt x="138511" y="93251"/>
                    </a:cubicBezTo>
                    <a:cubicBezTo>
                      <a:pt x="138511" y="97680"/>
                      <a:pt x="134947" y="101244"/>
                      <a:pt x="130518" y="101244"/>
                    </a:cubicBezTo>
                    <a:cubicBezTo>
                      <a:pt x="126089" y="101244"/>
                      <a:pt x="122525" y="97680"/>
                      <a:pt x="122525" y="93251"/>
                    </a:cubicBezTo>
                    <a:cubicBezTo>
                      <a:pt x="122525" y="68240"/>
                      <a:pt x="102243" y="47958"/>
                      <a:pt x="77232" y="47958"/>
                    </a:cubicBezTo>
                    <a:cubicBezTo>
                      <a:pt x="72802" y="47958"/>
                      <a:pt x="69239" y="44394"/>
                      <a:pt x="69239" y="39965"/>
                    </a:cubicBezTo>
                    <a:close/>
                    <a:moveTo>
                      <a:pt x="8759" y="47525"/>
                    </a:moveTo>
                    <a:cubicBezTo>
                      <a:pt x="11690" y="41563"/>
                      <a:pt x="19549" y="40897"/>
                      <a:pt x="24245" y="45593"/>
                    </a:cubicBezTo>
                    <a:lnTo>
                      <a:pt x="67041" y="88389"/>
                    </a:lnTo>
                    <a:lnTo>
                      <a:pt x="77698" y="77731"/>
                    </a:lnTo>
                    <a:cubicBezTo>
                      <a:pt x="81861" y="73568"/>
                      <a:pt x="88622" y="73568"/>
                      <a:pt x="92785" y="77731"/>
                    </a:cubicBezTo>
                    <a:cubicBezTo>
                      <a:pt x="96948" y="81894"/>
                      <a:pt x="96948" y="88655"/>
                      <a:pt x="92785" y="92818"/>
                    </a:cubicBezTo>
                    <a:lnTo>
                      <a:pt x="82127" y="103475"/>
                    </a:lnTo>
                    <a:lnTo>
                      <a:pt x="124923" y="146271"/>
                    </a:lnTo>
                    <a:cubicBezTo>
                      <a:pt x="129619" y="150967"/>
                      <a:pt x="128919" y="158793"/>
                      <a:pt x="122991" y="161757"/>
                    </a:cubicBezTo>
                    <a:cubicBezTo>
                      <a:pt x="111601" y="167385"/>
                      <a:pt x="98813" y="170549"/>
                      <a:pt x="85258" y="170549"/>
                    </a:cubicBezTo>
                    <a:cubicBezTo>
                      <a:pt x="38166" y="170549"/>
                      <a:pt x="0" y="132383"/>
                      <a:pt x="0" y="85291"/>
                    </a:cubicBezTo>
                    <a:cubicBezTo>
                      <a:pt x="0" y="71737"/>
                      <a:pt x="3164" y="58915"/>
                      <a:pt x="8792" y="47558"/>
                    </a:cubicBezTo>
                    <a:close/>
                  </a:path>
                </a:pathLst>
              </a:custGeom>
              <a:solidFill>
                <a:schemeClr val="tx2"/>
              </a:solidFill>
              <a:ln w="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93" name="Gráfico 60">
                <a:extLst>
                  <a:ext uri="{FF2B5EF4-FFF2-40B4-BE49-F238E27FC236}">
                    <a16:creationId xmlns:a16="http://schemas.microsoft.com/office/drawing/2014/main" id="{BA6E2CA5-2ED1-3FE8-7916-DFF7D6064395}"/>
                  </a:ext>
                </a:extLst>
              </p:cNvPr>
              <p:cNvSpPr/>
              <p:nvPr/>
            </p:nvSpPr>
            <p:spPr>
              <a:xfrm flipH="1">
                <a:off x="5476535" y="654843"/>
                <a:ext cx="272778" cy="272885"/>
              </a:xfrm>
              <a:custGeom>
                <a:avLst/>
                <a:gdLst>
                  <a:gd name="connsiteX0" fmla="*/ 77232 w 170482"/>
                  <a:gd name="connsiteY0" fmla="*/ 0 h 170549"/>
                  <a:gd name="connsiteX1" fmla="*/ 170483 w 170482"/>
                  <a:gd name="connsiteY1" fmla="*/ 93251 h 170549"/>
                  <a:gd name="connsiteX2" fmla="*/ 162490 w 170482"/>
                  <a:gd name="connsiteY2" fmla="*/ 101244 h 170549"/>
                  <a:gd name="connsiteX3" fmla="*/ 154497 w 170482"/>
                  <a:gd name="connsiteY3" fmla="*/ 93251 h 170549"/>
                  <a:gd name="connsiteX4" fmla="*/ 77232 w 170482"/>
                  <a:gd name="connsiteY4" fmla="*/ 15986 h 170549"/>
                  <a:gd name="connsiteX5" fmla="*/ 69239 w 170482"/>
                  <a:gd name="connsiteY5" fmla="*/ 7993 h 170549"/>
                  <a:gd name="connsiteX6" fmla="*/ 77232 w 170482"/>
                  <a:gd name="connsiteY6" fmla="*/ 0 h 170549"/>
                  <a:gd name="connsiteX7" fmla="*/ 69239 w 170482"/>
                  <a:gd name="connsiteY7" fmla="*/ 39965 h 170549"/>
                  <a:gd name="connsiteX8" fmla="*/ 77232 w 170482"/>
                  <a:gd name="connsiteY8" fmla="*/ 31972 h 170549"/>
                  <a:gd name="connsiteX9" fmla="*/ 138511 w 170482"/>
                  <a:gd name="connsiteY9" fmla="*/ 93251 h 170549"/>
                  <a:gd name="connsiteX10" fmla="*/ 130518 w 170482"/>
                  <a:gd name="connsiteY10" fmla="*/ 101244 h 170549"/>
                  <a:gd name="connsiteX11" fmla="*/ 122525 w 170482"/>
                  <a:gd name="connsiteY11" fmla="*/ 93251 h 170549"/>
                  <a:gd name="connsiteX12" fmla="*/ 77232 w 170482"/>
                  <a:gd name="connsiteY12" fmla="*/ 47958 h 170549"/>
                  <a:gd name="connsiteX13" fmla="*/ 69239 w 170482"/>
                  <a:gd name="connsiteY13" fmla="*/ 39965 h 170549"/>
                  <a:gd name="connsiteX14" fmla="*/ 8759 w 170482"/>
                  <a:gd name="connsiteY14" fmla="*/ 47525 h 170549"/>
                  <a:gd name="connsiteX15" fmla="*/ 24245 w 170482"/>
                  <a:gd name="connsiteY15" fmla="*/ 45593 h 170549"/>
                  <a:gd name="connsiteX16" fmla="*/ 67041 w 170482"/>
                  <a:gd name="connsiteY16" fmla="*/ 88389 h 170549"/>
                  <a:gd name="connsiteX17" fmla="*/ 77698 w 170482"/>
                  <a:gd name="connsiteY17" fmla="*/ 77731 h 170549"/>
                  <a:gd name="connsiteX18" fmla="*/ 92785 w 170482"/>
                  <a:gd name="connsiteY18" fmla="*/ 77731 h 170549"/>
                  <a:gd name="connsiteX19" fmla="*/ 92785 w 170482"/>
                  <a:gd name="connsiteY19" fmla="*/ 92818 h 170549"/>
                  <a:gd name="connsiteX20" fmla="*/ 82127 w 170482"/>
                  <a:gd name="connsiteY20" fmla="*/ 103475 h 170549"/>
                  <a:gd name="connsiteX21" fmla="*/ 124923 w 170482"/>
                  <a:gd name="connsiteY21" fmla="*/ 146271 h 170549"/>
                  <a:gd name="connsiteX22" fmla="*/ 122991 w 170482"/>
                  <a:gd name="connsiteY22" fmla="*/ 161757 h 170549"/>
                  <a:gd name="connsiteX23" fmla="*/ 85258 w 170482"/>
                  <a:gd name="connsiteY23" fmla="*/ 170549 h 170549"/>
                  <a:gd name="connsiteX24" fmla="*/ 0 w 170482"/>
                  <a:gd name="connsiteY24" fmla="*/ 85291 h 170549"/>
                  <a:gd name="connsiteX25" fmla="*/ 8792 w 170482"/>
                  <a:gd name="connsiteY25" fmla="*/ 47558 h 170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70482" h="170549">
                    <a:moveTo>
                      <a:pt x="77232" y="0"/>
                    </a:moveTo>
                    <a:cubicBezTo>
                      <a:pt x="128720" y="0"/>
                      <a:pt x="170483" y="41763"/>
                      <a:pt x="170483" y="93251"/>
                    </a:cubicBezTo>
                    <a:cubicBezTo>
                      <a:pt x="170483" y="97680"/>
                      <a:pt x="166919" y="101244"/>
                      <a:pt x="162490" y="101244"/>
                    </a:cubicBezTo>
                    <a:cubicBezTo>
                      <a:pt x="158060" y="101244"/>
                      <a:pt x="154497" y="97680"/>
                      <a:pt x="154497" y="93251"/>
                    </a:cubicBezTo>
                    <a:cubicBezTo>
                      <a:pt x="154497" y="50589"/>
                      <a:pt x="119894" y="15986"/>
                      <a:pt x="77232" y="15986"/>
                    </a:cubicBezTo>
                    <a:cubicBezTo>
                      <a:pt x="72802" y="15986"/>
                      <a:pt x="69239" y="12422"/>
                      <a:pt x="69239" y="7993"/>
                    </a:cubicBezTo>
                    <a:cubicBezTo>
                      <a:pt x="69239" y="3564"/>
                      <a:pt x="72802" y="0"/>
                      <a:pt x="77232" y="0"/>
                    </a:cubicBezTo>
                    <a:close/>
                    <a:moveTo>
                      <a:pt x="69239" y="39965"/>
                    </a:moveTo>
                    <a:cubicBezTo>
                      <a:pt x="69239" y="35535"/>
                      <a:pt x="72802" y="31972"/>
                      <a:pt x="77232" y="31972"/>
                    </a:cubicBezTo>
                    <a:cubicBezTo>
                      <a:pt x="111069" y="31972"/>
                      <a:pt x="138511" y="59414"/>
                      <a:pt x="138511" y="93251"/>
                    </a:cubicBezTo>
                    <a:cubicBezTo>
                      <a:pt x="138511" y="97680"/>
                      <a:pt x="134947" y="101244"/>
                      <a:pt x="130518" y="101244"/>
                    </a:cubicBezTo>
                    <a:cubicBezTo>
                      <a:pt x="126089" y="101244"/>
                      <a:pt x="122525" y="97680"/>
                      <a:pt x="122525" y="93251"/>
                    </a:cubicBezTo>
                    <a:cubicBezTo>
                      <a:pt x="122525" y="68240"/>
                      <a:pt x="102243" y="47958"/>
                      <a:pt x="77232" y="47958"/>
                    </a:cubicBezTo>
                    <a:cubicBezTo>
                      <a:pt x="72802" y="47958"/>
                      <a:pt x="69239" y="44394"/>
                      <a:pt x="69239" y="39965"/>
                    </a:cubicBezTo>
                    <a:close/>
                    <a:moveTo>
                      <a:pt x="8759" y="47525"/>
                    </a:moveTo>
                    <a:cubicBezTo>
                      <a:pt x="11690" y="41563"/>
                      <a:pt x="19549" y="40897"/>
                      <a:pt x="24245" y="45593"/>
                    </a:cubicBezTo>
                    <a:lnTo>
                      <a:pt x="67041" y="88389"/>
                    </a:lnTo>
                    <a:lnTo>
                      <a:pt x="77698" y="77731"/>
                    </a:lnTo>
                    <a:cubicBezTo>
                      <a:pt x="81861" y="73568"/>
                      <a:pt x="88622" y="73568"/>
                      <a:pt x="92785" y="77731"/>
                    </a:cubicBezTo>
                    <a:cubicBezTo>
                      <a:pt x="96948" y="81894"/>
                      <a:pt x="96948" y="88655"/>
                      <a:pt x="92785" y="92818"/>
                    </a:cubicBezTo>
                    <a:lnTo>
                      <a:pt x="82127" y="103475"/>
                    </a:lnTo>
                    <a:lnTo>
                      <a:pt x="124923" y="146271"/>
                    </a:lnTo>
                    <a:cubicBezTo>
                      <a:pt x="129619" y="150967"/>
                      <a:pt x="128919" y="158793"/>
                      <a:pt x="122991" y="161757"/>
                    </a:cubicBezTo>
                    <a:cubicBezTo>
                      <a:pt x="111601" y="167385"/>
                      <a:pt x="98813" y="170549"/>
                      <a:pt x="85258" y="170549"/>
                    </a:cubicBezTo>
                    <a:cubicBezTo>
                      <a:pt x="38166" y="170549"/>
                      <a:pt x="0" y="132383"/>
                      <a:pt x="0" y="85291"/>
                    </a:cubicBezTo>
                    <a:cubicBezTo>
                      <a:pt x="0" y="71737"/>
                      <a:pt x="3164" y="58915"/>
                      <a:pt x="8792" y="47558"/>
                    </a:cubicBezTo>
                    <a:close/>
                  </a:path>
                </a:pathLst>
              </a:custGeom>
              <a:solidFill>
                <a:schemeClr val="tx2"/>
              </a:solidFill>
              <a:ln w="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94" name="Gráfico 60">
                <a:extLst>
                  <a:ext uri="{FF2B5EF4-FFF2-40B4-BE49-F238E27FC236}">
                    <a16:creationId xmlns:a16="http://schemas.microsoft.com/office/drawing/2014/main" id="{CE0C607D-9A26-39A3-A521-036C55859777}"/>
                  </a:ext>
                </a:extLst>
              </p:cNvPr>
              <p:cNvSpPr/>
              <p:nvPr/>
            </p:nvSpPr>
            <p:spPr>
              <a:xfrm flipH="1">
                <a:off x="5150004" y="996749"/>
                <a:ext cx="272778" cy="272885"/>
              </a:xfrm>
              <a:custGeom>
                <a:avLst/>
                <a:gdLst>
                  <a:gd name="connsiteX0" fmla="*/ 77232 w 170482"/>
                  <a:gd name="connsiteY0" fmla="*/ 0 h 170549"/>
                  <a:gd name="connsiteX1" fmla="*/ 170483 w 170482"/>
                  <a:gd name="connsiteY1" fmla="*/ 93251 h 170549"/>
                  <a:gd name="connsiteX2" fmla="*/ 162490 w 170482"/>
                  <a:gd name="connsiteY2" fmla="*/ 101244 h 170549"/>
                  <a:gd name="connsiteX3" fmla="*/ 154497 w 170482"/>
                  <a:gd name="connsiteY3" fmla="*/ 93251 h 170549"/>
                  <a:gd name="connsiteX4" fmla="*/ 77232 w 170482"/>
                  <a:gd name="connsiteY4" fmla="*/ 15986 h 170549"/>
                  <a:gd name="connsiteX5" fmla="*/ 69239 w 170482"/>
                  <a:gd name="connsiteY5" fmla="*/ 7993 h 170549"/>
                  <a:gd name="connsiteX6" fmla="*/ 77232 w 170482"/>
                  <a:gd name="connsiteY6" fmla="*/ 0 h 170549"/>
                  <a:gd name="connsiteX7" fmla="*/ 69239 w 170482"/>
                  <a:gd name="connsiteY7" fmla="*/ 39965 h 170549"/>
                  <a:gd name="connsiteX8" fmla="*/ 77232 w 170482"/>
                  <a:gd name="connsiteY8" fmla="*/ 31972 h 170549"/>
                  <a:gd name="connsiteX9" fmla="*/ 138511 w 170482"/>
                  <a:gd name="connsiteY9" fmla="*/ 93251 h 170549"/>
                  <a:gd name="connsiteX10" fmla="*/ 130518 w 170482"/>
                  <a:gd name="connsiteY10" fmla="*/ 101244 h 170549"/>
                  <a:gd name="connsiteX11" fmla="*/ 122525 w 170482"/>
                  <a:gd name="connsiteY11" fmla="*/ 93251 h 170549"/>
                  <a:gd name="connsiteX12" fmla="*/ 77232 w 170482"/>
                  <a:gd name="connsiteY12" fmla="*/ 47958 h 170549"/>
                  <a:gd name="connsiteX13" fmla="*/ 69239 w 170482"/>
                  <a:gd name="connsiteY13" fmla="*/ 39965 h 170549"/>
                  <a:gd name="connsiteX14" fmla="*/ 8759 w 170482"/>
                  <a:gd name="connsiteY14" fmla="*/ 47525 h 170549"/>
                  <a:gd name="connsiteX15" fmla="*/ 24245 w 170482"/>
                  <a:gd name="connsiteY15" fmla="*/ 45593 h 170549"/>
                  <a:gd name="connsiteX16" fmla="*/ 67041 w 170482"/>
                  <a:gd name="connsiteY16" fmla="*/ 88389 h 170549"/>
                  <a:gd name="connsiteX17" fmla="*/ 77698 w 170482"/>
                  <a:gd name="connsiteY17" fmla="*/ 77731 h 170549"/>
                  <a:gd name="connsiteX18" fmla="*/ 92785 w 170482"/>
                  <a:gd name="connsiteY18" fmla="*/ 77731 h 170549"/>
                  <a:gd name="connsiteX19" fmla="*/ 92785 w 170482"/>
                  <a:gd name="connsiteY19" fmla="*/ 92818 h 170549"/>
                  <a:gd name="connsiteX20" fmla="*/ 82127 w 170482"/>
                  <a:gd name="connsiteY20" fmla="*/ 103475 h 170549"/>
                  <a:gd name="connsiteX21" fmla="*/ 124923 w 170482"/>
                  <a:gd name="connsiteY21" fmla="*/ 146271 h 170549"/>
                  <a:gd name="connsiteX22" fmla="*/ 122991 w 170482"/>
                  <a:gd name="connsiteY22" fmla="*/ 161757 h 170549"/>
                  <a:gd name="connsiteX23" fmla="*/ 85258 w 170482"/>
                  <a:gd name="connsiteY23" fmla="*/ 170549 h 170549"/>
                  <a:gd name="connsiteX24" fmla="*/ 0 w 170482"/>
                  <a:gd name="connsiteY24" fmla="*/ 85291 h 170549"/>
                  <a:gd name="connsiteX25" fmla="*/ 8792 w 170482"/>
                  <a:gd name="connsiteY25" fmla="*/ 47558 h 170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70482" h="170549">
                    <a:moveTo>
                      <a:pt x="77232" y="0"/>
                    </a:moveTo>
                    <a:cubicBezTo>
                      <a:pt x="128720" y="0"/>
                      <a:pt x="170483" y="41763"/>
                      <a:pt x="170483" y="93251"/>
                    </a:cubicBezTo>
                    <a:cubicBezTo>
                      <a:pt x="170483" y="97680"/>
                      <a:pt x="166919" y="101244"/>
                      <a:pt x="162490" y="101244"/>
                    </a:cubicBezTo>
                    <a:cubicBezTo>
                      <a:pt x="158060" y="101244"/>
                      <a:pt x="154497" y="97680"/>
                      <a:pt x="154497" y="93251"/>
                    </a:cubicBezTo>
                    <a:cubicBezTo>
                      <a:pt x="154497" y="50589"/>
                      <a:pt x="119894" y="15986"/>
                      <a:pt x="77232" y="15986"/>
                    </a:cubicBezTo>
                    <a:cubicBezTo>
                      <a:pt x="72802" y="15986"/>
                      <a:pt x="69239" y="12422"/>
                      <a:pt x="69239" y="7993"/>
                    </a:cubicBezTo>
                    <a:cubicBezTo>
                      <a:pt x="69239" y="3564"/>
                      <a:pt x="72802" y="0"/>
                      <a:pt x="77232" y="0"/>
                    </a:cubicBezTo>
                    <a:close/>
                    <a:moveTo>
                      <a:pt x="69239" y="39965"/>
                    </a:moveTo>
                    <a:cubicBezTo>
                      <a:pt x="69239" y="35535"/>
                      <a:pt x="72802" y="31972"/>
                      <a:pt x="77232" y="31972"/>
                    </a:cubicBezTo>
                    <a:cubicBezTo>
                      <a:pt x="111069" y="31972"/>
                      <a:pt x="138511" y="59414"/>
                      <a:pt x="138511" y="93251"/>
                    </a:cubicBezTo>
                    <a:cubicBezTo>
                      <a:pt x="138511" y="97680"/>
                      <a:pt x="134947" y="101244"/>
                      <a:pt x="130518" y="101244"/>
                    </a:cubicBezTo>
                    <a:cubicBezTo>
                      <a:pt x="126089" y="101244"/>
                      <a:pt x="122525" y="97680"/>
                      <a:pt x="122525" y="93251"/>
                    </a:cubicBezTo>
                    <a:cubicBezTo>
                      <a:pt x="122525" y="68240"/>
                      <a:pt x="102243" y="47958"/>
                      <a:pt x="77232" y="47958"/>
                    </a:cubicBezTo>
                    <a:cubicBezTo>
                      <a:pt x="72802" y="47958"/>
                      <a:pt x="69239" y="44394"/>
                      <a:pt x="69239" y="39965"/>
                    </a:cubicBezTo>
                    <a:close/>
                    <a:moveTo>
                      <a:pt x="8759" y="47525"/>
                    </a:moveTo>
                    <a:cubicBezTo>
                      <a:pt x="11690" y="41563"/>
                      <a:pt x="19549" y="40897"/>
                      <a:pt x="24245" y="45593"/>
                    </a:cubicBezTo>
                    <a:lnTo>
                      <a:pt x="67041" y="88389"/>
                    </a:lnTo>
                    <a:lnTo>
                      <a:pt x="77698" y="77731"/>
                    </a:lnTo>
                    <a:cubicBezTo>
                      <a:pt x="81861" y="73568"/>
                      <a:pt x="88622" y="73568"/>
                      <a:pt x="92785" y="77731"/>
                    </a:cubicBezTo>
                    <a:cubicBezTo>
                      <a:pt x="96948" y="81894"/>
                      <a:pt x="96948" y="88655"/>
                      <a:pt x="92785" y="92818"/>
                    </a:cubicBezTo>
                    <a:lnTo>
                      <a:pt x="82127" y="103475"/>
                    </a:lnTo>
                    <a:lnTo>
                      <a:pt x="124923" y="146271"/>
                    </a:lnTo>
                    <a:cubicBezTo>
                      <a:pt x="129619" y="150967"/>
                      <a:pt x="128919" y="158793"/>
                      <a:pt x="122991" y="161757"/>
                    </a:cubicBezTo>
                    <a:cubicBezTo>
                      <a:pt x="111601" y="167385"/>
                      <a:pt x="98813" y="170549"/>
                      <a:pt x="85258" y="170549"/>
                    </a:cubicBezTo>
                    <a:cubicBezTo>
                      <a:pt x="38166" y="170549"/>
                      <a:pt x="0" y="132383"/>
                      <a:pt x="0" y="85291"/>
                    </a:cubicBezTo>
                    <a:cubicBezTo>
                      <a:pt x="0" y="71737"/>
                      <a:pt x="3164" y="58915"/>
                      <a:pt x="8792" y="47558"/>
                    </a:cubicBezTo>
                    <a:close/>
                  </a:path>
                </a:pathLst>
              </a:custGeom>
              <a:solidFill>
                <a:schemeClr val="tx2"/>
              </a:solidFill>
              <a:ln w="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95" name="Gráfico 60">
                <a:extLst>
                  <a:ext uri="{FF2B5EF4-FFF2-40B4-BE49-F238E27FC236}">
                    <a16:creationId xmlns:a16="http://schemas.microsoft.com/office/drawing/2014/main" id="{B8FC5C51-5FDB-B585-5423-4A03DBC4F098}"/>
                  </a:ext>
                </a:extLst>
              </p:cNvPr>
              <p:cNvSpPr/>
              <p:nvPr/>
            </p:nvSpPr>
            <p:spPr>
              <a:xfrm flipH="1">
                <a:off x="5476535" y="996749"/>
                <a:ext cx="272778" cy="272885"/>
              </a:xfrm>
              <a:custGeom>
                <a:avLst/>
                <a:gdLst>
                  <a:gd name="connsiteX0" fmla="*/ 77232 w 170482"/>
                  <a:gd name="connsiteY0" fmla="*/ 0 h 170549"/>
                  <a:gd name="connsiteX1" fmla="*/ 170483 w 170482"/>
                  <a:gd name="connsiteY1" fmla="*/ 93251 h 170549"/>
                  <a:gd name="connsiteX2" fmla="*/ 162490 w 170482"/>
                  <a:gd name="connsiteY2" fmla="*/ 101244 h 170549"/>
                  <a:gd name="connsiteX3" fmla="*/ 154497 w 170482"/>
                  <a:gd name="connsiteY3" fmla="*/ 93251 h 170549"/>
                  <a:gd name="connsiteX4" fmla="*/ 77232 w 170482"/>
                  <a:gd name="connsiteY4" fmla="*/ 15986 h 170549"/>
                  <a:gd name="connsiteX5" fmla="*/ 69239 w 170482"/>
                  <a:gd name="connsiteY5" fmla="*/ 7993 h 170549"/>
                  <a:gd name="connsiteX6" fmla="*/ 77232 w 170482"/>
                  <a:gd name="connsiteY6" fmla="*/ 0 h 170549"/>
                  <a:gd name="connsiteX7" fmla="*/ 69239 w 170482"/>
                  <a:gd name="connsiteY7" fmla="*/ 39965 h 170549"/>
                  <a:gd name="connsiteX8" fmla="*/ 77232 w 170482"/>
                  <a:gd name="connsiteY8" fmla="*/ 31972 h 170549"/>
                  <a:gd name="connsiteX9" fmla="*/ 138511 w 170482"/>
                  <a:gd name="connsiteY9" fmla="*/ 93251 h 170549"/>
                  <a:gd name="connsiteX10" fmla="*/ 130518 w 170482"/>
                  <a:gd name="connsiteY10" fmla="*/ 101244 h 170549"/>
                  <a:gd name="connsiteX11" fmla="*/ 122525 w 170482"/>
                  <a:gd name="connsiteY11" fmla="*/ 93251 h 170549"/>
                  <a:gd name="connsiteX12" fmla="*/ 77232 w 170482"/>
                  <a:gd name="connsiteY12" fmla="*/ 47958 h 170549"/>
                  <a:gd name="connsiteX13" fmla="*/ 69239 w 170482"/>
                  <a:gd name="connsiteY13" fmla="*/ 39965 h 170549"/>
                  <a:gd name="connsiteX14" fmla="*/ 8759 w 170482"/>
                  <a:gd name="connsiteY14" fmla="*/ 47525 h 170549"/>
                  <a:gd name="connsiteX15" fmla="*/ 24245 w 170482"/>
                  <a:gd name="connsiteY15" fmla="*/ 45593 h 170549"/>
                  <a:gd name="connsiteX16" fmla="*/ 67041 w 170482"/>
                  <a:gd name="connsiteY16" fmla="*/ 88389 h 170549"/>
                  <a:gd name="connsiteX17" fmla="*/ 77698 w 170482"/>
                  <a:gd name="connsiteY17" fmla="*/ 77731 h 170549"/>
                  <a:gd name="connsiteX18" fmla="*/ 92785 w 170482"/>
                  <a:gd name="connsiteY18" fmla="*/ 77731 h 170549"/>
                  <a:gd name="connsiteX19" fmla="*/ 92785 w 170482"/>
                  <a:gd name="connsiteY19" fmla="*/ 92818 h 170549"/>
                  <a:gd name="connsiteX20" fmla="*/ 82127 w 170482"/>
                  <a:gd name="connsiteY20" fmla="*/ 103475 h 170549"/>
                  <a:gd name="connsiteX21" fmla="*/ 124923 w 170482"/>
                  <a:gd name="connsiteY21" fmla="*/ 146271 h 170549"/>
                  <a:gd name="connsiteX22" fmla="*/ 122991 w 170482"/>
                  <a:gd name="connsiteY22" fmla="*/ 161757 h 170549"/>
                  <a:gd name="connsiteX23" fmla="*/ 85258 w 170482"/>
                  <a:gd name="connsiteY23" fmla="*/ 170549 h 170549"/>
                  <a:gd name="connsiteX24" fmla="*/ 0 w 170482"/>
                  <a:gd name="connsiteY24" fmla="*/ 85291 h 170549"/>
                  <a:gd name="connsiteX25" fmla="*/ 8792 w 170482"/>
                  <a:gd name="connsiteY25" fmla="*/ 47558 h 170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70482" h="170549">
                    <a:moveTo>
                      <a:pt x="77232" y="0"/>
                    </a:moveTo>
                    <a:cubicBezTo>
                      <a:pt x="128720" y="0"/>
                      <a:pt x="170483" y="41763"/>
                      <a:pt x="170483" y="93251"/>
                    </a:cubicBezTo>
                    <a:cubicBezTo>
                      <a:pt x="170483" y="97680"/>
                      <a:pt x="166919" y="101244"/>
                      <a:pt x="162490" y="101244"/>
                    </a:cubicBezTo>
                    <a:cubicBezTo>
                      <a:pt x="158060" y="101244"/>
                      <a:pt x="154497" y="97680"/>
                      <a:pt x="154497" y="93251"/>
                    </a:cubicBezTo>
                    <a:cubicBezTo>
                      <a:pt x="154497" y="50589"/>
                      <a:pt x="119894" y="15986"/>
                      <a:pt x="77232" y="15986"/>
                    </a:cubicBezTo>
                    <a:cubicBezTo>
                      <a:pt x="72802" y="15986"/>
                      <a:pt x="69239" y="12422"/>
                      <a:pt x="69239" y="7993"/>
                    </a:cubicBezTo>
                    <a:cubicBezTo>
                      <a:pt x="69239" y="3564"/>
                      <a:pt x="72802" y="0"/>
                      <a:pt x="77232" y="0"/>
                    </a:cubicBezTo>
                    <a:close/>
                    <a:moveTo>
                      <a:pt x="69239" y="39965"/>
                    </a:moveTo>
                    <a:cubicBezTo>
                      <a:pt x="69239" y="35535"/>
                      <a:pt x="72802" y="31972"/>
                      <a:pt x="77232" y="31972"/>
                    </a:cubicBezTo>
                    <a:cubicBezTo>
                      <a:pt x="111069" y="31972"/>
                      <a:pt x="138511" y="59414"/>
                      <a:pt x="138511" y="93251"/>
                    </a:cubicBezTo>
                    <a:cubicBezTo>
                      <a:pt x="138511" y="97680"/>
                      <a:pt x="134947" y="101244"/>
                      <a:pt x="130518" y="101244"/>
                    </a:cubicBezTo>
                    <a:cubicBezTo>
                      <a:pt x="126089" y="101244"/>
                      <a:pt x="122525" y="97680"/>
                      <a:pt x="122525" y="93251"/>
                    </a:cubicBezTo>
                    <a:cubicBezTo>
                      <a:pt x="122525" y="68240"/>
                      <a:pt x="102243" y="47958"/>
                      <a:pt x="77232" y="47958"/>
                    </a:cubicBezTo>
                    <a:cubicBezTo>
                      <a:pt x="72802" y="47958"/>
                      <a:pt x="69239" y="44394"/>
                      <a:pt x="69239" y="39965"/>
                    </a:cubicBezTo>
                    <a:close/>
                    <a:moveTo>
                      <a:pt x="8759" y="47525"/>
                    </a:moveTo>
                    <a:cubicBezTo>
                      <a:pt x="11690" y="41563"/>
                      <a:pt x="19549" y="40897"/>
                      <a:pt x="24245" y="45593"/>
                    </a:cubicBezTo>
                    <a:lnTo>
                      <a:pt x="67041" y="88389"/>
                    </a:lnTo>
                    <a:lnTo>
                      <a:pt x="77698" y="77731"/>
                    </a:lnTo>
                    <a:cubicBezTo>
                      <a:pt x="81861" y="73568"/>
                      <a:pt x="88622" y="73568"/>
                      <a:pt x="92785" y="77731"/>
                    </a:cubicBezTo>
                    <a:cubicBezTo>
                      <a:pt x="96948" y="81894"/>
                      <a:pt x="96948" y="88655"/>
                      <a:pt x="92785" y="92818"/>
                    </a:cubicBezTo>
                    <a:lnTo>
                      <a:pt x="82127" y="103475"/>
                    </a:lnTo>
                    <a:lnTo>
                      <a:pt x="124923" y="146271"/>
                    </a:lnTo>
                    <a:cubicBezTo>
                      <a:pt x="129619" y="150967"/>
                      <a:pt x="128919" y="158793"/>
                      <a:pt x="122991" y="161757"/>
                    </a:cubicBezTo>
                    <a:cubicBezTo>
                      <a:pt x="111601" y="167385"/>
                      <a:pt x="98813" y="170549"/>
                      <a:pt x="85258" y="170549"/>
                    </a:cubicBezTo>
                    <a:cubicBezTo>
                      <a:pt x="38166" y="170549"/>
                      <a:pt x="0" y="132383"/>
                      <a:pt x="0" y="85291"/>
                    </a:cubicBezTo>
                    <a:cubicBezTo>
                      <a:pt x="0" y="71737"/>
                      <a:pt x="3164" y="58915"/>
                      <a:pt x="8792" y="47558"/>
                    </a:cubicBezTo>
                    <a:close/>
                  </a:path>
                </a:pathLst>
              </a:custGeom>
              <a:solidFill>
                <a:schemeClr val="tx2"/>
              </a:solidFill>
              <a:ln w="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97" name="Rectángulo redondeado 96">
              <a:extLst>
                <a:ext uri="{FF2B5EF4-FFF2-40B4-BE49-F238E27FC236}">
                  <a16:creationId xmlns:a16="http://schemas.microsoft.com/office/drawing/2014/main" id="{5C5D90F6-4DAC-5A1C-B6D3-BB8FC4302F74}"/>
                </a:ext>
              </a:extLst>
            </p:cNvPr>
            <p:cNvSpPr/>
            <p:nvPr/>
          </p:nvSpPr>
          <p:spPr>
            <a:xfrm>
              <a:off x="2706407" y="2575675"/>
              <a:ext cx="531838" cy="531838"/>
            </a:xfrm>
            <a:prstGeom prst="roundRect">
              <a:avLst/>
            </a:prstGeom>
            <a:noFill/>
            <a:ln w="12700" cap="rnd" cmpd="sng">
              <a:solidFill>
                <a:schemeClr val="tx2"/>
              </a:solidFill>
              <a:prstDash val="solid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1400" b="1">
                <a:solidFill>
                  <a:schemeClr val="tx1"/>
                </a:solidFill>
              </a:endParaRPr>
            </a:p>
          </p:txBody>
        </p:sp>
      </p:grpSp>
      <p:sp>
        <p:nvSpPr>
          <p:cNvPr id="114" name="Forma libre 113">
            <a:extLst>
              <a:ext uri="{FF2B5EF4-FFF2-40B4-BE49-F238E27FC236}">
                <a16:creationId xmlns:a16="http://schemas.microsoft.com/office/drawing/2014/main" id="{68DEBDA4-8FC7-C9F5-7DFA-573468DBC9FB}"/>
              </a:ext>
            </a:extLst>
          </p:cNvPr>
          <p:cNvSpPr/>
          <p:nvPr/>
        </p:nvSpPr>
        <p:spPr>
          <a:xfrm>
            <a:off x="3374706" y="3600914"/>
            <a:ext cx="1216986" cy="116884"/>
          </a:xfrm>
          <a:custGeom>
            <a:avLst/>
            <a:gdLst>
              <a:gd name="connsiteX0" fmla="*/ 3190213 w 3313017"/>
              <a:gd name="connsiteY0" fmla="*/ 0 h 429451"/>
              <a:gd name="connsiteX1" fmla="*/ 3313017 w 3313017"/>
              <a:gd name="connsiteY1" fmla="*/ 214725 h 429451"/>
              <a:gd name="connsiteX2" fmla="*/ 3190213 w 3313017"/>
              <a:gd name="connsiteY2" fmla="*/ 429450 h 429451"/>
              <a:gd name="connsiteX3" fmla="*/ 3067409 w 3313017"/>
              <a:gd name="connsiteY3" fmla="*/ 214725 h 429451"/>
              <a:gd name="connsiteX4" fmla="*/ 3190213 w 3313017"/>
              <a:gd name="connsiteY4" fmla="*/ 0 h 429451"/>
              <a:gd name="connsiteX5" fmla="*/ 122804 w 3313017"/>
              <a:gd name="connsiteY5" fmla="*/ 0 h 429451"/>
              <a:gd name="connsiteX6" fmla="*/ 133897 w 3313017"/>
              <a:gd name="connsiteY6" fmla="*/ 1955 h 429451"/>
              <a:gd name="connsiteX7" fmla="*/ 133897 w 3313017"/>
              <a:gd name="connsiteY7" fmla="*/ 1 h 429451"/>
              <a:gd name="connsiteX8" fmla="*/ 3083171 w 3313017"/>
              <a:gd name="connsiteY8" fmla="*/ 1 h 429451"/>
              <a:gd name="connsiteX9" fmla="*/ 3074535 w 3313017"/>
              <a:gd name="connsiteY9" fmla="*/ 12459 h 429451"/>
              <a:gd name="connsiteX10" fmla="*/ 3026619 w 3313017"/>
              <a:gd name="connsiteY10" fmla="*/ 214725 h 429451"/>
              <a:gd name="connsiteX11" fmla="*/ 3074535 w 3313017"/>
              <a:gd name="connsiteY11" fmla="*/ 416991 h 429451"/>
              <a:gd name="connsiteX12" fmla="*/ 3083172 w 3313017"/>
              <a:gd name="connsiteY12" fmla="*/ 429451 h 429451"/>
              <a:gd name="connsiteX13" fmla="*/ 133897 w 3313017"/>
              <a:gd name="connsiteY13" fmla="*/ 429451 h 429451"/>
              <a:gd name="connsiteX14" fmla="*/ 133897 w 3313017"/>
              <a:gd name="connsiteY14" fmla="*/ 427495 h 429451"/>
              <a:gd name="connsiteX15" fmla="*/ 122804 w 3313017"/>
              <a:gd name="connsiteY15" fmla="*/ 429450 h 429451"/>
              <a:gd name="connsiteX16" fmla="*/ 0 w 3313017"/>
              <a:gd name="connsiteY16" fmla="*/ 214725 h 429451"/>
              <a:gd name="connsiteX17" fmla="*/ 122804 w 3313017"/>
              <a:gd name="connsiteY17" fmla="*/ 0 h 429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313017" h="429451">
                <a:moveTo>
                  <a:pt x="3190213" y="0"/>
                </a:moveTo>
                <a:cubicBezTo>
                  <a:pt x="3258036" y="0"/>
                  <a:pt x="3313017" y="96136"/>
                  <a:pt x="3313017" y="214725"/>
                </a:cubicBezTo>
                <a:cubicBezTo>
                  <a:pt x="3313017" y="333314"/>
                  <a:pt x="3258036" y="429450"/>
                  <a:pt x="3190213" y="429450"/>
                </a:cubicBezTo>
                <a:cubicBezTo>
                  <a:pt x="3122390" y="429450"/>
                  <a:pt x="3067409" y="333314"/>
                  <a:pt x="3067409" y="214725"/>
                </a:cubicBezTo>
                <a:cubicBezTo>
                  <a:pt x="3067409" y="96136"/>
                  <a:pt x="3122390" y="0"/>
                  <a:pt x="3190213" y="0"/>
                </a:cubicBezTo>
                <a:close/>
                <a:moveTo>
                  <a:pt x="122804" y="0"/>
                </a:moveTo>
                <a:lnTo>
                  <a:pt x="133897" y="1955"/>
                </a:lnTo>
                <a:lnTo>
                  <a:pt x="133897" y="1"/>
                </a:lnTo>
                <a:lnTo>
                  <a:pt x="3083171" y="1"/>
                </a:lnTo>
                <a:lnTo>
                  <a:pt x="3074535" y="12459"/>
                </a:lnTo>
                <a:cubicBezTo>
                  <a:pt x="3044930" y="64224"/>
                  <a:pt x="3026619" y="135736"/>
                  <a:pt x="3026619" y="214725"/>
                </a:cubicBezTo>
                <a:cubicBezTo>
                  <a:pt x="3026619" y="293715"/>
                  <a:pt x="3044930" y="365226"/>
                  <a:pt x="3074535" y="416991"/>
                </a:cubicBezTo>
                <a:lnTo>
                  <a:pt x="3083172" y="429451"/>
                </a:lnTo>
                <a:lnTo>
                  <a:pt x="133897" y="429451"/>
                </a:lnTo>
                <a:lnTo>
                  <a:pt x="133897" y="427495"/>
                </a:lnTo>
                <a:lnTo>
                  <a:pt x="122804" y="429450"/>
                </a:lnTo>
                <a:cubicBezTo>
                  <a:pt x="54981" y="429450"/>
                  <a:pt x="0" y="333314"/>
                  <a:pt x="0" y="214725"/>
                </a:cubicBezTo>
                <a:cubicBezTo>
                  <a:pt x="0" y="96136"/>
                  <a:pt x="54981" y="0"/>
                  <a:pt x="122804" y="0"/>
                </a:cubicBezTo>
                <a:close/>
              </a:path>
            </a:pathLst>
          </a:custGeom>
          <a:solidFill>
            <a:schemeClr val="tx2"/>
          </a:solidFill>
          <a:ln w="32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_tradnl">
              <a:solidFill>
                <a:srgbClr val="808080"/>
              </a:solidFill>
              <a:latin typeface="FrutigerBold" pitchFamily="2" charset="0"/>
              <a:cs typeface="Arial" pitchFamily="34" charset="0"/>
            </a:endParaRPr>
          </a:p>
        </p:txBody>
      </p:sp>
      <p:cxnSp>
        <p:nvCxnSpPr>
          <p:cNvPr id="118" name="Conector recto 117">
            <a:extLst>
              <a:ext uri="{FF2B5EF4-FFF2-40B4-BE49-F238E27FC236}">
                <a16:creationId xmlns:a16="http://schemas.microsoft.com/office/drawing/2014/main" id="{F5211F2E-7B23-576A-C87F-D5F736DF8208}"/>
              </a:ext>
            </a:extLst>
          </p:cNvPr>
          <p:cNvCxnSpPr>
            <a:cxnSpLocks/>
          </p:cNvCxnSpPr>
          <p:nvPr/>
        </p:nvCxnSpPr>
        <p:spPr>
          <a:xfrm flipH="1">
            <a:off x="1473472" y="2895291"/>
            <a:ext cx="456279" cy="40521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Conector recto 120">
            <a:extLst>
              <a:ext uri="{FF2B5EF4-FFF2-40B4-BE49-F238E27FC236}">
                <a16:creationId xmlns:a16="http://schemas.microsoft.com/office/drawing/2014/main" id="{997C576A-887C-A9FA-A01D-AECA2BBAA1BC}"/>
              </a:ext>
            </a:extLst>
          </p:cNvPr>
          <p:cNvCxnSpPr>
            <a:cxnSpLocks/>
          </p:cNvCxnSpPr>
          <p:nvPr/>
        </p:nvCxnSpPr>
        <p:spPr>
          <a:xfrm>
            <a:off x="2248161" y="2907416"/>
            <a:ext cx="461831" cy="454118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CuadroTexto 124">
            <a:extLst>
              <a:ext uri="{FF2B5EF4-FFF2-40B4-BE49-F238E27FC236}">
                <a16:creationId xmlns:a16="http://schemas.microsoft.com/office/drawing/2014/main" id="{E849C1E3-3A10-0006-0E37-CD604AA1A2F5}"/>
              </a:ext>
            </a:extLst>
          </p:cNvPr>
          <p:cNvSpPr txBox="1"/>
          <p:nvPr/>
        </p:nvSpPr>
        <p:spPr>
          <a:xfrm>
            <a:off x="5677511" y="1398680"/>
            <a:ext cx="2500364" cy="861774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>
              <a:spcBef>
                <a:spcPts val="0"/>
              </a:spcBef>
            </a:pPr>
            <a:r>
              <a:rPr lang="es-AR" sz="900">
                <a:solidFill>
                  <a:schemeClr val="bg1">
                    <a:lumMod val="25000"/>
                  </a:schemeClr>
                </a:solidFill>
                <a:latin typeface="Pulso Light"/>
                <a:cs typeface="Arial"/>
              </a:rPr>
              <a:t>Si </a:t>
            </a:r>
            <a:r>
              <a:rPr lang="es-AR" sz="900" err="1">
                <a:solidFill>
                  <a:schemeClr val="bg1">
                    <a:lumMod val="25000"/>
                  </a:schemeClr>
                </a:solidFill>
                <a:latin typeface="Pulso Light"/>
                <a:cs typeface="Arial"/>
              </a:rPr>
              <a:t>Starlink</a:t>
            </a:r>
            <a:r>
              <a:rPr lang="es-AR" sz="900">
                <a:solidFill>
                  <a:schemeClr val="bg1">
                    <a:lumMod val="25000"/>
                  </a:schemeClr>
                </a:solidFill>
                <a:latin typeface="Pulso Light"/>
                <a:cs typeface="Arial"/>
              </a:rPr>
              <a:t> alcanzara 1.5MM de clientes:</a:t>
            </a:r>
          </a:p>
          <a:p>
            <a:pPr marL="134620" indent="-134620">
              <a:spcBef>
                <a:spcPts val="75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es-AR" sz="900">
                <a:solidFill>
                  <a:schemeClr val="bg1">
                    <a:lumMod val="25000"/>
                  </a:schemeClr>
                </a:solidFill>
                <a:latin typeface="Pulso Light"/>
                <a:cs typeface="Arial"/>
              </a:rPr>
              <a:t>60% Zonas Rurales</a:t>
            </a:r>
          </a:p>
          <a:p>
            <a:pPr marL="134620" indent="-134620">
              <a:spcBef>
                <a:spcPts val="75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es-AR" sz="900">
                <a:solidFill>
                  <a:schemeClr val="bg1">
                    <a:lumMod val="25000"/>
                  </a:schemeClr>
                </a:solidFill>
                <a:latin typeface="Pulso Light"/>
                <a:cs typeface="Arial"/>
              </a:rPr>
              <a:t>40% Zonas Urbanas.</a:t>
            </a:r>
          </a:p>
          <a:p>
            <a:pPr marL="134620" indent="-134620">
              <a:spcBef>
                <a:spcPts val="75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es-AR" sz="900">
                <a:solidFill>
                  <a:schemeClr val="bg1">
                    <a:lumMod val="25000"/>
                  </a:schemeClr>
                </a:solidFill>
                <a:latin typeface="Pulso Light"/>
                <a:cs typeface="Arial"/>
              </a:rPr>
              <a:t>Impacto potencial en Personal 300K clientes.  </a:t>
            </a:r>
          </a:p>
        </p:txBody>
      </p:sp>
      <p:sp>
        <p:nvSpPr>
          <p:cNvPr id="140" name="Rectángulo redondeado 139">
            <a:extLst>
              <a:ext uri="{FF2B5EF4-FFF2-40B4-BE49-F238E27FC236}">
                <a16:creationId xmlns:a16="http://schemas.microsoft.com/office/drawing/2014/main" id="{CC651EBF-BB9A-5632-CC24-FC8812BB30C7}"/>
              </a:ext>
            </a:extLst>
          </p:cNvPr>
          <p:cNvSpPr/>
          <p:nvPr/>
        </p:nvSpPr>
        <p:spPr>
          <a:xfrm>
            <a:off x="1408955" y="1619121"/>
            <a:ext cx="1304844" cy="225539"/>
          </a:xfrm>
          <a:prstGeom prst="roundRect">
            <a:avLst>
              <a:gd name="adj" fmla="val 50000"/>
            </a:avLst>
          </a:prstGeom>
          <a:noFill/>
          <a:ln w="6350" cap="rnd" cmpd="sng">
            <a:solidFill>
              <a:schemeClr val="tx2"/>
            </a:solidFill>
            <a:prstDash val="solid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141" name="Rectángulo redondeado 140">
            <a:extLst>
              <a:ext uri="{FF2B5EF4-FFF2-40B4-BE49-F238E27FC236}">
                <a16:creationId xmlns:a16="http://schemas.microsoft.com/office/drawing/2014/main" id="{4AEC0FAB-DA39-1158-907E-010DE0AF6AC0}"/>
              </a:ext>
            </a:extLst>
          </p:cNvPr>
          <p:cNvSpPr/>
          <p:nvPr/>
        </p:nvSpPr>
        <p:spPr>
          <a:xfrm>
            <a:off x="5629468" y="979982"/>
            <a:ext cx="2124000" cy="225539"/>
          </a:xfrm>
          <a:prstGeom prst="roundRect">
            <a:avLst>
              <a:gd name="adj" fmla="val 50000"/>
            </a:avLst>
          </a:prstGeom>
          <a:noFill/>
          <a:ln w="6350" cap="rnd" cmpd="sng">
            <a:solidFill>
              <a:schemeClr val="tx2"/>
            </a:solidFill>
            <a:prstDash val="solid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7" name="Gráfico 62">
            <a:extLst>
              <a:ext uri="{FF2B5EF4-FFF2-40B4-BE49-F238E27FC236}">
                <a16:creationId xmlns:a16="http://schemas.microsoft.com/office/drawing/2014/main" id="{9E44FAF0-B1B9-289A-4BA0-6FEBC411CCE7}"/>
              </a:ext>
            </a:extLst>
          </p:cNvPr>
          <p:cNvSpPr/>
          <p:nvPr/>
        </p:nvSpPr>
        <p:spPr>
          <a:xfrm>
            <a:off x="1954962" y="2587181"/>
            <a:ext cx="272612" cy="272612"/>
          </a:xfrm>
          <a:custGeom>
            <a:avLst/>
            <a:gdLst>
              <a:gd name="connsiteX0" fmla="*/ 66121 w 170378"/>
              <a:gd name="connsiteY0" fmla="*/ 2348 h 170378"/>
              <a:gd name="connsiteX1" fmla="*/ 77411 w 170378"/>
              <a:gd name="connsiteY1" fmla="*/ 2348 h 170378"/>
              <a:gd name="connsiteX2" fmla="*/ 107184 w 170378"/>
              <a:gd name="connsiteY2" fmla="*/ 32122 h 170378"/>
              <a:gd name="connsiteX3" fmla="*/ 125501 w 170378"/>
              <a:gd name="connsiteY3" fmla="*/ 13804 h 170378"/>
              <a:gd name="connsiteX4" fmla="*/ 140588 w 170378"/>
              <a:gd name="connsiteY4" fmla="*/ 13804 h 170378"/>
              <a:gd name="connsiteX5" fmla="*/ 156574 w 170378"/>
              <a:gd name="connsiteY5" fmla="*/ 29790 h 170378"/>
              <a:gd name="connsiteX6" fmla="*/ 156574 w 170378"/>
              <a:gd name="connsiteY6" fmla="*/ 44877 h 170378"/>
              <a:gd name="connsiteX7" fmla="*/ 138257 w 170378"/>
              <a:gd name="connsiteY7" fmla="*/ 63194 h 170378"/>
              <a:gd name="connsiteX8" fmla="*/ 168030 w 170378"/>
              <a:gd name="connsiteY8" fmla="*/ 92968 h 170378"/>
              <a:gd name="connsiteX9" fmla="*/ 168030 w 170378"/>
              <a:gd name="connsiteY9" fmla="*/ 104258 h 170378"/>
              <a:gd name="connsiteX10" fmla="*/ 136059 w 170378"/>
              <a:gd name="connsiteY10" fmla="*/ 136230 h 170378"/>
              <a:gd name="connsiteX11" fmla="*/ 124769 w 170378"/>
              <a:gd name="connsiteY11" fmla="*/ 136230 h 170378"/>
              <a:gd name="connsiteX12" fmla="*/ 94995 w 170378"/>
              <a:gd name="connsiteY12" fmla="*/ 106456 h 170378"/>
              <a:gd name="connsiteX13" fmla="*/ 89833 w 170378"/>
              <a:gd name="connsiteY13" fmla="*/ 111618 h 170378"/>
              <a:gd name="connsiteX14" fmla="*/ 95761 w 170378"/>
              <a:gd name="connsiteY14" fmla="*/ 138561 h 170378"/>
              <a:gd name="connsiteX15" fmla="*/ 88701 w 170378"/>
              <a:gd name="connsiteY15" fmla="*/ 167802 h 170378"/>
              <a:gd name="connsiteX16" fmla="*/ 80774 w 170378"/>
              <a:gd name="connsiteY16" fmla="*/ 168834 h 170378"/>
              <a:gd name="connsiteX17" fmla="*/ 48703 w 170378"/>
              <a:gd name="connsiteY17" fmla="*/ 136763 h 170378"/>
              <a:gd name="connsiteX18" fmla="*/ 28720 w 170378"/>
              <a:gd name="connsiteY18" fmla="*/ 156745 h 170378"/>
              <a:gd name="connsiteX19" fmla="*/ 13634 w 170378"/>
              <a:gd name="connsiteY19" fmla="*/ 156745 h 170378"/>
              <a:gd name="connsiteX20" fmla="*/ 13634 w 170378"/>
              <a:gd name="connsiteY20" fmla="*/ 141658 h 170378"/>
              <a:gd name="connsiteX21" fmla="*/ 33616 w 170378"/>
              <a:gd name="connsiteY21" fmla="*/ 121676 h 170378"/>
              <a:gd name="connsiteX22" fmla="*/ 1544 w 170378"/>
              <a:gd name="connsiteY22" fmla="*/ 89604 h 170378"/>
              <a:gd name="connsiteX23" fmla="*/ 2577 w 170378"/>
              <a:gd name="connsiteY23" fmla="*/ 81678 h 170378"/>
              <a:gd name="connsiteX24" fmla="*/ 31817 w 170378"/>
              <a:gd name="connsiteY24" fmla="*/ 74617 h 170378"/>
              <a:gd name="connsiteX25" fmla="*/ 58760 w 170378"/>
              <a:gd name="connsiteY25" fmla="*/ 80545 h 170378"/>
              <a:gd name="connsiteX26" fmla="*/ 63922 w 170378"/>
              <a:gd name="connsiteY26" fmla="*/ 75383 h 170378"/>
              <a:gd name="connsiteX27" fmla="*/ 34149 w 170378"/>
              <a:gd name="connsiteY27" fmla="*/ 45643 h 170378"/>
              <a:gd name="connsiteX28" fmla="*/ 34149 w 170378"/>
              <a:gd name="connsiteY28" fmla="*/ 34353 h 170378"/>
              <a:gd name="connsiteX29" fmla="*/ 66121 w 170378"/>
              <a:gd name="connsiteY29" fmla="*/ 2348 h 170378"/>
              <a:gd name="connsiteX30" fmla="*/ 71782 w 170378"/>
              <a:gd name="connsiteY30" fmla="*/ 19300 h 170378"/>
              <a:gd name="connsiteX31" fmla="*/ 51100 w 170378"/>
              <a:gd name="connsiteY31" fmla="*/ 39981 h 170378"/>
              <a:gd name="connsiteX32" fmla="*/ 75212 w 170378"/>
              <a:gd name="connsiteY32" fmla="*/ 64093 h 170378"/>
              <a:gd name="connsiteX33" fmla="*/ 95894 w 170378"/>
              <a:gd name="connsiteY33" fmla="*/ 43412 h 170378"/>
              <a:gd name="connsiteX34" fmla="*/ 71782 w 170378"/>
              <a:gd name="connsiteY34" fmla="*/ 19300 h 170378"/>
              <a:gd name="connsiteX35" fmla="*/ 130397 w 170378"/>
              <a:gd name="connsiteY35" fmla="*/ 119278 h 170378"/>
              <a:gd name="connsiteX36" fmla="*/ 151079 w 170378"/>
              <a:gd name="connsiteY36" fmla="*/ 98596 h 170378"/>
              <a:gd name="connsiteX37" fmla="*/ 126967 w 170378"/>
              <a:gd name="connsiteY37" fmla="*/ 74484 h 170378"/>
              <a:gd name="connsiteX38" fmla="*/ 106285 w 170378"/>
              <a:gd name="connsiteY38" fmla="*/ 95166 h 170378"/>
              <a:gd name="connsiteX39" fmla="*/ 130397 w 170378"/>
              <a:gd name="connsiteY39" fmla="*/ 119278 h 1703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70378" h="170378">
                <a:moveTo>
                  <a:pt x="66121" y="2348"/>
                </a:moveTo>
                <a:cubicBezTo>
                  <a:pt x="69251" y="-783"/>
                  <a:pt x="74313" y="-783"/>
                  <a:pt x="77411" y="2348"/>
                </a:cubicBezTo>
                <a:lnTo>
                  <a:pt x="107184" y="32122"/>
                </a:lnTo>
                <a:lnTo>
                  <a:pt x="125501" y="13804"/>
                </a:lnTo>
                <a:cubicBezTo>
                  <a:pt x="129664" y="9641"/>
                  <a:pt x="136425" y="9641"/>
                  <a:pt x="140588" y="13804"/>
                </a:cubicBezTo>
                <a:lnTo>
                  <a:pt x="156574" y="29790"/>
                </a:lnTo>
                <a:cubicBezTo>
                  <a:pt x="160737" y="33953"/>
                  <a:pt x="160737" y="40714"/>
                  <a:pt x="156574" y="44877"/>
                </a:cubicBezTo>
                <a:lnTo>
                  <a:pt x="138257" y="63194"/>
                </a:lnTo>
                <a:lnTo>
                  <a:pt x="168030" y="92968"/>
                </a:lnTo>
                <a:cubicBezTo>
                  <a:pt x="171161" y="96098"/>
                  <a:pt x="171161" y="101161"/>
                  <a:pt x="168030" y="104258"/>
                </a:cubicBezTo>
                <a:lnTo>
                  <a:pt x="136059" y="136230"/>
                </a:lnTo>
                <a:cubicBezTo>
                  <a:pt x="132928" y="139360"/>
                  <a:pt x="127866" y="139360"/>
                  <a:pt x="124769" y="136230"/>
                </a:cubicBezTo>
                <a:lnTo>
                  <a:pt x="94995" y="106456"/>
                </a:lnTo>
                <a:lnTo>
                  <a:pt x="89833" y="111618"/>
                </a:lnTo>
                <a:cubicBezTo>
                  <a:pt x="93630" y="119811"/>
                  <a:pt x="95761" y="128936"/>
                  <a:pt x="95761" y="138561"/>
                </a:cubicBezTo>
                <a:cubicBezTo>
                  <a:pt x="95761" y="149118"/>
                  <a:pt x="93197" y="159043"/>
                  <a:pt x="88701" y="167802"/>
                </a:cubicBezTo>
                <a:cubicBezTo>
                  <a:pt x="87135" y="170799"/>
                  <a:pt x="83139" y="171232"/>
                  <a:pt x="80774" y="168834"/>
                </a:cubicBezTo>
                <a:lnTo>
                  <a:pt x="48703" y="136763"/>
                </a:lnTo>
                <a:lnTo>
                  <a:pt x="28720" y="156745"/>
                </a:lnTo>
                <a:cubicBezTo>
                  <a:pt x="24557" y="160908"/>
                  <a:pt x="17797" y="160908"/>
                  <a:pt x="13634" y="156745"/>
                </a:cubicBezTo>
                <a:cubicBezTo>
                  <a:pt x="9471" y="152582"/>
                  <a:pt x="9471" y="145821"/>
                  <a:pt x="13634" y="141658"/>
                </a:cubicBezTo>
                <a:lnTo>
                  <a:pt x="33616" y="121676"/>
                </a:lnTo>
                <a:lnTo>
                  <a:pt x="1544" y="89604"/>
                </a:lnTo>
                <a:cubicBezTo>
                  <a:pt x="-854" y="87206"/>
                  <a:pt x="-421" y="83210"/>
                  <a:pt x="2577" y="81678"/>
                </a:cubicBezTo>
                <a:cubicBezTo>
                  <a:pt x="11336" y="77149"/>
                  <a:pt x="21293" y="74617"/>
                  <a:pt x="31817" y="74617"/>
                </a:cubicBezTo>
                <a:cubicBezTo>
                  <a:pt x="41442" y="74617"/>
                  <a:pt x="50568" y="76749"/>
                  <a:pt x="58760" y="80545"/>
                </a:cubicBezTo>
                <a:lnTo>
                  <a:pt x="63922" y="75383"/>
                </a:lnTo>
                <a:lnTo>
                  <a:pt x="34149" y="45643"/>
                </a:lnTo>
                <a:cubicBezTo>
                  <a:pt x="31018" y="42512"/>
                  <a:pt x="31018" y="37450"/>
                  <a:pt x="34149" y="34353"/>
                </a:cubicBezTo>
                <a:lnTo>
                  <a:pt x="66121" y="2348"/>
                </a:lnTo>
                <a:close/>
                <a:moveTo>
                  <a:pt x="71782" y="19300"/>
                </a:moveTo>
                <a:lnTo>
                  <a:pt x="51100" y="39981"/>
                </a:lnTo>
                <a:lnTo>
                  <a:pt x="75212" y="64093"/>
                </a:lnTo>
                <a:lnTo>
                  <a:pt x="95894" y="43412"/>
                </a:lnTo>
                <a:lnTo>
                  <a:pt x="71782" y="19300"/>
                </a:lnTo>
                <a:close/>
                <a:moveTo>
                  <a:pt x="130397" y="119278"/>
                </a:moveTo>
                <a:lnTo>
                  <a:pt x="151079" y="98596"/>
                </a:lnTo>
                <a:lnTo>
                  <a:pt x="126967" y="74484"/>
                </a:lnTo>
                <a:lnTo>
                  <a:pt x="106285" y="95166"/>
                </a:lnTo>
                <a:lnTo>
                  <a:pt x="130397" y="119278"/>
                </a:lnTo>
                <a:close/>
              </a:path>
            </a:pathLst>
          </a:custGeom>
          <a:solidFill>
            <a:schemeClr val="tx2"/>
          </a:solidFill>
          <a:ln w="327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712484BC-1890-2552-D86B-C9AADA21972F}"/>
              </a:ext>
            </a:extLst>
          </p:cNvPr>
          <p:cNvCxnSpPr>
            <a:cxnSpLocks/>
          </p:cNvCxnSpPr>
          <p:nvPr/>
        </p:nvCxnSpPr>
        <p:spPr>
          <a:xfrm flipH="1">
            <a:off x="1431448" y="2427407"/>
            <a:ext cx="447352" cy="830988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060B3C87-F8CE-D95F-C347-071A508C3C7E}"/>
              </a:ext>
            </a:extLst>
          </p:cNvPr>
          <p:cNvCxnSpPr>
            <a:cxnSpLocks/>
          </p:cNvCxnSpPr>
          <p:nvPr/>
        </p:nvCxnSpPr>
        <p:spPr>
          <a:xfrm>
            <a:off x="2188361" y="2326568"/>
            <a:ext cx="566684" cy="948061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Arco 22">
            <a:extLst>
              <a:ext uri="{FF2B5EF4-FFF2-40B4-BE49-F238E27FC236}">
                <a16:creationId xmlns:a16="http://schemas.microsoft.com/office/drawing/2014/main" id="{A528AE93-4883-846E-BD3F-793DECC8D85A}"/>
              </a:ext>
            </a:extLst>
          </p:cNvPr>
          <p:cNvSpPr/>
          <p:nvPr/>
        </p:nvSpPr>
        <p:spPr>
          <a:xfrm>
            <a:off x="540657" y="2413473"/>
            <a:ext cx="2980460" cy="2142124"/>
          </a:xfrm>
          <a:prstGeom prst="arc">
            <a:avLst>
              <a:gd name="adj1" fmla="val 13407277"/>
              <a:gd name="adj2" fmla="val 18993094"/>
            </a:avLst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25" name="Arco 24">
            <a:extLst>
              <a:ext uri="{FF2B5EF4-FFF2-40B4-BE49-F238E27FC236}">
                <a16:creationId xmlns:a16="http://schemas.microsoft.com/office/drawing/2014/main" id="{AA196672-5C7A-161A-4606-CF4F1F4030F2}"/>
              </a:ext>
            </a:extLst>
          </p:cNvPr>
          <p:cNvSpPr/>
          <p:nvPr/>
        </p:nvSpPr>
        <p:spPr>
          <a:xfrm>
            <a:off x="540657" y="2907941"/>
            <a:ext cx="2980460" cy="2142124"/>
          </a:xfrm>
          <a:prstGeom prst="arc">
            <a:avLst>
              <a:gd name="adj1" fmla="val 13407277"/>
              <a:gd name="adj2" fmla="val 18993094"/>
            </a:avLst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437101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64060D-B02A-73DC-0183-A801043C65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8">
            <a:extLst>
              <a:ext uri="{FF2B5EF4-FFF2-40B4-BE49-F238E27FC236}">
                <a16:creationId xmlns:a16="http://schemas.microsoft.com/office/drawing/2014/main" id="{4B58C2AA-6F63-C4F5-02A5-B9DB168F4EC3}"/>
              </a:ext>
            </a:extLst>
          </p:cNvPr>
          <p:cNvSpPr txBox="1">
            <a:spLocks/>
          </p:cNvSpPr>
          <p:nvPr/>
        </p:nvSpPr>
        <p:spPr>
          <a:xfrm>
            <a:off x="540657" y="1512813"/>
            <a:ext cx="6246091" cy="412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 nivel global, el Negocio Core presenta bajas tasas de crecimiento para los próximos años.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0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Tendencia global de evolución de verticales 2029:</a:t>
            </a:r>
          </a:p>
        </p:txBody>
      </p:sp>
      <p:sp>
        <p:nvSpPr>
          <p:cNvPr id="12" name="Rectángulo: esquinas redondeadas 20">
            <a:extLst>
              <a:ext uri="{FF2B5EF4-FFF2-40B4-BE49-F238E27FC236}">
                <a16:creationId xmlns:a16="http://schemas.microsoft.com/office/drawing/2014/main" id="{D40BE6B3-7FF2-10B5-416A-6C99C1FDB95C}"/>
              </a:ext>
            </a:extLst>
          </p:cNvPr>
          <p:cNvSpPr/>
          <p:nvPr/>
        </p:nvSpPr>
        <p:spPr>
          <a:xfrm rot="16200000">
            <a:off x="-445523" y="3232819"/>
            <a:ext cx="2149436" cy="1845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80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 Medium" panose="02000000000000000000" pitchFamily="2" charset="0"/>
                <a:cs typeface="Lato" panose="020F0502020204030203" pitchFamily="34" charset="0"/>
              </a:rPr>
              <a:t>Crecimiento absoluto (MM USD)</a:t>
            </a:r>
          </a:p>
        </p:txBody>
      </p:sp>
      <p:sp>
        <p:nvSpPr>
          <p:cNvPr id="13" name="Rectángulo: esquinas redondeadas 21">
            <a:extLst>
              <a:ext uri="{FF2B5EF4-FFF2-40B4-BE49-F238E27FC236}">
                <a16:creationId xmlns:a16="http://schemas.microsoft.com/office/drawing/2014/main" id="{E08D355F-14ED-4D2F-206D-F192F9E5B2E6}"/>
              </a:ext>
            </a:extLst>
          </p:cNvPr>
          <p:cNvSpPr/>
          <p:nvPr/>
        </p:nvSpPr>
        <p:spPr>
          <a:xfrm>
            <a:off x="1539694" y="4446993"/>
            <a:ext cx="4512624" cy="1845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80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 Medium" panose="02000000000000000000" pitchFamily="2" charset="0"/>
              </a:rPr>
              <a:t>Crecimiento anual promedio (CARG)</a:t>
            </a:r>
          </a:p>
        </p:txBody>
      </p:sp>
      <p:grpSp>
        <p:nvGrpSpPr>
          <p:cNvPr id="28" name="Grupo 27">
            <a:extLst>
              <a:ext uri="{FF2B5EF4-FFF2-40B4-BE49-F238E27FC236}">
                <a16:creationId xmlns:a16="http://schemas.microsoft.com/office/drawing/2014/main" id="{0CE215C5-6C37-904C-0AB8-A730ED234F4C}"/>
              </a:ext>
            </a:extLst>
          </p:cNvPr>
          <p:cNvGrpSpPr/>
          <p:nvPr/>
        </p:nvGrpSpPr>
        <p:grpSpPr>
          <a:xfrm>
            <a:off x="6674724" y="1565680"/>
            <a:ext cx="2143614" cy="990847"/>
            <a:chOff x="8096646" y="1175598"/>
            <a:chExt cx="2143614" cy="990847"/>
          </a:xfrm>
        </p:grpSpPr>
        <p:sp>
          <p:nvSpPr>
            <p:cNvPr id="14" name="Rectángulo redondeado 26">
              <a:extLst>
                <a:ext uri="{FF2B5EF4-FFF2-40B4-BE49-F238E27FC236}">
                  <a16:creationId xmlns:a16="http://schemas.microsoft.com/office/drawing/2014/main" id="{A566D268-B1AF-F5BB-4900-564B9A6C5452}"/>
                </a:ext>
              </a:extLst>
            </p:cNvPr>
            <p:cNvSpPr/>
            <p:nvPr/>
          </p:nvSpPr>
          <p:spPr>
            <a:xfrm>
              <a:off x="8096646" y="1175598"/>
              <a:ext cx="2143614" cy="990847"/>
            </a:xfrm>
            <a:prstGeom prst="roundRect">
              <a:avLst>
                <a:gd name="adj" fmla="val 4846"/>
              </a:avLst>
            </a:prstGeom>
            <a:solidFill>
              <a:srgbClr val="FFFFFF"/>
            </a:solidFill>
            <a:ln>
              <a:noFill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65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30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495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660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825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2990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155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320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AR" sz="750">
                <a:latin typeface="Open Sans" pitchFamily="2" charset="0"/>
                <a:ea typeface="Open Sans" pitchFamily="2" charset="0"/>
                <a:cs typeface="Open Sans" pitchFamily="2" charset="0"/>
              </a:endParaRPr>
            </a:p>
          </p:txBody>
        </p:sp>
        <p:sp>
          <p:nvSpPr>
            <p:cNvPr id="15" name="CuadroTexto 27">
              <a:extLst>
                <a:ext uri="{FF2B5EF4-FFF2-40B4-BE49-F238E27FC236}">
                  <a16:creationId xmlns:a16="http://schemas.microsoft.com/office/drawing/2014/main" id="{D49366C7-4407-8A29-92F2-B356B4074D72}"/>
                </a:ext>
              </a:extLst>
            </p:cNvPr>
            <p:cNvSpPr txBox="1"/>
            <p:nvPr/>
          </p:nvSpPr>
          <p:spPr>
            <a:xfrm>
              <a:off x="8191076" y="1615783"/>
              <a:ext cx="727215" cy="474489"/>
            </a:xfrm>
            <a:custGeom>
              <a:avLst/>
              <a:gdLst>
                <a:gd name="csX0" fmla="*/ 0 w 727215"/>
                <a:gd name="csY0" fmla="*/ 0 h 474489"/>
                <a:gd name="csX1" fmla="*/ 370880 w 727215"/>
                <a:gd name="csY1" fmla="*/ 0 h 474489"/>
                <a:gd name="csX2" fmla="*/ 727215 w 727215"/>
                <a:gd name="csY2" fmla="*/ 0 h 474489"/>
                <a:gd name="csX3" fmla="*/ 727215 w 727215"/>
                <a:gd name="csY3" fmla="*/ 474489 h 474489"/>
                <a:gd name="csX4" fmla="*/ 378152 w 727215"/>
                <a:gd name="csY4" fmla="*/ 474489 h 474489"/>
                <a:gd name="csX5" fmla="*/ 0 w 727215"/>
                <a:gd name="csY5" fmla="*/ 474489 h 474489"/>
                <a:gd name="csX6" fmla="*/ 0 w 727215"/>
                <a:gd name="csY6" fmla="*/ 0 h 47448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727215" h="474489" extrusionOk="0">
                  <a:moveTo>
                    <a:pt x="0" y="0"/>
                  </a:moveTo>
                  <a:cubicBezTo>
                    <a:pt x="153105" y="-42068"/>
                    <a:pt x="244305" y="29962"/>
                    <a:pt x="370880" y="0"/>
                  </a:cubicBezTo>
                  <a:cubicBezTo>
                    <a:pt x="497455" y="-29962"/>
                    <a:pt x="572576" y="8580"/>
                    <a:pt x="727215" y="0"/>
                  </a:cubicBezTo>
                  <a:cubicBezTo>
                    <a:pt x="759509" y="101386"/>
                    <a:pt x="706576" y="355613"/>
                    <a:pt x="727215" y="474489"/>
                  </a:cubicBezTo>
                  <a:cubicBezTo>
                    <a:pt x="599132" y="504180"/>
                    <a:pt x="449267" y="453548"/>
                    <a:pt x="378152" y="474489"/>
                  </a:cubicBezTo>
                  <a:cubicBezTo>
                    <a:pt x="307037" y="495430"/>
                    <a:pt x="147246" y="452294"/>
                    <a:pt x="0" y="474489"/>
                  </a:cubicBezTo>
                  <a:cubicBezTo>
                    <a:pt x="-3429" y="267967"/>
                    <a:pt x="10107" y="134742"/>
                    <a:pt x="0" y="0"/>
                  </a:cubicBezTo>
                  <a:close/>
                </a:path>
              </a:pathLst>
            </a:custGeom>
            <a:noFill/>
            <a:ln>
              <a:noFill/>
              <a:prstDash val="sysDash"/>
              <a:extLst>
                <a:ext uri="{C807C97D-BFC1-408E-A445-0C87EB9F89A2}">
                  <ask:lineSketchStyleProps xmlns:ask="http://schemas.microsoft.com/office/drawing/2018/sketchyshapes" sd="3053531555">
                    <a:prstGeom prst="rect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2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5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 fontAlgn="auto">
                <a:spcAft>
                  <a:spcPts val="450"/>
                </a:spcAft>
                <a:defRPr/>
              </a:pPr>
              <a:r>
                <a:rPr lang="es-AR" sz="750">
                  <a:solidFill>
                    <a:schemeClr val="tx1">
                      <a:lumMod val="75000"/>
                      <a:lumOff val="25000"/>
                    </a:schemeClr>
                  </a:solidFill>
                  <a:latin typeface="Pulso Light" pitchFamily="2" charset="0"/>
                  <a:ea typeface="Roboto Light" panose="02000000000000000000" pitchFamily="2" charset="0"/>
                  <a:cs typeface="Open Sans" pitchFamily="2" charset="0"/>
                </a:rPr>
                <a:t>Datos móviles</a:t>
              </a:r>
            </a:p>
            <a:p>
              <a:pPr defTabSz="685800" fontAlgn="auto">
                <a:spcAft>
                  <a:spcPts val="450"/>
                </a:spcAft>
                <a:defRPr/>
              </a:pPr>
              <a:r>
                <a:rPr lang="es-AR" sz="750">
                  <a:solidFill>
                    <a:schemeClr val="tx1">
                      <a:lumMod val="75000"/>
                      <a:lumOff val="25000"/>
                    </a:schemeClr>
                  </a:solidFill>
                  <a:latin typeface="Pulso Light" pitchFamily="2" charset="0"/>
                  <a:ea typeface="Roboto Light" panose="02000000000000000000" pitchFamily="2" charset="0"/>
                  <a:cs typeface="Open Sans" pitchFamily="2" charset="0"/>
                </a:rPr>
                <a:t>Banda Ancha</a:t>
              </a:r>
            </a:p>
            <a:p>
              <a:pPr defTabSz="685800" fontAlgn="auto">
                <a:spcAft>
                  <a:spcPts val="450"/>
                </a:spcAft>
                <a:defRPr/>
              </a:pPr>
              <a:r>
                <a:rPr lang="es-AR" sz="750">
                  <a:solidFill>
                    <a:schemeClr val="tx1">
                      <a:lumMod val="75000"/>
                      <a:lumOff val="25000"/>
                    </a:schemeClr>
                  </a:solidFill>
                  <a:latin typeface="Pulso Light" pitchFamily="2" charset="0"/>
                  <a:ea typeface="Roboto Light" panose="02000000000000000000" pitchFamily="2" charset="0"/>
                  <a:cs typeface="Open Sans" pitchFamily="2" charset="0"/>
                </a:rPr>
                <a:t>TV Paga</a:t>
              </a:r>
            </a:p>
          </p:txBody>
        </p:sp>
        <p:sp>
          <p:nvSpPr>
            <p:cNvPr id="16" name="Rectángulo: esquinas redondeadas 24">
              <a:extLst>
                <a:ext uri="{FF2B5EF4-FFF2-40B4-BE49-F238E27FC236}">
                  <a16:creationId xmlns:a16="http://schemas.microsoft.com/office/drawing/2014/main" id="{1A85C357-B430-554A-C347-24AA6390F525}"/>
                </a:ext>
              </a:extLst>
            </p:cNvPr>
            <p:cNvSpPr/>
            <p:nvPr/>
          </p:nvSpPr>
          <p:spPr>
            <a:xfrm>
              <a:off x="9526593" y="1267494"/>
              <a:ext cx="624341" cy="277211"/>
            </a:xfrm>
            <a:prstGeom prst="roundRect">
              <a:avLst>
                <a:gd name="adj" fmla="val 0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rIns="27000" rtlCol="0" anchor="ctr"/>
            <a:lstStyle>
              <a:defPPr>
                <a:defRPr lang="en-US"/>
              </a:defPPr>
              <a:lvl1pPr marL="0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65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30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495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660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825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2990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155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320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AR" sz="750">
                  <a:solidFill>
                    <a:srgbClr val="FFFFFF"/>
                  </a:solidFill>
                  <a:latin typeface="Pulso" pitchFamily="2" charset="0"/>
                  <a:ea typeface="Roboto Medium" panose="02000000000000000000" pitchFamily="2" charset="0"/>
                  <a:cs typeface="Open Sans" pitchFamily="2" charset="0"/>
                </a:rPr>
                <a:t>Proyectado </a:t>
              </a:r>
            </a:p>
            <a:p>
              <a:pPr algn="ctr"/>
              <a:r>
                <a:rPr lang="es-AR" sz="750">
                  <a:solidFill>
                    <a:srgbClr val="FFFFFF"/>
                  </a:solidFill>
                  <a:latin typeface="Pulso" pitchFamily="2" charset="0"/>
                  <a:ea typeface="Roboto Medium" panose="02000000000000000000" pitchFamily="2" charset="0"/>
                  <a:cs typeface="Open Sans" pitchFamily="2" charset="0"/>
                </a:rPr>
                <a:t>Anterior</a:t>
              </a:r>
            </a:p>
          </p:txBody>
        </p:sp>
        <p:sp>
          <p:nvSpPr>
            <p:cNvPr id="17" name="Rectángulo: esquinas redondeadas 25">
              <a:extLst>
                <a:ext uri="{FF2B5EF4-FFF2-40B4-BE49-F238E27FC236}">
                  <a16:creationId xmlns:a16="http://schemas.microsoft.com/office/drawing/2014/main" id="{F7012617-7CC0-3288-59E9-E99B548F5C7B}"/>
                </a:ext>
              </a:extLst>
            </p:cNvPr>
            <p:cNvSpPr/>
            <p:nvPr/>
          </p:nvSpPr>
          <p:spPr>
            <a:xfrm>
              <a:off x="8839635" y="1267494"/>
              <a:ext cx="653388" cy="277211"/>
            </a:xfrm>
            <a:prstGeom prst="roundRect">
              <a:avLst>
                <a:gd name="adj" fmla="val 0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rIns="27000" rtlCol="0" anchor="ctr"/>
            <a:lstStyle>
              <a:defPPr>
                <a:defRPr lang="en-US"/>
              </a:defPPr>
              <a:lvl1pPr marL="0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65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30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495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660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825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2990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155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320" algn="l" defTabSz="91433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AR" sz="750">
                  <a:solidFill>
                    <a:srgbClr val="FFFFFF"/>
                  </a:solidFill>
                  <a:latin typeface="Pulso" pitchFamily="2" charset="0"/>
                  <a:ea typeface="Roboto Medium" panose="02000000000000000000" pitchFamily="2" charset="0"/>
                  <a:cs typeface="Open Sans" pitchFamily="2" charset="0"/>
                </a:rPr>
                <a:t>Proyectado </a:t>
              </a:r>
            </a:p>
            <a:p>
              <a:pPr algn="ctr"/>
              <a:r>
                <a:rPr lang="es-AR" sz="750">
                  <a:solidFill>
                    <a:srgbClr val="FFFFFF"/>
                  </a:solidFill>
                  <a:latin typeface="Pulso" pitchFamily="2" charset="0"/>
                  <a:ea typeface="Roboto Medium" panose="02000000000000000000" pitchFamily="2" charset="0"/>
                  <a:cs typeface="Open Sans" pitchFamily="2" charset="0"/>
                </a:rPr>
                <a:t>Actual</a:t>
              </a:r>
            </a:p>
          </p:txBody>
        </p:sp>
        <p:sp>
          <p:nvSpPr>
            <p:cNvPr id="21" name="CuadroTexto 33">
              <a:extLst>
                <a:ext uri="{FF2B5EF4-FFF2-40B4-BE49-F238E27FC236}">
                  <a16:creationId xmlns:a16="http://schemas.microsoft.com/office/drawing/2014/main" id="{587B8335-A389-B286-8154-B7EDA9382F25}"/>
                </a:ext>
              </a:extLst>
            </p:cNvPr>
            <p:cNvSpPr txBox="1"/>
            <p:nvPr/>
          </p:nvSpPr>
          <p:spPr>
            <a:xfrm>
              <a:off x="9027779" y="1615783"/>
              <a:ext cx="277101" cy="474489"/>
            </a:xfrm>
            <a:custGeom>
              <a:avLst/>
              <a:gdLst>
                <a:gd name="csX0" fmla="*/ 0 w 277101"/>
                <a:gd name="csY0" fmla="*/ 0 h 474489"/>
                <a:gd name="csX1" fmla="*/ 277101 w 277101"/>
                <a:gd name="csY1" fmla="*/ 0 h 474489"/>
                <a:gd name="csX2" fmla="*/ 277101 w 277101"/>
                <a:gd name="csY2" fmla="*/ 232499 h 474489"/>
                <a:gd name="csX3" fmla="*/ 277101 w 277101"/>
                <a:gd name="csY3" fmla="*/ 474489 h 474489"/>
                <a:gd name="csX4" fmla="*/ 0 w 277101"/>
                <a:gd name="csY4" fmla="*/ 474489 h 474489"/>
                <a:gd name="csX5" fmla="*/ 0 w 277101"/>
                <a:gd name="csY5" fmla="*/ 237244 h 474489"/>
                <a:gd name="csX6" fmla="*/ 0 w 277101"/>
                <a:gd name="csY6" fmla="*/ 0 h 47448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277101" h="474489" extrusionOk="0">
                  <a:moveTo>
                    <a:pt x="0" y="0"/>
                  </a:moveTo>
                  <a:cubicBezTo>
                    <a:pt x="107556" y="-9351"/>
                    <a:pt x="195499" y="25215"/>
                    <a:pt x="277101" y="0"/>
                  </a:cubicBezTo>
                  <a:cubicBezTo>
                    <a:pt x="274727" y="59823"/>
                    <a:pt x="268798" y="127127"/>
                    <a:pt x="277101" y="232499"/>
                  </a:cubicBezTo>
                  <a:cubicBezTo>
                    <a:pt x="322321" y="307093"/>
                    <a:pt x="256822" y="426274"/>
                    <a:pt x="277101" y="474489"/>
                  </a:cubicBezTo>
                  <a:cubicBezTo>
                    <a:pt x="210360" y="490522"/>
                    <a:pt x="152389" y="458753"/>
                    <a:pt x="0" y="474489"/>
                  </a:cubicBezTo>
                  <a:cubicBezTo>
                    <a:pt x="-23027" y="429483"/>
                    <a:pt x="5877" y="291055"/>
                    <a:pt x="0" y="237244"/>
                  </a:cubicBezTo>
                  <a:cubicBezTo>
                    <a:pt x="-8414" y="191506"/>
                    <a:pt x="32017" y="37799"/>
                    <a:pt x="0" y="0"/>
                  </a:cubicBezTo>
                  <a:close/>
                </a:path>
              </a:pathLst>
            </a:custGeom>
            <a:noFill/>
            <a:ln>
              <a:noFill/>
              <a:prstDash val="sysDash"/>
              <a:extLst>
                <a:ext uri="{C807C97D-BFC1-408E-A445-0C87EB9F89A2}">
                  <ask:lineSketchStyleProps xmlns:ask="http://schemas.microsoft.com/office/drawing/2018/sketchyshapes" sd="3053531555">
                    <a:custGeom>
                      <a:avLst/>
                      <a:gdLst>
                        <a:gd name="connsiteX0" fmla="*/ 0 w 369468"/>
                        <a:gd name="connsiteY0" fmla="*/ 0 h 615553"/>
                        <a:gd name="connsiteX1" fmla="*/ 369468 w 369468"/>
                        <a:gd name="connsiteY1" fmla="*/ 0 h 615553"/>
                        <a:gd name="connsiteX2" fmla="*/ 369468 w 369468"/>
                        <a:gd name="connsiteY2" fmla="*/ 301621 h 615553"/>
                        <a:gd name="connsiteX3" fmla="*/ 369468 w 369468"/>
                        <a:gd name="connsiteY3" fmla="*/ 615553 h 615553"/>
                        <a:gd name="connsiteX4" fmla="*/ 0 w 369468"/>
                        <a:gd name="connsiteY4" fmla="*/ 615553 h 615553"/>
                        <a:gd name="connsiteX5" fmla="*/ 0 w 369468"/>
                        <a:gd name="connsiteY5" fmla="*/ 307777 h 615553"/>
                        <a:gd name="connsiteX6" fmla="*/ 0 w 369468"/>
                        <a:gd name="connsiteY6" fmla="*/ 0 h 61555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69468" h="615553" extrusionOk="0">
                          <a:moveTo>
                            <a:pt x="0" y="0"/>
                          </a:moveTo>
                          <a:cubicBezTo>
                            <a:pt x="152520" y="-15169"/>
                            <a:pt x="242639" y="16089"/>
                            <a:pt x="369468" y="0"/>
                          </a:cubicBezTo>
                          <a:cubicBezTo>
                            <a:pt x="367764" y="81725"/>
                            <a:pt x="343412" y="175953"/>
                            <a:pt x="369468" y="301621"/>
                          </a:cubicBezTo>
                          <a:cubicBezTo>
                            <a:pt x="425534" y="402975"/>
                            <a:pt x="343968" y="550135"/>
                            <a:pt x="369468" y="615553"/>
                          </a:cubicBezTo>
                          <a:cubicBezTo>
                            <a:pt x="262833" y="628372"/>
                            <a:pt x="183260" y="604806"/>
                            <a:pt x="0" y="615553"/>
                          </a:cubicBezTo>
                          <a:cubicBezTo>
                            <a:pt x="-32062" y="538839"/>
                            <a:pt x="20641" y="382775"/>
                            <a:pt x="0" y="307777"/>
                          </a:cubicBezTo>
                          <a:cubicBezTo>
                            <a:pt x="-23542" y="238680"/>
                            <a:pt x="44493" y="67876"/>
                            <a:pt x="0" y="0"/>
                          </a:cubicBezTo>
                          <a:close/>
                        </a:path>
                      </a:pathLst>
                    </a:custGeom>
                    <ask:type>
                      <ask:lineSketchScribble/>
                    </ask:type>
                  </ask:lineSketchStyleProps>
                </a:ext>
              </a:extLst>
            </a:ln>
          </p:spPr>
          <p:txBody>
            <a:bodyPr wrap="square" lIns="0" tIns="0" rIns="0" bIns="0" rtlCol="0" anchor="ctr" anchorCtr="0">
              <a:spAutoFit/>
            </a:bodyPr>
            <a:lstStyle>
              <a:defPPr>
                <a:defRPr lang="en-US"/>
              </a:defPPr>
              <a:lvl1pPr marL="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2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5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685800" fontAlgn="auto">
                <a:spcAft>
                  <a:spcPts val="450"/>
                </a:spcAft>
                <a:defRPr/>
              </a:pPr>
              <a:r>
                <a:rPr lang="es-AR" sz="750">
                  <a:solidFill>
                    <a:schemeClr val="tx1">
                      <a:lumMod val="75000"/>
                      <a:lumOff val="25000"/>
                    </a:schemeClr>
                  </a:solidFill>
                  <a:latin typeface="Pulso" pitchFamily="2" charset="0"/>
                  <a:ea typeface="Roboto Medium" panose="02000000000000000000" pitchFamily="2" charset="0"/>
                  <a:cs typeface="Open Sans" pitchFamily="2" charset="0"/>
                </a:rPr>
                <a:t>5,9%</a:t>
              </a:r>
            </a:p>
            <a:p>
              <a:pPr algn="r" defTabSz="685800" fontAlgn="auto">
                <a:spcAft>
                  <a:spcPts val="450"/>
                </a:spcAft>
                <a:defRPr/>
              </a:pPr>
              <a:r>
                <a:rPr lang="es-AR" sz="750">
                  <a:solidFill>
                    <a:schemeClr val="tx1">
                      <a:lumMod val="75000"/>
                      <a:lumOff val="25000"/>
                    </a:schemeClr>
                  </a:solidFill>
                  <a:latin typeface="Pulso" pitchFamily="2" charset="0"/>
                  <a:ea typeface="Roboto Medium" panose="02000000000000000000" pitchFamily="2" charset="0"/>
                  <a:cs typeface="Open Sans" pitchFamily="2" charset="0"/>
                </a:rPr>
                <a:t>3,7%</a:t>
              </a:r>
            </a:p>
            <a:p>
              <a:pPr algn="r" defTabSz="685800" fontAlgn="auto">
                <a:spcAft>
                  <a:spcPts val="450"/>
                </a:spcAft>
                <a:defRPr/>
              </a:pPr>
              <a:r>
                <a:rPr lang="es-AR" sz="750">
                  <a:solidFill>
                    <a:schemeClr val="tx1">
                      <a:lumMod val="75000"/>
                      <a:lumOff val="25000"/>
                    </a:schemeClr>
                  </a:solidFill>
                  <a:latin typeface="Pulso" pitchFamily="2" charset="0"/>
                  <a:ea typeface="Roboto Medium" panose="02000000000000000000" pitchFamily="2" charset="0"/>
                  <a:cs typeface="Open Sans" pitchFamily="2" charset="0"/>
                </a:rPr>
                <a:t>-1,3%</a:t>
              </a:r>
            </a:p>
          </p:txBody>
        </p:sp>
        <p:sp>
          <p:nvSpPr>
            <p:cNvPr id="22" name="CuadroTexto 34">
              <a:extLst>
                <a:ext uri="{FF2B5EF4-FFF2-40B4-BE49-F238E27FC236}">
                  <a16:creationId xmlns:a16="http://schemas.microsoft.com/office/drawing/2014/main" id="{AE2B67B9-810F-8A13-DC48-C55984E3978A}"/>
                </a:ext>
              </a:extLst>
            </p:cNvPr>
            <p:cNvSpPr txBox="1"/>
            <p:nvPr/>
          </p:nvSpPr>
          <p:spPr>
            <a:xfrm>
              <a:off x="9700213" y="1615783"/>
              <a:ext cx="277101" cy="474489"/>
            </a:xfrm>
            <a:custGeom>
              <a:avLst/>
              <a:gdLst>
                <a:gd name="csX0" fmla="*/ 0 w 277101"/>
                <a:gd name="csY0" fmla="*/ 0 h 474489"/>
                <a:gd name="csX1" fmla="*/ 277101 w 277101"/>
                <a:gd name="csY1" fmla="*/ 0 h 474489"/>
                <a:gd name="csX2" fmla="*/ 277101 w 277101"/>
                <a:gd name="csY2" fmla="*/ 232499 h 474489"/>
                <a:gd name="csX3" fmla="*/ 277101 w 277101"/>
                <a:gd name="csY3" fmla="*/ 474489 h 474489"/>
                <a:gd name="csX4" fmla="*/ 0 w 277101"/>
                <a:gd name="csY4" fmla="*/ 474489 h 474489"/>
                <a:gd name="csX5" fmla="*/ 0 w 277101"/>
                <a:gd name="csY5" fmla="*/ 237244 h 474489"/>
                <a:gd name="csX6" fmla="*/ 0 w 277101"/>
                <a:gd name="csY6" fmla="*/ 0 h 47448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277101" h="474489" extrusionOk="0">
                  <a:moveTo>
                    <a:pt x="0" y="0"/>
                  </a:moveTo>
                  <a:cubicBezTo>
                    <a:pt x="84381" y="5970"/>
                    <a:pt x="196190" y="12408"/>
                    <a:pt x="277101" y="0"/>
                  </a:cubicBezTo>
                  <a:cubicBezTo>
                    <a:pt x="269277" y="44424"/>
                    <a:pt x="264610" y="134263"/>
                    <a:pt x="277101" y="232499"/>
                  </a:cubicBezTo>
                  <a:cubicBezTo>
                    <a:pt x="329680" y="293025"/>
                    <a:pt x="258685" y="426643"/>
                    <a:pt x="277101" y="474489"/>
                  </a:cubicBezTo>
                  <a:cubicBezTo>
                    <a:pt x="208908" y="515079"/>
                    <a:pt x="161728" y="434824"/>
                    <a:pt x="0" y="474489"/>
                  </a:cubicBezTo>
                  <a:cubicBezTo>
                    <a:pt x="-20252" y="421919"/>
                    <a:pt x="-2151" y="289382"/>
                    <a:pt x="0" y="237244"/>
                  </a:cubicBezTo>
                  <a:cubicBezTo>
                    <a:pt x="-18704" y="179579"/>
                    <a:pt x="27240" y="33468"/>
                    <a:pt x="0" y="0"/>
                  </a:cubicBezTo>
                  <a:close/>
                </a:path>
              </a:pathLst>
            </a:custGeom>
            <a:noFill/>
            <a:ln>
              <a:noFill/>
              <a:prstDash val="sysDash"/>
              <a:extLst>
                <a:ext uri="{C807C97D-BFC1-408E-A445-0C87EB9F89A2}">
                  <ask:lineSketchStyleProps xmlns:ask="http://schemas.microsoft.com/office/drawing/2018/sketchyshapes" sd="3053531555">
                    <a:custGeom>
                      <a:avLst/>
                      <a:gdLst>
                        <a:gd name="connsiteX0" fmla="*/ 0 w 369468"/>
                        <a:gd name="connsiteY0" fmla="*/ 0 h 615553"/>
                        <a:gd name="connsiteX1" fmla="*/ 369468 w 369468"/>
                        <a:gd name="connsiteY1" fmla="*/ 0 h 615553"/>
                        <a:gd name="connsiteX2" fmla="*/ 369468 w 369468"/>
                        <a:gd name="connsiteY2" fmla="*/ 301621 h 615553"/>
                        <a:gd name="connsiteX3" fmla="*/ 369468 w 369468"/>
                        <a:gd name="connsiteY3" fmla="*/ 615553 h 615553"/>
                        <a:gd name="connsiteX4" fmla="*/ 0 w 369468"/>
                        <a:gd name="connsiteY4" fmla="*/ 615553 h 615553"/>
                        <a:gd name="connsiteX5" fmla="*/ 0 w 369468"/>
                        <a:gd name="connsiteY5" fmla="*/ 307777 h 615553"/>
                        <a:gd name="connsiteX6" fmla="*/ 0 w 369468"/>
                        <a:gd name="connsiteY6" fmla="*/ 0 h 61555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69468" h="615553" extrusionOk="0">
                          <a:moveTo>
                            <a:pt x="0" y="0"/>
                          </a:moveTo>
                          <a:cubicBezTo>
                            <a:pt x="117881" y="5954"/>
                            <a:pt x="248686" y="4200"/>
                            <a:pt x="369468" y="0"/>
                          </a:cubicBezTo>
                          <a:cubicBezTo>
                            <a:pt x="366362" y="78265"/>
                            <a:pt x="342848" y="181514"/>
                            <a:pt x="369468" y="301621"/>
                          </a:cubicBezTo>
                          <a:cubicBezTo>
                            <a:pt x="427416" y="393319"/>
                            <a:pt x="346963" y="549662"/>
                            <a:pt x="369468" y="615553"/>
                          </a:cubicBezTo>
                          <a:cubicBezTo>
                            <a:pt x="253937" y="657083"/>
                            <a:pt x="198020" y="572643"/>
                            <a:pt x="0" y="615553"/>
                          </a:cubicBezTo>
                          <a:cubicBezTo>
                            <a:pt x="-28109" y="532441"/>
                            <a:pt x="11418" y="381204"/>
                            <a:pt x="0" y="307777"/>
                          </a:cubicBezTo>
                          <a:cubicBezTo>
                            <a:pt x="-31212" y="227999"/>
                            <a:pt x="36999" y="50512"/>
                            <a:pt x="0" y="0"/>
                          </a:cubicBezTo>
                          <a:close/>
                        </a:path>
                      </a:pathLst>
                    </a:custGeom>
                    <ask:type>
                      <ask:lineSketchScribble/>
                    </ask:type>
                  </ask:lineSketchStyleProps>
                </a:ext>
              </a:extLst>
            </a:ln>
          </p:spPr>
          <p:txBody>
            <a:bodyPr wrap="square" lIns="0" tIns="0" rIns="0" bIns="0" rtlCol="0" anchor="ctr" anchorCtr="0">
              <a:spAutoFit/>
            </a:bodyPr>
            <a:lstStyle>
              <a:defPPr>
                <a:defRPr lang="en-US"/>
              </a:defPPr>
              <a:lvl1pPr marL="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2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5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685800" fontAlgn="auto">
                <a:spcAft>
                  <a:spcPts val="450"/>
                </a:spcAft>
                <a:defRPr/>
              </a:pPr>
              <a:r>
                <a:rPr lang="es-AR" sz="750">
                  <a:solidFill>
                    <a:schemeClr val="tx1">
                      <a:lumMod val="75000"/>
                      <a:lumOff val="25000"/>
                    </a:schemeClr>
                  </a:solidFill>
                  <a:latin typeface="Pulso" pitchFamily="2" charset="0"/>
                  <a:ea typeface="Roboto Medium" panose="02000000000000000000" pitchFamily="2" charset="0"/>
                  <a:cs typeface="Open Sans" pitchFamily="2" charset="0"/>
                </a:rPr>
                <a:t>6,0%</a:t>
              </a:r>
            </a:p>
            <a:p>
              <a:pPr algn="r" defTabSz="685800" fontAlgn="auto">
                <a:spcAft>
                  <a:spcPts val="450"/>
                </a:spcAft>
                <a:defRPr/>
              </a:pPr>
              <a:r>
                <a:rPr lang="es-AR" sz="750">
                  <a:solidFill>
                    <a:schemeClr val="tx1">
                      <a:lumMod val="75000"/>
                      <a:lumOff val="25000"/>
                    </a:schemeClr>
                  </a:solidFill>
                  <a:latin typeface="Pulso" pitchFamily="2" charset="0"/>
                  <a:ea typeface="Roboto Medium" panose="02000000000000000000" pitchFamily="2" charset="0"/>
                  <a:cs typeface="Open Sans" pitchFamily="2" charset="0"/>
                </a:rPr>
                <a:t>4,0%</a:t>
              </a:r>
            </a:p>
            <a:p>
              <a:pPr algn="r" defTabSz="685800" fontAlgn="auto">
                <a:spcAft>
                  <a:spcPts val="450"/>
                </a:spcAft>
                <a:defRPr/>
              </a:pPr>
              <a:r>
                <a:rPr lang="es-AR" sz="750">
                  <a:solidFill>
                    <a:schemeClr val="tx1">
                      <a:lumMod val="75000"/>
                      <a:lumOff val="25000"/>
                    </a:schemeClr>
                  </a:solidFill>
                  <a:latin typeface="Pulso" pitchFamily="2" charset="0"/>
                  <a:ea typeface="Roboto Medium" panose="02000000000000000000" pitchFamily="2" charset="0"/>
                  <a:cs typeface="Open Sans" pitchFamily="2" charset="0"/>
                </a:rPr>
                <a:t>-1,0%</a:t>
              </a:r>
            </a:p>
          </p:txBody>
        </p:sp>
      </p:grpSp>
      <p:sp>
        <p:nvSpPr>
          <p:cNvPr id="24" name="Title 1">
            <a:extLst>
              <a:ext uri="{FF2B5EF4-FFF2-40B4-BE49-F238E27FC236}">
                <a16:creationId xmlns:a16="http://schemas.microsoft.com/office/drawing/2014/main" id="{B0F90BF9-090D-E19D-EAB0-A87A72A03C36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3966792" cy="769441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noProof="0">
                <a:solidFill>
                  <a:schemeClr val="tx2"/>
                </a:solidFill>
                <a:latin typeface="Pulso Light" pitchFamily="2" charset="0"/>
              </a:rPr>
              <a:t>Los datos móviles</a:t>
            </a:r>
            <a:br>
              <a:rPr lang="es-ES_tradnl" sz="2600" b="0" noProof="0">
                <a:solidFill>
                  <a:schemeClr val="tx2"/>
                </a:solidFill>
                <a:latin typeface="Pulso Light" pitchFamily="2" charset="0"/>
              </a:rPr>
            </a:b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siguen liderando en el futuro</a:t>
            </a: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135FE6DE-6B4B-3ED3-F6A0-FBAC706382A4}"/>
              </a:ext>
            </a:extLst>
          </p:cNvPr>
          <p:cNvSpPr txBox="1"/>
          <p:nvPr/>
        </p:nvSpPr>
        <p:spPr>
          <a:xfrm>
            <a:off x="6633834" y="4485404"/>
            <a:ext cx="1944443" cy="107722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65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" panose="02000000000000000000" pitchFamily="2" charset="0"/>
              </a:defRPr>
            </a:lvl1pPr>
          </a:lstStyle>
          <a:p>
            <a:pPr algn="r">
              <a:spcAft>
                <a:spcPts val="200"/>
              </a:spcAft>
            </a:pPr>
            <a:r>
              <a:rPr lang="es-AR" sz="700">
                <a:latin typeface="Pulso Light" pitchFamily="2" charset="0"/>
              </a:rPr>
              <a:t>* </a:t>
            </a:r>
            <a:r>
              <a:rPr lang="es-AR" sz="700" i="1">
                <a:solidFill>
                  <a:srgbClr val="24272A">
                    <a:lumMod val="75000"/>
                    <a:lumOff val="25000"/>
                  </a:srgbClr>
                </a:solidFill>
                <a:cs typeface="Open Sans Light" panose="020B0306030504020204" pitchFamily="34" charset="0"/>
              </a:rPr>
              <a:t>Fuente: Omdia – Reporte de consumo 2023-2028</a:t>
            </a:r>
          </a:p>
        </p:txBody>
      </p:sp>
      <p:graphicFrame>
        <p:nvGraphicFramePr>
          <p:cNvPr id="8" name="Chart 9">
            <a:extLst>
              <a:ext uri="{FF2B5EF4-FFF2-40B4-BE49-F238E27FC236}">
                <a16:creationId xmlns:a16="http://schemas.microsoft.com/office/drawing/2014/main" id="{D8C59D2D-7C9A-6F05-EE51-48B56C8D2F9E}"/>
              </a:ext>
            </a:extLst>
          </p:cNvPr>
          <p:cNvGraphicFramePr>
            <a:graphicFrameLocks/>
          </p:cNvGraphicFramePr>
          <p:nvPr/>
        </p:nvGraphicFramePr>
        <p:xfrm>
          <a:off x="449228" y="1892844"/>
          <a:ext cx="8394116" cy="25069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90951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FD01C5-C2E7-0045-668F-553E2A9D8E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FA528EC3-DBD5-26E7-4859-8966316967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9" progId="TCLayout.ActiveDocument.1">
                  <p:embed/>
                </p:oleObj>
              </mc:Choice>
              <mc:Fallback>
                <p:oleObj name="Diapositiva de think-cell" r:id="rId4" imgW="378" imgH="379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528EC3-DBD5-26E7-4859-8966316967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A0C44F43-1A01-C6AA-ED7A-1C0FD370A098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3567964" cy="769441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noProof="0">
                <a:solidFill>
                  <a:schemeClr val="tx2"/>
                </a:solidFill>
                <a:latin typeface="Pulso Light" pitchFamily="2" charset="0"/>
              </a:rPr>
              <a:t>Construir valor</a:t>
            </a:r>
            <a:br>
              <a:rPr lang="es-ES_tradnl" sz="2600" b="0" noProof="0">
                <a:solidFill>
                  <a:schemeClr val="tx2"/>
                </a:solidFill>
                <a:latin typeface="Pulso Light" pitchFamily="2" charset="0"/>
              </a:rPr>
            </a:b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a partir de la conectividad</a:t>
            </a:r>
          </a:p>
        </p:txBody>
      </p:sp>
      <p:sp>
        <p:nvSpPr>
          <p:cNvPr id="7" name="Marcador de texto 8">
            <a:extLst>
              <a:ext uri="{FF2B5EF4-FFF2-40B4-BE49-F238E27FC236}">
                <a16:creationId xmlns:a16="http://schemas.microsoft.com/office/drawing/2014/main" id="{D4BDA42C-5F35-B14E-5134-DE7D097DF6E5}"/>
              </a:ext>
            </a:extLst>
          </p:cNvPr>
          <p:cNvSpPr txBox="1">
            <a:spLocks/>
          </p:cNvSpPr>
          <p:nvPr/>
        </p:nvSpPr>
        <p:spPr>
          <a:xfrm>
            <a:off x="540658" y="1548123"/>
            <a:ext cx="2021000" cy="227177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None/>
              <a:defRPr/>
            </a:pPr>
            <a:r>
              <a:rPr lang="es-ES_tradnl" sz="1100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n los últimos años los </a:t>
            </a:r>
            <a:r>
              <a:rPr lang="es-ES_tradnl" sz="1100" noProof="0" err="1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CSPs</a:t>
            </a:r>
            <a:r>
              <a:rPr lang="es-ES_tradnl" sz="1100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hicieron la mayor parte de las inversiones y recogieron el menor ROI.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None/>
              <a:defRPr/>
            </a:pPr>
            <a:r>
              <a:rPr lang="es-ES_tradnl" sz="9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El valor se lo llevaron los </a:t>
            </a:r>
            <a:r>
              <a:rPr lang="es-ES_tradnl" sz="900" noProof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TTs</a:t>
            </a:r>
            <a:r>
              <a:rPr lang="es-ES_tradnl" sz="9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None/>
              <a:defRPr/>
            </a:pPr>
            <a:r>
              <a:rPr lang="es-ES_tradnl" sz="9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i se sigue entendiendo a la red como una infra que otros </a:t>
            </a:r>
            <a:r>
              <a:rPr lang="es-ES_tradnl" sz="900" noProof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players</a:t>
            </a:r>
            <a:r>
              <a:rPr lang="es-ES_tradnl" sz="9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explotan y no se enfocan en los flujos de datos que van a pasar por la misma, se seguirá en la base de la pirámide invertida del valor.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3A718D0-BB82-8DFA-1682-A741774930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9647945"/>
              </p:ext>
            </p:extLst>
          </p:nvPr>
        </p:nvGraphicFramePr>
        <p:xfrm>
          <a:off x="2850738" y="1629956"/>
          <a:ext cx="3129335" cy="2941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32" name="Grupo 31">
            <a:extLst>
              <a:ext uri="{FF2B5EF4-FFF2-40B4-BE49-F238E27FC236}">
                <a16:creationId xmlns:a16="http://schemas.microsoft.com/office/drawing/2014/main" id="{DA283536-D6FD-9AD9-36F1-76EA4CE9F740}"/>
              </a:ext>
            </a:extLst>
          </p:cNvPr>
          <p:cNvGrpSpPr/>
          <p:nvPr/>
        </p:nvGrpSpPr>
        <p:grpSpPr>
          <a:xfrm>
            <a:off x="6388057" y="1766779"/>
            <a:ext cx="2337508" cy="2248641"/>
            <a:chOff x="6430752" y="1649636"/>
            <a:chExt cx="2337508" cy="2248641"/>
          </a:xfrm>
        </p:grpSpPr>
        <p:sp>
          <p:nvSpPr>
            <p:cNvPr id="26" name="Forma libre 25">
              <a:extLst>
                <a:ext uri="{FF2B5EF4-FFF2-40B4-BE49-F238E27FC236}">
                  <a16:creationId xmlns:a16="http://schemas.microsoft.com/office/drawing/2014/main" id="{EC37B49A-7464-F623-E689-CE72C4B3688C}"/>
                </a:ext>
              </a:extLst>
            </p:cNvPr>
            <p:cNvSpPr/>
            <p:nvPr/>
          </p:nvSpPr>
          <p:spPr>
            <a:xfrm rot="10800000">
              <a:off x="7175090" y="3081716"/>
              <a:ext cx="848832" cy="816561"/>
            </a:xfrm>
            <a:custGeom>
              <a:avLst/>
              <a:gdLst>
                <a:gd name="connsiteX0" fmla="*/ 848832 w 848832"/>
                <a:gd name="connsiteY0" fmla="*/ 816561 h 816561"/>
                <a:gd name="connsiteX1" fmla="*/ 0 w 848832"/>
                <a:gd name="connsiteY1" fmla="*/ 816561 h 816561"/>
                <a:gd name="connsiteX2" fmla="*/ 424416 w 848832"/>
                <a:gd name="connsiteY2" fmla="*/ 0 h 816561"/>
                <a:gd name="connsiteX3" fmla="*/ 848832 w 848832"/>
                <a:gd name="connsiteY3" fmla="*/ 816561 h 816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8832" h="816561">
                  <a:moveTo>
                    <a:pt x="848832" y="816561"/>
                  </a:moveTo>
                  <a:lnTo>
                    <a:pt x="0" y="816561"/>
                  </a:lnTo>
                  <a:lnTo>
                    <a:pt x="424416" y="0"/>
                  </a:lnTo>
                  <a:lnTo>
                    <a:pt x="848832" y="816561"/>
                  </a:lnTo>
                  <a:close/>
                </a:path>
              </a:pathLst>
            </a:custGeom>
            <a:solidFill>
              <a:schemeClr val="tx2">
                <a:lumMod val="90000"/>
                <a:lumOff val="10000"/>
              </a:schemeClr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1400" b="1">
                <a:solidFill>
                  <a:schemeClr val="tx1"/>
                </a:solidFill>
              </a:endParaRPr>
            </a:p>
          </p:txBody>
        </p:sp>
        <p:grpSp>
          <p:nvGrpSpPr>
            <p:cNvPr id="30" name="Grupo 29">
              <a:extLst>
                <a:ext uri="{FF2B5EF4-FFF2-40B4-BE49-F238E27FC236}">
                  <a16:creationId xmlns:a16="http://schemas.microsoft.com/office/drawing/2014/main" id="{240A9AD3-E2E0-C15B-96FC-7DD052770F3B}"/>
                </a:ext>
              </a:extLst>
            </p:cNvPr>
            <p:cNvGrpSpPr/>
            <p:nvPr/>
          </p:nvGrpSpPr>
          <p:grpSpPr>
            <a:xfrm>
              <a:off x="6430752" y="1649636"/>
              <a:ext cx="2337508" cy="1582780"/>
              <a:chOff x="6430752" y="1649636"/>
              <a:chExt cx="2337508" cy="1582780"/>
            </a:xfrm>
          </p:grpSpPr>
          <p:sp>
            <p:nvSpPr>
              <p:cNvPr id="29" name="Forma libre 28">
                <a:extLst>
                  <a:ext uri="{FF2B5EF4-FFF2-40B4-BE49-F238E27FC236}">
                    <a16:creationId xmlns:a16="http://schemas.microsoft.com/office/drawing/2014/main" id="{FF984896-D043-CF77-2693-31F9A45454F2}"/>
                  </a:ext>
                </a:extLst>
              </p:cNvPr>
              <p:cNvSpPr/>
              <p:nvPr/>
            </p:nvSpPr>
            <p:spPr>
              <a:xfrm rot="10800000">
                <a:off x="6784192" y="2329642"/>
                <a:ext cx="1630628" cy="690921"/>
              </a:xfrm>
              <a:custGeom>
                <a:avLst/>
                <a:gdLst>
                  <a:gd name="connsiteX0" fmla="*/ 1630628 w 1630628"/>
                  <a:gd name="connsiteY0" fmla="*/ 690921 h 690921"/>
                  <a:gd name="connsiteX1" fmla="*/ 0 w 1630628"/>
                  <a:gd name="connsiteY1" fmla="*/ 690921 h 690921"/>
                  <a:gd name="connsiteX2" fmla="*/ 359113 w 1630628"/>
                  <a:gd name="connsiteY2" fmla="*/ 0 h 690921"/>
                  <a:gd name="connsiteX3" fmla="*/ 1271515 w 1630628"/>
                  <a:gd name="connsiteY3" fmla="*/ 0 h 690921"/>
                  <a:gd name="connsiteX4" fmla="*/ 1630628 w 1630628"/>
                  <a:gd name="connsiteY4" fmla="*/ 690921 h 690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0628" h="690921">
                    <a:moveTo>
                      <a:pt x="1630628" y="690921"/>
                    </a:moveTo>
                    <a:lnTo>
                      <a:pt x="0" y="690921"/>
                    </a:lnTo>
                    <a:lnTo>
                      <a:pt x="359113" y="0"/>
                    </a:lnTo>
                    <a:lnTo>
                      <a:pt x="1271515" y="0"/>
                    </a:lnTo>
                    <a:lnTo>
                      <a:pt x="1630628" y="690921"/>
                    </a:lnTo>
                    <a:close/>
                  </a:path>
                </a:pathLst>
              </a:custGeom>
              <a:solidFill>
                <a:srgbClr val="089ACE"/>
              </a:solidFill>
              <a:ln w="38100" cap="rnd" cmpd="sng">
                <a:noFill/>
                <a:prstDash val="sysDash"/>
                <a:miter lim="800000"/>
              </a:ln>
              <a:effectLst>
                <a:outerShdw blurRad="38100" dist="12700" dir="5400000" algn="t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noAutofit/>
              </a:bodyPr>
              <a:lstStyle/>
              <a:p>
                <a:pPr algn="ctr">
                  <a:spcBef>
                    <a:spcPts val="1000"/>
                  </a:spcBef>
                </a:pPr>
                <a:endParaRPr lang="es-ES_tradnl" sz="1400" b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8" name="Forma libre 27">
                <a:extLst>
                  <a:ext uri="{FF2B5EF4-FFF2-40B4-BE49-F238E27FC236}">
                    <a16:creationId xmlns:a16="http://schemas.microsoft.com/office/drawing/2014/main" id="{19833C8D-2C4C-8F00-C042-1F8DEDA0E1B8}"/>
                  </a:ext>
                </a:extLst>
              </p:cNvPr>
              <p:cNvSpPr/>
              <p:nvPr/>
            </p:nvSpPr>
            <p:spPr>
              <a:xfrm rot="10800000">
                <a:off x="6430752" y="1649636"/>
                <a:ext cx="2337508" cy="618853"/>
              </a:xfrm>
              <a:custGeom>
                <a:avLst/>
                <a:gdLst>
                  <a:gd name="connsiteX0" fmla="*/ 2337508 w 2337508"/>
                  <a:gd name="connsiteY0" fmla="*/ 618853 h 618853"/>
                  <a:gd name="connsiteX1" fmla="*/ 0 w 2337508"/>
                  <a:gd name="connsiteY1" fmla="*/ 618853 h 618853"/>
                  <a:gd name="connsiteX2" fmla="*/ 321655 w 2337508"/>
                  <a:gd name="connsiteY2" fmla="*/ 0 h 618853"/>
                  <a:gd name="connsiteX3" fmla="*/ 2015853 w 2337508"/>
                  <a:gd name="connsiteY3" fmla="*/ 0 h 618853"/>
                  <a:gd name="connsiteX4" fmla="*/ 2337508 w 2337508"/>
                  <a:gd name="connsiteY4" fmla="*/ 618853 h 618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37508" h="618853">
                    <a:moveTo>
                      <a:pt x="2337508" y="618853"/>
                    </a:moveTo>
                    <a:lnTo>
                      <a:pt x="0" y="618853"/>
                    </a:lnTo>
                    <a:lnTo>
                      <a:pt x="321655" y="0"/>
                    </a:lnTo>
                    <a:lnTo>
                      <a:pt x="2015853" y="0"/>
                    </a:lnTo>
                    <a:lnTo>
                      <a:pt x="2337508" y="618853"/>
                    </a:lnTo>
                    <a:close/>
                  </a:path>
                </a:pathLst>
              </a:custGeom>
              <a:solidFill>
                <a:schemeClr val="bg2"/>
              </a:solidFill>
              <a:ln w="38100" cap="rnd" cmpd="sng">
                <a:noFill/>
                <a:prstDash val="sysDash"/>
                <a:miter lim="800000"/>
              </a:ln>
              <a:effectLst>
                <a:outerShdw blurRad="38100" dist="12700" dir="5400000" algn="t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noAutofit/>
              </a:bodyPr>
              <a:lstStyle/>
              <a:p>
                <a:pPr algn="ctr">
                  <a:spcBef>
                    <a:spcPts val="1000"/>
                  </a:spcBef>
                </a:pPr>
                <a:endParaRPr lang="es-ES_tradnl" sz="1400" b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" name="CuadroTexto 5">
                <a:extLst>
                  <a:ext uri="{FF2B5EF4-FFF2-40B4-BE49-F238E27FC236}">
                    <a16:creationId xmlns:a16="http://schemas.microsoft.com/office/drawing/2014/main" id="{FE8A981C-E2B7-2B25-DF69-FD171D0AFAFE}"/>
                  </a:ext>
                </a:extLst>
              </p:cNvPr>
              <p:cNvSpPr txBox="1"/>
              <p:nvPr/>
            </p:nvSpPr>
            <p:spPr>
              <a:xfrm>
                <a:off x="7335011" y="3124694"/>
                <a:ext cx="528991" cy="10772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s-ES_tradnl" sz="700" err="1">
                    <a:solidFill>
                      <a:srgbClr val="FFFFFF"/>
                    </a:solidFill>
                    <a:latin typeface="Pulso" pitchFamily="2" charset="0"/>
                  </a:rPr>
                  <a:t>Connectivity</a:t>
                </a:r>
                <a:endParaRPr lang="es-ES_tradnl" sz="700">
                  <a:solidFill>
                    <a:srgbClr val="FFFFFF"/>
                  </a:solidFill>
                  <a:latin typeface="Pulso" pitchFamily="2" charset="0"/>
                </a:endParaRPr>
              </a:p>
            </p:txBody>
          </p:sp>
          <p:grpSp>
            <p:nvGrpSpPr>
              <p:cNvPr id="8" name="Grupo 7">
                <a:extLst>
                  <a:ext uri="{FF2B5EF4-FFF2-40B4-BE49-F238E27FC236}">
                    <a16:creationId xmlns:a16="http://schemas.microsoft.com/office/drawing/2014/main" id="{1DECAA9A-6947-8B55-BBBB-0139E3D1E158}"/>
                  </a:ext>
                </a:extLst>
              </p:cNvPr>
              <p:cNvGrpSpPr/>
              <p:nvPr/>
            </p:nvGrpSpPr>
            <p:grpSpPr>
              <a:xfrm>
                <a:off x="6935863" y="1717750"/>
                <a:ext cx="1327286" cy="507762"/>
                <a:chOff x="4690262" y="1971629"/>
                <a:chExt cx="1327286" cy="507762"/>
              </a:xfrm>
            </p:grpSpPr>
            <p:sp>
              <p:nvSpPr>
                <p:cNvPr id="10" name="CuadroTexto 9">
                  <a:extLst>
                    <a:ext uri="{FF2B5EF4-FFF2-40B4-BE49-F238E27FC236}">
                      <a16:creationId xmlns:a16="http://schemas.microsoft.com/office/drawing/2014/main" id="{A999CCB1-848A-4E6B-9566-5AFFDB49F82F}"/>
                    </a:ext>
                  </a:extLst>
                </p:cNvPr>
                <p:cNvSpPr txBox="1"/>
                <p:nvPr/>
              </p:nvSpPr>
              <p:spPr>
                <a:xfrm>
                  <a:off x="4690262" y="1971629"/>
                  <a:ext cx="1327286" cy="10772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/>
                  <a:r>
                    <a:rPr lang="es-ES_tradnl" sz="700" err="1">
                      <a:solidFill>
                        <a:srgbClr val="FFFFFF"/>
                      </a:solidFill>
                      <a:latin typeface="Pulso" pitchFamily="2" charset="0"/>
                    </a:rPr>
                    <a:t>Intelligence</a:t>
                  </a:r>
                  <a:r>
                    <a:rPr lang="es-ES_tradnl" sz="700">
                      <a:solidFill>
                        <a:srgbClr val="FFFFFF"/>
                      </a:solidFill>
                      <a:latin typeface="Pulso" pitchFamily="2" charset="0"/>
                    </a:rPr>
                    <a:t> </a:t>
                  </a:r>
                  <a:r>
                    <a:rPr lang="es-ES_tradnl" sz="700" err="1">
                      <a:solidFill>
                        <a:srgbClr val="FFFFFF"/>
                      </a:solidFill>
                      <a:latin typeface="Pulso" pitchFamily="2" charset="0"/>
                    </a:rPr>
                    <a:t>Layer</a:t>
                  </a:r>
                  <a:r>
                    <a:rPr lang="es-ES_tradnl" sz="700">
                      <a:solidFill>
                        <a:srgbClr val="FFFFFF"/>
                      </a:solidFill>
                      <a:latin typeface="Pulso" pitchFamily="2" charset="0"/>
                    </a:rPr>
                    <a:t> Technologies</a:t>
                  </a:r>
                </a:p>
              </p:txBody>
            </p:sp>
            <p:grpSp>
              <p:nvGrpSpPr>
                <p:cNvPr id="12" name="Grupo 11">
                  <a:extLst>
                    <a:ext uri="{FF2B5EF4-FFF2-40B4-BE49-F238E27FC236}">
                      <a16:creationId xmlns:a16="http://schemas.microsoft.com/office/drawing/2014/main" id="{7CDB201F-34A5-F00B-149F-AACA8FCC884B}"/>
                    </a:ext>
                  </a:extLst>
                </p:cNvPr>
                <p:cNvGrpSpPr/>
                <p:nvPr/>
              </p:nvGrpSpPr>
              <p:grpSpPr>
                <a:xfrm>
                  <a:off x="4707133" y="2110059"/>
                  <a:ext cx="1293545" cy="369332"/>
                  <a:chOff x="4834135" y="2156644"/>
                  <a:chExt cx="1293545" cy="369332"/>
                </a:xfrm>
              </p:grpSpPr>
              <p:sp>
                <p:nvSpPr>
                  <p:cNvPr id="13" name="CuadroTexto 12">
                    <a:extLst>
                      <a:ext uri="{FF2B5EF4-FFF2-40B4-BE49-F238E27FC236}">
                        <a16:creationId xmlns:a16="http://schemas.microsoft.com/office/drawing/2014/main" id="{CE955128-1757-C6E8-A0D8-D735B8C0D0DF}"/>
                      </a:ext>
                    </a:extLst>
                  </p:cNvPr>
                  <p:cNvSpPr txBox="1"/>
                  <p:nvPr/>
                </p:nvSpPr>
                <p:spPr>
                  <a:xfrm>
                    <a:off x="4834135" y="2156644"/>
                    <a:ext cx="537327" cy="369332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marL="58738" indent="-58738">
                      <a:buClr>
                        <a:srgbClr val="FFFFFF"/>
                      </a:buClr>
                      <a:buFont typeface="Arial" panose="020B0604020202020204" pitchFamily="34" charset="0"/>
                      <a:buChar char="•"/>
                    </a:pPr>
                    <a:r>
                      <a:rPr lang="es-ES_tradnl" sz="600">
                        <a:solidFill>
                          <a:srgbClr val="FFFFFF"/>
                        </a:solidFill>
                        <a:latin typeface="Pulso Light" pitchFamily="2" charset="0"/>
                      </a:rPr>
                      <a:t>AI/ML</a:t>
                    </a:r>
                  </a:p>
                  <a:p>
                    <a:pPr marL="58738" indent="-58738">
                      <a:buClr>
                        <a:srgbClr val="FFFFFF"/>
                      </a:buClr>
                      <a:buFont typeface="Arial" panose="020B0604020202020204" pitchFamily="34" charset="0"/>
                      <a:buChar char="•"/>
                    </a:pPr>
                    <a:r>
                      <a:rPr lang="es-ES_tradnl" sz="600" err="1">
                        <a:solidFill>
                          <a:srgbClr val="FFFFFF"/>
                        </a:solidFill>
                        <a:latin typeface="Pulso Light" pitchFamily="2" charset="0"/>
                      </a:rPr>
                      <a:t>Orchestration</a:t>
                    </a:r>
                    <a:endParaRPr lang="es-ES_tradnl" sz="600">
                      <a:solidFill>
                        <a:srgbClr val="FFFFFF"/>
                      </a:solidFill>
                      <a:latin typeface="Pulso Light" pitchFamily="2" charset="0"/>
                    </a:endParaRPr>
                  </a:p>
                  <a:p>
                    <a:pPr marL="58738" indent="-58738">
                      <a:buClr>
                        <a:srgbClr val="FFFFFF"/>
                      </a:buClr>
                      <a:buFont typeface="Arial" panose="020B0604020202020204" pitchFamily="34" charset="0"/>
                      <a:buChar char="•"/>
                    </a:pPr>
                    <a:r>
                      <a:rPr lang="es-ES_tradnl" sz="600">
                        <a:solidFill>
                          <a:srgbClr val="FFFFFF"/>
                        </a:solidFill>
                        <a:latin typeface="Pulso Light" pitchFamily="2" charset="0"/>
                      </a:rPr>
                      <a:t>5G Core</a:t>
                    </a:r>
                  </a:p>
                  <a:p>
                    <a:pPr marL="58738" indent="-58738">
                      <a:buClr>
                        <a:srgbClr val="FFFFFF"/>
                      </a:buClr>
                      <a:buFont typeface="Arial" panose="020B0604020202020204" pitchFamily="34" charset="0"/>
                      <a:buChar char="•"/>
                    </a:pPr>
                    <a:r>
                      <a:rPr lang="es-ES_tradnl" sz="600">
                        <a:solidFill>
                          <a:srgbClr val="FFFFFF"/>
                        </a:solidFill>
                        <a:latin typeface="Pulso Light" pitchFamily="2" charset="0"/>
                      </a:rPr>
                      <a:t>RCS</a:t>
                    </a:r>
                  </a:p>
                </p:txBody>
              </p:sp>
              <p:sp>
                <p:nvSpPr>
                  <p:cNvPr id="14" name="CuadroTexto 13">
                    <a:extLst>
                      <a:ext uri="{FF2B5EF4-FFF2-40B4-BE49-F238E27FC236}">
                        <a16:creationId xmlns:a16="http://schemas.microsoft.com/office/drawing/2014/main" id="{7941761B-C3A0-D6CF-BD08-DB052810E098}"/>
                      </a:ext>
                    </a:extLst>
                  </p:cNvPr>
                  <p:cNvSpPr txBox="1"/>
                  <p:nvPr/>
                </p:nvSpPr>
                <p:spPr>
                  <a:xfrm>
                    <a:off x="5486158" y="2156644"/>
                    <a:ext cx="641522" cy="276999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>
                    <a:defPPr>
                      <a:defRPr lang="en-US"/>
                    </a:defPPr>
                    <a:lvl1pPr marL="58738" indent="-58738">
                      <a:buClr>
                        <a:schemeClr val="tx2">
                          <a:lumMod val="75000"/>
                          <a:lumOff val="25000"/>
                        </a:schemeClr>
                      </a:buClr>
                      <a:buFont typeface="Arial" panose="020B0604020202020204" pitchFamily="34" charset="0"/>
                      <a:buChar char="•"/>
                      <a:defRPr sz="600">
                        <a:solidFill>
                          <a:schemeClr val="bg1">
                            <a:lumMod val="25000"/>
                          </a:schemeClr>
                        </a:solidFill>
                        <a:latin typeface="Pulso Light" pitchFamily="2" charset="0"/>
                      </a:defRPr>
                    </a:lvl1pPr>
                  </a:lstStyle>
                  <a:p>
                    <a:pPr>
                      <a:buClr>
                        <a:srgbClr val="FFFFFF"/>
                      </a:buClr>
                    </a:pPr>
                    <a:r>
                      <a:rPr lang="es-ES_tradnl">
                        <a:solidFill>
                          <a:srgbClr val="FFFFFF"/>
                        </a:solidFill>
                      </a:rPr>
                      <a:t>Edge Computing</a:t>
                    </a:r>
                  </a:p>
                  <a:p>
                    <a:pPr>
                      <a:buClr>
                        <a:srgbClr val="FFFFFF"/>
                      </a:buClr>
                    </a:pPr>
                    <a:r>
                      <a:rPr lang="es-ES_tradnl">
                        <a:solidFill>
                          <a:srgbClr val="FFFFFF"/>
                        </a:solidFill>
                      </a:rPr>
                      <a:t>Data </a:t>
                    </a:r>
                    <a:r>
                      <a:rPr lang="es-ES_tradnl" err="1">
                        <a:solidFill>
                          <a:srgbClr val="FFFFFF"/>
                        </a:solidFill>
                      </a:rPr>
                      <a:t>Fabric</a:t>
                    </a:r>
                    <a:endParaRPr lang="es-ES_tradnl">
                      <a:solidFill>
                        <a:srgbClr val="FFFFFF"/>
                      </a:solidFill>
                    </a:endParaRPr>
                  </a:p>
                  <a:p>
                    <a:pPr>
                      <a:buClr>
                        <a:srgbClr val="FFFFFF"/>
                      </a:buClr>
                    </a:pPr>
                    <a:r>
                      <a:rPr lang="es-ES_tradnl">
                        <a:solidFill>
                          <a:srgbClr val="FFFFFF"/>
                        </a:solidFill>
                      </a:rPr>
                      <a:t>RIC</a:t>
                    </a:r>
                  </a:p>
                </p:txBody>
              </p:sp>
            </p:grpSp>
          </p:grpSp>
          <p:grpSp>
            <p:nvGrpSpPr>
              <p:cNvPr id="15" name="Grupo 14">
                <a:extLst>
                  <a:ext uri="{FF2B5EF4-FFF2-40B4-BE49-F238E27FC236}">
                    <a16:creationId xmlns:a16="http://schemas.microsoft.com/office/drawing/2014/main" id="{B95943F2-1A2B-9A78-5B85-74DC93AA63A1}"/>
                  </a:ext>
                </a:extLst>
              </p:cNvPr>
              <p:cNvGrpSpPr/>
              <p:nvPr/>
            </p:nvGrpSpPr>
            <p:grpSpPr>
              <a:xfrm>
                <a:off x="6973534" y="2372619"/>
                <a:ext cx="1251945" cy="604967"/>
                <a:chOff x="4727933" y="2648721"/>
                <a:chExt cx="1251945" cy="604967"/>
              </a:xfrm>
            </p:grpSpPr>
            <p:sp>
              <p:nvSpPr>
                <p:cNvPr id="16" name="CuadroTexto 15">
                  <a:extLst>
                    <a:ext uri="{FF2B5EF4-FFF2-40B4-BE49-F238E27FC236}">
                      <a16:creationId xmlns:a16="http://schemas.microsoft.com/office/drawing/2014/main" id="{66AC35C9-DF4F-7D32-49EC-DFCBF3D3CB26}"/>
                    </a:ext>
                  </a:extLst>
                </p:cNvPr>
                <p:cNvSpPr txBox="1"/>
                <p:nvPr/>
              </p:nvSpPr>
              <p:spPr>
                <a:xfrm>
                  <a:off x="4727933" y="2648721"/>
                  <a:ext cx="1251945" cy="10772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/>
                  <a:r>
                    <a:rPr lang="es-ES_tradnl" sz="700" err="1">
                      <a:solidFill>
                        <a:srgbClr val="FFFFFF"/>
                      </a:solidFill>
                      <a:latin typeface="Pulso" pitchFamily="2" charset="0"/>
                    </a:rPr>
                    <a:t>Applications</a:t>
                  </a:r>
                  <a:r>
                    <a:rPr lang="es-ES_tradnl" sz="700">
                      <a:solidFill>
                        <a:srgbClr val="FFFFFF"/>
                      </a:solidFill>
                      <a:latin typeface="Pulso" pitchFamily="2" charset="0"/>
                    </a:rPr>
                    <a:t> / Digital </a:t>
                  </a:r>
                  <a:r>
                    <a:rPr lang="es-ES_tradnl" sz="700" err="1">
                      <a:solidFill>
                        <a:srgbClr val="FFFFFF"/>
                      </a:solidFill>
                      <a:latin typeface="Pulso" pitchFamily="2" charset="0"/>
                    </a:rPr>
                    <a:t>Services</a:t>
                  </a:r>
                  <a:endParaRPr lang="es-ES_tradnl" sz="700">
                    <a:solidFill>
                      <a:srgbClr val="FFFFFF"/>
                    </a:solidFill>
                    <a:latin typeface="Pulso" pitchFamily="2" charset="0"/>
                  </a:endParaRPr>
                </a:p>
              </p:txBody>
            </p:sp>
            <p:sp>
              <p:nvSpPr>
                <p:cNvPr id="17" name="CuadroTexto 16">
                  <a:extLst>
                    <a:ext uri="{FF2B5EF4-FFF2-40B4-BE49-F238E27FC236}">
                      <a16:creationId xmlns:a16="http://schemas.microsoft.com/office/drawing/2014/main" id="{B210DE9F-8D4E-1161-3479-113552DD32A5}"/>
                    </a:ext>
                  </a:extLst>
                </p:cNvPr>
                <p:cNvSpPr txBox="1"/>
                <p:nvPr/>
              </p:nvSpPr>
              <p:spPr>
                <a:xfrm>
                  <a:off x="5123714" y="2792023"/>
                  <a:ext cx="460382" cy="46166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>
                  <a:defPPr>
                    <a:defRPr lang="en-US"/>
                  </a:defPPr>
                  <a:lvl1pPr marL="58738" indent="-58738">
                    <a:buClr>
                      <a:schemeClr val="tx2">
                        <a:lumMod val="75000"/>
                        <a:lumOff val="25000"/>
                      </a:schemeClr>
                    </a:buClr>
                    <a:buFont typeface="Arial" panose="020B0604020202020204" pitchFamily="34" charset="0"/>
                    <a:buChar char="•"/>
                    <a:defRPr sz="600">
                      <a:solidFill>
                        <a:schemeClr val="bg1">
                          <a:lumMod val="25000"/>
                        </a:schemeClr>
                      </a:solidFill>
                      <a:latin typeface="Pulso Light" pitchFamily="2" charset="0"/>
                    </a:defRPr>
                  </a:lvl1pPr>
                </a:lstStyle>
                <a:p>
                  <a:pPr>
                    <a:buClr>
                      <a:srgbClr val="FFFFFF"/>
                    </a:buClr>
                  </a:pPr>
                  <a:r>
                    <a:rPr lang="es-ES_tradnl" err="1">
                      <a:solidFill>
                        <a:srgbClr val="FFFFFF"/>
                      </a:solidFill>
                    </a:rPr>
                    <a:t>Productivity</a:t>
                  </a:r>
                  <a:endParaRPr lang="es-ES_tradnl">
                    <a:solidFill>
                      <a:srgbClr val="FFFFFF"/>
                    </a:solidFill>
                  </a:endParaRPr>
                </a:p>
                <a:p>
                  <a:pPr>
                    <a:buClr>
                      <a:srgbClr val="FFFFFF"/>
                    </a:buClr>
                  </a:pPr>
                  <a:r>
                    <a:rPr lang="es-ES_tradnl" err="1">
                      <a:solidFill>
                        <a:srgbClr val="FFFFFF"/>
                      </a:solidFill>
                    </a:rPr>
                    <a:t>Gaming</a:t>
                  </a:r>
                  <a:endParaRPr lang="es-ES_tradnl">
                    <a:solidFill>
                      <a:srgbClr val="FFFFFF"/>
                    </a:solidFill>
                  </a:endParaRPr>
                </a:p>
                <a:p>
                  <a:pPr>
                    <a:buClr>
                      <a:srgbClr val="FFFFFF"/>
                    </a:buClr>
                  </a:pPr>
                  <a:r>
                    <a:rPr lang="es-ES_tradnl" err="1">
                      <a:solidFill>
                        <a:srgbClr val="FFFFFF"/>
                      </a:solidFill>
                    </a:rPr>
                    <a:t>Payments</a:t>
                  </a:r>
                  <a:endParaRPr lang="es-ES_tradnl">
                    <a:solidFill>
                      <a:srgbClr val="FFFFFF"/>
                    </a:solidFill>
                  </a:endParaRPr>
                </a:p>
                <a:p>
                  <a:pPr>
                    <a:buClr>
                      <a:srgbClr val="FFFFFF"/>
                    </a:buClr>
                  </a:pPr>
                  <a:r>
                    <a:rPr lang="es-ES_tradnl">
                      <a:solidFill>
                        <a:srgbClr val="FFFFFF"/>
                      </a:solidFill>
                    </a:rPr>
                    <a:t>B2C IoT</a:t>
                  </a:r>
                </a:p>
                <a:p>
                  <a:pPr>
                    <a:buClr>
                      <a:srgbClr val="FFFFFF"/>
                    </a:buClr>
                  </a:pPr>
                  <a:r>
                    <a:rPr lang="es-ES_tradnl">
                      <a:solidFill>
                        <a:srgbClr val="FFFFFF"/>
                      </a:solidFill>
                    </a:rPr>
                    <a:t>Video</a:t>
                  </a:r>
                </a:p>
              </p:txBody>
            </p:sp>
          </p:grpSp>
        </p:grpSp>
      </p:grpSp>
      <p:grpSp>
        <p:nvGrpSpPr>
          <p:cNvPr id="34" name="Grupo 33">
            <a:extLst>
              <a:ext uri="{FF2B5EF4-FFF2-40B4-BE49-F238E27FC236}">
                <a16:creationId xmlns:a16="http://schemas.microsoft.com/office/drawing/2014/main" id="{FCA7A8C8-E6D1-16D1-69CA-F9D4FAFD55A2}"/>
              </a:ext>
            </a:extLst>
          </p:cNvPr>
          <p:cNvGrpSpPr/>
          <p:nvPr/>
        </p:nvGrpSpPr>
        <p:grpSpPr>
          <a:xfrm>
            <a:off x="5960162" y="1766777"/>
            <a:ext cx="308992" cy="2248642"/>
            <a:chOff x="5977952" y="1649634"/>
            <a:chExt cx="308992" cy="2248642"/>
          </a:xfrm>
        </p:grpSpPr>
        <p:sp>
          <p:nvSpPr>
            <p:cNvPr id="22" name="Forma libre 21">
              <a:extLst>
                <a:ext uri="{FF2B5EF4-FFF2-40B4-BE49-F238E27FC236}">
                  <a16:creationId xmlns:a16="http://schemas.microsoft.com/office/drawing/2014/main" id="{52ED9026-5189-3886-2267-B00D69FB9044}"/>
                </a:ext>
              </a:extLst>
            </p:cNvPr>
            <p:cNvSpPr/>
            <p:nvPr/>
          </p:nvSpPr>
          <p:spPr>
            <a:xfrm>
              <a:off x="5977952" y="1649634"/>
              <a:ext cx="308992" cy="2248642"/>
            </a:xfrm>
            <a:custGeom>
              <a:avLst/>
              <a:gdLst>
                <a:gd name="connsiteX0" fmla="*/ 154495 w 308992"/>
                <a:gd name="connsiteY0" fmla="*/ 0 h 2248642"/>
                <a:gd name="connsiteX1" fmla="*/ 308991 w 308992"/>
                <a:gd name="connsiteY1" fmla="*/ 154495 h 2248642"/>
                <a:gd name="connsiteX2" fmla="*/ 231743 w 308992"/>
                <a:gd name="connsiteY2" fmla="*/ 154495 h 2248642"/>
                <a:gd name="connsiteX3" fmla="*/ 231743 w 308992"/>
                <a:gd name="connsiteY3" fmla="*/ 759115 h 2248642"/>
                <a:gd name="connsiteX4" fmla="*/ 231744 w 308992"/>
                <a:gd name="connsiteY4" fmla="*/ 759115 h 2248642"/>
                <a:gd name="connsiteX5" fmla="*/ 231744 w 308992"/>
                <a:gd name="connsiteY5" fmla="*/ 2094147 h 2248642"/>
                <a:gd name="connsiteX6" fmla="*/ 308992 w 308992"/>
                <a:gd name="connsiteY6" fmla="*/ 2094147 h 2248642"/>
                <a:gd name="connsiteX7" fmla="*/ 154497 w 308992"/>
                <a:gd name="connsiteY7" fmla="*/ 2248642 h 2248642"/>
                <a:gd name="connsiteX8" fmla="*/ 1 w 308992"/>
                <a:gd name="connsiteY8" fmla="*/ 2094147 h 2248642"/>
                <a:gd name="connsiteX9" fmla="*/ 77249 w 308992"/>
                <a:gd name="connsiteY9" fmla="*/ 2094147 h 2248642"/>
                <a:gd name="connsiteX10" fmla="*/ 77249 w 308992"/>
                <a:gd name="connsiteY10" fmla="*/ 854787 h 2248642"/>
                <a:gd name="connsiteX11" fmla="*/ 77248 w 308992"/>
                <a:gd name="connsiteY11" fmla="*/ 854787 h 2248642"/>
                <a:gd name="connsiteX12" fmla="*/ 77248 w 308992"/>
                <a:gd name="connsiteY12" fmla="*/ 154495 h 2248642"/>
                <a:gd name="connsiteX13" fmla="*/ 0 w 308992"/>
                <a:gd name="connsiteY13" fmla="*/ 154495 h 2248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8992" h="2248642">
                  <a:moveTo>
                    <a:pt x="154495" y="0"/>
                  </a:moveTo>
                  <a:lnTo>
                    <a:pt x="308991" y="154495"/>
                  </a:lnTo>
                  <a:lnTo>
                    <a:pt x="231743" y="154495"/>
                  </a:lnTo>
                  <a:lnTo>
                    <a:pt x="231743" y="759115"/>
                  </a:lnTo>
                  <a:lnTo>
                    <a:pt x="231744" y="759115"/>
                  </a:lnTo>
                  <a:lnTo>
                    <a:pt x="231744" y="2094147"/>
                  </a:lnTo>
                  <a:lnTo>
                    <a:pt x="308992" y="2094147"/>
                  </a:lnTo>
                  <a:lnTo>
                    <a:pt x="154497" y="2248642"/>
                  </a:lnTo>
                  <a:lnTo>
                    <a:pt x="1" y="2094147"/>
                  </a:lnTo>
                  <a:lnTo>
                    <a:pt x="77249" y="2094147"/>
                  </a:lnTo>
                  <a:lnTo>
                    <a:pt x="77249" y="854787"/>
                  </a:lnTo>
                  <a:lnTo>
                    <a:pt x="77248" y="854787"/>
                  </a:lnTo>
                  <a:lnTo>
                    <a:pt x="77248" y="154495"/>
                  </a:lnTo>
                  <a:lnTo>
                    <a:pt x="0" y="154495"/>
                  </a:lnTo>
                  <a:close/>
                </a:path>
              </a:pathLst>
            </a:custGeom>
            <a:gradFill>
              <a:gsLst>
                <a:gs pos="0">
                  <a:schemeClr val="bg2"/>
                </a:gs>
                <a:gs pos="100000">
                  <a:schemeClr val="tx2">
                    <a:lumMod val="90000"/>
                    <a:lumOff val="10000"/>
                  </a:schemeClr>
                </a:gs>
              </a:gsLst>
              <a:lin ang="5400000" scaled="1"/>
            </a:gra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1400" b="1">
                <a:solidFill>
                  <a:schemeClr val="tx1"/>
                </a:solidFill>
              </a:endParaRPr>
            </a:p>
          </p:txBody>
        </p:sp>
        <p:sp>
          <p:nvSpPr>
            <p:cNvPr id="23" name="CuadroTexto 22">
              <a:extLst>
                <a:ext uri="{FF2B5EF4-FFF2-40B4-BE49-F238E27FC236}">
                  <a16:creationId xmlns:a16="http://schemas.microsoft.com/office/drawing/2014/main" id="{89169EDC-9847-830D-2825-F1EB120477A2}"/>
                </a:ext>
              </a:extLst>
            </p:cNvPr>
            <p:cNvSpPr txBox="1"/>
            <p:nvPr/>
          </p:nvSpPr>
          <p:spPr>
            <a:xfrm rot="16200000">
              <a:off x="5859172" y="2038401"/>
              <a:ext cx="548227" cy="923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s-ES_tradnl" sz="600">
                  <a:solidFill>
                    <a:srgbClr val="FFFFFF"/>
                  </a:solidFill>
                  <a:latin typeface="Pulso" pitchFamily="2" charset="0"/>
                </a:rPr>
                <a:t>HIGHER VALUE</a:t>
              </a:r>
            </a:p>
          </p:txBody>
        </p:sp>
        <p:sp>
          <p:nvSpPr>
            <p:cNvPr id="24" name="CuadroTexto 23">
              <a:extLst>
                <a:ext uri="{FF2B5EF4-FFF2-40B4-BE49-F238E27FC236}">
                  <a16:creationId xmlns:a16="http://schemas.microsoft.com/office/drawing/2014/main" id="{E10BAF49-E34D-87AC-664A-0F584B6DE9A9}"/>
                </a:ext>
              </a:extLst>
            </p:cNvPr>
            <p:cNvSpPr txBox="1"/>
            <p:nvPr/>
          </p:nvSpPr>
          <p:spPr>
            <a:xfrm rot="16200000">
              <a:off x="5861577" y="3421113"/>
              <a:ext cx="543417" cy="923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s-ES_tradnl" sz="600">
                  <a:solidFill>
                    <a:srgbClr val="FFFFFF"/>
                  </a:solidFill>
                  <a:latin typeface="Pulso" pitchFamily="2" charset="0"/>
                </a:rPr>
                <a:t>LOWER VALUE</a:t>
              </a:r>
            </a:p>
          </p:txBody>
        </p:sp>
      </p:grpSp>
      <p:sp>
        <p:nvSpPr>
          <p:cNvPr id="2" name="Marcador de texto 8">
            <a:extLst>
              <a:ext uri="{FF2B5EF4-FFF2-40B4-BE49-F238E27FC236}">
                <a16:creationId xmlns:a16="http://schemas.microsoft.com/office/drawing/2014/main" id="{5AA2ED0C-AD45-5A99-AA7D-48704EC39C3D}"/>
              </a:ext>
            </a:extLst>
          </p:cNvPr>
          <p:cNvSpPr txBox="1">
            <a:spLocks/>
          </p:cNvSpPr>
          <p:nvPr/>
        </p:nvSpPr>
        <p:spPr>
          <a:xfrm>
            <a:off x="303639" y="4489138"/>
            <a:ext cx="2021000" cy="14773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None/>
              <a:defRPr/>
            </a:pPr>
            <a:r>
              <a:rPr lang="es-ES_tradnl" sz="9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Fuente: PWC y </a:t>
            </a:r>
            <a:r>
              <a:rPr lang="es-ES_tradnl" sz="900" noProof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Analisys</a:t>
            </a:r>
            <a:r>
              <a:rPr lang="es-ES_tradnl" sz="9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Mason</a:t>
            </a:r>
          </a:p>
        </p:txBody>
      </p:sp>
    </p:spTree>
    <p:extLst>
      <p:ext uri="{BB962C8B-B14F-4D97-AF65-F5344CB8AC3E}">
        <p14:creationId xmlns:p14="http://schemas.microsoft.com/office/powerpoint/2010/main" val="2959548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D34094-B1FB-9983-BAC1-3B3DC3C70A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8">
            <a:extLst>
              <a:ext uri="{FF2B5EF4-FFF2-40B4-BE49-F238E27FC236}">
                <a16:creationId xmlns:a16="http://schemas.microsoft.com/office/drawing/2014/main" id="{19E52CC7-4DE7-0E8E-0BDF-C387C9B3E9F2}"/>
              </a:ext>
            </a:extLst>
          </p:cNvPr>
          <p:cNvSpPr txBox="1">
            <a:spLocks/>
          </p:cNvSpPr>
          <p:nvPr/>
        </p:nvSpPr>
        <p:spPr>
          <a:xfrm>
            <a:off x="540657" y="1103372"/>
            <a:ext cx="6246091" cy="39171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rgentina presenta mayor potencial de crecimiento de los negocios core (móvil, BA,TV, voz fija) en comparación con otros países de la región.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F76B6A8C-1AC0-33F5-0EE5-88721529C3E3}"/>
              </a:ext>
            </a:extLst>
          </p:cNvPr>
          <p:cNvSpPr txBox="1">
            <a:spLocks/>
          </p:cNvSpPr>
          <p:nvPr/>
        </p:nvSpPr>
        <p:spPr>
          <a:xfrm>
            <a:off x="540657" y="562156"/>
            <a:ext cx="2335063" cy="395749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200"/>
              </a:lnSpc>
            </a:pP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Una mirada </a:t>
            </a:r>
            <a:r>
              <a:rPr lang="es-ES_tradnl" sz="2600" b="0" noProof="0" err="1">
                <a:solidFill>
                  <a:schemeClr val="bg2"/>
                </a:solidFill>
                <a:latin typeface="Pulso Light" pitchFamily="2" charset="0"/>
              </a:rPr>
              <a:t>Latam</a:t>
            </a:r>
            <a:endParaRPr lang="es-ES_tradnl" sz="2600" b="0" noProof="0">
              <a:solidFill>
                <a:schemeClr val="bg2"/>
              </a:solidFill>
              <a:latin typeface="Pulso Light" pitchFamily="2" charset="0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A995A618-997A-5315-FBD3-D4A03D489126}"/>
              </a:ext>
            </a:extLst>
          </p:cNvPr>
          <p:cNvSpPr txBox="1"/>
          <p:nvPr/>
        </p:nvSpPr>
        <p:spPr>
          <a:xfrm>
            <a:off x="6633834" y="4485404"/>
            <a:ext cx="1944443" cy="107722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65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" panose="02000000000000000000" pitchFamily="2" charset="0"/>
              </a:defRPr>
            </a:lvl1pPr>
          </a:lstStyle>
          <a:p>
            <a:pPr algn="r">
              <a:spcAft>
                <a:spcPts val="200"/>
              </a:spcAft>
            </a:pPr>
            <a:r>
              <a:rPr lang="es-AR" sz="700">
                <a:latin typeface="Pulso Light" pitchFamily="2" charset="0"/>
              </a:rPr>
              <a:t>* </a:t>
            </a:r>
            <a:r>
              <a:rPr lang="es-AR" sz="700" i="1">
                <a:solidFill>
                  <a:srgbClr val="24272A">
                    <a:lumMod val="75000"/>
                    <a:lumOff val="25000"/>
                  </a:srgbClr>
                </a:solidFill>
                <a:cs typeface="Open Sans Light" panose="020B0306030504020204" pitchFamily="34" charset="0"/>
              </a:rPr>
              <a:t>Fuente: Omdia – Reporte de consumo 2023-2028</a:t>
            </a:r>
          </a:p>
        </p:txBody>
      </p:sp>
      <p:sp>
        <p:nvSpPr>
          <p:cNvPr id="31" name="Rectángulo redondeado 9">
            <a:extLst>
              <a:ext uri="{FF2B5EF4-FFF2-40B4-BE49-F238E27FC236}">
                <a16:creationId xmlns:a16="http://schemas.microsoft.com/office/drawing/2014/main" id="{BF38BAE4-6824-5B35-C4D5-DE2E21A6DD2F}"/>
              </a:ext>
            </a:extLst>
          </p:cNvPr>
          <p:cNvSpPr/>
          <p:nvPr/>
        </p:nvSpPr>
        <p:spPr>
          <a:xfrm>
            <a:off x="7448399" y="2713423"/>
            <a:ext cx="1330922" cy="443266"/>
          </a:xfrm>
          <a:prstGeom prst="roundRect">
            <a:avLst>
              <a:gd name="adj" fmla="val 11077"/>
            </a:avLst>
          </a:prstGeom>
          <a:solidFill>
            <a:schemeClr val="accent2"/>
          </a:soli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>
            <a:defPPr>
              <a:defRPr lang="en-US"/>
            </a:defPPr>
            <a:lvl1pPr marL="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s-AR" sz="825" b="1" kern="0">
                <a:solidFill>
                  <a:srgbClr val="FFFFFF"/>
                </a:solidFill>
                <a:latin typeface="Pulso" pitchFamily="2" charset="0"/>
                <a:ea typeface="Roboto"/>
                <a:cs typeface="Open Sans"/>
              </a:rPr>
              <a:t>CARG en USD</a:t>
            </a:r>
          </a:p>
          <a:p>
            <a:pPr algn="ctr">
              <a:defRPr/>
            </a:pPr>
            <a:r>
              <a:rPr lang="es-AR" sz="825" kern="0">
                <a:solidFill>
                  <a:srgbClr val="FFFFFF"/>
                </a:solidFill>
                <a:latin typeface="Pulso" pitchFamily="2" charset="0"/>
                <a:ea typeface="Roboto"/>
                <a:cs typeface="Open Sans"/>
              </a:rPr>
              <a:t>(promedio 2025-2030)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7AFA1D19-79F7-BD36-22DA-A6ECB00D9DC2}"/>
              </a:ext>
            </a:extLst>
          </p:cNvPr>
          <p:cNvGrpSpPr/>
          <p:nvPr/>
        </p:nvGrpSpPr>
        <p:grpSpPr>
          <a:xfrm>
            <a:off x="557951" y="1712275"/>
            <a:ext cx="6788125" cy="2868287"/>
            <a:chOff x="557951" y="1712275"/>
            <a:chExt cx="6788125" cy="2868287"/>
          </a:xfrm>
        </p:grpSpPr>
        <p:grpSp>
          <p:nvGrpSpPr>
            <p:cNvPr id="7" name="Grupo 6">
              <a:extLst>
                <a:ext uri="{FF2B5EF4-FFF2-40B4-BE49-F238E27FC236}">
                  <a16:creationId xmlns:a16="http://schemas.microsoft.com/office/drawing/2014/main" id="{90A7DA47-CE08-BDBF-3F1A-E6F6279139D5}"/>
                </a:ext>
              </a:extLst>
            </p:cNvPr>
            <p:cNvGrpSpPr/>
            <p:nvPr/>
          </p:nvGrpSpPr>
          <p:grpSpPr>
            <a:xfrm>
              <a:off x="557951" y="1712275"/>
              <a:ext cx="6788125" cy="2868287"/>
              <a:chOff x="557951" y="1712275"/>
              <a:chExt cx="6788125" cy="2868287"/>
            </a:xfrm>
          </p:grpSpPr>
          <p:sp>
            <p:nvSpPr>
              <p:cNvPr id="12" name="Rectángulo: esquinas redondeadas 20">
                <a:extLst>
                  <a:ext uri="{FF2B5EF4-FFF2-40B4-BE49-F238E27FC236}">
                    <a16:creationId xmlns:a16="http://schemas.microsoft.com/office/drawing/2014/main" id="{13AA5BE6-F018-36E4-9DAE-FFFB0427A4B4}"/>
                  </a:ext>
                </a:extLst>
              </p:cNvPr>
              <p:cNvSpPr/>
              <p:nvPr/>
            </p:nvSpPr>
            <p:spPr>
              <a:xfrm rot="16200000">
                <a:off x="-485106" y="2863752"/>
                <a:ext cx="2270657" cy="184543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33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65" algn="l" defTabSz="91433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30" algn="l" defTabSz="91433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495" algn="l" defTabSz="91433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660" algn="l" defTabSz="91433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825" algn="l" defTabSz="91433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2990" algn="l" defTabSz="91433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155" algn="l" defTabSz="91433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320" algn="l" defTabSz="91433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s-AR" sz="800">
                    <a:solidFill>
                      <a:schemeClr val="tx2">
                        <a:lumMod val="75000"/>
                        <a:lumOff val="25000"/>
                      </a:schemeClr>
                    </a:solidFill>
                    <a:latin typeface="Pulso" pitchFamily="2" charset="0"/>
                    <a:ea typeface="Roboto Medium" panose="02000000000000000000" pitchFamily="2" charset="0"/>
                    <a:cs typeface="Lato" panose="020F0502020204030203" pitchFamily="34" charset="0"/>
                  </a:rPr>
                  <a:t>Crecimiento absoluto (MM USD)</a:t>
                </a:r>
              </a:p>
            </p:txBody>
          </p:sp>
          <p:graphicFrame>
            <p:nvGraphicFramePr>
              <p:cNvPr id="34" name="Gráfico 33">
                <a:extLst>
                  <a:ext uri="{FF2B5EF4-FFF2-40B4-BE49-F238E27FC236}">
                    <a16:creationId xmlns:a16="http://schemas.microsoft.com/office/drawing/2014/main" id="{E2080E45-B9B4-D23A-56E7-3F046F586EFB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066808462"/>
                  </p:ext>
                </p:extLst>
              </p:nvPr>
            </p:nvGraphicFramePr>
            <p:xfrm>
              <a:off x="844817" y="1712275"/>
              <a:ext cx="6501259" cy="261591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42" name="Rectángulo: esquinas redondeadas 21">
                <a:extLst>
                  <a:ext uri="{FF2B5EF4-FFF2-40B4-BE49-F238E27FC236}">
                    <a16:creationId xmlns:a16="http://schemas.microsoft.com/office/drawing/2014/main" id="{37CB85FC-F2C4-C6C8-78D2-A29C6EE5EFAB}"/>
                  </a:ext>
                </a:extLst>
              </p:cNvPr>
              <p:cNvSpPr/>
              <p:nvPr/>
            </p:nvSpPr>
            <p:spPr>
              <a:xfrm>
                <a:off x="2618508" y="4396019"/>
                <a:ext cx="2945082" cy="184543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33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65" algn="l" defTabSz="91433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30" algn="l" defTabSz="91433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495" algn="l" defTabSz="91433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660" algn="l" defTabSz="91433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825" algn="l" defTabSz="91433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2990" algn="l" defTabSz="91433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155" algn="l" defTabSz="91433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320" algn="l" defTabSz="91433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s-AR" sz="800">
                    <a:solidFill>
                      <a:schemeClr val="tx2">
                        <a:lumMod val="75000"/>
                        <a:lumOff val="25000"/>
                      </a:schemeClr>
                    </a:solidFill>
                    <a:latin typeface="Pulso" pitchFamily="2" charset="0"/>
                    <a:ea typeface="Roboto Medium" panose="02000000000000000000" pitchFamily="2" charset="0"/>
                  </a:rPr>
                  <a:t>Crecimiento anual promedio (CARG)</a:t>
                </a:r>
              </a:p>
            </p:txBody>
          </p:sp>
        </p:grpSp>
        <p:grpSp>
          <p:nvGrpSpPr>
            <p:cNvPr id="10" name="Grupo 9">
              <a:extLst>
                <a:ext uri="{FF2B5EF4-FFF2-40B4-BE49-F238E27FC236}">
                  <a16:creationId xmlns:a16="http://schemas.microsoft.com/office/drawing/2014/main" id="{9D3E1E72-813B-8FE4-77BE-5533FB62BEE4}"/>
                </a:ext>
              </a:extLst>
            </p:cNvPr>
            <p:cNvGrpSpPr/>
            <p:nvPr/>
          </p:nvGrpSpPr>
          <p:grpSpPr>
            <a:xfrm>
              <a:off x="2366241" y="2215936"/>
              <a:ext cx="4423860" cy="1840994"/>
              <a:chOff x="2366241" y="2215936"/>
              <a:chExt cx="4423860" cy="1840994"/>
            </a:xfrm>
          </p:grpSpPr>
          <p:pic>
            <p:nvPicPr>
              <p:cNvPr id="2" name="Imagen 1">
                <a:extLst>
                  <a:ext uri="{FF2B5EF4-FFF2-40B4-BE49-F238E27FC236}">
                    <a16:creationId xmlns:a16="http://schemas.microsoft.com/office/drawing/2014/main" id="{421ACE7A-D978-2E4F-FCA7-9C63F5F67F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625412" y="2215936"/>
                <a:ext cx="594370" cy="594370"/>
              </a:xfrm>
              <a:prstGeom prst="rect">
                <a:avLst/>
              </a:prstGeom>
            </p:spPr>
          </p:pic>
          <p:pic>
            <p:nvPicPr>
              <p:cNvPr id="3" name="Imagen 2">
                <a:extLst>
                  <a:ext uri="{FF2B5EF4-FFF2-40B4-BE49-F238E27FC236}">
                    <a16:creationId xmlns:a16="http://schemas.microsoft.com/office/drawing/2014/main" id="{B83ADF0C-18D4-7128-0736-C735D75A36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281858" y="2881799"/>
                <a:ext cx="458979" cy="458979"/>
              </a:xfrm>
              <a:prstGeom prst="rect">
                <a:avLst/>
              </a:prstGeom>
            </p:spPr>
          </p:pic>
          <p:pic>
            <p:nvPicPr>
              <p:cNvPr id="4" name="Imagen 3">
                <a:extLst>
                  <a:ext uri="{FF2B5EF4-FFF2-40B4-BE49-F238E27FC236}">
                    <a16:creationId xmlns:a16="http://schemas.microsoft.com/office/drawing/2014/main" id="{BDB07A40-6265-D7C3-83C5-773790C37C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085994" y="3498253"/>
                <a:ext cx="305072" cy="305072"/>
              </a:xfrm>
              <a:prstGeom prst="rect">
                <a:avLst/>
              </a:prstGeom>
            </p:spPr>
          </p:pic>
          <p:pic>
            <p:nvPicPr>
              <p:cNvPr id="6" name="Imagen 5">
                <a:extLst>
                  <a:ext uri="{FF2B5EF4-FFF2-40B4-BE49-F238E27FC236}">
                    <a16:creationId xmlns:a16="http://schemas.microsoft.com/office/drawing/2014/main" id="{2D3094E3-0884-4B45-E26D-C8A59AC0FB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852557" y="3726300"/>
                <a:ext cx="252000" cy="252000"/>
              </a:xfrm>
              <a:prstGeom prst="rect">
                <a:avLst/>
              </a:prstGeom>
            </p:spPr>
          </p:pic>
          <p:pic>
            <p:nvPicPr>
              <p:cNvPr id="8" name="Imagen 7">
                <a:extLst>
                  <a:ext uri="{FF2B5EF4-FFF2-40B4-BE49-F238E27FC236}">
                    <a16:creationId xmlns:a16="http://schemas.microsoft.com/office/drawing/2014/main" id="{A78ABE51-0129-EC00-7142-190676C299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465963" y="3473507"/>
                <a:ext cx="324138" cy="324138"/>
              </a:xfrm>
              <a:prstGeom prst="rect">
                <a:avLst/>
              </a:prstGeom>
            </p:spPr>
          </p:pic>
          <p:pic>
            <p:nvPicPr>
              <p:cNvPr id="9" name="Imagen 8">
                <a:extLst>
                  <a:ext uri="{FF2B5EF4-FFF2-40B4-BE49-F238E27FC236}">
                    <a16:creationId xmlns:a16="http://schemas.microsoft.com/office/drawing/2014/main" id="{1589DBC8-0782-5F48-84D6-4C044A5903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366241" y="3905203"/>
                <a:ext cx="151727" cy="151727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088287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167B67E9-E423-3CDA-1FC9-5D31BC40741D}"/>
              </a:ext>
            </a:extLst>
          </p:cNvPr>
          <p:cNvSpPr txBox="1">
            <a:spLocks/>
          </p:cNvSpPr>
          <p:nvPr/>
        </p:nvSpPr>
        <p:spPr>
          <a:xfrm>
            <a:off x="540657" y="563342"/>
            <a:ext cx="2931893" cy="393377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200"/>
              </a:lnSpc>
            </a:pP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LatAm Fiber InfraCos</a:t>
            </a:r>
          </a:p>
        </p:txBody>
      </p:sp>
      <p:grpSp>
        <p:nvGrpSpPr>
          <p:cNvPr id="110" name="Grupo 109">
            <a:extLst>
              <a:ext uri="{FF2B5EF4-FFF2-40B4-BE49-F238E27FC236}">
                <a16:creationId xmlns:a16="http://schemas.microsoft.com/office/drawing/2014/main" id="{0D47D900-5E46-240D-A90A-2C6781FD9CF5}"/>
              </a:ext>
            </a:extLst>
          </p:cNvPr>
          <p:cNvGrpSpPr/>
          <p:nvPr/>
        </p:nvGrpSpPr>
        <p:grpSpPr>
          <a:xfrm>
            <a:off x="2845325" y="1581251"/>
            <a:ext cx="587934" cy="817677"/>
            <a:chOff x="4113715" y="2028237"/>
            <a:chExt cx="769555" cy="1070268"/>
          </a:xfrm>
        </p:grpSpPr>
        <p:grpSp>
          <p:nvGrpSpPr>
            <p:cNvPr id="111" name="Gráfico 123">
              <a:extLst>
                <a:ext uri="{FF2B5EF4-FFF2-40B4-BE49-F238E27FC236}">
                  <a16:creationId xmlns:a16="http://schemas.microsoft.com/office/drawing/2014/main" id="{A789A3D8-0AFC-E265-C981-184074B1B372}"/>
                </a:ext>
              </a:extLst>
            </p:cNvPr>
            <p:cNvGrpSpPr/>
            <p:nvPr/>
          </p:nvGrpSpPr>
          <p:grpSpPr>
            <a:xfrm>
              <a:off x="4318130" y="2028237"/>
              <a:ext cx="360725" cy="358574"/>
              <a:chOff x="5232404" y="2571751"/>
              <a:chExt cx="1724687" cy="1714396"/>
            </a:xfrm>
          </p:grpSpPr>
          <p:grpSp>
            <p:nvGrpSpPr>
              <p:cNvPr id="123" name="Gráfico 123">
                <a:extLst>
                  <a:ext uri="{FF2B5EF4-FFF2-40B4-BE49-F238E27FC236}">
                    <a16:creationId xmlns:a16="http://schemas.microsoft.com/office/drawing/2014/main" id="{4C5F422C-8C22-C8C4-78F7-97B14FD3E613}"/>
                  </a:ext>
                </a:extLst>
              </p:cNvPr>
              <p:cNvGrpSpPr/>
              <p:nvPr/>
            </p:nvGrpSpPr>
            <p:grpSpPr>
              <a:xfrm>
                <a:off x="5232404" y="2571751"/>
                <a:ext cx="1724687" cy="1714396"/>
                <a:chOff x="5232404" y="2571751"/>
                <a:chExt cx="1724687" cy="1714396"/>
              </a:xfrm>
            </p:grpSpPr>
            <p:sp>
              <p:nvSpPr>
                <p:cNvPr id="137" name="Forma libre 136">
                  <a:extLst>
                    <a:ext uri="{FF2B5EF4-FFF2-40B4-BE49-F238E27FC236}">
                      <a16:creationId xmlns:a16="http://schemas.microsoft.com/office/drawing/2014/main" id="{A6DA32B2-8EEA-DAC8-16B5-FFA1011A7B7D}"/>
                    </a:ext>
                  </a:extLst>
                </p:cNvPr>
                <p:cNvSpPr/>
                <p:nvPr/>
              </p:nvSpPr>
              <p:spPr>
                <a:xfrm>
                  <a:off x="6162838" y="3398429"/>
                  <a:ext cx="174852" cy="512285"/>
                </a:xfrm>
                <a:custGeom>
                  <a:avLst/>
                  <a:gdLst>
                    <a:gd name="connsiteX0" fmla="*/ 83020 w 174852"/>
                    <a:gd name="connsiteY0" fmla="*/ 141 h 512285"/>
                    <a:gd name="connsiteX1" fmla="*/ 83020 w 174852"/>
                    <a:gd name="connsiteY1" fmla="*/ 512254 h 512285"/>
                    <a:gd name="connsiteX2" fmla="*/ 83020 w 174852"/>
                    <a:gd name="connsiteY2" fmla="*/ 141 h 512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74852" h="512285">
                      <a:moveTo>
                        <a:pt x="83020" y="141"/>
                      </a:moveTo>
                      <a:cubicBezTo>
                        <a:pt x="-13924" y="3665"/>
                        <a:pt x="-40624" y="482215"/>
                        <a:pt x="83020" y="512254"/>
                      </a:cubicBezTo>
                      <a:cubicBezTo>
                        <a:pt x="212045" y="498896"/>
                        <a:pt x="198695" y="-10767"/>
                        <a:pt x="83020" y="141"/>
                      </a:cubicBezTo>
                      <a:close/>
                    </a:path>
                  </a:pathLst>
                </a:custGeom>
                <a:noFill/>
                <a:ln w="335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139" name="Forma libre 138">
                  <a:extLst>
                    <a:ext uri="{FF2B5EF4-FFF2-40B4-BE49-F238E27FC236}">
                      <a16:creationId xmlns:a16="http://schemas.microsoft.com/office/drawing/2014/main" id="{7B74A1D6-C012-5CFB-7404-980A3495203B}"/>
                    </a:ext>
                  </a:extLst>
                </p:cNvPr>
                <p:cNvSpPr/>
                <p:nvPr/>
              </p:nvSpPr>
              <p:spPr>
                <a:xfrm>
                  <a:off x="6163556" y="3164004"/>
                  <a:ext cx="169046" cy="171687"/>
                </a:xfrm>
                <a:custGeom>
                  <a:avLst/>
                  <a:gdLst>
                    <a:gd name="connsiteX0" fmla="*/ 169045 w 169046"/>
                    <a:gd name="connsiteY0" fmla="*/ 85782 h 171687"/>
                    <a:gd name="connsiteX1" fmla="*/ 84522 w 169046"/>
                    <a:gd name="connsiteY1" fmla="*/ 171626 h 171687"/>
                    <a:gd name="connsiteX2" fmla="*/ -1 w 169046"/>
                    <a:gd name="connsiteY2" fmla="*/ 85782 h 171687"/>
                    <a:gd name="connsiteX3" fmla="*/ 84522 w 169046"/>
                    <a:gd name="connsiteY3" fmla="*/ -62 h 171687"/>
                    <a:gd name="connsiteX4" fmla="*/ 169045 w 169046"/>
                    <a:gd name="connsiteY4" fmla="*/ 85782 h 171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9046" h="171687">
                      <a:moveTo>
                        <a:pt x="169045" y="85782"/>
                      </a:moveTo>
                      <a:cubicBezTo>
                        <a:pt x="169045" y="133192"/>
                        <a:pt x="131203" y="171626"/>
                        <a:pt x="84522" y="171626"/>
                      </a:cubicBezTo>
                      <a:cubicBezTo>
                        <a:pt x="37841" y="171626"/>
                        <a:pt x="-1" y="133192"/>
                        <a:pt x="-1" y="85782"/>
                      </a:cubicBezTo>
                      <a:cubicBezTo>
                        <a:pt x="-1" y="38372"/>
                        <a:pt x="37841" y="-62"/>
                        <a:pt x="84522" y="-62"/>
                      </a:cubicBezTo>
                      <a:cubicBezTo>
                        <a:pt x="131203" y="-62"/>
                        <a:pt x="169045" y="38372"/>
                        <a:pt x="169045" y="85782"/>
                      </a:cubicBezTo>
                      <a:close/>
                    </a:path>
                  </a:pathLst>
                </a:custGeom>
                <a:noFill/>
                <a:ln w="335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140" name="Forma libre 139">
                  <a:extLst>
                    <a:ext uri="{FF2B5EF4-FFF2-40B4-BE49-F238E27FC236}">
                      <a16:creationId xmlns:a16="http://schemas.microsoft.com/office/drawing/2014/main" id="{A4B91E0F-5844-1A85-96AB-D8450C6BE806}"/>
                    </a:ext>
                  </a:extLst>
                </p:cNvPr>
                <p:cNvSpPr/>
                <p:nvPr/>
              </p:nvSpPr>
              <p:spPr>
                <a:xfrm>
                  <a:off x="5232404" y="2571751"/>
                  <a:ext cx="1724687" cy="1714396"/>
                </a:xfrm>
                <a:custGeom>
                  <a:avLst/>
                  <a:gdLst>
                    <a:gd name="connsiteX0" fmla="*/ 404 w 1724687"/>
                    <a:gd name="connsiteY0" fmla="*/ 857480 h 1714396"/>
                    <a:gd name="connsiteX1" fmla="*/ 542717 w 1724687"/>
                    <a:gd name="connsiteY1" fmla="*/ 1589836 h 1714396"/>
                    <a:gd name="connsiteX2" fmla="*/ 1055106 w 1724687"/>
                    <a:gd name="connsiteY2" fmla="*/ 1713015 h 1714396"/>
                    <a:gd name="connsiteX3" fmla="*/ 1311440 w 1724687"/>
                    <a:gd name="connsiteY3" fmla="*/ 1405573 h 1714396"/>
                    <a:gd name="connsiteX4" fmla="*/ 1297418 w 1724687"/>
                    <a:gd name="connsiteY4" fmla="*/ 1313642 h 1714396"/>
                    <a:gd name="connsiteX5" fmla="*/ 1282555 w 1724687"/>
                    <a:gd name="connsiteY5" fmla="*/ 1061378 h 1714396"/>
                    <a:gd name="connsiteX6" fmla="*/ 1513871 w 1724687"/>
                    <a:gd name="connsiteY6" fmla="*/ 791997 h 1714396"/>
                    <a:gd name="connsiteX7" fmla="*/ 1667376 w 1724687"/>
                    <a:gd name="connsiteY7" fmla="*/ 234741 h 1714396"/>
                    <a:gd name="connsiteX8" fmla="*/ 294090 w 1724687"/>
                    <a:gd name="connsiteY8" fmla="*/ 258068 h 1714396"/>
                    <a:gd name="connsiteX9" fmla="*/ 147136 w 1724687"/>
                    <a:gd name="connsiteY9" fmla="*/ 409506 h 1714396"/>
                    <a:gd name="connsiteX10" fmla="*/ 404 w 1724687"/>
                    <a:gd name="connsiteY10" fmla="*/ 857480 h 1714396"/>
                    <a:gd name="connsiteX11" fmla="*/ 606375 w 1724687"/>
                    <a:gd name="connsiteY11" fmla="*/ 999218 h 1714396"/>
                    <a:gd name="connsiteX12" fmla="*/ 612307 w 1724687"/>
                    <a:gd name="connsiteY12" fmla="*/ 1511331 h 1714396"/>
                    <a:gd name="connsiteX13" fmla="*/ 606375 w 1724687"/>
                    <a:gd name="connsiteY13" fmla="*/ 999218 h 1714396"/>
                    <a:gd name="connsiteX14" fmla="*/ 1000799 w 1724687"/>
                    <a:gd name="connsiteY14" fmla="*/ 1514285 h 1714396"/>
                    <a:gd name="connsiteX15" fmla="*/ 1000799 w 1724687"/>
                    <a:gd name="connsiteY15" fmla="*/ 1002172 h 1714396"/>
                    <a:gd name="connsiteX16" fmla="*/ 1000799 w 1724687"/>
                    <a:gd name="connsiteY16" fmla="*/ 1514285 h 1714396"/>
                    <a:gd name="connsiteX17" fmla="*/ 1003052 w 1724687"/>
                    <a:gd name="connsiteY17" fmla="*/ 767596 h 1714396"/>
                    <a:gd name="connsiteX18" fmla="*/ 1087555 w 1724687"/>
                    <a:gd name="connsiteY18" fmla="*/ 853418 h 1714396"/>
                    <a:gd name="connsiteX19" fmla="*/ 1003052 w 1724687"/>
                    <a:gd name="connsiteY19" fmla="*/ 939274 h 1714396"/>
                    <a:gd name="connsiteX20" fmla="*/ 918516 w 1724687"/>
                    <a:gd name="connsiteY20" fmla="*/ 853418 h 1714396"/>
                    <a:gd name="connsiteX21" fmla="*/ 1003052 w 1724687"/>
                    <a:gd name="connsiteY21" fmla="*/ 767596 h 1714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724687" h="1714396">
                      <a:moveTo>
                        <a:pt x="404" y="857480"/>
                      </a:moveTo>
                      <a:cubicBezTo>
                        <a:pt x="22627" y="1384226"/>
                        <a:pt x="542717" y="1589836"/>
                        <a:pt x="542717" y="1589836"/>
                      </a:cubicBezTo>
                      <a:cubicBezTo>
                        <a:pt x="763901" y="1690829"/>
                        <a:pt x="914884" y="1700663"/>
                        <a:pt x="1055106" y="1713015"/>
                      </a:cubicBezTo>
                      <a:cubicBezTo>
                        <a:pt x="1291331" y="1726843"/>
                        <a:pt x="1373817" y="1633737"/>
                        <a:pt x="1311440" y="1405573"/>
                      </a:cubicBezTo>
                      <a:cubicBezTo>
                        <a:pt x="1303168" y="1359792"/>
                        <a:pt x="1297418" y="1313642"/>
                        <a:pt x="1297418" y="1313642"/>
                      </a:cubicBezTo>
                      <a:cubicBezTo>
                        <a:pt x="1268163" y="1215234"/>
                        <a:pt x="1282555" y="1061378"/>
                        <a:pt x="1282555" y="1061378"/>
                      </a:cubicBezTo>
                      <a:cubicBezTo>
                        <a:pt x="1282555" y="931118"/>
                        <a:pt x="1513871" y="791997"/>
                        <a:pt x="1513871" y="791997"/>
                      </a:cubicBezTo>
                      <a:cubicBezTo>
                        <a:pt x="1869739" y="507848"/>
                        <a:pt x="1667376" y="234741"/>
                        <a:pt x="1667376" y="234741"/>
                      </a:cubicBezTo>
                      <a:cubicBezTo>
                        <a:pt x="1394430" y="-124926"/>
                        <a:pt x="646794" y="-34573"/>
                        <a:pt x="294090" y="258068"/>
                      </a:cubicBezTo>
                      <a:cubicBezTo>
                        <a:pt x="226599" y="314052"/>
                        <a:pt x="194862" y="352549"/>
                        <a:pt x="147136" y="409506"/>
                      </a:cubicBezTo>
                      <a:cubicBezTo>
                        <a:pt x="51398" y="523791"/>
                        <a:pt x="-5484" y="717922"/>
                        <a:pt x="404" y="857480"/>
                      </a:cubicBezTo>
                      <a:close/>
                      <a:moveTo>
                        <a:pt x="606375" y="999218"/>
                      </a:moveTo>
                      <a:cubicBezTo>
                        <a:pt x="908865" y="995727"/>
                        <a:pt x="955336" y="1500926"/>
                        <a:pt x="612307" y="1511331"/>
                      </a:cubicBezTo>
                      <a:cubicBezTo>
                        <a:pt x="265340" y="1485219"/>
                        <a:pt x="331570" y="1003716"/>
                        <a:pt x="606375" y="999218"/>
                      </a:cubicBezTo>
                      <a:close/>
                      <a:moveTo>
                        <a:pt x="1000799" y="1514285"/>
                      </a:moveTo>
                      <a:cubicBezTo>
                        <a:pt x="877155" y="1484279"/>
                        <a:pt x="903855" y="1005696"/>
                        <a:pt x="1000799" y="1002172"/>
                      </a:cubicBezTo>
                      <a:cubicBezTo>
                        <a:pt x="1116508" y="991297"/>
                        <a:pt x="1129824" y="1500926"/>
                        <a:pt x="1000799" y="1514285"/>
                      </a:cubicBezTo>
                      <a:close/>
                      <a:moveTo>
                        <a:pt x="1003052" y="767596"/>
                      </a:moveTo>
                      <a:cubicBezTo>
                        <a:pt x="1049726" y="767596"/>
                        <a:pt x="1087555" y="806026"/>
                        <a:pt x="1087555" y="853418"/>
                      </a:cubicBezTo>
                      <a:cubicBezTo>
                        <a:pt x="1087555" y="900843"/>
                        <a:pt x="1049726" y="939274"/>
                        <a:pt x="1003052" y="939274"/>
                      </a:cubicBezTo>
                      <a:cubicBezTo>
                        <a:pt x="956345" y="939274"/>
                        <a:pt x="918516" y="900843"/>
                        <a:pt x="918516" y="853418"/>
                      </a:cubicBezTo>
                      <a:cubicBezTo>
                        <a:pt x="918516" y="806026"/>
                        <a:pt x="956345" y="767596"/>
                        <a:pt x="1003052" y="767596"/>
                      </a:cubicBezTo>
                      <a:close/>
                    </a:path>
                  </a:pathLst>
                </a:custGeom>
                <a:solidFill>
                  <a:srgbClr val="FFCC33"/>
                </a:solidFill>
                <a:ln w="335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141" name="Forma libre 140">
                  <a:extLst>
                    <a:ext uri="{FF2B5EF4-FFF2-40B4-BE49-F238E27FC236}">
                      <a16:creationId xmlns:a16="http://schemas.microsoft.com/office/drawing/2014/main" id="{70B247D9-2390-C537-CA31-783DC0CD4AD9}"/>
                    </a:ext>
                  </a:extLst>
                </p:cNvPr>
                <p:cNvSpPr/>
                <p:nvPr/>
              </p:nvSpPr>
              <p:spPr>
                <a:xfrm>
                  <a:off x="5741626" y="3699391"/>
                  <a:ext cx="204296" cy="269534"/>
                </a:xfrm>
                <a:custGeom>
                  <a:avLst/>
                  <a:gdLst>
                    <a:gd name="connsiteX0" fmla="*/ 95641 w 204296"/>
                    <a:gd name="connsiteY0" fmla="*/ 124 h 269534"/>
                    <a:gd name="connsiteX1" fmla="*/ 100090 w 204296"/>
                    <a:gd name="connsiteY1" fmla="*/ 269505 h 269534"/>
                    <a:gd name="connsiteX2" fmla="*/ 95641 w 204296"/>
                    <a:gd name="connsiteY2" fmla="*/ 124 h 2695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04296" h="269534">
                      <a:moveTo>
                        <a:pt x="95641" y="124"/>
                      </a:moveTo>
                      <a:cubicBezTo>
                        <a:pt x="-25955" y="5192"/>
                        <a:pt x="-39298" y="269136"/>
                        <a:pt x="100090" y="269505"/>
                      </a:cubicBezTo>
                      <a:cubicBezTo>
                        <a:pt x="237511" y="271586"/>
                        <a:pt x="241950" y="-7193"/>
                        <a:pt x="95641" y="124"/>
                      </a:cubicBezTo>
                      <a:close/>
                    </a:path>
                  </a:pathLst>
                </a:custGeom>
                <a:solidFill>
                  <a:srgbClr val="FFCC33"/>
                </a:solidFill>
                <a:ln w="6715" cap="flat">
                  <a:solidFill>
                    <a:srgbClr val="FFCC33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</p:grpSp>
          <p:sp>
            <p:nvSpPr>
              <p:cNvPr id="124" name="Forma libre 123">
                <a:extLst>
                  <a:ext uri="{FF2B5EF4-FFF2-40B4-BE49-F238E27FC236}">
                    <a16:creationId xmlns:a16="http://schemas.microsoft.com/office/drawing/2014/main" id="{64EA266F-79B6-16DC-EED7-28F6DB520132}"/>
                  </a:ext>
                </a:extLst>
              </p:cNvPr>
              <p:cNvSpPr/>
              <p:nvPr/>
            </p:nvSpPr>
            <p:spPr>
              <a:xfrm>
                <a:off x="5612219" y="3573085"/>
                <a:ext cx="468999" cy="508041"/>
              </a:xfrm>
              <a:custGeom>
                <a:avLst/>
                <a:gdLst>
                  <a:gd name="connsiteX0" fmla="*/ 210511 w 468999"/>
                  <a:gd name="connsiteY0" fmla="*/ 505896 h 508041"/>
                  <a:gd name="connsiteX1" fmla="*/ 6369 w 468999"/>
                  <a:gd name="connsiteY1" fmla="*/ 333214 h 508041"/>
                  <a:gd name="connsiteX2" fmla="*/ 6346 w 468999"/>
                  <a:gd name="connsiteY2" fmla="*/ 192105 h 508041"/>
                  <a:gd name="connsiteX3" fmla="*/ 78327 w 468999"/>
                  <a:gd name="connsiteY3" fmla="*/ 64597 h 508041"/>
                  <a:gd name="connsiteX4" fmla="*/ 191869 w 468999"/>
                  <a:gd name="connsiteY4" fmla="*/ 3566 h 508041"/>
                  <a:gd name="connsiteX5" fmla="*/ 468757 w 468999"/>
                  <a:gd name="connsiteY5" fmla="*/ 276077 h 508041"/>
                  <a:gd name="connsiteX6" fmla="*/ 442226 w 468999"/>
                  <a:gd name="connsiteY6" fmla="*/ 383465 h 508041"/>
                  <a:gd name="connsiteX7" fmla="*/ 265714 w 468999"/>
                  <a:gd name="connsiteY7" fmla="*/ 504646 h 508041"/>
                  <a:gd name="connsiteX8" fmla="*/ 237625 w 468999"/>
                  <a:gd name="connsiteY8" fmla="*/ 507705 h 508041"/>
                  <a:gd name="connsiteX9" fmla="*/ 210510 w 468999"/>
                  <a:gd name="connsiteY9" fmla="*/ 505896 h 508041"/>
                  <a:gd name="connsiteX10" fmla="*/ 210510 w 468999"/>
                  <a:gd name="connsiteY10" fmla="*/ 505896 h 508041"/>
                  <a:gd name="connsiteX11" fmla="*/ 272211 w 468999"/>
                  <a:gd name="connsiteY11" fmla="*/ 390588 h 508041"/>
                  <a:gd name="connsiteX12" fmla="*/ 334561 w 468999"/>
                  <a:gd name="connsiteY12" fmla="*/ 299995 h 508041"/>
                  <a:gd name="connsiteX13" fmla="*/ 327606 w 468999"/>
                  <a:gd name="connsiteY13" fmla="*/ 194813 h 508041"/>
                  <a:gd name="connsiteX14" fmla="*/ 231674 w 468999"/>
                  <a:gd name="connsiteY14" fmla="*/ 122776 h 508041"/>
                  <a:gd name="connsiteX15" fmla="*/ 188970 w 468999"/>
                  <a:gd name="connsiteY15" fmla="*/ 132504 h 508041"/>
                  <a:gd name="connsiteX16" fmla="*/ 128720 w 468999"/>
                  <a:gd name="connsiteY16" fmla="*/ 229056 h 508041"/>
                  <a:gd name="connsiteX17" fmla="*/ 208968 w 468999"/>
                  <a:gd name="connsiteY17" fmla="*/ 397845 h 508041"/>
                  <a:gd name="connsiteX18" fmla="*/ 272211 w 468999"/>
                  <a:gd name="connsiteY18" fmla="*/ 390588 h 508041"/>
                  <a:gd name="connsiteX19" fmla="*/ 272211 w 468999"/>
                  <a:gd name="connsiteY19" fmla="*/ 390588 h 508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68999" h="508041">
                    <a:moveTo>
                      <a:pt x="210511" y="505896"/>
                    </a:moveTo>
                    <a:cubicBezTo>
                      <a:pt x="109136" y="491877"/>
                      <a:pt x="31948" y="426584"/>
                      <a:pt x="6369" y="333214"/>
                    </a:cubicBezTo>
                    <a:cubicBezTo>
                      <a:pt x="-1935" y="302903"/>
                      <a:pt x="-1948" y="222075"/>
                      <a:pt x="6346" y="192105"/>
                    </a:cubicBezTo>
                    <a:cubicBezTo>
                      <a:pt x="21633" y="136880"/>
                      <a:pt x="41069" y="102448"/>
                      <a:pt x="78327" y="64597"/>
                    </a:cubicBezTo>
                    <a:cubicBezTo>
                      <a:pt x="111781" y="30610"/>
                      <a:pt x="147063" y="11646"/>
                      <a:pt x="191869" y="3566"/>
                    </a:cubicBezTo>
                    <a:cubicBezTo>
                      <a:pt x="345276" y="-24103"/>
                      <a:pt x="477098" y="105640"/>
                      <a:pt x="468757" y="276077"/>
                    </a:cubicBezTo>
                    <a:cubicBezTo>
                      <a:pt x="466497" y="322274"/>
                      <a:pt x="460644" y="345964"/>
                      <a:pt x="442226" y="383465"/>
                    </a:cubicBezTo>
                    <a:cubicBezTo>
                      <a:pt x="409832" y="449421"/>
                      <a:pt x="339894" y="497428"/>
                      <a:pt x="265714" y="504646"/>
                    </a:cubicBezTo>
                    <a:cubicBezTo>
                      <a:pt x="253993" y="505782"/>
                      <a:pt x="241353" y="507165"/>
                      <a:pt x="237625" y="507705"/>
                    </a:cubicBezTo>
                    <a:cubicBezTo>
                      <a:pt x="233897" y="508254"/>
                      <a:pt x="221695" y="507440"/>
                      <a:pt x="210510" y="505896"/>
                    </a:cubicBezTo>
                    <a:lnTo>
                      <a:pt x="210510" y="505896"/>
                    </a:lnTo>
                    <a:close/>
                    <a:moveTo>
                      <a:pt x="272211" y="390588"/>
                    </a:moveTo>
                    <a:cubicBezTo>
                      <a:pt x="300703" y="377280"/>
                      <a:pt x="326176" y="340262"/>
                      <a:pt x="334561" y="299995"/>
                    </a:cubicBezTo>
                    <a:cubicBezTo>
                      <a:pt x="340317" y="272354"/>
                      <a:pt x="336717" y="217916"/>
                      <a:pt x="327606" y="194813"/>
                    </a:cubicBezTo>
                    <a:cubicBezTo>
                      <a:pt x="309040" y="147717"/>
                      <a:pt x="276241" y="123089"/>
                      <a:pt x="231674" y="122776"/>
                    </a:cubicBezTo>
                    <a:cubicBezTo>
                      <a:pt x="210719" y="122624"/>
                      <a:pt x="204462" y="124046"/>
                      <a:pt x="188970" y="132504"/>
                    </a:cubicBezTo>
                    <a:cubicBezTo>
                      <a:pt x="157071" y="149924"/>
                      <a:pt x="137896" y="180652"/>
                      <a:pt x="128720" y="229056"/>
                    </a:cubicBezTo>
                    <a:cubicBezTo>
                      <a:pt x="113219" y="310822"/>
                      <a:pt x="148814" y="385691"/>
                      <a:pt x="208968" y="397845"/>
                    </a:cubicBezTo>
                    <a:cubicBezTo>
                      <a:pt x="228722" y="401842"/>
                      <a:pt x="254444" y="398886"/>
                      <a:pt x="272211" y="390588"/>
                    </a:cubicBezTo>
                    <a:lnTo>
                      <a:pt x="272211" y="390588"/>
                    </a:lnTo>
                    <a:close/>
                  </a:path>
                </a:pathLst>
              </a:custGeom>
              <a:solidFill>
                <a:srgbClr val="FFFFFF"/>
              </a:solidFill>
              <a:ln w="94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  <p:sp>
            <p:nvSpPr>
              <p:cNvPr id="134" name="Forma libre 133">
                <a:extLst>
                  <a:ext uri="{FF2B5EF4-FFF2-40B4-BE49-F238E27FC236}">
                    <a16:creationId xmlns:a16="http://schemas.microsoft.com/office/drawing/2014/main" id="{A1737C2A-C54D-740E-8205-492249F42CC9}"/>
                  </a:ext>
                </a:extLst>
              </p:cNvPr>
              <p:cNvSpPr/>
              <p:nvPr/>
            </p:nvSpPr>
            <p:spPr>
              <a:xfrm>
                <a:off x="6153637" y="3576046"/>
                <a:ext cx="168819" cy="506670"/>
              </a:xfrm>
              <a:custGeom>
                <a:avLst/>
                <a:gdLst>
                  <a:gd name="connsiteX0" fmla="*/ 56903 w 168819"/>
                  <a:gd name="connsiteY0" fmla="*/ 494258 h 506670"/>
                  <a:gd name="connsiteX1" fmla="*/ 445 w 168819"/>
                  <a:gd name="connsiteY1" fmla="*/ 284985 h 506670"/>
                  <a:gd name="connsiteX2" fmla="*/ 102577 w 168819"/>
                  <a:gd name="connsiteY2" fmla="*/ 5844 h 506670"/>
                  <a:gd name="connsiteX3" fmla="*/ 168952 w 168819"/>
                  <a:gd name="connsiteY3" fmla="*/ 250345 h 506670"/>
                  <a:gd name="connsiteX4" fmla="*/ 99991 w 168819"/>
                  <a:gd name="connsiteY4" fmla="*/ 500245 h 506670"/>
                  <a:gd name="connsiteX5" fmla="*/ 56903 w 168819"/>
                  <a:gd name="connsiteY5" fmla="*/ 494258 h 506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8819" h="506670">
                    <a:moveTo>
                      <a:pt x="56903" y="494258"/>
                    </a:moveTo>
                    <a:cubicBezTo>
                      <a:pt x="21087" y="461957"/>
                      <a:pt x="3254" y="395859"/>
                      <a:pt x="445" y="284985"/>
                    </a:cubicBezTo>
                    <a:cubicBezTo>
                      <a:pt x="-4211" y="101202"/>
                      <a:pt x="43916" y="-30341"/>
                      <a:pt x="102577" y="5844"/>
                    </a:cubicBezTo>
                    <a:cubicBezTo>
                      <a:pt x="141584" y="29903"/>
                      <a:pt x="168792" y="130131"/>
                      <a:pt x="168952" y="250345"/>
                    </a:cubicBezTo>
                    <a:cubicBezTo>
                      <a:pt x="169121" y="377890"/>
                      <a:pt x="142494" y="474385"/>
                      <a:pt x="99991" y="500245"/>
                    </a:cubicBezTo>
                    <a:cubicBezTo>
                      <a:pt x="83857" y="510067"/>
                      <a:pt x="72722" y="508524"/>
                      <a:pt x="56903" y="49425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  <p:sp>
            <p:nvSpPr>
              <p:cNvPr id="135" name="Forma libre 134">
                <a:extLst>
                  <a:ext uri="{FF2B5EF4-FFF2-40B4-BE49-F238E27FC236}">
                    <a16:creationId xmlns:a16="http://schemas.microsoft.com/office/drawing/2014/main" id="{581244BC-B0C7-2DC3-4EC5-38A3FB92E44A}"/>
                  </a:ext>
                </a:extLst>
              </p:cNvPr>
              <p:cNvSpPr/>
              <p:nvPr/>
            </p:nvSpPr>
            <p:spPr>
              <a:xfrm>
                <a:off x="6153274" y="3342086"/>
                <a:ext cx="164314" cy="165559"/>
              </a:xfrm>
              <a:custGeom>
                <a:avLst/>
                <a:gdLst>
                  <a:gd name="connsiteX0" fmla="*/ 48928 w 164314"/>
                  <a:gd name="connsiteY0" fmla="*/ 159231 h 165559"/>
                  <a:gd name="connsiteX1" fmla="*/ 3901 w 164314"/>
                  <a:gd name="connsiteY1" fmla="*/ 108734 h 165559"/>
                  <a:gd name="connsiteX2" fmla="*/ 7885 w 164314"/>
                  <a:gd name="connsiteY2" fmla="*/ 48850 h 165559"/>
                  <a:gd name="connsiteX3" fmla="*/ 118758 w 164314"/>
                  <a:gd name="connsiteY3" fmla="*/ 9132 h 165559"/>
                  <a:gd name="connsiteX4" fmla="*/ 154211 w 164314"/>
                  <a:gd name="connsiteY4" fmla="*/ 124837 h 165559"/>
                  <a:gd name="connsiteX5" fmla="*/ 112965 w 164314"/>
                  <a:gd name="connsiteY5" fmla="*/ 160937 h 165559"/>
                  <a:gd name="connsiteX6" fmla="*/ 48928 w 164314"/>
                  <a:gd name="connsiteY6" fmla="*/ 159231 h 165559"/>
                  <a:gd name="connsiteX7" fmla="*/ 48928 w 164314"/>
                  <a:gd name="connsiteY7" fmla="*/ 159231 h 165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4314" h="165559">
                    <a:moveTo>
                      <a:pt x="48928" y="159231"/>
                    </a:moveTo>
                    <a:cubicBezTo>
                      <a:pt x="31685" y="151417"/>
                      <a:pt x="9114" y="126107"/>
                      <a:pt x="3901" y="108734"/>
                    </a:cubicBezTo>
                    <a:cubicBezTo>
                      <a:pt x="-2234" y="88293"/>
                      <a:pt x="-857" y="67586"/>
                      <a:pt x="7885" y="48850"/>
                    </a:cubicBezTo>
                    <a:cubicBezTo>
                      <a:pt x="28516" y="4633"/>
                      <a:pt x="76155" y="-12436"/>
                      <a:pt x="118758" y="9132"/>
                    </a:cubicBezTo>
                    <a:cubicBezTo>
                      <a:pt x="161029" y="30521"/>
                      <a:pt x="176653" y="81520"/>
                      <a:pt x="154211" y="124837"/>
                    </a:cubicBezTo>
                    <a:cubicBezTo>
                      <a:pt x="148008" y="136810"/>
                      <a:pt x="127242" y="154988"/>
                      <a:pt x="112965" y="160937"/>
                    </a:cubicBezTo>
                    <a:cubicBezTo>
                      <a:pt x="97162" y="167529"/>
                      <a:pt x="65357" y="166686"/>
                      <a:pt x="48928" y="159231"/>
                    </a:cubicBezTo>
                    <a:lnTo>
                      <a:pt x="48928" y="159231"/>
                    </a:lnTo>
                    <a:close/>
                  </a:path>
                </a:pathLst>
              </a:custGeom>
              <a:solidFill>
                <a:srgbClr val="FFFFFF"/>
              </a:solidFill>
              <a:ln w="94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</p:grpSp>
        <p:sp>
          <p:nvSpPr>
            <p:cNvPr id="121" name="Gráfico 134">
              <a:extLst>
                <a:ext uri="{FF2B5EF4-FFF2-40B4-BE49-F238E27FC236}">
                  <a16:creationId xmlns:a16="http://schemas.microsoft.com/office/drawing/2014/main" id="{0E061016-A0D9-780C-E79D-D53EFA466C5A}"/>
                </a:ext>
              </a:extLst>
            </p:cNvPr>
            <p:cNvSpPr/>
            <p:nvPr/>
          </p:nvSpPr>
          <p:spPr>
            <a:xfrm>
              <a:off x="4113715" y="2464727"/>
              <a:ext cx="769555" cy="305197"/>
            </a:xfrm>
            <a:custGeom>
              <a:avLst/>
              <a:gdLst>
                <a:gd name="connsiteX0" fmla="*/ 3518100 w 3776022"/>
                <a:gd name="connsiteY0" fmla="*/ 635900 h 1497528"/>
                <a:gd name="connsiteX1" fmla="*/ 3426784 w 3776022"/>
                <a:gd name="connsiteY1" fmla="*/ 635900 h 1497528"/>
                <a:gd name="connsiteX2" fmla="*/ 3419224 w 3776022"/>
                <a:gd name="connsiteY2" fmla="*/ 669286 h 1497528"/>
                <a:gd name="connsiteX3" fmla="*/ 3518100 w 3776022"/>
                <a:gd name="connsiteY3" fmla="*/ 669286 h 1497528"/>
                <a:gd name="connsiteX4" fmla="*/ 3639083 w 3776022"/>
                <a:gd name="connsiteY4" fmla="*/ 766562 h 1497528"/>
                <a:gd name="connsiteX5" fmla="*/ 3639083 w 3776022"/>
                <a:gd name="connsiteY5" fmla="*/ 801770 h 1497528"/>
                <a:gd name="connsiteX6" fmla="*/ 3520943 w 3776022"/>
                <a:gd name="connsiteY6" fmla="*/ 767264 h 1497528"/>
                <a:gd name="connsiteX7" fmla="*/ 3388054 w 3776022"/>
                <a:gd name="connsiteY7" fmla="*/ 885398 h 1497528"/>
                <a:gd name="connsiteX8" fmla="*/ 3388054 w 3776022"/>
                <a:gd name="connsiteY8" fmla="*/ 891183 h 1497528"/>
                <a:gd name="connsiteX9" fmla="*/ 3515266 w 3776022"/>
                <a:gd name="connsiteY9" fmla="*/ 1003502 h 1497528"/>
                <a:gd name="connsiteX10" fmla="*/ 3537993 w 3776022"/>
                <a:gd name="connsiteY10" fmla="*/ 1003502 h 1497528"/>
                <a:gd name="connsiteX11" fmla="*/ 3672764 w 3776022"/>
                <a:gd name="connsiteY11" fmla="*/ 891183 h 1497528"/>
                <a:gd name="connsiteX12" fmla="*/ 3672764 w 3776022"/>
                <a:gd name="connsiteY12" fmla="*/ 766562 h 1497528"/>
                <a:gd name="connsiteX13" fmla="*/ 3518100 w 3776022"/>
                <a:gd name="connsiteY13" fmla="*/ 635900 h 1497528"/>
                <a:gd name="connsiteX14" fmla="*/ 3639083 w 3776022"/>
                <a:gd name="connsiteY14" fmla="*/ 896002 h 1497528"/>
                <a:gd name="connsiteX15" fmla="*/ 3537051 w 3776022"/>
                <a:gd name="connsiteY15" fmla="*/ 970116 h 1497528"/>
                <a:gd name="connsiteX16" fmla="*/ 3522845 w 3776022"/>
                <a:gd name="connsiteY16" fmla="*/ 970116 h 1497528"/>
                <a:gd name="connsiteX17" fmla="*/ 3421745 w 3776022"/>
                <a:gd name="connsiteY17" fmla="*/ 891183 h 1497528"/>
                <a:gd name="connsiteX18" fmla="*/ 3421745 w 3776022"/>
                <a:gd name="connsiteY18" fmla="*/ 885398 h 1497528"/>
                <a:gd name="connsiteX19" fmla="*/ 3518100 w 3776022"/>
                <a:gd name="connsiteY19" fmla="*/ 799693 h 1497528"/>
                <a:gd name="connsiteX20" fmla="*/ 3523786 w 3776022"/>
                <a:gd name="connsiteY20" fmla="*/ 799693 h 1497528"/>
                <a:gd name="connsiteX21" fmla="*/ 3639083 w 3776022"/>
                <a:gd name="connsiteY21" fmla="*/ 882495 h 1497528"/>
                <a:gd name="connsiteX22" fmla="*/ 3639083 w 3776022"/>
                <a:gd name="connsiteY22" fmla="*/ 896002 h 1497528"/>
                <a:gd name="connsiteX23" fmla="*/ 1173340 w 3776022"/>
                <a:gd name="connsiteY23" fmla="*/ 701402 h 1497528"/>
                <a:gd name="connsiteX24" fmla="*/ 1191303 w 3776022"/>
                <a:gd name="connsiteY24" fmla="*/ 612216 h 1497528"/>
                <a:gd name="connsiteX25" fmla="*/ 1036686 w 3776022"/>
                <a:gd name="connsiteY25" fmla="*/ 612216 h 1497528"/>
                <a:gd name="connsiteX26" fmla="*/ 1036686 w 3776022"/>
                <a:gd name="connsiteY26" fmla="*/ 490384 h 1497528"/>
                <a:gd name="connsiteX27" fmla="*/ 928149 w 3776022"/>
                <a:gd name="connsiteY27" fmla="*/ 507096 h 1497528"/>
                <a:gd name="connsiteX28" fmla="*/ 928149 w 3776022"/>
                <a:gd name="connsiteY28" fmla="*/ 871000 h 1497528"/>
                <a:gd name="connsiteX29" fmla="*/ 1108517 w 3776022"/>
                <a:gd name="connsiteY29" fmla="*/ 1034243 h 1497528"/>
                <a:gd name="connsiteX30" fmla="*/ 1166294 w 3776022"/>
                <a:gd name="connsiteY30" fmla="*/ 1034243 h 1497528"/>
                <a:gd name="connsiteX31" fmla="*/ 1184266 w 3776022"/>
                <a:gd name="connsiteY31" fmla="*/ 945844 h 1497528"/>
                <a:gd name="connsiteX32" fmla="*/ 1116324 w 3776022"/>
                <a:gd name="connsiteY32" fmla="*/ 945844 h 1497528"/>
                <a:gd name="connsiteX33" fmla="*/ 1036676 w 3776022"/>
                <a:gd name="connsiteY33" fmla="*/ 863829 h 1497528"/>
                <a:gd name="connsiteX34" fmla="*/ 1036676 w 3776022"/>
                <a:gd name="connsiteY34" fmla="*/ 701402 h 1497528"/>
                <a:gd name="connsiteX35" fmla="*/ 1173340 w 3776022"/>
                <a:gd name="connsiteY35" fmla="*/ 701402 h 1497528"/>
                <a:gd name="connsiteX36" fmla="*/ 427622 w 3776022"/>
                <a:gd name="connsiteY36" fmla="*/ 448167 h 1497528"/>
                <a:gd name="connsiteX37" fmla="*/ 427622 w 3776022"/>
                <a:gd name="connsiteY37" fmla="*/ 839159 h 1497528"/>
                <a:gd name="connsiteX38" fmla="*/ 636108 w 3776022"/>
                <a:gd name="connsiteY38" fmla="*/ 1044600 h 1497528"/>
                <a:gd name="connsiteX39" fmla="*/ 850061 w 3776022"/>
                <a:gd name="connsiteY39" fmla="*/ 839946 h 1497528"/>
                <a:gd name="connsiteX40" fmla="*/ 850061 w 3776022"/>
                <a:gd name="connsiteY40" fmla="*/ 802529 h 1497528"/>
                <a:gd name="connsiteX41" fmla="*/ 656409 w 3776022"/>
                <a:gd name="connsiteY41" fmla="*/ 598672 h 1497528"/>
                <a:gd name="connsiteX42" fmla="*/ 536928 w 3776022"/>
                <a:gd name="connsiteY42" fmla="*/ 632106 h 1497528"/>
                <a:gd name="connsiteX43" fmla="*/ 536928 w 3776022"/>
                <a:gd name="connsiteY43" fmla="*/ 430648 h 1497528"/>
                <a:gd name="connsiteX44" fmla="*/ 427622 w 3776022"/>
                <a:gd name="connsiteY44" fmla="*/ 448157 h 1497528"/>
                <a:gd name="connsiteX45" fmla="*/ 640006 w 3776022"/>
                <a:gd name="connsiteY45" fmla="*/ 686254 h 1497528"/>
                <a:gd name="connsiteX46" fmla="*/ 741525 w 3776022"/>
                <a:gd name="connsiteY46" fmla="*/ 806493 h 1497528"/>
                <a:gd name="connsiteX47" fmla="*/ 741525 w 3776022"/>
                <a:gd name="connsiteY47" fmla="*/ 839946 h 1497528"/>
                <a:gd name="connsiteX48" fmla="*/ 638447 w 3776022"/>
                <a:gd name="connsiteY48" fmla="*/ 957805 h 1497528"/>
                <a:gd name="connsiteX49" fmla="*/ 535359 w 3776022"/>
                <a:gd name="connsiteY49" fmla="*/ 839150 h 1497528"/>
                <a:gd name="connsiteX50" fmla="*/ 535359 w 3776022"/>
                <a:gd name="connsiteY50" fmla="*/ 793765 h 1497528"/>
                <a:gd name="connsiteX51" fmla="*/ 639997 w 3776022"/>
                <a:gd name="connsiteY51" fmla="*/ 686254 h 1497528"/>
                <a:gd name="connsiteX52" fmla="*/ 1435704 w 3776022"/>
                <a:gd name="connsiteY52" fmla="*/ 598672 h 1497528"/>
                <a:gd name="connsiteX53" fmla="*/ 1227209 w 3776022"/>
                <a:gd name="connsiteY53" fmla="*/ 800129 h 1497528"/>
                <a:gd name="connsiteX54" fmla="*/ 1227209 w 3776022"/>
                <a:gd name="connsiteY54" fmla="*/ 821631 h 1497528"/>
                <a:gd name="connsiteX55" fmla="*/ 1418512 w 3776022"/>
                <a:gd name="connsiteY55" fmla="*/ 1019105 h 1497528"/>
                <a:gd name="connsiteX56" fmla="*/ 1534865 w 3776022"/>
                <a:gd name="connsiteY56" fmla="*/ 986458 h 1497528"/>
                <a:gd name="connsiteX57" fmla="*/ 1534865 w 3776022"/>
                <a:gd name="connsiteY57" fmla="*/ 1002402 h 1497528"/>
                <a:gd name="connsiteX58" fmla="*/ 1427888 w 3776022"/>
                <a:gd name="connsiteY58" fmla="*/ 1101917 h 1497528"/>
                <a:gd name="connsiteX59" fmla="*/ 1383005 w 3776022"/>
                <a:gd name="connsiteY59" fmla="*/ 1101917 h 1497528"/>
                <a:gd name="connsiteX60" fmla="*/ 1330230 w 3776022"/>
                <a:gd name="connsiteY60" fmla="*/ 1132875 h 1497528"/>
                <a:gd name="connsiteX61" fmla="*/ 1330144 w 3776022"/>
                <a:gd name="connsiteY61" fmla="*/ 1132837 h 1497528"/>
                <a:gd name="connsiteX62" fmla="*/ 734260 w 3776022"/>
                <a:gd name="connsiteY62" fmla="*/ 1467575 h 1497528"/>
                <a:gd name="connsiteX63" fmla="*/ 29373 w 3776022"/>
                <a:gd name="connsiteY63" fmla="*/ 748759 h 1497528"/>
                <a:gd name="connsiteX64" fmla="*/ 734260 w 3776022"/>
                <a:gd name="connsiteY64" fmla="*/ 29953 h 1497528"/>
                <a:gd name="connsiteX65" fmla="*/ 1371841 w 3776022"/>
                <a:gd name="connsiteY65" fmla="*/ 442097 h 1497528"/>
                <a:gd name="connsiteX66" fmla="*/ 1404229 w 3776022"/>
                <a:gd name="connsiteY66" fmla="*/ 442097 h 1497528"/>
                <a:gd name="connsiteX67" fmla="*/ 734260 w 3776022"/>
                <a:gd name="connsiteY67" fmla="*/ 0 h 1497528"/>
                <a:gd name="connsiteX68" fmla="*/ 0 w 3776022"/>
                <a:gd name="connsiteY68" fmla="*/ 748759 h 1497528"/>
                <a:gd name="connsiteX69" fmla="*/ 734260 w 3776022"/>
                <a:gd name="connsiteY69" fmla="*/ 1497528 h 1497528"/>
                <a:gd name="connsiteX70" fmla="*/ 1329089 w 3776022"/>
                <a:gd name="connsiteY70" fmla="*/ 1187916 h 1497528"/>
                <a:gd name="connsiteX71" fmla="*/ 1434135 w 3776022"/>
                <a:gd name="connsiteY71" fmla="*/ 1187916 h 1497528"/>
                <a:gd name="connsiteX72" fmla="*/ 1643410 w 3776022"/>
                <a:gd name="connsiteY72" fmla="*/ 998409 h 1497528"/>
                <a:gd name="connsiteX73" fmla="*/ 1643410 w 3776022"/>
                <a:gd name="connsiteY73" fmla="*/ 792968 h 1497528"/>
                <a:gd name="connsiteX74" fmla="*/ 1435704 w 3776022"/>
                <a:gd name="connsiteY74" fmla="*/ 598672 h 1497528"/>
                <a:gd name="connsiteX75" fmla="*/ 1535654 w 3776022"/>
                <a:gd name="connsiteY75" fmla="*/ 835166 h 1497528"/>
                <a:gd name="connsiteX76" fmla="*/ 1435714 w 3776022"/>
                <a:gd name="connsiteY76" fmla="*/ 933106 h 1497528"/>
                <a:gd name="connsiteX77" fmla="*/ 1335755 w 3776022"/>
                <a:gd name="connsiteY77" fmla="*/ 816860 h 1497528"/>
                <a:gd name="connsiteX78" fmla="*/ 1335755 w 3776022"/>
                <a:gd name="connsiteY78" fmla="*/ 803326 h 1497528"/>
                <a:gd name="connsiteX79" fmla="*/ 1435704 w 3776022"/>
                <a:gd name="connsiteY79" fmla="*/ 686254 h 1497528"/>
                <a:gd name="connsiteX80" fmla="*/ 1535654 w 3776022"/>
                <a:gd name="connsiteY80" fmla="*/ 804113 h 1497528"/>
                <a:gd name="connsiteX81" fmla="*/ 1535654 w 3776022"/>
                <a:gd name="connsiteY81" fmla="*/ 835166 h 1497528"/>
                <a:gd name="connsiteX82" fmla="*/ 3742323 w 3776022"/>
                <a:gd name="connsiteY82" fmla="*/ 1003502 h 1497528"/>
                <a:gd name="connsiteX83" fmla="*/ 3776023 w 3776022"/>
                <a:gd name="connsiteY83" fmla="*/ 1003502 h 1497528"/>
                <a:gd name="connsiteX84" fmla="*/ 3776023 w 3776022"/>
                <a:gd name="connsiteY84" fmla="*/ 497772 h 1497528"/>
                <a:gd name="connsiteX85" fmla="*/ 3742332 w 3776022"/>
                <a:gd name="connsiteY85" fmla="*/ 497772 h 1497528"/>
                <a:gd name="connsiteX86" fmla="*/ 3742332 w 3776022"/>
                <a:gd name="connsiteY86" fmla="*/ 1003502 h 1497528"/>
                <a:gd name="connsiteX87" fmla="*/ 2983292 w 3776022"/>
                <a:gd name="connsiteY87" fmla="*/ 669296 h 1497528"/>
                <a:gd name="connsiteX88" fmla="*/ 2990852 w 3776022"/>
                <a:gd name="connsiteY88" fmla="*/ 635900 h 1497528"/>
                <a:gd name="connsiteX89" fmla="*/ 2840162 w 3776022"/>
                <a:gd name="connsiteY89" fmla="*/ 635900 h 1497528"/>
                <a:gd name="connsiteX90" fmla="*/ 2840162 w 3776022"/>
                <a:gd name="connsiteY90" fmla="*/ 540426 h 1497528"/>
                <a:gd name="connsiteX91" fmla="*/ 2805530 w 3776022"/>
                <a:gd name="connsiteY91" fmla="*/ 546733 h 1497528"/>
                <a:gd name="connsiteX92" fmla="*/ 2805530 w 3776022"/>
                <a:gd name="connsiteY92" fmla="*/ 873798 h 1497528"/>
                <a:gd name="connsiteX93" fmla="*/ 2931781 w 3776022"/>
                <a:gd name="connsiteY93" fmla="*/ 1001577 h 1497528"/>
                <a:gd name="connsiteX94" fmla="*/ 2981542 w 3776022"/>
                <a:gd name="connsiteY94" fmla="*/ 1001577 h 1497528"/>
                <a:gd name="connsiteX95" fmla="*/ 2987837 w 3776022"/>
                <a:gd name="connsiteY95" fmla="*/ 968191 h 1497528"/>
                <a:gd name="connsiteX96" fmla="*/ 2931781 w 3776022"/>
                <a:gd name="connsiteY96" fmla="*/ 968191 h 1497528"/>
                <a:gd name="connsiteX97" fmla="*/ 2840162 w 3776022"/>
                <a:gd name="connsiteY97" fmla="*/ 875714 h 1497528"/>
                <a:gd name="connsiteX98" fmla="*/ 2840162 w 3776022"/>
                <a:gd name="connsiteY98" fmla="*/ 669305 h 1497528"/>
                <a:gd name="connsiteX99" fmla="*/ 2983301 w 3776022"/>
                <a:gd name="connsiteY99" fmla="*/ 669305 h 1497528"/>
                <a:gd name="connsiteX100" fmla="*/ 3295236 w 3776022"/>
                <a:gd name="connsiteY100" fmla="*/ 858347 h 1497528"/>
                <a:gd name="connsiteX101" fmla="*/ 3186576 w 3776022"/>
                <a:gd name="connsiteY101" fmla="*/ 972041 h 1497528"/>
                <a:gd name="connsiteX102" fmla="*/ 3079799 w 3776022"/>
                <a:gd name="connsiteY102" fmla="*/ 858347 h 1497528"/>
                <a:gd name="connsiteX103" fmla="*/ 3079799 w 3776022"/>
                <a:gd name="connsiteY103" fmla="*/ 635900 h 1497528"/>
                <a:gd name="connsiteX104" fmla="*/ 3045167 w 3776022"/>
                <a:gd name="connsiteY104" fmla="*/ 635900 h 1497528"/>
                <a:gd name="connsiteX105" fmla="*/ 3045167 w 3776022"/>
                <a:gd name="connsiteY105" fmla="*/ 858347 h 1497528"/>
                <a:gd name="connsiteX106" fmla="*/ 3186567 w 3776022"/>
                <a:gd name="connsiteY106" fmla="*/ 1005428 h 1497528"/>
                <a:gd name="connsiteX107" fmla="*/ 3328927 w 3776022"/>
                <a:gd name="connsiteY107" fmla="*/ 858347 h 1497528"/>
                <a:gd name="connsiteX108" fmla="*/ 3328927 w 3776022"/>
                <a:gd name="connsiteY108" fmla="*/ 635900 h 1497528"/>
                <a:gd name="connsiteX109" fmla="*/ 3295236 w 3776022"/>
                <a:gd name="connsiteY109" fmla="*/ 635900 h 1497528"/>
                <a:gd name="connsiteX110" fmla="*/ 3295236 w 3776022"/>
                <a:gd name="connsiteY110" fmla="*/ 858347 h 1497528"/>
                <a:gd name="connsiteX111" fmla="*/ 2533257 w 3776022"/>
                <a:gd name="connsiteY111" fmla="*/ 834199 h 1497528"/>
                <a:gd name="connsiteX112" fmla="*/ 2533257 w 3776022"/>
                <a:gd name="connsiteY112" fmla="*/ 803278 h 1497528"/>
                <a:gd name="connsiteX113" fmla="*/ 2659918 w 3776022"/>
                <a:gd name="connsiteY113" fmla="*/ 669296 h 1497528"/>
                <a:gd name="connsiteX114" fmla="*/ 2738938 w 3776022"/>
                <a:gd name="connsiteY114" fmla="*/ 669296 h 1497528"/>
                <a:gd name="connsiteX115" fmla="*/ 2746469 w 3776022"/>
                <a:gd name="connsiteY115" fmla="*/ 635900 h 1497528"/>
                <a:gd name="connsiteX116" fmla="*/ 2659927 w 3776022"/>
                <a:gd name="connsiteY116" fmla="*/ 635900 h 1497528"/>
                <a:gd name="connsiteX117" fmla="*/ 2498616 w 3776022"/>
                <a:gd name="connsiteY117" fmla="*/ 803269 h 1497528"/>
                <a:gd name="connsiteX118" fmla="*/ 2498616 w 3776022"/>
                <a:gd name="connsiteY118" fmla="*/ 834199 h 1497528"/>
                <a:gd name="connsiteX119" fmla="*/ 2659927 w 3776022"/>
                <a:gd name="connsiteY119" fmla="*/ 1001577 h 1497528"/>
                <a:gd name="connsiteX120" fmla="*/ 2739860 w 3776022"/>
                <a:gd name="connsiteY120" fmla="*/ 1001577 h 1497528"/>
                <a:gd name="connsiteX121" fmla="*/ 2747420 w 3776022"/>
                <a:gd name="connsiteY121" fmla="*/ 968191 h 1497528"/>
                <a:gd name="connsiteX122" fmla="*/ 2659927 w 3776022"/>
                <a:gd name="connsiteY122" fmla="*/ 968191 h 1497528"/>
                <a:gd name="connsiteX123" fmla="*/ 2533267 w 3776022"/>
                <a:gd name="connsiteY123" fmla="*/ 834199 h 1497528"/>
                <a:gd name="connsiteX124" fmla="*/ 2283883 w 3776022"/>
                <a:gd name="connsiteY124" fmla="*/ 635900 h 1497528"/>
                <a:gd name="connsiteX125" fmla="*/ 2192558 w 3776022"/>
                <a:gd name="connsiteY125" fmla="*/ 635900 h 1497528"/>
                <a:gd name="connsiteX126" fmla="*/ 2185017 w 3776022"/>
                <a:gd name="connsiteY126" fmla="*/ 669286 h 1497528"/>
                <a:gd name="connsiteX127" fmla="*/ 2283883 w 3776022"/>
                <a:gd name="connsiteY127" fmla="*/ 669286 h 1497528"/>
                <a:gd name="connsiteX128" fmla="*/ 2403906 w 3776022"/>
                <a:gd name="connsiteY128" fmla="*/ 766562 h 1497528"/>
                <a:gd name="connsiteX129" fmla="*/ 2403906 w 3776022"/>
                <a:gd name="connsiteY129" fmla="*/ 801770 h 1497528"/>
                <a:gd name="connsiteX130" fmla="*/ 2285765 w 3776022"/>
                <a:gd name="connsiteY130" fmla="*/ 767264 h 1497528"/>
                <a:gd name="connsiteX131" fmla="*/ 2152895 w 3776022"/>
                <a:gd name="connsiteY131" fmla="*/ 885398 h 1497528"/>
                <a:gd name="connsiteX132" fmla="*/ 2152895 w 3776022"/>
                <a:gd name="connsiteY132" fmla="*/ 891183 h 1497528"/>
                <a:gd name="connsiteX133" fmla="*/ 2281030 w 3776022"/>
                <a:gd name="connsiteY133" fmla="*/ 1003502 h 1497528"/>
                <a:gd name="connsiteX134" fmla="*/ 2303766 w 3776022"/>
                <a:gd name="connsiteY134" fmla="*/ 1003502 h 1497528"/>
                <a:gd name="connsiteX135" fmla="*/ 2437606 w 3776022"/>
                <a:gd name="connsiteY135" fmla="*/ 891183 h 1497528"/>
                <a:gd name="connsiteX136" fmla="*/ 2437606 w 3776022"/>
                <a:gd name="connsiteY136" fmla="*/ 766562 h 1497528"/>
                <a:gd name="connsiteX137" fmla="*/ 2283883 w 3776022"/>
                <a:gd name="connsiteY137" fmla="*/ 635900 h 1497528"/>
                <a:gd name="connsiteX138" fmla="*/ 2403906 w 3776022"/>
                <a:gd name="connsiteY138" fmla="*/ 896002 h 1497528"/>
                <a:gd name="connsiteX139" fmla="*/ 2302825 w 3776022"/>
                <a:gd name="connsiteY139" fmla="*/ 970116 h 1497528"/>
                <a:gd name="connsiteX140" fmla="*/ 2288618 w 3776022"/>
                <a:gd name="connsiteY140" fmla="*/ 970116 h 1497528"/>
                <a:gd name="connsiteX141" fmla="*/ 2186586 w 3776022"/>
                <a:gd name="connsiteY141" fmla="*/ 891183 h 1497528"/>
                <a:gd name="connsiteX142" fmla="*/ 2186586 w 3776022"/>
                <a:gd name="connsiteY142" fmla="*/ 885398 h 1497528"/>
                <a:gd name="connsiteX143" fmla="*/ 2282932 w 3776022"/>
                <a:gd name="connsiteY143" fmla="*/ 799693 h 1497528"/>
                <a:gd name="connsiteX144" fmla="*/ 2288618 w 3776022"/>
                <a:gd name="connsiteY144" fmla="*/ 799693 h 1497528"/>
                <a:gd name="connsiteX145" fmla="*/ 2403906 w 3776022"/>
                <a:gd name="connsiteY145" fmla="*/ 882495 h 1497528"/>
                <a:gd name="connsiteX146" fmla="*/ 2403906 w 3776022"/>
                <a:gd name="connsiteY146" fmla="*/ 896002 h 1497528"/>
                <a:gd name="connsiteX147" fmla="*/ 1944771 w 3776022"/>
                <a:gd name="connsiteY147" fmla="*/ 630104 h 1497528"/>
                <a:gd name="connsiteX148" fmla="*/ 1788214 w 3776022"/>
                <a:gd name="connsiteY148" fmla="*/ 799408 h 1497528"/>
                <a:gd name="connsiteX149" fmla="*/ 1788214 w 3776022"/>
                <a:gd name="connsiteY149" fmla="*/ 1113621 h 1497528"/>
                <a:gd name="connsiteX150" fmla="*/ 1821905 w 3776022"/>
                <a:gd name="connsiteY150" fmla="*/ 1113621 h 1497528"/>
                <a:gd name="connsiteX151" fmla="*/ 1821905 w 3776022"/>
                <a:gd name="connsiteY151" fmla="*/ 952275 h 1497528"/>
                <a:gd name="connsiteX152" fmla="*/ 1946663 w 3776022"/>
                <a:gd name="connsiteY152" fmla="*/ 1003502 h 1497528"/>
                <a:gd name="connsiteX153" fmla="*/ 2100396 w 3776022"/>
                <a:gd name="connsiteY153" fmla="*/ 834199 h 1497528"/>
                <a:gd name="connsiteX154" fmla="*/ 2100396 w 3776022"/>
                <a:gd name="connsiteY154" fmla="*/ 798450 h 1497528"/>
                <a:gd name="connsiteX155" fmla="*/ 1944771 w 3776022"/>
                <a:gd name="connsiteY155" fmla="*/ 630095 h 1497528"/>
                <a:gd name="connsiteX156" fmla="*/ 2065745 w 3776022"/>
                <a:gd name="connsiteY156" fmla="*/ 834189 h 1497528"/>
                <a:gd name="connsiteX157" fmla="*/ 1946663 w 3776022"/>
                <a:gd name="connsiteY157" fmla="*/ 970106 h 1497528"/>
                <a:gd name="connsiteX158" fmla="*/ 1822846 w 3776022"/>
                <a:gd name="connsiteY158" fmla="*/ 848672 h 1497528"/>
                <a:gd name="connsiteX159" fmla="*/ 1822846 w 3776022"/>
                <a:gd name="connsiteY159" fmla="*/ 799408 h 1497528"/>
                <a:gd name="connsiteX160" fmla="*/ 1944771 w 3776022"/>
                <a:gd name="connsiteY160" fmla="*/ 663482 h 1497528"/>
                <a:gd name="connsiteX161" fmla="*/ 2065745 w 3776022"/>
                <a:gd name="connsiteY161" fmla="*/ 798450 h 1497528"/>
                <a:gd name="connsiteX162" fmla="*/ 2065745 w 3776022"/>
                <a:gd name="connsiteY162" fmla="*/ 834189 h 1497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</a:cxnLst>
              <a:rect l="l" t="t" r="r" b="b"/>
              <a:pathLst>
                <a:path w="3776022" h="1497528">
                  <a:moveTo>
                    <a:pt x="3518100" y="635900"/>
                  </a:moveTo>
                  <a:lnTo>
                    <a:pt x="3426784" y="635900"/>
                  </a:lnTo>
                  <a:lnTo>
                    <a:pt x="3419224" y="669286"/>
                  </a:lnTo>
                  <a:lnTo>
                    <a:pt x="3518100" y="669286"/>
                  </a:lnTo>
                  <a:cubicBezTo>
                    <a:pt x="3608559" y="669286"/>
                    <a:pt x="3639083" y="693833"/>
                    <a:pt x="3639083" y="766562"/>
                  </a:cubicBezTo>
                  <a:lnTo>
                    <a:pt x="3639083" y="801770"/>
                  </a:lnTo>
                  <a:cubicBezTo>
                    <a:pt x="3616651" y="778874"/>
                    <a:pt x="3576989" y="767264"/>
                    <a:pt x="3520943" y="767264"/>
                  </a:cubicBezTo>
                  <a:cubicBezTo>
                    <a:pt x="3431520" y="767264"/>
                    <a:pt x="3388054" y="805915"/>
                    <a:pt x="3388054" y="885398"/>
                  </a:cubicBezTo>
                  <a:lnTo>
                    <a:pt x="3388054" y="891183"/>
                  </a:lnTo>
                  <a:cubicBezTo>
                    <a:pt x="3388054" y="965705"/>
                    <a:pt x="3430864" y="1003502"/>
                    <a:pt x="3515266" y="1003502"/>
                  </a:cubicBezTo>
                  <a:lnTo>
                    <a:pt x="3537993" y="1003502"/>
                  </a:lnTo>
                  <a:cubicBezTo>
                    <a:pt x="3627406" y="1003502"/>
                    <a:pt x="3672764" y="965705"/>
                    <a:pt x="3672764" y="891183"/>
                  </a:cubicBezTo>
                  <a:lnTo>
                    <a:pt x="3672764" y="766562"/>
                  </a:lnTo>
                  <a:cubicBezTo>
                    <a:pt x="3672764" y="673754"/>
                    <a:pt x="3627948" y="635900"/>
                    <a:pt x="3518100" y="635900"/>
                  </a:cubicBezTo>
                  <a:close/>
                  <a:moveTo>
                    <a:pt x="3639083" y="896002"/>
                  </a:moveTo>
                  <a:cubicBezTo>
                    <a:pt x="3639083" y="949335"/>
                    <a:pt x="3610480" y="970116"/>
                    <a:pt x="3537051" y="970116"/>
                  </a:cubicBezTo>
                  <a:lnTo>
                    <a:pt x="3522845" y="970116"/>
                  </a:lnTo>
                  <a:cubicBezTo>
                    <a:pt x="3451983" y="970116"/>
                    <a:pt x="3421745" y="946499"/>
                    <a:pt x="3421745" y="891183"/>
                  </a:cubicBezTo>
                  <a:lnTo>
                    <a:pt x="3421745" y="885398"/>
                  </a:lnTo>
                  <a:cubicBezTo>
                    <a:pt x="3421745" y="825311"/>
                    <a:pt x="3450557" y="799693"/>
                    <a:pt x="3518100" y="799693"/>
                  </a:cubicBezTo>
                  <a:lnTo>
                    <a:pt x="3523786" y="799693"/>
                  </a:lnTo>
                  <a:cubicBezTo>
                    <a:pt x="3604604" y="799693"/>
                    <a:pt x="3639083" y="824448"/>
                    <a:pt x="3639083" y="882495"/>
                  </a:cubicBezTo>
                  <a:lnTo>
                    <a:pt x="3639083" y="896002"/>
                  </a:lnTo>
                  <a:close/>
                  <a:moveTo>
                    <a:pt x="1173340" y="701402"/>
                  </a:moveTo>
                  <a:lnTo>
                    <a:pt x="1191303" y="612216"/>
                  </a:lnTo>
                  <a:lnTo>
                    <a:pt x="1036686" y="612216"/>
                  </a:lnTo>
                  <a:lnTo>
                    <a:pt x="1036686" y="490384"/>
                  </a:lnTo>
                  <a:lnTo>
                    <a:pt x="928149" y="507096"/>
                  </a:lnTo>
                  <a:lnTo>
                    <a:pt x="928149" y="871000"/>
                  </a:lnTo>
                  <a:cubicBezTo>
                    <a:pt x="928149" y="996806"/>
                    <a:pt x="976550" y="1034243"/>
                    <a:pt x="1108517" y="1034243"/>
                  </a:cubicBezTo>
                  <a:lnTo>
                    <a:pt x="1166294" y="1034243"/>
                  </a:lnTo>
                  <a:lnTo>
                    <a:pt x="1184266" y="945844"/>
                  </a:lnTo>
                  <a:lnTo>
                    <a:pt x="1116324" y="945844"/>
                  </a:lnTo>
                  <a:cubicBezTo>
                    <a:pt x="1056208" y="945844"/>
                    <a:pt x="1036676" y="930735"/>
                    <a:pt x="1036676" y="863829"/>
                  </a:cubicBezTo>
                  <a:lnTo>
                    <a:pt x="1036676" y="701402"/>
                  </a:lnTo>
                  <a:lnTo>
                    <a:pt x="1173340" y="701402"/>
                  </a:lnTo>
                  <a:close/>
                  <a:moveTo>
                    <a:pt x="427622" y="448167"/>
                  </a:moveTo>
                  <a:lnTo>
                    <a:pt x="427622" y="839159"/>
                  </a:lnTo>
                  <a:cubicBezTo>
                    <a:pt x="427622" y="984087"/>
                    <a:pt x="493206" y="1044600"/>
                    <a:pt x="636108" y="1044600"/>
                  </a:cubicBezTo>
                  <a:cubicBezTo>
                    <a:pt x="784468" y="1044600"/>
                    <a:pt x="850061" y="985680"/>
                    <a:pt x="850061" y="839946"/>
                  </a:cubicBezTo>
                  <a:lnTo>
                    <a:pt x="850061" y="802529"/>
                  </a:lnTo>
                  <a:cubicBezTo>
                    <a:pt x="850061" y="665568"/>
                    <a:pt x="789146" y="598672"/>
                    <a:pt x="656409" y="598672"/>
                  </a:cubicBezTo>
                  <a:cubicBezTo>
                    <a:pt x="614237" y="598672"/>
                    <a:pt x="568165" y="607426"/>
                    <a:pt x="536928" y="632106"/>
                  </a:cubicBezTo>
                  <a:lnTo>
                    <a:pt x="536928" y="430648"/>
                  </a:lnTo>
                  <a:lnTo>
                    <a:pt x="427622" y="448157"/>
                  </a:lnTo>
                  <a:close/>
                  <a:moveTo>
                    <a:pt x="640006" y="686254"/>
                  </a:moveTo>
                  <a:cubicBezTo>
                    <a:pt x="714966" y="686254"/>
                    <a:pt x="741525" y="716521"/>
                    <a:pt x="741525" y="806493"/>
                  </a:cubicBezTo>
                  <a:lnTo>
                    <a:pt x="741525" y="839946"/>
                  </a:lnTo>
                  <a:cubicBezTo>
                    <a:pt x="741525" y="927529"/>
                    <a:pt x="714966" y="957805"/>
                    <a:pt x="638447" y="957805"/>
                  </a:cubicBezTo>
                  <a:cubicBezTo>
                    <a:pt x="561928" y="957805"/>
                    <a:pt x="535359" y="927529"/>
                    <a:pt x="535359" y="839150"/>
                  </a:cubicBezTo>
                  <a:lnTo>
                    <a:pt x="535359" y="793765"/>
                  </a:lnTo>
                  <a:cubicBezTo>
                    <a:pt x="535359" y="713334"/>
                    <a:pt x="561918" y="686254"/>
                    <a:pt x="639997" y="686254"/>
                  </a:cubicBezTo>
                  <a:close/>
                  <a:moveTo>
                    <a:pt x="1435704" y="598672"/>
                  </a:moveTo>
                  <a:cubicBezTo>
                    <a:pt x="1292802" y="598672"/>
                    <a:pt x="1227209" y="659982"/>
                    <a:pt x="1227209" y="800129"/>
                  </a:cubicBezTo>
                  <a:lnTo>
                    <a:pt x="1227209" y="821631"/>
                  </a:lnTo>
                  <a:cubicBezTo>
                    <a:pt x="1227209" y="954608"/>
                    <a:pt x="1284216" y="1019105"/>
                    <a:pt x="1418512" y="1019105"/>
                  </a:cubicBezTo>
                  <a:cubicBezTo>
                    <a:pt x="1461464" y="1019105"/>
                    <a:pt x="1504417" y="1011157"/>
                    <a:pt x="1534865" y="986458"/>
                  </a:cubicBezTo>
                  <a:lnTo>
                    <a:pt x="1534865" y="1002402"/>
                  </a:lnTo>
                  <a:cubicBezTo>
                    <a:pt x="1534865" y="1077256"/>
                    <a:pt x="1502857" y="1101917"/>
                    <a:pt x="1427888" y="1101917"/>
                  </a:cubicBezTo>
                  <a:lnTo>
                    <a:pt x="1383005" y="1101917"/>
                  </a:lnTo>
                  <a:cubicBezTo>
                    <a:pt x="1357350" y="1102382"/>
                    <a:pt x="1345692" y="1107029"/>
                    <a:pt x="1330230" y="1132875"/>
                  </a:cubicBezTo>
                  <a:lnTo>
                    <a:pt x="1330144" y="1132837"/>
                  </a:lnTo>
                  <a:cubicBezTo>
                    <a:pt x="1201392" y="1340631"/>
                    <a:pt x="977863" y="1467575"/>
                    <a:pt x="734260" y="1467575"/>
                  </a:cubicBezTo>
                  <a:cubicBezTo>
                    <a:pt x="345578" y="1467575"/>
                    <a:pt x="29373" y="1145130"/>
                    <a:pt x="29373" y="748759"/>
                  </a:cubicBezTo>
                  <a:cubicBezTo>
                    <a:pt x="29373" y="352399"/>
                    <a:pt x="345578" y="29953"/>
                    <a:pt x="734260" y="29953"/>
                  </a:cubicBezTo>
                  <a:cubicBezTo>
                    <a:pt x="1007274" y="29953"/>
                    <a:pt x="1255641" y="191185"/>
                    <a:pt x="1371841" y="442097"/>
                  </a:cubicBezTo>
                  <a:lnTo>
                    <a:pt x="1404229" y="442097"/>
                  </a:lnTo>
                  <a:cubicBezTo>
                    <a:pt x="1285804" y="173420"/>
                    <a:pt x="1023268" y="0"/>
                    <a:pt x="734260" y="0"/>
                  </a:cubicBezTo>
                  <a:cubicBezTo>
                    <a:pt x="329393" y="0"/>
                    <a:pt x="0" y="335895"/>
                    <a:pt x="0" y="748759"/>
                  </a:cubicBezTo>
                  <a:cubicBezTo>
                    <a:pt x="0" y="1161633"/>
                    <a:pt x="329393" y="1497528"/>
                    <a:pt x="734260" y="1497528"/>
                  </a:cubicBezTo>
                  <a:cubicBezTo>
                    <a:pt x="972367" y="1497528"/>
                    <a:pt x="1192101" y="1381112"/>
                    <a:pt x="1329089" y="1187916"/>
                  </a:cubicBezTo>
                  <a:lnTo>
                    <a:pt x="1434135" y="1187916"/>
                  </a:lnTo>
                  <a:cubicBezTo>
                    <a:pt x="1572349" y="1187916"/>
                    <a:pt x="1643410" y="1134573"/>
                    <a:pt x="1643410" y="998409"/>
                  </a:cubicBezTo>
                  <a:lnTo>
                    <a:pt x="1643410" y="792968"/>
                  </a:lnTo>
                  <a:cubicBezTo>
                    <a:pt x="1643410" y="657591"/>
                    <a:pt x="1575478" y="598672"/>
                    <a:pt x="1435704" y="598672"/>
                  </a:cubicBezTo>
                  <a:close/>
                  <a:moveTo>
                    <a:pt x="1535654" y="835166"/>
                  </a:moveTo>
                  <a:cubicBezTo>
                    <a:pt x="1535654" y="910020"/>
                    <a:pt x="1509884" y="933106"/>
                    <a:pt x="1435714" y="933106"/>
                  </a:cubicBezTo>
                  <a:cubicBezTo>
                    <a:pt x="1352148" y="933106"/>
                    <a:pt x="1335755" y="903646"/>
                    <a:pt x="1335755" y="816860"/>
                  </a:cubicBezTo>
                  <a:lnTo>
                    <a:pt x="1335755" y="803326"/>
                  </a:lnTo>
                  <a:cubicBezTo>
                    <a:pt x="1335755" y="717308"/>
                    <a:pt x="1350589" y="686254"/>
                    <a:pt x="1435704" y="686254"/>
                  </a:cubicBezTo>
                  <a:cubicBezTo>
                    <a:pt x="1519251" y="686254"/>
                    <a:pt x="1535654" y="716521"/>
                    <a:pt x="1535654" y="804113"/>
                  </a:cubicBezTo>
                  <a:lnTo>
                    <a:pt x="1535654" y="835166"/>
                  </a:lnTo>
                  <a:close/>
                  <a:moveTo>
                    <a:pt x="3742323" y="1003502"/>
                  </a:moveTo>
                  <a:lnTo>
                    <a:pt x="3776023" y="1003502"/>
                  </a:lnTo>
                  <a:lnTo>
                    <a:pt x="3776023" y="497772"/>
                  </a:lnTo>
                  <a:lnTo>
                    <a:pt x="3742332" y="497772"/>
                  </a:lnTo>
                  <a:lnTo>
                    <a:pt x="3742332" y="1003502"/>
                  </a:lnTo>
                  <a:close/>
                  <a:moveTo>
                    <a:pt x="2983292" y="669296"/>
                  </a:moveTo>
                  <a:lnTo>
                    <a:pt x="2990852" y="635900"/>
                  </a:lnTo>
                  <a:lnTo>
                    <a:pt x="2840162" y="635900"/>
                  </a:lnTo>
                  <a:lnTo>
                    <a:pt x="2840162" y="540426"/>
                  </a:lnTo>
                  <a:lnTo>
                    <a:pt x="2805530" y="546733"/>
                  </a:lnTo>
                  <a:lnTo>
                    <a:pt x="2805530" y="873798"/>
                  </a:lnTo>
                  <a:cubicBezTo>
                    <a:pt x="2805530" y="966938"/>
                    <a:pt x="2839753" y="1001577"/>
                    <a:pt x="2931781" y="1001577"/>
                  </a:cubicBezTo>
                  <a:lnTo>
                    <a:pt x="2981542" y="1001577"/>
                  </a:lnTo>
                  <a:lnTo>
                    <a:pt x="2987837" y="968191"/>
                  </a:lnTo>
                  <a:lnTo>
                    <a:pt x="2931781" y="968191"/>
                  </a:lnTo>
                  <a:cubicBezTo>
                    <a:pt x="2862422" y="968191"/>
                    <a:pt x="2840162" y="945730"/>
                    <a:pt x="2840162" y="875714"/>
                  </a:cubicBezTo>
                  <a:lnTo>
                    <a:pt x="2840162" y="669305"/>
                  </a:lnTo>
                  <a:lnTo>
                    <a:pt x="2983301" y="669305"/>
                  </a:lnTo>
                  <a:close/>
                  <a:moveTo>
                    <a:pt x="3295236" y="858347"/>
                  </a:moveTo>
                  <a:cubicBezTo>
                    <a:pt x="3295236" y="944422"/>
                    <a:pt x="3268830" y="972041"/>
                    <a:pt x="3186576" y="972041"/>
                  </a:cubicBezTo>
                  <a:cubicBezTo>
                    <a:pt x="3106748" y="972041"/>
                    <a:pt x="3079799" y="943359"/>
                    <a:pt x="3079799" y="858347"/>
                  </a:cubicBezTo>
                  <a:lnTo>
                    <a:pt x="3079799" y="635900"/>
                  </a:lnTo>
                  <a:lnTo>
                    <a:pt x="3045167" y="635900"/>
                  </a:lnTo>
                  <a:lnTo>
                    <a:pt x="3045167" y="858347"/>
                  </a:lnTo>
                  <a:cubicBezTo>
                    <a:pt x="3045167" y="964197"/>
                    <a:pt x="3084820" y="1005428"/>
                    <a:pt x="3186567" y="1005428"/>
                  </a:cubicBezTo>
                  <a:cubicBezTo>
                    <a:pt x="3287686" y="1005428"/>
                    <a:pt x="3328927" y="962832"/>
                    <a:pt x="3328927" y="858347"/>
                  </a:cubicBezTo>
                  <a:lnTo>
                    <a:pt x="3328927" y="635900"/>
                  </a:lnTo>
                  <a:lnTo>
                    <a:pt x="3295236" y="635900"/>
                  </a:lnTo>
                  <a:lnTo>
                    <a:pt x="3295236" y="858347"/>
                  </a:lnTo>
                  <a:close/>
                  <a:moveTo>
                    <a:pt x="2533257" y="834199"/>
                  </a:moveTo>
                  <a:lnTo>
                    <a:pt x="2533257" y="803278"/>
                  </a:lnTo>
                  <a:cubicBezTo>
                    <a:pt x="2533257" y="704352"/>
                    <a:pt x="2566396" y="669296"/>
                    <a:pt x="2659918" y="669296"/>
                  </a:cubicBezTo>
                  <a:lnTo>
                    <a:pt x="2738938" y="669296"/>
                  </a:lnTo>
                  <a:lnTo>
                    <a:pt x="2746469" y="635900"/>
                  </a:lnTo>
                  <a:lnTo>
                    <a:pt x="2659927" y="635900"/>
                  </a:lnTo>
                  <a:cubicBezTo>
                    <a:pt x="2548386" y="635900"/>
                    <a:pt x="2498616" y="687516"/>
                    <a:pt x="2498616" y="803269"/>
                  </a:cubicBezTo>
                  <a:lnTo>
                    <a:pt x="2498616" y="834199"/>
                  </a:lnTo>
                  <a:cubicBezTo>
                    <a:pt x="2498616" y="949951"/>
                    <a:pt x="2548377" y="1001577"/>
                    <a:pt x="2659927" y="1001577"/>
                  </a:cubicBezTo>
                  <a:lnTo>
                    <a:pt x="2739860" y="1001577"/>
                  </a:lnTo>
                  <a:lnTo>
                    <a:pt x="2747420" y="968191"/>
                  </a:lnTo>
                  <a:lnTo>
                    <a:pt x="2659927" y="968191"/>
                  </a:lnTo>
                  <a:cubicBezTo>
                    <a:pt x="2568764" y="968191"/>
                    <a:pt x="2533267" y="930621"/>
                    <a:pt x="2533267" y="834199"/>
                  </a:cubicBezTo>
                  <a:close/>
                  <a:moveTo>
                    <a:pt x="2283883" y="635900"/>
                  </a:moveTo>
                  <a:lnTo>
                    <a:pt x="2192558" y="635900"/>
                  </a:lnTo>
                  <a:lnTo>
                    <a:pt x="2185017" y="669286"/>
                  </a:lnTo>
                  <a:lnTo>
                    <a:pt x="2283883" y="669286"/>
                  </a:lnTo>
                  <a:cubicBezTo>
                    <a:pt x="2373629" y="669286"/>
                    <a:pt x="2403906" y="693833"/>
                    <a:pt x="2403906" y="766562"/>
                  </a:cubicBezTo>
                  <a:lnTo>
                    <a:pt x="2403906" y="801770"/>
                  </a:lnTo>
                  <a:cubicBezTo>
                    <a:pt x="2381493" y="778874"/>
                    <a:pt x="2341831" y="767264"/>
                    <a:pt x="2285765" y="767264"/>
                  </a:cubicBezTo>
                  <a:cubicBezTo>
                    <a:pt x="2196361" y="767264"/>
                    <a:pt x="2152895" y="805915"/>
                    <a:pt x="2152895" y="885398"/>
                  </a:cubicBezTo>
                  <a:lnTo>
                    <a:pt x="2152895" y="891183"/>
                  </a:lnTo>
                  <a:cubicBezTo>
                    <a:pt x="2152895" y="965705"/>
                    <a:pt x="2196000" y="1003502"/>
                    <a:pt x="2281030" y="1003502"/>
                  </a:cubicBezTo>
                  <a:lnTo>
                    <a:pt x="2303766" y="1003502"/>
                  </a:lnTo>
                  <a:cubicBezTo>
                    <a:pt x="2392580" y="1003502"/>
                    <a:pt x="2437606" y="965705"/>
                    <a:pt x="2437606" y="891183"/>
                  </a:cubicBezTo>
                  <a:lnTo>
                    <a:pt x="2437606" y="766562"/>
                  </a:lnTo>
                  <a:cubicBezTo>
                    <a:pt x="2437606" y="673754"/>
                    <a:pt x="2393065" y="635900"/>
                    <a:pt x="2283883" y="635900"/>
                  </a:cubicBezTo>
                  <a:close/>
                  <a:moveTo>
                    <a:pt x="2403906" y="896002"/>
                  </a:moveTo>
                  <a:cubicBezTo>
                    <a:pt x="2403906" y="950037"/>
                    <a:pt x="2376510" y="970116"/>
                    <a:pt x="2302825" y="970116"/>
                  </a:cubicBezTo>
                  <a:lnTo>
                    <a:pt x="2288618" y="970116"/>
                  </a:lnTo>
                  <a:cubicBezTo>
                    <a:pt x="2217110" y="970116"/>
                    <a:pt x="2186586" y="946499"/>
                    <a:pt x="2186586" y="891183"/>
                  </a:cubicBezTo>
                  <a:lnTo>
                    <a:pt x="2186586" y="885398"/>
                  </a:lnTo>
                  <a:cubicBezTo>
                    <a:pt x="2186586" y="825311"/>
                    <a:pt x="2215398" y="799693"/>
                    <a:pt x="2282932" y="799693"/>
                  </a:cubicBezTo>
                  <a:lnTo>
                    <a:pt x="2288618" y="799693"/>
                  </a:lnTo>
                  <a:cubicBezTo>
                    <a:pt x="2369426" y="799693"/>
                    <a:pt x="2403906" y="824448"/>
                    <a:pt x="2403906" y="882495"/>
                  </a:cubicBezTo>
                  <a:lnTo>
                    <a:pt x="2403906" y="896002"/>
                  </a:lnTo>
                  <a:close/>
                  <a:moveTo>
                    <a:pt x="1944771" y="630104"/>
                  </a:moveTo>
                  <a:cubicBezTo>
                    <a:pt x="1837965" y="630104"/>
                    <a:pt x="1788214" y="683912"/>
                    <a:pt x="1788214" y="799408"/>
                  </a:cubicBezTo>
                  <a:lnTo>
                    <a:pt x="1788214" y="1113621"/>
                  </a:lnTo>
                  <a:lnTo>
                    <a:pt x="1821905" y="1113621"/>
                  </a:lnTo>
                  <a:lnTo>
                    <a:pt x="1821905" y="952275"/>
                  </a:lnTo>
                  <a:cubicBezTo>
                    <a:pt x="1846286" y="984590"/>
                    <a:pt x="1891739" y="1003502"/>
                    <a:pt x="1946663" y="1003502"/>
                  </a:cubicBezTo>
                  <a:cubicBezTo>
                    <a:pt x="2052984" y="1003502"/>
                    <a:pt x="2100396" y="951279"/>
                    <a:pt x="2100396" y="834199"/>
                  </a:cubicBezTo>
                  <a:lnTo>
                    <a:pt x="2100396" y="798450"/>
                  </a:lnTo>
                  <a:cubicBezTo>
                    <a:pt x="2100396" y="682024"/>
                    <a:pt x="2052394" y="630095"/>
                    <a:pt x="1944771" y="630095"/>
                  </a:cubicBezTo>
                  <a:close/>
                  <a:moveTo>
                    <a:pt x="2065745" y="834189"/>
                  </a:moveTo>
                  <a:cubicBezTo>
                    <a:pt x="2065745" y="933277"/>
                    <a:pt x="2033481" y="970106"/>
                    <a:pt x="1946663" y="970106"/>
                  </a:cubicBezTo>
                  <a:cubicBezTo>
                    <a:pt x="1864505" y="970106"/>
                    <a:pt x="1822846" y="929255"/>
                    <a:pt x="1822846" y="848672"/>
                  </a:cubicBezTo>
                  <a:lnTo>
                    <a:pt x="1822846" y="799408"/>
                  </a:lnTo>
                  <a:cubicBezTo>
                    <a:pt x="1822846" y="702853"/>
                    <a:pt x="1858172" y="663482"/>
                    <a:pt x="1944771" y="663482"/>
                  </a:cubicBezTo>
                  <a:cubicBezTo>
                    <a:pt x="2031826" y="663482"/>
                    <a:pt x="2065745" y="701316"/>
                    <a:pt x="2065745" y="798450"/>
                  </a:cubicBezTo>
                  <a:lnTo>
                    <a:pt x="2065745" y="834189"/>
                  </a:lnTo>
                  <a:close/>
                </a:path>
              </a:pathLst>
            </a:custGeom>
            <a:solidFill>
              <a:srgbClr val="001E61"/>
            </a:solidFill>
            <a:ln w="95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0">
                <a:latin typeface="Pulso Light" pitchFamily="2" charset="0"/>
              </a:endParaRPr>
            </a:p>
          </p:txBody>
        </p:sp>
        <p:pic>
          <p:nvPicPr>
            <p:cNvPr id="122" name="Imagen 121">
              <a:extLst>
                <a:ext uri="{FF2B5EF4-FFF2-40B4-BE49-F238E27FC236}">
                  <a16:creationId xmlns:a16="http://schemas.microsoft.com/office/drawing/2014/main" id="{4BE79D4F-4410-28D3-B524-4DEDD9C1AC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25849" y="2874919"/>
              <a:ext cx="745286" cy="223586"/>
            </a:xfrm>
            <a:prstGeom prst="rect">
              <a:avLst/>
            </a:prstGeom>
          </p:spPr>
        </p:pic>
      </p:grpSp>
      <p:grpSp>
        <p:nvGrpSpPr>
          <p:cNvPr id="142" name="Grupo 141">
            <a:extLst>
              <a:ext uri="{FF2B5EF4-FFF2-40B4-BE49-F238E27FC236}">
                <a16:creationId xmlns:a16="http://schemas.microsoft.com/office/drawing/2014/main" id="{9F2CFD57-0D77-67C5-0005-779CEB2712A4}"/>
              </a:ext>
            </a:extLst>
          </p:cNvPr>
          <p:cNvGrpSpPr/>
          <p:nvPr/>
        </p:nvGrpSpPr>
        <p:grpSpPr>
          <a:xfrm>
            <a:off x="4114185" y="1776349"/>
            <a:ext cx="481413" cy="427473"/>
            <a:chOff x="5447218" y="2260196"/>
            <a:chExt cx="630129" cy="559527"/>
          </a:xfrm>
        </p:grpSpPr>
        <p:grpSp>
          <p:nvGrpSpPr>
            <p:cNvPr id="143" name="Gráfico 164">
              <a:extLst>
                <a:ext uri="{FF2B5EF4-FFF2-40B4-BE49-F238E27FC236}">
                  <a16:creationId xmlns:a16="http://schemas.microsoft.com/office/drawing/2014/main" id="{D5BFB83A-7E4C-60E1-E75E-B445F6B8DB3B}"/>
                </a:ext>
              </a:extLst>
            </p:cNvPr>
            <p:cNvGrpSpPr/>
            <p:nvPr/>
          </p:nvGrpSpPr>
          <p:grpSpPr>
            <a:xfrm>
              <a:off x="5447218" y="2260196"/>
              <a:ext cx="630129" cy="164071"/>
              <a:chOff x="5683249" y="3321049"/>
              <a:chExt cx="829208" cy="215908"/>
            </a:xfrm>
          </p:grpSpPr>
          <p:sp>
            <p:nvSpPr>
              <p:cNvPr id="150" name="Forma libre 149">
                <a:extLst>
                  <a:ext uri="{FF2B5EF4-FFF2-40B4-BE49-F238E27FC236}">
                    <a16:creationId xmlns:a16="http://schemas.microsoft.com/office/drawing/2014/main" id="{C9B67FD3-D0E1-D3C4-9677-671F895DAFD0}"/>
                  </a:ext>
                </a:extLst>
              </p:cNvPr>
              <p:cNvSpPr/>
              <p:nvPr/>
            </p:nvSpPr>
            <p:spPr>
              <a:xfrm>
                <a:off x="5683249" y="3321049"/>
                <a:ext cx="265678" cy="215900"/>
              </a:xfrm>
              <a:custGeom>
                <a:avLst/>
                <a:gdLst>
                  <a:gd name="connsiteX0" fmla="*/ 104374 w 265678"/>
                  <a:gd name="connsiteY0" fmla="*/ 168966 h 215900"/>
                  <a:gd name="connsiteX1" fmla="*/ 12539 w 265678"/>
                  <a:gd name="connsiteY1" fmla="*/ 168966 h 215900"/>
                  <a:gd name="connsiteX2" fmla="*/ 3664 w 265678"/>
                  <a:gd name="connsiteY2" fmla="*/ 172673 h 215900"/>
                  <a:gd name="connsiteX3" fmla="*/ 0 w 265678"/>
                  <a:gd name="connsiteY3" fmla="*/ 181588 h 215900"/>
                  <a:gd name="connsiteX4" fmla="*/ 0 w 265678"/>
                  <a:gd name="connsiteY4" fmla="*/ 203278 h 215900"/>
                  <a:gd name="connsiteX5" fmla="*/ 3633 w 265678"/>
                  <a:gd name="connsiteY5" fmla="*/ 212171 h 215900"/>
                  <a:gd name="connsiteX6" fmla="*/ 12539 w 265678"/>
                  <a:gd name="connsiteY6" fmla="*/ 215900 h 215900"/>
                  <a:gd name="connsiteX7" fmla="*/ 104374 w 265678"/>
                  <a:gd name="connsiteY7" fmla="*/ 215900 h 215900"/>
                  <a:gd name="connsiteX8" fmla="*/ 262045 w 265678"/>
                  <a:gd name="connsiteY8" fmla="*/ 172704 h 215900"/>
                  <a:gd name="connsiteX9" fmla="*/ 253139 w 265678"/>
                  <a:gd name="connsiteY9" fmla="*/ 168966 h 215900"/>
                  <a:gd name="connsiteX10" fmla="*/ 161305 w 265678"/>
                  <a:gd name="connsiteY10" fmla="*/ 168966 h 215900"/>
                  <a:gd name="connsiteX11" fmla="*/ 161305 w 265678"/>
                  <a:gd name="connsiteY11" fmla="*/ 215900 h 215900"/>
                  <a:gd name="connsiteX12" fmla="*/ 253139 w 265678"/>
                  <a:gd name="connsiteY12" fmla="*/ 215900 h 215900"/>
                  <a:gd name="connsiteX13" fmla="*/ 262045 w 265678"/>
                  <a:gd name="connsiteY13" fmla="*/ 212162 h 215900"/>
                  <a:gd name="connsiteX14" fmla="*/ 265678 w 265678"/>
                  <a:gd name="connsiteY14" fmla="*/ 203278 h 215900"/>
                  <a:gd name="connsiteX15" fmla="*/ 265678 w 265678"/>
                  <a:gd name="connsiteY15" fmla="*/ 181588 h 215900"/>
                  <a:gd name="connsiteX16" fmla="*/ 262045 w 265678"/>
                  <a:gd name="connsiteY16" fmla="*/ 172704 h 215900"/>
                  <a:gd name="connsiteX17" fmla="*/ 262045 w 265678"/>
                  <a:gd name="connsiteY17" fmla="*/ 88230 h 215900"/>
                  <a:gd name="connsiteX18" fmla="*/ 253139 w 265678"/>
                  <a:gd name="connsiteY18" fmla="*/ 84483 h 215900"/>
                  <a:gd name="connsiteX19" fmla="*/ 161305 w 265678"/>
                  <a:gd name="connsiteY19" fmla="*/ 84483 h 215900"/>
                  <a:gd name="connsiteX20" fmla="*/ 161305 w 265678"/>
                  <a:gd name="connsiteY20" fmla="*/ 131418 h 215900"/>
                  <a:gd name="connsiteX21" fmla="*/ 253139 w 265678"/>
                  <a:gd name="connsiteY21" fmla="*/ 131418 h 215900"/>
                  <a:gd name="connsiteX22" fmla="*/ 262045 w 265678"/>
                  <a:gd name="connsiteY22" fmla="*/ 127670 h 215900"/>
                  <a:gd name="connsiteX23" fmla="*/ 265678 w 265678"/>
                  <a:gd name="connsiteY23" fmla="*/ 118790 h 215900"/>
                  <a:gd name="connsiteX24" fmla="*/ 265678 w 265678"/>
                  <a:gd name="connsiteY24" fmla="*/ 97100 h 215900"/>
                  <a:gd name="connsiteX25" fmla="*/ 262045 w 265678"/>
                  <a:gd name="connsiteY25" fmla="*/ 88230 h 215900"/>
                  <a:gd name="connsiteX26" fmla="*/ 104374 w 265678"/>
                  <a:gd name="connsiteY26" fmla="*/ 84483 h 215900"/>
                  <a:gd name="connsiteX27" fmla="*/ 12539 w 265678"/>
                  <a:gd name="connsiteY27" fmla="*/ 84493 h 215900"/>
                  <a:gd name="connsiteX28" fmla="*/ 3664 w 265678"/>
                  <a:gd name="connsiteY28" fmla="*/ 88200 h 215900"/>
                  <a:gd name="connsiteX29" fmla="*/ 0 w 265678"/>
                  <a:gd name="connsiteY29" fmla="*/ 97100 h 215900"/>
                  <a:gd name="connsiteX30" fmla="*/ 0 w 265678"/>
                  <a:gd name="connsiteY30" fmla="*/ 118790 h 215900"/>
                  <a:gd name="connsiteX31" fmla="*/ 3633 w 265678"/>
                  <a:gd name="connsiteY31" fmla="*/ 127680 h 215900"/>
                  <a:gd name="connsiteX32" fmla="*/ 12539 w 265678"/>
                  <a:gd name="connsiteY32" fmla="*/ 131418 h 215900"/>
                  <a:gd name="connsiteX33" fmla="*/ 104374 w 265678"/>
                  <a:gd name="connsiteY33" fmla="*/ 131418 h 215900"/>
                  <a:gd name="connsiteX34" fmla="*/ 252911 w 265678"/>
                  <a:gd name="connsiteY34" fmla="*/ 46935 h 215900"/>
                  <a:gd name="connsiteX35" fmla="*/ 12767 w 265678"/>
                  <a:gd name="connsiteY35" fmla="*/ 46935 h 215900"/>
                  <a:gd name="connsiteX36" fmla="*/ 3699 w 265678"/>
                  <a:gd name="connsiteY36" fmla="*/ 43206 h 215900"/>
                  <a:gd name="connsiteX37" fmla="*/ 0 w 265678"/>
                  <a:gd name="connsiteY37" fmla="*/ 34312 h 215900"/>
                  <a:gd name="connsiteX38" fmla="*/ 0 w 265678"/>
                  <a:gd name="connsiteY38" fmla="*/ 12623 h 215900"/>
                  <a:gd name="connsiteX39" fmla="*/ 3720 w 265678"/>
                  <a:gd name="connsiteY39" fmla="*/ 3708 h 215900"/>
                  <a:gd name="connsiteX40" fmla="*/ 12767 w 265678"/>
                  <a:gd name="connsiteY40" fmla="*/ 0 h 215900"/>
                  <a:gd name="connsiteX41" fmla="*/ 252911 w 265678"/>
                  <a:gd name="connsiteY41" fmla="*/ 0 h 215900"/>
                  <a:gd name="connsiteX42" fmla="*/ 261979 w 265678"/>
                  <a:gd name="connsiteY42" fmla="*/ 3739 h 215900"/>
                  <a:gd name="connsiteX43" fmla="*/ 265678 w 265678"/>
                  <a:gd name="connsiteY43" fmla="*/ 12623 h 215900"/>
                  <a:gd name="connsiteX44" fmla="*/ 265678 w 265678"/>
                  <a:gd name="connsiteY44" fmla="*/ 34312 h 215900"/>
                  <a:gd name="connsiteX45" fmla="*/ 261979 w 265678"/>
                  <a:gd name="connsiteY45" fmla="*/ 43196 h 215900"/>
                  <a:gd name="connsiteX46" fmla="*/ 252911 w 265678"/>
                  <a:gd name="connsiteY46" fmla="*/ 46935 h 215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265678" h="215900">
                    <a:moveTo>
                      <a:pt x="104374" y="168966"/>
                    </a:moveTo>
                    <a:lnTo>
                      <a:pt x="12539" y="168966"/>
                    </a:lnTo>
                    <a:cubicBezTo>
                      <a:pt x="9068" y="168966"/>
                      <a:pt x="5931" y="170381"/>
                      <a:pt x="3664" y="172673"/>
                    </a:cubicBezTo>
                    <a:cubicBezTo>
                      <a:pt x="1397" y="174955"/>
                      <a:pt x="0" y="178104"/>
                      <a:pt x="0" y="181588"/>
                    </a:cubicBezTo>
                    <a:lnTo>
                      <a:pt x="0" y="203278"/>
                    </a:lnTo>
                    <a:cubicBezTo>
                      <a:pt x="0" y="206752"/>
                      <a:pt x="1387" y="209899"/>
                      <a:pt x="3633" y="212171"/>
                    </a:cubicBezTo>
                    <a:cubicBezTo>
                      <a:pt x="5910" y="214474"/>
                      <a:pt x="9058" y="215900"/>
                      <a:pt x="12539" y="215900"/>
                    </a:cubicBezTo>
                    <a:lnTo>
                      <a:pt x="104374" y="215900"/>
                    </a:lnTo>
                    <a:close/>
                    <a:moveTo>
                      <a:pt x="262045" y="172704"/>
                    </a:moveTo>
                    <a:cubicBezTo>
                      <a:pt x="259778" y="170412"/>
                      <a:pt x="256620" y="168966"/>
                      <a:pt x="253139" y="168966"/>
                    </a:cubicBezTo>
                    <a:lnTo>
                      <a:pt x="161305" y="168966"/>
                    </a:lnTo>
                    <a:lnTo>
                      <a:pt x="161305" y="215900"/>
                    </a:lnTo>
                    <a:lnTo>
                      <a:pt x="253139" y="215900"/>
                    </a:lnTo>
                    <a:cubicBezTo>
                      <a:pt x="256620" y="215900"/>
                      <a:pt x="259768" y="214474"/>
                      <a:pt x="262045" y="212162"/>
                    </a:cubicBezTo>
                    <a:cubicBezTo>
                      <a:pt x="264292" y="209889"/>
                      <a:pt x="265678" y="206742"/>
                      <a:pt x="265678" y="203278"/>
                    </a:cubicBezTo>
                    <a:lnTo>
                      <a:pt x="265678" y="181588"/>
                    </a:lnTo>
                    <a:cubicBezTo>
                      <a:pt x="265678" y="178124"/>
                      <a:pt x="264292" y="174986"/>
                      <a:pt x="262045" y="172704"/>
                    </a:cubicBezTo>
                    <a:close/>
                    <a:moveTo>
                      <a:pt x="262045" y="88230"/>
                    </a:moveTo>
                    <a:cubicBezTo>
                      <a:pt x="259778" y="85918"/>
                      <a:pt x="256620" y="84483"/>
                      <a:pt x="253139" y="84483"/>
                    </a:cubicBezTo>
                    <a:lnTo>
                      <a:pt x="161305" y="84483"/>
                    </a:lnTo>
                    <a:lnTo>
                      <a:pt x="161305" y="131418"/>
                    </a:lnTo>
                    <a:lnTo>
                      <a:pt x="253139" y="131418"/>
                    </a:lnTo>
                    <a:cubicBezTo>
                      <a:pt x="256620" y="131418"/>
                      <a:pt x="259768" y="129971"/>
                      <a:pt x="262045" y="127670"/>
                    </a:cubicBezTo>
                    <a:cubicBezTo>
                      <a:pt x="264292" y="125389"/>
                      <a:pt x="265678" y="122252"/>
                      <a:pt x="265678" y="118790"/>
                    </a:cubicBezTo>
                    <a:lnTo>
                      <a:pt x="265678" y="97100"/>
                    </a:lnTo>
                    <a:cubicBezTo>
                      <a:pt x="265678" y="93648"/>
                      <a:pt x="264292" y="90511"/>
                      <a:pt x="262045" y="88230"/>
                    </a:cubicBezTo>
                    <a:close/>
                    <a:moveTo>
                      <a:pt x="104374" y="84483"/>
                    </a:moveTo>
                    <a:lnTo>
                      <a:pt x="12539" y="84493"/>
                    </a:lnTo>
                    <a:cubicBezTo>
                      <a:pt x="9068" y="84493"/>
                      <a:pt x="5931" y="85908"/>
                      <a:pt x="3664" y="88200"/>
                    </a:cubicBezTo>
                    <a:cubicBezTo>
                      <a:pt x="1397" y="90481"/>
                      <a:pt x="0" y="93627"/>
                      <a:pt x="0" y="97100"/>
                    </a:cubicBezTo>
                    <a:lnTo>
                      <a:pt x="0" y="118790"/>
                    </a:lnTo>
                    <a:cubicBezTo>
                      <a:pt x="0" y="122252"/>
                      <a:pt x="1387" y="125399"/>
                      <a:pt x="3633" y="127680"/>
                    </a:cubicBezTo>
                    <a:cubicBezTo>
                      <a:pt x="5910" y="129982"/>
                      <a:pt x="9058" y="131418"/>
                      <a:pt x="12539" y="131418"/>
                    </a:cubicBezTo>
                    <a:lnTo>
                      <a:pt x="104374" y="131418"/>
                    </a:lnTo>
                    <a:close/>
                    <a:moveTo>
                      <a:pt x="252911" y="46935"/>
                    </a:moveTo>
                    <a:lnTo>
                      <a:pt x="12767" y="46935"/>
                    </a:lnTo>
                    <a:cubicBezTo>
                      <a:pt x="9222" y="46935"/>
                      <a:pt x="6018" y="45509"/>
                      <a:pt x="3699" y="43206"/>
                    </a:cubicBezTo>
                    <a:cubicBezTo>
                      <a:pt x="1412" y="40924"/>
                      <a:pt x="0" y="37786"/>
                      <a:pt x="0" y="34312"/>
                    </a:cubicBezTo>
                    <a:lnTo>
                      <a:pt x="0" y="12623"/>
                    </a:lnTo>
                    <a:cubicBezTo>
                      <a:pt x="0" y="9138"/>
                      <a:pt x="1422" y="5990"/>
                      <a:pt x="3720" y="3708"/>
                    </a:cubicBezTo>
                    <a:cubicBezTo>
                      <a:pt x="6038" y="1416"/>
                      <a:pt x="9233" y="0"/>
                      <a:pt x="12767" y="0"/>
                    </a:cubicBezTo>
                    <a:lnTo>
                      <a:pt x="252911" y="0"/>
                    </a:lnTo>
                    <a:cubicBezTo>
                      <a:pt x="256455" y="0"/>
                      <a:pt x="259671" y="1426"/>
                      <a:pt x="261979" y="3739"/>
                    </a:cubicBezTo>
                    <a:cubicBezTo>
                      <a:pt x="264266" y="6021"/>
                      <a:pt x="265678" y="9159"/>
                      <a:pt x="265678" y="12623"/>
                    </a:cubicBezTo>
                    <a:lnTo>
                      <a:pt x="265678" y="34312"/>
                    </a:lnTo>
                    <a:cubicBezTo>
                      <a:pt x="265678" y="37776"/>
                      <a:pt x="264266" y="40914"/>
                      <a:pt x="261979" y="43196"/>
                    </a:cubicBezTo>
                    <a:cubicBezTo>
                      <a:pt x="259661" y="45509"/>
                      <a:pt x="256455" y="46935"/>
                      <a:pt x="252911" y="46935"/>
                    </a:cubicBezTo>
                    <a:close/>
                  </a:path>
                </a:pathLst>
              </a:custGeom>
              <a:solidFill>
                <a:srgbClr val="E4002B"/>
              </a:solidFill>
              <a:ln w="94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  <p:sp>
            <p:nvSpPr>
              <p:cNvPr id="151" name="Forma libre 150">
                <a:extLst>
                  <a:ext uri="{FF2B5EF4-FFF2-40B4-BE49-F238E27FC236}">
                    <a16:creationId xmlns:a16="http://schemas.microsoft.com/office/drawing/2014/main" id="{5E415A08-D8E3-C655-5C48-0BF976B3FFC1}"/>
                  </a:ext>
                </a:extLst>
              </p:cNvPr>
              <p:cNvSpPr/>
              <p:nvPr/>
            </p:nvSpPr>
            <p:spPr>
              <a:xfrm>
                <a:off x="6009567" y="3321057"/>
                <a:ext cx="502890" cy="215900"/>
              </a:xfrm>
              <a:custGeom>
                <a:avLst/>
                <a:gdLst>
                  <a:gd name="connsiteX0" fmla="*/ 482473 w 502890"/>
                  <a:gd name="connsiteY0" fmla="*/ 0 h 215900"/>
                  <a:gd name="connsiteX1" fmla="*/ 468092 w 502890"/>
                  <a:gd name="connsiteY1" fmla="*/ 0 h 215900"/>
                  <a:gd name="connsiteX2" fmla="*/ 447114 w 502890"/>
                  <a:gd name="connsiteY2" fmla="*/ 5181 h 215900"/>
                  <a:gd name="connsiteX3" fmla="*/ 418649 w 502890"/>
                  <a:gd name="connsiteY3" fmla="*/ 73694 h 215900"/>
                  <a:gd name="connsiteX4" fmla="*/ 395639 w 502890"/>
                  <a:gd name="connsiteY4" fmla="*/ 133568 h 215900"/>
                  <a:gd name="connsiteX5" fmla="*/ 372640 w 502890"/>
                  <a:gd name="connsiteY5" fmla="*/ 72541 h 215900"/>
                  <a:gd name="connsiteX6" fmla="*/ 344186 w 502890"/>
                  <a:gd name="connsiteY6" fmla="*/ 5181 h 215900"/>
                  <a:gd name="connsiteX7" fmla="*/ 319735 w 502890"/>
                  <a:gd name="connsiteY7" fmla="*/ 0 h 215900"/>
                  <a:gd name="connsiteX8" fmla="*/ 303642 w 502890"/>
                  <a:gd name="connsiteY8" fmla="*/ 0 h 215900"/>
                  <a:gd name="connsiteX9" fmla="*/ 284655 w 502890"/>
                  <a:gd name="connsiteY9" fmla="*/ 4610 h 215900"/>
                  <a:gd name="connsiteX10" fmla="*/ 284655 w 502890"/>
                  <a:gd name="connsiteY10" fmla="*/ 211290 h 215900"/>
                  <a:gd name="connsiteX11" fmla="*/ 304212 w 502890"/>
                  <a:gd name="connsiteY11" fmla="*/ 215900 h 215900"/>
                  <a:gd name="connsiteX12" fmla="*/ 313129 w 502890"/>
                  <a:gd name="connsiteY12" fmla="*/ 215900 h 215900"/>
                  <a:gd name="connsiteX13" fmla="*/ 333817 w 502890"/>
                  <a:gd name="connsiteY13" fmla="*/ 211290 h 215900"/>
                  <a:gd name="connsiteX14" fmla="*/ 333817 w 502890"/>
                  <a:gd name="connsiteY14" fmla="*/ 88665 h 215900"/>
                  <a:gd name="connsiteX15" fmla="*/ 334978 w 502890"/>
                  <a:gd name="connsiteY15" fmla="*/ 88665 h 215900"/>
                  <a:gd name="connsiteX16" fmla="*/ 338722 w 502890"/>
                  <a:gd name="connsiteY16" fmla="*/ 99597 h 215900"/>
                  <a:gd name="connsiteX17" fmla="*/ 371499 w 502890"/>
                  <a:gd name="connsiteY17" fmla="*/ 176458 h 215900"/>
                  <a:gd name="connsiteX18" fmla="*/ 389895 w 502890"/>
                  <a:gd name="connsiteY18" fmla="*/ 181368 h 215900"/>
                  <a:gd name="connsiteX19" fmla="*/ 399673 w 502890"/>
                  <a:gd name="connsiteY19" fmla="*/ 181368 h 215900"/>
                  <a:gd name="connsiteX20" fmla="*/ 417788 w 502890"/>
                  <a:gd name="connsiteY20" fmla="*/ 176458 h 215900"/>
                  <a:gd name="connsiteX21" fmla="*/ 447673 w 502890"/>
                  <a:gd name="connsiteY21" fmla="*/ 102484 h 215900"/>
                  <a:gd name="connsiteX22" fmla="*/ 452568 w 502890"/>
                  <a:gd name="connsiteY22" fmla="*/ 88665 h 215900"/>
                  <a:gd name="connsiteX23" fmla="*/ 453719 w 502890"/>
                  <a:gd name="connsiteY23" fmla="*/ 88665 h 215900"/>
                  <a:gd name="connsiteX24" fmla="*/ 453719 w 502890"/>
                  <a:gd name="connsiteY24" fmla="*/ 211290 h 215900"/>
                  <a:gd name="connsiteX25" fmla="*/ 473847 w 502890"/>
                  <a:gd name="connsiteY25" fmla="*/ 215900 h 215900"/>
                  <a:gd name="connsiteX26" fmla="*/ 482473 w 502890"/>
                  <a:gd name="connsiteY26" fmla="*/ 215900 h 215900"/>
                  <a:gd name="connsiteX27" fmla="*/ 502891 w 502890"/>
                  <a:gd name="connsiteY27" fmla="*/ 211290 h 215900"/>
                  <a:gd name="connsiteX28" fmla="*/ 502891 w 502890"/>
                  <a:gd name="connsiteY28" fmla="*/ 4610 h 215900"/>
                  <a:gd name="connsiteX29" fmla="*/ 482473 w 502890"/>
                  <a:gd name="connsiteY29" fmla="*/ 0 h 215900"/>
                  <a:gd name="connsiteX30" fmla="*/ 237213 w 502890"/>
                  <a:gd name="connsiteY30" fmla="*/ 4610 h 215900"/>
                  <a:gd name="connsiteX31" fmla="*/ 217515 w 502890"/>
                  <a:gd name="connsiteY31" fmla="*/ 0 h 215900"/>
                  <a:gd name="connsiteX32" fmla="*/ 208628 w 502890"/>
                  <a:gd name="connsiteY32" fmla="*/ 0 h 215900"/>
                  <a:gd name="connsiteX33" fmla="*/ 189770 w 502890"/>
                  <a:gd name="connsiteY33" fmla="*/ 4610 h 215900"/>
                  <a:gd name="connsiteX34" fmla="*/ 189770 w 502890"/>
                  <a:gd name="connsiteY34" fmla="*/ 211290 h 215900"/>
                  <a:gd name="connsiteX35" fmla="*/ 208628 w 502890"/>
                  <a:gd name="connsiteY35" fmla="*/ 215900 h 215900"/>
                  <a:gd name="connsiteX36" fmla="*/ 217515 w 502890"/>
                  <a:gd name="connsiteY36" fmla="*/ 215900 h 215900"/>
                  <a:gd name="connsiteX37" fmla="*/ 237213 w 502890"/>
                  <a:gd name="connsiteY37" fmla="*/ 211290 h 215900"/>
                  <a:gd name="connsiteX38" fmla="*/ 155998 w 502890"/>
                  <a:gd name="connsiteY38" fmla="*/ 0 h 215900"/>
                  <a:gd name="connsiteX39" fmla="*/ 161305 w 502890"/>
                  <a:gd name="connsiteY39" fmla="*/ 15833 h 215900"/>
                  <a:gd name="connsiteX40" fmla="*/ 161305 w 502890"/>
                  <a:gd name="connsiteY40" fmla="*/ 29942 h 215900"/>
                  <a:gd name="connsiteX41" fmla="*/ 155998 w 502890"/>
                  <a:gd name="connsiteY41" fmla="*/ 46347 h 215900"/>
                  <a:gd name="connsiteX42" fmla="*/ 105863 w 502890"/>
                  <a:gd name="connsiteY42" fmla="*/ 46347 h 215900"/>
                  <a:gd name="connsiteX43" fmla="*/ 105863 w 502890"/>
                  <a:gd name="connsiteY43" fmla="*/ 211290 h 215900"/>
                  <a:gd name="connsiteX44" fmla="*/ 84338 w 502890"/>
                  <a:gd name="connsiteY44" fmla="*/ 215900 h 215900"/>
                  <a:gd name="connsiteX45" fmla="*/ 75489 w 502890"/>
                  <a:gd name="connsiteY45" fmla="*/ 215900 h 215900"/>
                  <a:gd name="connsiteX46" fmla="*/ 55441 w 502890"/>
                  <a:gd name="connsiteY46" fmla="*/ 211290 h 215900"/>
                  <a:gd name="connsiteX47" fmla="*/ 55441 w 502890"/>
                  <a:gd name="connsiteY47" fmla="*/ 46347 h 215900"/>
                  <a:gd name="connsiteX48" fmla="*/ 5307 w 502890"/>
                  <a:gd name="connsiteY48" fmla="*/ 46347 h 215900"/>
                  <a:gd name="connsiteX49" fmla="*/ 0 w 502890"/>
                  <a:gd name="connsiteY49" fmla="*/ 29942 h 215900"/>
                  <a:gd name="connsiteX50" fmla="*/ 0 w 502890"/>
                  <a:gd name="connsiteY50" fmla="*/ 15833 h 215900"/>
                  <a:gd name="connsiteX51" fmla="*/ 5307 w 502890"/>
                  <a:gd name="connsiteY51" fmla="*/ 0 h 215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502890" h="215900">
                    <a:moveTo>
                      <a:pt x="482473" y="0"/>
                    </a:moveTo>
                    <a:lnTo>
                      <a:pt x="468092" y="0"/>
                    </a:lnTo>
                    <a:cubicBezTo>
                      <a:pt x="449695" y="0"/>
                      <a:pt x="448535" y="2014"/>
                      <a:pt x="447114" y="5181"/>
                    </a:cubicBezTo>
                    <a:lnTo>
                      <a:pt x="418649" y="73694"/>
                    </a:lnTo>
                    <a:cubicBezTo>
                      <a:pt x="409161" y="96431"/>
                      <a:pt x="399373" y="120902"/>
                      <a:pt x="395639" y="133568"/>
                    </a:cubicBezTo>
                    <a:cubicBezTo>
                      <a:pt x="392187" y="120902"/>
                      <a:pt x="385871" y="103916"/>
                      <a:pt x="372640" y="72541"/>
                    </a:cubicBezTo>
                    <a:lnTo>
                      <a:pt x="344186" y="5181"/>
                    </a:lnTo>
                    <a:cubicBezTo>
                      <a:pt x="342454" y="1152"/>
                      <a:pt x="335268" y="0"/>
                      <a:pt x="319735" y="0"/>
                    </a:cubicBezTo>
                    <a:lnTo>
                      <a:pt x="303642" y="0"/>
                    </a:lnTo>
                    <a:cubicBezTo>
                      <a:pt x="287828" y="0"/>
                      <a:pt x="284655" y="1443"/>
                      <a:pt x="284655" y="4610"/>
                    </a:cubicBezTo>
                    <a:lnTo>
                      <a:pt x="284655" y="211290"/>
                    </a:lnTo>
                    <a:cubicBezTo>
                      <a:pt x="284655" y="215038"/>
                      <a:pt x="287828" y="215900"/>
                      <a:pt x="304212" y="215900"/>
                    </a:cubicBezTo>
                    <a:lnTo>
                      <a:pt x="313129" y="215900"/>
                    </a:lnTo>
                    <a:cubicBezTo>
                      <a:pt x="329223" y="215900"/>
                      <a:pt x="333817" y="215038"/>
                      <a:pt x="333817" y="211290"/>
                    </a:cubicBezTo>
                    <a:lnTo>
                      <a:pt x="333817" y="88665"/>
                    </a:lnTo>
                    <a:lnTo>
                      <a:pt x="334978" y="88665"/>
                    </a:lnTo>
                    <a:cubicBezTo>
                      <a:pt x="334978" y="88665"/>
                      <a:pt x="336409" y="94417"/>
                      <a:pt x="338722" y="99597"/>
                    </a:cubicBezTo>
                    <a:lnTo>
                      <a:pt x="371499" y="176458"/>
                    </a:lnTo>
                    <a:cubicBezTo>
                      <a:pt x="372931" y="179915"/>
                      <a:pt x="374662" y="181368"/>
                      <a:pt x="389895" y="181368"/>
                    </a:cubicBezTo>
                    <a:lnTo>
                      <a:pt x="399673" y="181368"/>
                    </a:lnTo>
                    <a:cubicBezTo>
                      <a:pt x="415187" y="181368"/>
                      <a:pt x="416347" y="180205"/>
                      <a:pt x="417788" y="176458"/>
                    </a:cubicBezTo>
                    <a:lnTo>
                      <a:pt x="447673" y="102484"/>
                    </a:lnTo>
                    <a:cubicBezTo>
                      <a:pt x="450556" y="95570"/>
                      <a:pt x="452568" y="88665"/>
                      <a:pt x="452568" y="88665"/>
                    </a:cubicBezTo>
                    <a:lnTo>
                      <a:pt x="453719" y="88665"/>
                    </a:lnTo>
                    <a:lnTo>
                      <a:pt x="453719" y="211290"/>
                    </a:lnTo>
                    <a:cubicBezTo>
                      <a:pt x="453719" y="215038"/>
                      <a:pt x="456872" y="215900"/>
                      <a:pt x="473847" y="215900"/>
                    </a:cubicBezTo>
                    <a:lnTo>
                      <a:pt x="482473" y="215900"/>
                    </a:lnTo>
                    <a:cubicBezTo>
                      <a:pt x="498287" y="215900"/>
                      <a:pt x="502891" y="215038"/>
                      <a:pt x="502891" y="211290"/>
                    </a:cubicBezTo>
                    <a:lnTo>
                      <a:pt x="502891" y="4610"/>
                    </a:lnTo>
                    <a:cubicBezTo>
                      <a:pt x="502891" y="1443"/>
                      <a:pt x="498287" y="0"/>
                      <a:pt x="482473" y="0"/>
                    </a:cubicBezTo>
                    <a:close/>
                    <a:moveTo>
                      <a:pt x="237213" y="4610"/>
                    </a:moveTo>
                    <a:cubicBezTo>
                      <a:pt x="237213" y="1443"/>
                      <a:pt x="232769" y="0"/>
                      <a:pt x="217515" y="0"/>
                    </a:cubicBezTo>
                    <a:lnTo>
                      <a:pt x="208628" y="0"/>
                    </a:lnTo>
                    <a:cubicBezTo>
                      <a:pt x="192533" y="0"/>
                      <a:pt x="189770" y="1443"/>
                      <a:pt x="189770" y="4610"/>
                    </a:cubicBezTo>
                    <a:lnTo>
                      <a:pt x="189770" y="211290"/>
                    </a:lnTo>
                    <a:cubicBezTo>
                      <a:pt x="189770" y="215038"/>
                      <a:pt x="192533" y="215900"/>
                      <a:pt x="208628" y="215900"/>
                    </a:cubicBezTo>
                    <a:lnTo>
                      <a:pt x="217515" y="215900"/>
                    </a:lnTo>
                    <a:cubicBezTo>
                      <a:pt x="232779" y="215900"/>
                      <a:pt x="237213" y="215038"/>
                      <a:pt x="237213" y="211290"/>
                    </a:cubicBezTo>
                    <a:close/>
                    <a:moveTo>
                      <a:pt x="155998" y="0"/>
                    </a:moveTo>
                    <a:cubicBezTo>
                      <a:pt x="160401" y="0"/>
                      <a:pt x="161305" y="581"/>
                      <a:pt x="161305" y="15833"/>
                    </a:cubicBezTo>
                    <a:lnTo>
                      <a:pt x="161305" y="29942"/>
                    </a:lnTo>
                    <a:cubicBezTo>
                      <a:pt x="161305" y="44623"/>
                      <a:pt x="160124" y="46347"/>
                      <a:pt x="155998" y="46347"/>
                    </a:cubicBezTo>
                    <a:lnTo>
                      <a:pt x="105863" y="46347"/>
                    </a:lnTo>
                    <a:lnTo>
                      <a:pt x="105863" y="211290"/>
                    </a:lnTo>
                    <a:cubicBezTo>
                      <a:pt x="105863" y="215038"/>
                      <a:pt x="101142" y="215900"/>
                      <a:pt x="84338" y="215900"/>
                    </a:cubicBezTo>
                    <a:lnTo>
                      <a:pt x="75489" y="215900"/>
                    </a:lnTo>
                    <a:cubicBezTo>
                      <a:pt x="58388" y="215900"/>
                      <a:pt x="55441" y="215038"/>
                      <a:pt x="55441" y="211290"/>
                    </a:cubicBezTo>
                    <a:lnTo>
                      <a:pt x="55441" y="46347"/>
                    </a:lnTo>
                    <a:lnTo>
                      <a:pt x="5307" y="46347"/>
                    </a:lnTo>
                    <a:cubicBezTo>
                      <a:pt x="1170" y="46347"/>
                      <a:pt x="0" y="45194"/>
                      <a:pt x="0" y="29942"/>
                    </a:cubicBezTo>
                    <a:lnTo>
                      <a:pt x="0" y="15833"/>
                    </a:lnTo>
                    <a:cubicBezTo>
                      <a:pt x="0" y="0"/>
                      <a:pt x="882" y="0"/>
                      <a:pt x="5307" y="0"/>
                    </a:cubicBezTo>
                    <a:close/>
                  </a:path>
                </a:pathLst>
              </a:custGeom>
              <a:solidFill>
                <a:srgbClr val="004C97"/>
              </a:solidFill>
              <a:ln w="94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</p:grpSp>
        <p:grpSp>
          <p:nvGrpSpPr>
            <p:cNvPr id="144" name="Grupo 143">
              <a:extLst>
                <a:ext uri="{FF2B5EF4-FFF2-40B4-BE49-F238E27FC236}">
                  <a16:creationId xmlns:a16="http://schemas.microsoft.com/office/drawing/2014/main" id="{C1F17A5F-00F3-19B0-3BF6-30B81A05C9F9}"/>
                </a:ext>
              </a:extLst>
            </p:cNvPr>
            <p:cNvGrpSpPr/>
            <p:nvPr/>
          </p:nvGrpSpPr>
          <p:grpSpPr>
            <a:xfrm>
              <a:off x="5512769" y="2627679"/>
              <a:ext cx="499012" cy="192044"/>
              <a:chOff x="5048184" y="3025730"/>
              <a:chExt cx="2095755" cy="806539"/>
            </a:xfrm>
          </p:grpSpPr>
          <p:sp>
            <p:nvSpPr>
              <p:cNvPr id="145" name="Forma libre 144">
                <a:extLst>
                  <a:ext uri="{FF2B5EF4-FFF2-40B4-BE49-F238E27FC236}">
                    <a16:creationId xmlns:a16="http://schemas.microsoft.com/office/drawing/2014/main" id="{837A4882-9B20-6B15-7644-F3E67C7CCE80}"/>
                  </a:ext>
                </a:extLst>
              </p:cNvPr>
              <p:cNvSpPr/>
              <p:nvPr/>
            </p:nvSpPr>
            <p:spPr>
              <a:xfrm>
                <a:off x="5485898" y="3026254"/>
                <a:ext cx="845550" cy="805567"/>
              </a:xfrm>
              <a:custGeom>
                <a:avLst/>
                <a:gdLst>
                  <a:gd name="connsiteX0" fmla="*/ 0 w 845550"/>
                  <a:gd name="connsiteY0" fmla="*/ 0 h 805567"/>
                  <a:gd name="connsiteX1" fmla="*/ 341335 w 845550"/>
                  <a:gd name="connsiteY1" fmla="*/ 0 h 805567"/>
                  <a:gd name="connsiteX2" fmla="*/ 341335 w 845550"/>
                  <a:gd name="connsiteY2" fmla="*/ 281702 h 805567"/>
                  <a:gd name="connsiteX3" fmla="*/ 504108 w 845550"/>
                  <a:gd name="connsiteY3" fmla="*/ 281702 h 805567"/>
                  <a:gd name="connsiteX4" fmla="*/ 504108 w 845550"/>
                  <a:gd name="connsiteY4" fmla="*/ 29 h 805567"/>
                  <a:gd name="connsiteX5" fmla="*/ 845550 w 845550"/>
                  <a:gd name="connsiteY5" fmla="*/ 29 h 805567"/>
                  <a:gd name="connsiteX6" fmla="*/ 845550 w 845550"/>
                  <a:gd name="connsiteY6" fmla="*/ 805567 h 805567"/>
                  <a:gd name="connsiteX7" fmla="*/ 504298 w 845550"/>
                  <a:gd name="connsiteY7" fmla="*/ 805567 h 805567"/>
                  <a:gd name="connsiteX8" fmla="*/ 504298 w 845550"/>
                  <a:gd name="connsiteY8" fmla="*/ 515150 h 805567"/>
                  <a:gd name="connsiteX9" fmla="*/ 341783 w 845550"/>
                  <a:gd name="connsiteY9" fmla="*/ 515150 h 805567"/>
                  <a:gd name="connsiteX10" fmla="*/ 341783 w 845550"/>
                  <a:gd name="connsiteY10" fmla="*/ 805415 h 805567"/>
                  <a:gd name="connsiteX11" fmla="*/ 0 w 845550"/>
                  <a:gd name="connsiteY11" fmla="*/ 805415 h 805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45550" h="805567">
                    <a:moveTo>
                      <a:pt x="0" y="0"/>
                    </a:moveTo>
                    <a:lnTo>
                      <a:pt x="341335" y="0"/>
                    </a:lnTo>
                    <a:lnTo>
                      <a:pt x="341335" y="281702"/>
                    </a:lnTo>
                    <a:lnTo>
                      <a:pt x="504108" y="281702"/>
                    </a:lnTo>
                    <a:lnTo>
                      <a:pt x="504108" y="29"/>
                    </a:lnTo>
                    <a:lnTo>
                      <a:pt x="845550" y="29"/>
                    </a:lnTo>
                    <a:lnTo>
                      <a:pt x="845550" y="805567"/>
                    </a:lnTo>
                    <a:lnTo>
                      <a:pt x="504298" y="805567"/>
                    </a:lnTo>
                    <a:lnTo>
                      <a:pt x="504298" y="515150"/>
                    </a:lnTo>
                    <a:lnTo>
                      <a:pt x="341783" y="515150"/>
                    </a:lnTo>
                    <a:lnTo>
                      <a:pt x="341783" y="805415"/>
                    </a:lnTo>
                    <a:lnTo>
                      <a:pt x="0" y="805415"/>
                    </a:lnTo>
                    <a:close/>
                  </a:path>
                </a:pathLst>
              </a:custGeom>
              <a:solidFill>
                <a:srgbClr val="0B32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  <p:sp>
            <p:nvSpPr>
              <p:cNvPr id="146" name="Forma libre 145">
                <a:extLst>
                  <a:ext uri="{FF2B5EF4-FFF2-40B4-BE49-F238E27FC236}">
                    <a16:creationId xmlns:a16="http://schemas.microsoft.com/office/drawing/2014/main" id="{98F8FFAE-E697-FCE9-CA26-80CC940E5149}"/>
                  </a:ext>
                </a:extLst>
              </p:cNvPr>
              <p:cNvSpPr/>
              <p:nvPr/>
            </p:nvSpPr>
            <p:spPr>
              <a:xfrm>
                <a:off x="6390764" y="3025762"/>
                <a:ext cx="753175" cy="806507"/>
              </a:xfrm>
              <a:custGeom>
                <a:avLst/>
                <a:gdLst>
                  <a:gd name="connsiteX0" fmla="*/ 710857 w 753175"/>
                  <a:gd name="connsiteY0" fmla="*/ 92 h 806507"/>
                  <a:gd name="connsiteX1" fmla="*/ 710857 w 753175"/>
                  <a:gd name="connsiteY1" fmla="*/ 228835 h 806507"/>
                  <a:gd name="connsiteX2" fmla="*/ 702932 w 753175"/>
                  <a:gd name="connsiteY2" fmla="*/ 228835 h 806507"/>
                  <a:gd name="connsiteX3" fmla="*/ 359337 w 753175"/>
                  <a:gd name="connsiteY3" fmla="*/ 228911 h 806507"/>
                  <a:gd name="connsiteX4" fmla="*/ 322218 w 753175"/>
                  <a:gd name="connsiteY4" fmla="*/ 255362 h 806507"/>
                  <a:gd name="connsiteX5" fmla="*/ 342411 w 753175"/>
                  <a:gd name="connsiteY5" fmla="*/ 303235 h 806507"/>
                  <a:gd name="connsiteX6" fmla="*/ 366871 w 753175"/>
                  <a:gd name="connsiteY6" fmla="*/ 308540 h 806507"/>
                  <a:gd name="connsiteX7" fmla="*/ 514804 w 753175"/>
                  <a:gd name="connsiteY7" fmla="*/ 308702 h 806507"/>
                  <a:gd name="connsiteX8" fmla="*/ 570754 w 753175"/>
                  <a:gd name="connsiteY8" fmla="*/ 313893 h 806507"/>
                  <a:gd name="connsiteX9" fmla="*/ 671109 w 753175"/>
                  <a:gd name="connsiteY9" fmla="*/ 355346 h 806507"/>
                  <a:gd name="connsiteX10" fmla="*/ 730059 w 753175"/>
                  <a:gd name="connsiteY10" fmla="*/ 431251 h 806507"/>
                  <a:gd name="connsiteX11" fmla="*/ 751281 w 753175"/>
                  <a:gd name="connsiteY11" fmla="*/ 519071 h 806507"/>
                  <a:gd name="connsiteX12" fmla="*/ 745956 w 753175"/>
                  <a:gd name="connsiteY12" fmla="*/ 630380 h 806507"/>
                  <a:gd name="connsiteX13" fmla="*/ 715076 w 753175"/>
                  <a:gd name="connsiteY13" fmla="*/ 711029 h 806507"/>
                  <a:gd name="connsiteX14" fmla="*/ 666575 w 753175"/>
                  <a:gd name="connsiteY14" fmla="*/ 763340 h 806507"/>
                  <a:gd name="connsiteX15" fmla="*/ 611930 w 753175"/>
                  <a:gd name="connsiteY15" fmla="*/ 790667 h 806507"/>
                  <a:gd name="connsiteX16" fmla="*/ 515537 w 753175"/>
                  <a:gd name="connsiteY16" fmla="*/ 806479 h 806507"/>
                  <a:gd name="connsiteX17" fmla="*/ 39116 w 753175"/>
                  <a:gd name="connsiteY17" fmla="*/ 806507 h 806507"/>
                  <a:gd name="connsiteX18" fmla="*/ 27848 w 753175"/>
                  <a:gd name="connsiteY18" fmla="*/ 806507 h 806507"/>
                  <a:gd name="connsiteX19" fmla="*/ 27848 w 753175"/>
                  <a:gd name="connsiteY19" fmla="*/ 578774 h 806507"/>
                  <a:gd name="connsiteX20" fmla="*/ 35877 w 753175"/>
                  <a:gd name="connsiteY20" fmla="*/ 577583 h 806507"/>
                  <a:gd name="connsiteX21" fmla="*/ 378682 w 753175"/>
                  <a:gd name="connsiteY21" fmla="*/ 577679 h 806507"/>
                  <a:gd name="connsiteX22" fmla="*/ 411477 w 753175"/>
                  <a:gd name="connsiteY22" fmla="*/ 570487 h 806507"/>
                  <a:gd name="connsiteX23" fmla="*/ 426078 w 753175"/>
                  <a:gd name="connsiteY23" fmla="*/ 547361 h 806507"/>
                  <a:gd name="connsiteX24" fmla="*/ 394560 w 753175"/>
                  <a:gd name="connsiteY24" fmla="*/ 500012 h 806507"/>
                  <a:gd name="connsiteX25" fmla="*/ 385511 w 753175"/>
                  <a:gd name="connsiteY25" fmla="*/ 499240 h 806507"/>
                  <a:gd name="connsiteX26" fmla="*/ 255076 w 753175"/>
                  <a:gd name="connsiteY26" fmla="*/ 498812 h 806507"/>
                  <a:gd name="connsiteX27" fmla="*/ 163284 w 753175"/>
                  <a:gd name="connsiteY27" fmla="*/ 487906 h 806507"/>
                  <a:gd name="connsiteX28" fmla="*/ 110953 w 753175"/>
                  <a:gd name="connsiteY28" fmla="*/ 466931 h 806507"/>
                  <a:gd name="connsiteX29" fmla="*/ 53851 w 753175"/>
                  <a:gd name="connsiteY29" fmla="*/ 421107 h 806507"/>
                  <a:gd name="connsiteX30" fmla="*/ 21895 w 753175"/>
                  <a:gd name="connsiteY30" fmla="*/ 368262 h 806507"/>
                  <a:gd name="connsiteX31" fmla="*/ 1606 w 753175"/>
                  <a:gd name="connsiteY31" fmla="*/ 281880 h 806507"/>
                  <a:gd name="connsiteX32" fmla="*/ 8950 w 753175"/>
                  <a:gd name="connsiteY32" fmla="*/ 170923 h 806507"/>
                  <a:gd name="connsiteX33" fmla="*/ 27181 w 753175"/>
                  <a:gd name="connsiteY33" fmla="*/ 120145 h 806507"/>
                  <a:gd name="connsiteX34" fmla="*/ 97294 w 753175"/>
                  <a:gd name="connsiteY34" fmla="*/ 39583 h 806507"/>
                  <a:gd name="connsiteX35" fmla="*/ 155835 w 753175"/>
                  <a:gd name="connsiteY35" fmla="*/ 13503 h 806507"/>
                  <a:gd name="connsiteX36" fmla="*/ 198907 w 753175"/>
                  <a:gd name="connsiteY36" fmla="*/ 4026 h 806507"/>
                  <a:gd name="connsiteX37" fmla="*/ 244684 w 753175"/>
                  <a:gd name="connsiteY37" fmla="*/ 302 h 806507"/>
                  <a:gd name="connsiteX38" fmla="*/ 702808 w 753175"/>
                  <a:gd name="connsiteY38" fmla="*/ 92 h 806507"/>
                  <a:gd name="connsiteX39" fmla="*/ 710857 w 753175"/>
                  <a:gd name="connsiteY39" fmla="*/ 92 h 806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753175" h="806507">
                    <a:moveTo>
                      <a:pt x="710857" y="92"/>
                    </a:moveTo>
                    <a:lnTo>
                      <a:pt x="710857" y="228835"/>
                    </a:lnTo>
                    <a:lnTo>
                      <a:pt x="702932" y="228835"/>
                    </a:lnTo>
                    <a:cubicBezTo>
                      <a:pt x="588403" y="228835"/>
                      <a:pt x="473865" y="228854"/>
                      <a:pt x="359337" y="228911"/>
                    </a:cubicBezTo>
                    <a:cubicBezTo>
                      <a:pt x="336010" y="228949"/>
                      <a:pt x="326295" y="239408"/>
                      <a:pt x="322218" y="255362"/>
                    </a:cubicBezTo>
                    <a:cubicBezTo>
                      <a:pt x="316227" y="274117"/>
                      <a:pt x="324799" y="294434"/>
                      <a:pt x="342411" y="303235"/>
                    </a:cubicBezTo>
                    <a:cubicBezTo>
                      <a:pt x="350040" y="306864"/>
                      <a:pt x="358413" y="308683"/>
                      <a:pt x="366871" y="308540"/>
                    </a:cubicBezTo>
                    <a:cubicBezTo>
                      <a:pt x="416182" y="308369"/>
                      <a:pt x="465493" y="308178"/>
                      <a:pt x="514804" y="308702"/>
                    </a:cubicBezTo>
                    <a:cubicBezTo>
                      <a:pt x="533520" y="308902"/>
                      <a:pt x="552113" y="311826"/>
                      <a:pt x="570754" y="313893"/>
                    </a:cubicBezTo>
                    <a:cubicBezTo>
                      <a:pt x="607187" y="318951"/>
                      <a:pt x="641724" y="333220"/>
                      <a:pt x="671109" y="355346"/>
                    </a:cubicBezTo>
                    <a:cubicBezTo>
                      <a:pt x="696979" y="375139"/>
                      <a:pt x="717286" y="401285"/>
                      <a:pt x="730059" y="431251"/>
                    </a:cubicBezTo>
                    <a:cubicBezTo>
                      <a:pt x="741080" y="459426"/>
                      <a:pt x="748223" y="488972"/>
                      <a:pt x="751281" y="519071"/>
                    </a:cubicBezTo>
                    <a:cubicBezTo>
                      <a:pt x="755015" y="556238"/>
                      <a:pt x="753224" y="593747"/>
                      <a:pt x="745956" y="630380"/>
                    </a:cubicBezTo>
                    <a:cubicBezTo>
                      <a:pt x="740327" y="658832"/>
                      <a:pt x="729888" y="686102"/>
                      <a:pt x="715076" y="711029"/>
                    </a:cubicBezTo>
                    <a:cubicBezTo>
                      <a:pt x="702475" y="731460"/>
                      <a:pt x="685997" y="749233"/>
                      <a:pt x="666575" y="763340"/>
                    </a:cubicBezTo>
                    <a:cubicBezTo>
                      <a:pt x="649935" y="775303"/>
                      <a:pt x="631485" y="784524"/>
                      <a:pt x="611930" y="790667"/>
                    </a:cubicBezTo>
                    <a:cubicBezTo>
                      <a:pt x="580812" y="800897"/>
                      <a:pt x="548294" y="806231"/>
                      <a:pt x="515537" y="806479"/>
                    </a:cubicBezTo>
                    <a:cubicBezTo>
                      <a:pt x="356727" y="806498"/>
                      <a:pt x="197917" y="806507"/>
                      <a:pt x="39116" y="806507"/>
                    </a:cubicBezTo>
                    <a:cubicBezTo>
                      <a:pt x="35477" y="806507"/>
                      <a:pt x="31848" y="806507"/>
                      <a:pt x="27848" y="806507"/>
                    </a:cubicBezTo>
                    <a:lnTo>
                      <a:pt x="27848" y="578774"/>
                    </a:lnTo>
                    <a:cubicBezTo>
                      <a:pt x="30296" y="577421"/>
                      <a:pt x="33144" y="577002"/>
                      <a:pt x="35877" y="577583"/>
                    </a:cubicBezTo>
                    <a:cubicBezTo>
                      <a:pt x="150149" y="577545"/>
                      <a:pt x="264420" y="577574"/>
                      <a:pt x="378682" y="577679"/>
                    </a:cubicBezTo>
                    <a:cubicBezTo>
                      <a:pt x="390055" y="578155"/>
                      <a:pt x="401351" y="575678"/>
                      <a:pt x="411477" y="570487"/>
                    </a:cubicBezTo>
                    <a:cubicBezTo>
                      <a:pt x="419744" y="565544"/>
                      <a:pt x="425164" y="556952"/>
                      <a:pt x="426078" y="547361"/>
                    </a:cubicBezTo>
                    <a:cubicBezTo>
                      <a:pt x="430441" y="525577"/>
                      <a:pt x="416334" y="504384"/>
                      <a:pt x="394560" y="500012"/>
                    </a:cubicBezTo>
                    <a:cubicBezTo>
                      <a:pt x="391579" y="499412"/>
                      <a:pt x="388540" y="499155"/>
                      <a:pt x="385511" y="499240"/>
                    </a:cubicBezTo>
                    <a:cubicBezTo>
                      <a:pt x="342049" y="498240"/>
                      <a:pt x="298548" y="499145"/>
                      <a:pt x="255076" y="498812"/>
                    </a:cubicBezTo>
                    <a:cubicBezTo>
                      <a:pt x="224158" y="498688"/>
                      <a:pt x="193364" y="495030"/>
                      <a:pt x="163284" y="487906"/>
                    </a:cubicBezTo>
                    <a:cubicBezTo>
                      <a:pt x="145100" y="482914"/>
                      <a:pt x="127546" y="475876"/>
                      <a:pt x="110953" y="466931"/>
                    </a:cubicBezTo>
                    <a:cubicBezTo>
                      <a:pt x="89017" y="455682"/>
                      <a:pt x="69586" y="440090"/>
                      <a:pt x="53851" y="421107"/>
                    </a:cubicBezTo>
                    <a:cubicBezTo>
                      <a:pt x="40754" y="405086"/>
                      <a:pt x="29991" y="387293"/>
                      <a:pt x="21895" y="368262"/>
                    </a:cubicBezTo>
                    <a:cubicBezTo>
                      <a:pt x="10493" y="340754"/>
                      <a:pt x="3635" y="311588"/>
                      <a:pt x="1606" y="281880"/>
                    </a:cubicBezTo>
                    <a:cubicBezTo>
                      <a:pt x="-2004" y="244742"/>
                      <a:pt x="482" y="207270"/>
                      <a:pt x="8950" y="170923"/>
                    </a:cubicBezTo>
                    <a:cubicBezTo>
                      <a:pt x="13284" y="153426"/>
                      <a:pt x="19389" y="136404"/>
                      <a:pt x="27181" y="120145"/>
                    </a:cubicBezTo>
                    <a:cubicBezTo>
                      <a:pt x="42021" y="86913"/>
                      <a:pt x="66434" y="58871"/>
                      <a:pt x="97294" y="39583"/>
                    </a:cubicBezTo>
                    <a:cubicBezTo>
                      <a:pt x="114830" y="26981"/>
                      <a:pt x="134747" y="18113"/>
                      <a:pt x="155835" y="13503"/>
                    </a:cubicBezTo>
                    <a:cubicBezTo>
                      <a:pt x="170237" y="11084"/>
                      <a:pt x="184305" y="6388"/>
                      <a:pt x="198907" y="4026"/>
                    </a:cubicBezTo>
                    <a:cubicBezTo>
                      <a:pt x="214042" y="1578"/>
                      <a:pt x="229349" y="330"/>
                      <a:pt x="244684" y="302"/>
                    </a:cubicBezTo>
                    <a:cubicBezTo>
                      <a:pt x="397389" y="-13"/>
                      <a:pt x="550103" y="-79"/>
                      <a:pt x="702808" y="92"/>
                    </a:cubicBezTo>
                    <a:cubicBezTo>
                      <a:pt x="705180" y="92"/>
                      <a:pt x="707542" y="92"/>
                      <a:pt x="710857" y="92"/>
                    </a:cubicBezTo>
                    <a:close/>
                  </a:path>
                </a:pathLst>
              </a:custGeom>
              <a:solidFill>
                <a:srgbClr val="0B32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  <p:sp>
            <p:nvSpPr>
              <p:cNvPr id="147" name="Forma libre 146">
                <a:extLst>
                  <a:ext uri="{FF2B5EF4-FFF2-40B4-BE49-F238E27FC236}">
                    <a16:creationId xmlns:a16="http://schemas.microsoft.com/office/drawing/2014/main" id="{BC33E330-772A-E181-08E1-B2849FF5E9AF}"/>
                  </a:ext>
                </a:extLst>
              </p:cNvPr>
              <p:cNvSpPr/>
              <p:nvPr/>
            </p:nvSpPr>
            <p:spPr>
              <a:xfrm>
                <a:off x="5048184" y="3025921"/>
                <a:ext cx="341908" cy="805834"/>
              </a:xfrm>
              <a:custGeom>
                <a:avLst/>
                <a:gdLst>
                  <a:gd name="connsiteX0" fmla="*/ 341908 w 341908"/>
                  <a:gd name="connsiteY0" fmla="*/ 0 h 805834"/>
                  <a:gd name="connsiteX1" fmla="*/ 341908 w 341908"/>
                  <a:gd name="connsiteY1" fmla="*/ 805834 h 805834"/>
                  <a:gd name="connsiteX2" fmla="*/ 1117 w 341908"/>
                  <a:gd name="connsiteY2" fmla="*/ 805834 h 805834"/>
                  <a:gd name="connsiteX3" fmla="*/ 305 w 341908"/>
                  <a:gd name="connsiteY3" fmla="*/ 796633 h 805834"/>
                  <a:gd name="connsiteX4" fmla="*/ 282 w 341908"/>
                  <a:gd name="connsiteY4" fmla="*/ 344976 h 805834"/>
                  <a:gd name="connsiteX5" fmla="*/ 12888 w 341908"/>
                  <a:gd name="connsiteY5" fmla="*/ 251917 h 805834"/>
                  <a:gd name="connsiteX6" fmla="*/ 31486 w 341908"/>
                  <a:gd name="connsiteY6" fmla="*/ 201139 h 805834"/>
                  <a:gd name="connsiteX7" fmla="*/ 54651 w 341908"/>
                  <a:gd name="connsiteY7" fmla="*/ 158448 h 805834"/>
                  <a:gd name="connsiteX8" fmla="*/ 99591 w 341908"/>
                  <a:gd name="connsiteY8" fmla="*/ 101108 h 805834"/>
                  <a:gd name="connsiteX9" fmla="*/ 134528 w 341908"/>
                  <a:gd name="connsiteY9" fmla="*/ 70809 h 805834"/>
                  <a:gd name="connsiteX10" fmla="*/ 187473 w 341908"/>
                  <a:gd name="connsiteY10" fmla="*/ 37071 h 805834"/>
                  <a:gd name="connsiteX11" fmla="*/ 269633 w 341908"/>
                  <a:gd name="connsiteY11" fmla="*/ 8220 h 805834"/>
                  <a:gd name="connsiteX12" fmla="*/ 341908 w 341908"/>
                  <a:gd name="connsiteY12" fmla="*/ 0 h 805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41908" h="805834">
                    <a:moveTo>
                      <a:pt x="341908" y="0"/>
                    </a:moveTo>
                    <a:lnTo>
                      <a:pt x="341908" y="805834"/>
                    </a:lnTo>
                    <a:lnTo>
                      <a:pt x="1117" y="805834"/>
                    </a:lnTo>
                    <a:cubicBezTo>
                      <a:pt x="-10" y="802910"/>
                      <a:pt x="-291" y="799719"/>
                      <a:pt x="305" y="796633"/>
                    </a:cubicBezTo>
                    <a:cubicBezTo>
                      <a:pt x="253" y="646081"/>
                      <a:pt x="245" y="495529"/>
                      <a:pt x="282" y="344976"/>
                    </a:cubicBezTo>
                    <a:cubicBezTo>
                      <a:pt x="728" y="313563"/>
                      <a:pt x="4961" y="282321"/>
                      <a:pt x="12888" y="251917"/>
                    </a:cubicBezTo>
                    <a:cubicBezTo>
                      <a:pt x="17742" y="234534"/>
                      <a:pt x="23960" y="217551"/>
                      <a:pt x="31486" y="201139"/>
                    </a:cubicBezTo>
                    <a:cubicBezTo>
                      <a:pt x="38336" y="186452"/>
                      <a:pt x="46072" y="172193"/>
                      <a:pt x="54651" y="158448"/>
                    </a:cubicBezTo>
                    <a:cubicBezTo>
                      <a:pt x="67416" y="137693"/>
                      <a:pt x="82492" y="118462"/>
                      <a:pt x="99591" y="101108"/>
                    </a:cubicBezTo>
                    <a:cubicBezTo>
                      <a:pt x="110466" y="90154"/>
                      <a:pt x="122144" y="80029"/>
                      <a:pt x="134528" y="70809"/>
                    </a:cubicBezTo>
                    <a:cubicBezTo>
                      <a:pt x="150922" y="57712"/>
                      <a:pt x="168672" y="46396"/>
                      <a:pt x="187473" y="37071"/>
                    </a:cubicBezTo>
                    <a:cubicBezTo>
                      <a:pt x="213383" y="23679"/>
                      <a:pt x="241037" y="13964"/>
                      <a:pt x="269633" y="8220"/>
                    </a:cubicBezTo>
                    <a:cubicBezTo>
                      <a:pt x="293469" y="3562"/>
                      <a:pt x="317637" y="819"/>
                      <a:pt x="341908" y="0"/>
                    </a:cubicBezTo>
                    <a:close/>
                  </a:path>
                </a:pathLst>
              </a:custGeom>
              <a:solidFill>
                <a:srgbClr val="0B32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  <p:sp>
            <p:nvSpPr>
              <p:cNvPr id="148" name="Forma libre 147">
                <a:extLst>
                  <a:ext uri="{FF2B5EF4-FFF2-40B4-BE49-F238E27FC236}">
                    <a16:creationId xmlns:a16="http://schemas.microsoft.com/office/drawing/2014/main" id="{A7FC5E66-5C75-8DD8-E20F-0D866454D328}"/>
                  </a:ext>
                </a:extLst>
              </p:cNvPr>
              <p:cNvSpPr/>
              <p:nvPr/>
            </p:nvSpPr>
            <p:spPr>
              <a:xfrm>
                <a:off x="5048888" y="3025730"/>
                <a:ext cx="205466" cy="205654"/>
              </a:xfrm>
              <a:custGeom>
                <a:avLst/>
                <a:gdLst>
                  <a:gd name="connsiteX0" fmla="*/ 205467 w 205466"/>
                  <a:gd name="connsiteY0" fmla="*/ 1829 h 205654"/>
                  <a:gd name="connsiteX1" fmla="*/ 0 w 205466"/>
                  <a:gd name="connsiteY1" fmla="*/ 205654 h 205654"/>
                  <a:gd name="connsiteX2" fmla="*/ 0 w 205466"/>
                  <a:gd name="connsiteY2" fmla="*/ 107718 h 205654"/>
                  <a:gd name="connsiteX3" fmla="*/ 37725 w 205466"/>
                  <a:gd name="connsiteY3" fmla="*/ 61255 h 205654"/>
                  <a:gd name="connsiteX4" fmla="*/ 67059 w 205466"/>
                  <a:gd name="connsiteY4" fmla="*/ 32842 h 205654"/>
                  <a:gd name="connsiteX5" fmla="*/ 104592 w 205466"/>
                  <a:gd name="connsiteY5" fmla="*/ 3019 h 205654"/>
                  <a:gd name="connsiteX6" fmla="*/ 111648 w 205466"/>
                  <a:gd name="connsiteY6" fmla="*/ 0 h 205654"/>
                  <a:gd name="connsiteX7" fmla="*/ 204596 w 205466"/>
                  <a:gd name="connsiteY7" fmla="*/ 86 h 205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5466" h="205654">
                    <a:moveTo>
                      <a:pt x="205467" y="1829"/>
                    </a:moveTo>
                    <a:cubicBezTo>
                      <a:pt x="112483" y="39567"/>
                      <a:pt x="38486" y="112976"/>
                      <a:pt x="0" y="205654"/>
                    </a:cubicBezTo>
                    <a:lnTo>
                      <a:pt x="0" y="107718"/>
                    </a:lnTo>
                    <a:cubicBezTo>
                      <a:pt x="12202" y="92440"/>
                      <a:pt x="23793" y="75724"/>
                      <a:pt x="37725" y="61255"/>
                    </a:cubicBezTo>
                    <a:cubicBezTo>
                      <a:pt x="47090" y="51530"/>
                      <a:pt x="56739" y="41805"/>
                      <a:pt x="67059" y="32842"/>
                    </a:cubicBezTo>
                    <a:cubicBezTo>
                      <a:pt x="79158" y="22327"/>
                      <a:pt x="91912" y="12735"/>
                      <a:pt x="104592" y="3019"/>
                    </a:cubicBezTo>
                    <a:cubicBezTo>
                      <a:pt x="106509" y="1200"/>
                      <a:pt x="109012" y="133"/>
                      <a:pt x="111648" y="0"/>
                    </a:cubicBezTo>
                    <a:cubicBezTo>
                      <a:pt x="142630" y="133"/>
                      <a:pt x="173613" y="86"/>
                      <a:pt x="204596" y="86"/>
                    </a:cubicBezTo>
                    <a:close/>
                  </a:path>
                </a:pathLst>
              </a:custGeom>
              <a:solidFill>
                <a:srgbClr val="E73A3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  <p:sp>
            <p:nvSpPr>
              <p:cNvPr id="149" name="Forma libre 148">
                <a:extLst>
                  <a:ext uri="{FF2B5EF4-FFF2-40B4-BE49-F238E27FC236}">
                    <a16:creationId xmlns:a16="http://schemas.microsoft.com/office/drawing/2014/main" id="{273320B3-3FD6-A5B5-E9D7-F52B7A8CA0B2}"/>
                  </a:ext>
                </a:extLst>
              </p:cNvPr>
              <p:cNvSpPr/>
              <p:nvPr/>
            </p:nvSpPr>
            <p:spPr>
              <a:xfrm>
                <a:off x="5048848" y="3025814"/>
                <a:ext cx="66734" cy="66743"/>
              </a:xfrm>
              <a:custGeom>
                <a:avLst/>
                <a:gdLst>
                  <a:gd name="connsiteX0" fmla="*/ 0 w 66734"/>
                  <a:gd name="connsiteY0" fmla="*/ 516 h 66743"/>
                  <a:gd name="connsiteX1" fmla="*/ 4738 w 66734"/>
                  <a:gd name="connsiteY1" fmla="*/ 21 h 66743"/>
                  <a:gd name="connsiteX2" fmla="*/ 66735 w 66734"/>
                  <a:gd name="connsiteY2" fmla="*/ 2 h 66743"/>
                  <a:gd name="connsiteX3" fmla="*/ 0 w 66734"/>
                  <a:gd name="connsiteY3" fmla="*/ 66743 h 66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734" h="66743">
                    <a:moveTo>
                      <a:pt x="0" y="516"/>
                    </a:moveTo>
                    <a:cubicBezTo>
                      <a:pt x="2154" y="278"/>
                      <a:pt x="3445" y="21"/>
                      <a:pt x="4738" y="21"/>
                    </a:cubicBezTo>
                    <a:cubicBezTo>
                      <a:pt x="24565" y="-8"/>
                      <a:pt x="44391" y="2"/>
                      <a:pt x="66735" y="2"/>
                    </a:cubicBezTo>
                    <a:cubicBezTo>
                      <a:pt x="42624" y="20299"/>
                      <a:pt x="20298" y="42635"/>
                      <a:pt x="0" y="66743"/>
                    </a:cubicBezTo>
                    <a:close/>
                  </a:path>
                </a:pathLst>
              </a:custGeom>
              <a:solidFill>
                <a:srgbClr val="E73A3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</p:grpSp>
      </p:grpSp>
      <p:grpSp>
        <p:nvGrpSpPr>
          <p:cNvPr id="119" name="Grupo 118">
            <a:extLst>
              <a:ext uri="{FF2B5EF4-FFF2-40B4-BE49-F238E27FC236}">
                <a16:creationId xmlns:a16="http://schemas.microsoft.com/office/drawing/2014/main" id="{35F83F52-0B23-0F85-9BDE-F88783F3BFCD}"/>
              </a:ext>
            </a:extLst>
          </p:cNvPr>
          <p:cNvGrpSpPr/>
          <p:nvPr/>
        </p:nvGrpSpPr>
        <p:grpSpPr>
          <a:xfrm>
            <a:off x="5250832" y="1776981"/>
            <a:ext cx="634178" cy="426208"/>
            <a:chOff x="5250832" y="1752532"/>
            <a:chExt cx="634178" cy="426208"/>
          </a:xfrm>
        </p:grpSpPr>
        <p:grpSp>
          <p:nvGrpSpPr>
            <p:cNvPr id="153" name="Gráfico 37">
              <a:extLst>
                <a:ext uri="{FF2B5EF4-FFF2-40B4-BE49-F238E27FC236}">
                  <a16:creationId xmlns:a16="http://schemas.microsoft.com/office/drawing/2014/main" id="{EDA18C21-73C2-83DC-18B0-17519EDF5295}"/>
                </a:ext>
              </a:extLst>
            </p:cNvPr>
            <p:cNvGrpSpPr/>
            <p:nvPr/>
          </p:nvGrpSpPr>
          <p:grpSpPr>
            <a:xfrm>
              <a:off x="5250832" y="1752532"/>
              <a:ext cx="634178" cy="151889"/>
              <a:chOff x="1136650" y="2241550"/>
              <a:chExt cx="7770161" cy="1860997"/>
            </a:xfrm>
            <a:solidFill>
              <a:srgbClr val="0066FF"/>
            </a:solidFill>
          </p:grpSpPr>
          <p:grpSp>
            <p:nvGrpSpPr>
              <p:cNvPr id="155" name="Gráfico 37">
                <a:extLst>
                  <a:ext uri="{FF2B5EF4-FFF2-40B4-BE49-F238E27FC236}">
                    <a16:creationId xmlns:a16="http://schemas.microsoft.com/office/drawing/2014/main" id="{BD32B6ED-026E-7F0E-3C51-2E1C777EE503}"/>
                  </a:ext>
                </a:extLst>
              </p:cNvPr>
              <p:cNvGrpSpPr/>
              <p:nvPr/>
            </p:nvGrpSpPr>
            <p:grpSpPr>
              <a:xfrm>
                <a:off x="1136650" y="2241550"/>
                <a:ext cx="1864779" cy="1860997"/>
                <a:chOff x="1136650" y="2241550"/>
                <a:chExt cx="1864779" cy="1860997"/>
              </a:xfrm>
              <a:solidFill>
                <a:srgbClr val="0066FF"/>
              </a:solidFill>
            </p:grpSpPr>
            <p:sp>
              <p:nvSpPr>
                <p:cNvPr id="171" name="Forma libre 170">
                  <a:extLst>
                    <a:ext uri="{FF2B5EF4-FFF2-40B4-BE49-F238E27FC236}">
                      <a16:creationId xmlns:a16="http://schemas.microsoft.com/office/drawing/2014/main" id="{3350CF18-9072-13C4-FCF5-588DCD9C0D5C}"/>
                    </a:ext>
                  </a:extLst>
                </p:cNvPr>
                <p:cNvSpPr/>
                <p:nvPr/>
              </p:nvSpPr>
              <p:spPr>
                <a:xfrm>
                  <a:off x="1136650" y="2241550"/>
                  <a:ext cx="556450" cy="555321"/>
                </a:xfrm>
                <a:custGeom>
                  <a:avLst/>
                  <a:gdLst>
                    <a:gd name="connsiteX0" fmla="*/ 556450 w 556450"/>
                    <a:gd name="connsiteY0" fmla="*/ 277661 h 555321"/>
                    <a:gd name="connsiteX1" fmla="*/ 278225 w 556450"/>
                    <a:gd name="connsiteY1" fmla="*/ 0 h 555321"/>
                    <a:gd name="connsiteX2" fmla="*/ 0 w 556450"/>
                    <a:gd name="connsiteY2" fmla="*/ 277661 h 555321"/>
                    <a:gd name="connsiteX3" fmla="*/ 278225 w 556450"/>
                    <a:gd name="connsiteY3" fmla="*/ 555322 h 555321"/>
                    <a:gd name="connsiteX4" fmla="*/ 556450 w 556450"/>
                    <a:gd name="connsiteY4" fmla="*/ 277661 h 55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6450" h="555321">
                      <a:moveTo>
                        <a:pt x="556450" y="277661"/>
                      </a:moveTo>
                      <a:cubicBezTo>
                        <a:pt x="556450" y="124315"/>
                        <a:pt x="431883" y="0"/>
                        <a:pt x="278225" y="0"/>
                      </a:cubicBezTo>
                      <a:cubicBezTo>
                        <a:pt x="124567" y="0"/>
                        <a:pt x="0" y="124315"/>
                        <a:pt x="0" y="277661"/>
                      </a:cubicBezTo>
                      <a:cubicBezTo>
                        <a:pt x="0" y="431007"/>
                        <a:pt x="124567" y="555322"/>
                        <a:pt x="278225" y="555322"/>
                      </a:cubicBezTo>
                      <a:cubicBezTo>
                        <a:pt x="431883" y="555322"/>
                        <a:pt x="556450" y="431007"/>
                        <a:pt x="556450" y="277661"/>
                      </a:cubicBezTo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216" name="Forma libre 215">
                  <a:extLst>
                    <a:ext uri="{FF2B5EF4-FFF2-40B4-BE49-F238E27FC236}">
                      <a16:creationId xmlns:a16="http://schemas.microsoft.com/office/drawing/2014/main" id="{CFFE8B15-C960-27E6-FB62-B6D5BE4E993E}"/>
                    </a:ext>
                  </a:extLst>
                </p:cNvPr>
                <p:cNvSpPr/>
                <p:nvPr/>
              </p:nvSpPr>
              <p:spPr>
                <a:xfrm>
                  <a:off x="1790814" y="2241550"/>
                  <a:ext cx="556450" cy="555321"/>
                </a:xfrm>
                <a:custGeom>
                  <a:avLst/>
                  <a:gdLst>
                    <a:gd name="connsiteX0" fmla="*/ 556450 w 556450"/>
                    <a:gd name="connsiteY0" fmla="*/ 277661 h 555321"/>
                    <a:gd name="connsiteX1" fmla="*/ 278225 w 556450"/>
                    <a:gd name="connsiteY1" fmla="*/ 0 h 555321"/>
                    <a:gd name="connsiteX2" fmla="*/ 0 w 556450"/>
                    <a:gd name="connsiteY2" fmla="*/ 277661 h 555321"/>
                    <a:gd name="connsiteX3" fmla="*/ 278225 w 556450"/>
                    <a:gd name="connsiteY3" fmla="*/ 555322 h 555321"/>
                    <a:gd name="connsiteX4" fmla="*/ 556450 w 556450"/>
                    <a:gd name="connsiteY4" fmla="*/ 277661 h 55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6450" h="555321">
                      <a:moveTo>
                        <a:pt x="556450" y="277661"/>
                      </a:moveTo>
                      <a:cubicBezTo>
                        <a:pt x="556450" y="124315"/>
                        <a:pt x="431883" y="0"/>
                        <a:pt x="278225" y="0"/>
                      </a:cubicBezTo>
                      <a:cubicBezTo>
                        <a:pt x="124567" y="0"/>
                        <a:pt x="0" y="124315"/>
                        <a:pt x="0" y="277661"/>
                      </a:cubicBezTo>
                      <a:cubicBezTo>
                        <a:pt x="0" y="431007"/>
                        <a:pt x="124567" y="555322"/>
                        <a:pt x="278225" y="555322"/>
                      </a:cubicBezTo>
                      <a:cubicBezTo>
                        <a:pt x="431883" y="555322"/>
                        <a:pt x="556450" y="431007"/>
                        <a:pt x="556450" y="277661"/>
                      </a:cubicBezTo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217" name="Forma libre 216">
                  <a:extLst>
                    <a:ext uri="{FF2B5EF4-FFF2-40B4-BE49-F238E27FC236}">
                      <a16:creationId xmlns:a16="http://schemas.microsoft.com/office/drawing/2014/main" id="{DF00CA9F-1B00-8DA5-8BA8-C6913EA9CFB5}"/>
                    </a:ext>
                  </a:extLst>
                </p:cNvPr>
                <p:cNvSpPr/>
                <p:nvPr/>
              </p:nvSpPr>
              <p:spPr>
                <a:xfrm>
                  <a:off x="2444979" y="2241550"/>
                  <a:ext cx="556450" cy="555321"/>
                </a:xfrm>
                <a:custGeom>
                  <a:avLst/>
                  <a:gdLst>
                    <a:gd name="connsiteX0" fmla="*/ 556450 w 556450"/>
                    <a:gd name="connsiteY0" fmla="*/ 277661 h 555321"/>
                    <a:gd name="connsiteX1" fmla="*/ 278225 w 556450"/>
                    <a:gd name="connsiteY1" fmla="*/ 0 h 555321"/>
                    <a:gd name="connsiteX2" fmla="*/ 0 w 556450"/>
                    <a:gd name="connsiteY2" fmla="*/ 277661 h 555321"/>
                    <a:gd name="connsiteX3" fmla="*/ 278225 w 556450"/>
                    <a:gd name="connsiteY3" fmla="*/ 555322 h 555321"/>
                    <a:gd name="connsiteX4" fmla="*/ 556450 w 556450"/>
                    <a:gd name="connsiteY4" fmla="*/ 277661 h 55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6450" h="555321">
                      <a:moveTo>
                        <a:pt x="556450" y="277661"/>
                      </a:moveTo>
                      <a:cubicBezTo>
                        <a:pt x="556450" y="124315"/>
                        <a:pt x="431883" y="0"/>
                        <a:pt x="278225" y="0"/>
                      </a:cubicBezTo>
                      <a:cubicBezTo>
                        <a:pt x="124567" y="0"/>
                        <a:pt x="0" y="124315"/>
                        <a:pt x="0" y="277661"/>
                      </a:cubicBezTo>
                      <a:cubicBezTo>
                        <a:pt x="0" y="431007"/>
                        <a:pt x="124567" y="555322"/>
                        <a:pt x="278225" y="555322"/>
                      </a:cubicBezTo>
                      <a:cubicBezTo>
                        <a:pt x="431883" y="555322"/>
                        <a:pt x="556450" y="431007"/>
                        <a:pt x="556450" y="277661"/>
                      </a:cubicBezTo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218" name="Forma libre 217">
                  <a:extLst>
                    <a:ext uri="{FF2B5EF4-FFF2-40B4-BE49-F238E27FC236}">
                      <a16:creationId xmlns:a16="http://schemas.microsoft.com/office/drawing/2014/main" id="{0370015D-CA56-5018-8838-F3BCE6CEFC99}"/>
                    </a:ext>
                  </a:extLst>
                </p:cNvPr>
                <p:cNvSpPr/>
                <p:nvPr/>
              </p:nvSpPr>
              <p:spPr>
                <a:xfrm>
                  <a:off x="1790814" y="2894387"/>
                  <a:ext cx="556450" cy="555321"/>
                </a:xfrm>
                <a:custGeom>
                  <a:avLst/>
                  <a:gdLst>
                    <a:gd name="connsiteX0" fmla="*/ 556450 w 556450"/>
                    <a:gd name="connsiteY0" fmla="*/ 277661 h 555321"/>
                    <a:gd name="connsiteX1" fmla="*/ 278225 w 556450"/>
                    <a:gd name="connsiteY1" fmla="*/ 0 h 555321"/>
                    <a:gd name="connsiteX2" fmla="*/ 0 w 556450"/>
                    <a:gd name="connsiteY2" fmla="*/ 277661 h 555321"/>
                    <a:gd name="connsiteX3" fmla="*/ 278225 w 556450"/>
                    <a:gd name="connsiteY3" fmla="*/ 555322 h 555321"/>
                    <a:gd name="connsiteX4" fmla="*/ 556450 w 556450"/>
                    <a:gd name="connsiteY4" fmla="*/ 277661 h 55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6450" h="555321">
                      <a:moveTo>
                        <a:pt x="556450" y="277661"/>
                      </a:moveTo>
                      <a:cubicBezTo>
                        <a:pt x="556450" y="124315"/>
                        <a:pt x="431883" y="0"/>
                        <a:pt x="278225" y="0"/>
                      </a:cubicBezTo>
                      <a:cubicBezTo>
                        <a:pt x="124567" y="0"/>
                        <a:pt x="0" y="124315"/>
                        <a:pt x="0" y="277661"/>
                      </a:cubicBezTo>
                      <a:cubicBezTo>
                        <a:pt x="0" y="431007"/>
                        <a:pt x="124567" y="555322"/>
                        <a:pt x="278225" y="555322"/>
                      </a:cubicBezTo>
                      <a:cubicBezTo>
                        <a:pt x="431883" y="555322"/>
                        <a:pt x="556450" y="431007"/>
                        <a:pt x="556450" y="277661"/>
                      </a:cubicBezTo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219" name="Forma libre 218">
                  <a:extLst>
                    <a:ext uri="{FF2B5EF4-FFF2-40B4-BE49-F238E27FC236}">
                      <a16:creationId xmlns:a16="http://schemas.microsoft.com/office/drawing/2014/main" id="{257884EB-B5D1-AB48-1303-011F37E75F82}"/>
                    </a:ext>
                  </a:extLst>
                </p:cNvPr>
                <p:cNvSpPr/>
                <p:nvPr/>
              </p:nvSpPr>
              <p:spPr>
                <a:xfrm>
                  <a:off x="1790814" y="3547225"/>
                  <a:ext cx="556450" cy="555321"/>
                </a:xfrm>
                <a:custGeom>
                  <a:avLst/>
                  <a:gdLst>
                    <a:gd name="connsiteX0" fmla="*/ 556450 w 556450"/>
                    <a:gd name="connsiteY0" fmla="*/ 277661 h 555321"/>
                    <a:gd name="connsiteX1" fmla="*/ 278225 w 556450"/>
                    <a:gd name="connsiteY1" fmla="*/ 0 h 555321"/>
                    <a:gd name="connsiteX2" fmla="*/ 0 w 556450"/>
                    <a:gd name="connsiteY2" fmla="*/ 277661 h 555321"/>
                    <a:gd name="connsiteX3" fmla="*/ 278225 w 556450"/>
                    <a:gd name="connsiteY3" fmla="*/ 555322 h 555321"/>
                    <a:gd name="connsiteX4" fmla="*/ 556450 w 556450"/>
                    <a:gd name="connsiteY4" fmla="*/ 277661 h 55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6450" h="555321">
                      <a:moveTo>
                        <a:pt x="556450" y="277661"/>
                      </a:moveTo>
                      <a:cubicBezTo>
                        <a:pt x="556450" y="124315"/>
                        <a:pt x="431883" y="0"/>
                        <a:pt x="278225" y="0"/>
                      </a:cubicBezTo>
                      <a:cubicBezTo>
                        <a:pt x="124567" y="0"/>
                        <a:pt x="0" y="124315"/>
                        <a:pt x="0" y="277661"/>
                      </a:cubicBezTo>
                      <a:cubicBezTo>
                        <a:pt x="0" y="431007"/>
                        <a:pt x="124567" y="555322"/>
                        <a:pt x="278225" y="555322"/>
                      </a:cubicBezTo>
                      <a:cubicBezTo>
                        <a:pt x="431883" y="555322"/>
                        <a:pt x="556450" y="431007"/>
                        <a:pt x="556450" y="277661"/>
                      </a:cubicBezTo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</p:grpSp>
          <p:grpSp>
            <p:nvGrpSpPr>
              <p:cNvPr id="156" name="Gráfico 37">
                <a:extLst>
                  <a:ext uri="{FF2B5EF4-FFF2-40B4-BE49-F238E27FC236}">
                    <a16:creationId xmlns:a16="http://schemas.microsoft.com/office/drawing/2014/main" id="{B1011902-73F3-1B27-7DA6-F50A07F82371}"/>
                  </a:ext>
                </a:extLst>
              </p:cNvPr>
              <p:cNvGrpSpPr/>
              <p:nvPr/>
            </p:nvGrpSpPr>
            <p:grpSpPr>
              <a:xfrm>
                <a:off x="3335597" y="2762629"/>
                <a:ext cx="5571214" cy="914866"/>
                <a:chOff x="3335597" y="2762629"/>
                <a:chExt cx="5571214" cy="914866"/>
              </a:xfrm>
              <a:solidFill>
                <a:srgbClr val="0066FF"/>
              </a:solidFill>
            </p:grpSpPr>
            <p:sp>
              <p:nvSpPr>
                <p:cNvPr id="157" name="Forma libre 156">
                  <a:extLst>
                    <a:ext uri="{FF2B5EF4-FFF2-40B4-BE49-F238E27FC236}">
                      <a16:creationId xmlns:a16="http://schemas.microsoft.com/office/drawing/2014/main" id="{907DAD53-9654-281C-DBF7-BACF68527DEB}"/>
                    </a:ext>
                  </a:extLst>
                </p:cNvPr>
                <p:cNvSpPr/>
                <p:nvPr/>
              </p:nvSpPr>
              <p:spPr>
                <a:xfrm>
                  <a:off x="3335597" y="2801337"/>
                  <a:ext cx="678779" cy="862758"/>
                </a:xfrm>
                <a:custGeom>
                  <a:avLst/>
                  <a:gdLst>
                    <a:gd name="connsiteX0" fmla="*/ 258831 w 678779"/>
                    <a:gd name="connsiteY0" fmla="*/ 154091 h 862758"/>
                    <a:gd name="connsiteX1" fmla="*/ 0 w 678779"/>
                    <a:gd name="connsiteY1" fmla="*/ 154091 h 862758"/>
                    <a:gd name="connsiteX2" fmla="*/ 0 w 678779"/>
                    <a:gd name="connsiteY2" fmla="*/ 0 h 862758"/>
                    <a:gd name="connsiteX3" fmla="*/ 678780 w 678779"/>
                    <a:gd name="connsiteY3" fmla="*/ 0 h 862758"/>
                    <a:gd name="connsiteX4" fmla="*/ 678780 w 678779"/>
                    <a:gd name="connsiteY4" fmla="*/ 154091 h 862758"/>
                    <a:gd name="connsiteX5" fmla="*/ 419202 w 678779"/>
                    <a:gd name="connsiteY5" fmla="*/ 154091 h 862758"/>
                    <a:gd name="connsiteX6" fmla="*/ 419202 w 678779"/>
                    <a:gd name="connsiteY6" fmla="*/ 862758 h 862758"/>
                    <a:gd name="connsiteX7" fmla="*/ 258831 w 678779"/>
                    <a:gd name="connsiteY7" fmla="*/ 862758 h 8627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78779" h="862758">
                      <a:moveTo>
                        <a:pt x="258831" y="154091"/>
                      </a:moveTo>
                      <a:lnTo>
                        <a:pt x="0" y="154091"/>
                      </a:lnTo>
                      <a:lnTo>
                        <a:pt x="0" y="0"/>
                      </a:lnTo>
                      <a:lnTo>
                        <a:pt x="678780" y="0"/>
                      </a:lnTo>
                      <a:lnTo>
                        <a:pt x="678780" y="154091"/>
                      </a:lnTo>
                      <a:lnTo>
                        <a:pt x="419202" y="154091"/>
                      </a:lnTo>
                      <a:lnTo>
                        <a:pt x="419202" y="862758"/>
                      </a:lnTo>
                      <a:lnTo>
                        <a:pt x="258831" y="862758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158" name="Forma libre 157">
                  <a:extLst>
                    <a:ext uri="{FF2B5EF4-FFF2-40B4-BE49-F238E27FC236}">
                      <a16:creationId xmlns:a16="http://schemas.microsoft.com/office/drawing/2014/main" id="{60F7445F-44B5-5770-5D53-2FBC85950476}"/>
                    </a:ext>
                  </a:extLst>
                </p:cNvPr>
                <p:cNvSpPr/>
                <p:nvPr/>
              </p:nvSpPr>
              <p:spPr>
                <a:xfrm>
                  <a:off x="3945753" y="3023168"/>
                  <a:ext cx="629549" cy="653582"/>
                </a:xfrm>
                <a:custGeom>
                  <a:avLst/>
                  <a:gdLst>
                    <a:gd name="connsiteX0" fmla="*/ 475146 w 629549"/>
                    <a:gd name="connsiteY0" fmla="*/ 271706 h 653582"/>
                    <a:gd name="connsiteX1" fmla="*/ 320742 w 629549"/>
                    <a:gd name="connsiteY1" fmla="*/ 130270 h 653582"/>
                    <a:gd name="connsiteX2" fmla="*/ 153658 w 629549"/>
                    <a:gd name="connsiteY2" fmla="*/ 271706 h 653582"/>
                    <a:gd name="connsiteX3" fmla="*/ 475146 w 629549"/>
                    <a:gd name="connsiteY3" fmla="*/ 271706 h 653582"/>
                    <a:gd name="connsiteX4" fmla="*/ 610902 w 629549"/>
                    <a:gd name="connsiteY4" fmla="*/ 456317 h 653582"/>
                    <a:gd name="connsiteX5" fmla="*/ 320742 w 629549"/>
                    <a:gd name="connsiteY5" fmla="*/ 653582 h 653582"/>
                    <a:gd name="connsiteX6" fmla="*/ 0 w 629549"/>
                    <a:gd name="connsiteY6" fmla="*/ 326791 h 653582"/>
                    <a:gd name="connsiteX7" fmla="*/ 320742 w 629549"/>
                    <a:gd name="connsiteY7" fmla="*/ 0 h 653582"/>
                    <a:gd name="connsiteX8" fmla="*/ 629549 w 629549"/>
                    <a:gd name="connsiteY8" fmla="*/ 314136 h 653582"/>
                    <a:gd name="connsiteX9" fmla="*/ 625820 w 629549"/>
                    <a:gd name="connsiteY9" fmla="*/ 358800 h 653582"/>
                    <a:gd name="connsiteX10" fmla="*/ 623582 w 629549"/>
                    <a:gd name="connsiteY10" fmla="*/ 375921 h 653582"/>
                    <a:gd name="connsiteX11" fmla="*/ 154404 w 629549"/>
                    <a:gd name="connsiteY11" fmla="*/ 375921 h 653582"/>
                    <a:gd name="connsiteX12" fmla="*/ 321488 w 629549"/>
                    <a:gd name="connsiteY12" fmla="*/ 524057 h 653582"/>
                    <a:gd name="connsiteX13" fmla="*/ 451277 w 629549"/>
                    <a:gd name="connsiteY13" fmla="*/ 456317 h 653582"/>
                    <a:gd name="connsiteX14" fmla="*/ 610902 w 629549"/>
                    <a:gd name="connsiteY14" fmla="*/ 456317 h 653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9549" h="653582">
                      <a:moveTo>
                        <a:pt x="475146" y="271706"/>
                      </a:moveTo>
                      <a:cubicBezTo>
                        <a:pt x="461719" y="191310"/>
                        <a:pt x="408760" y="130270"/>
                        <a:pt x="320742" y="130270"/>
                      </a:cubicBezTo>
                      <a:cubicBezTo>
                        <a:pt x="226757" y="130270"/>
                        <a:pt x="172306" y="192055"/>
                        <a:pt x="153658" y="271706"/>
                      </a:cubicBezTo>
                      <a:lnTo>
                        <a:pt x="475146" y="271706"/>
                      </a:lnTo>
                      <a:close/>
                      <a:moveTo>
                        <a:pt x="610902" y="456317"/>
                      </a:moveTo>
                      <a:cubicBezTo>
                        <a:pt x="597475" y="505447"/>
                        <a:pt x="519155" y="653582"/>
                        <a:pt x="320742" y="653582"/>
                      </a:cubicBezTo>
                      <a:cubicBezTo>
                        <a:pt x="135756" y="653582"/>
                        <a:pt x="0" y="518102"/>
                        <a:pt x="0" y="326791"/>
                      </a:cubicBezTo>
                      <a:cubicBezTo>
                        <a:pt x="0" y="135481"/>
                        <a:pt x="135756" y="0"/>
                        <a:pt x="320742" y="0"/>
                      </a:cubicBezTo>
                      <a:cubicBezTo>
                        <a:pt x="493793" y="0"/>
                        <a:pt x="629549" y="135481"/>
                        <a:pt x="629549" y="314136"/>
                      </a:cubicBezTo>
                      <a:cubicBezTo>
                        <a:pt x="629549" y="332746"/>
                        <a:pt x="627312" y="347634"/>
                        <a:pt x="625820" y="358800"/>
                      </a:cubicBezTo>
                      <a:lnTo>
                        <a:pt x="623582" y="375921"/>
                      </a:lnTo>
                      <a:lnTo>
                        <a:pt x="154404" y="375921"/>
                      </a:lnTo>
                      <a:cubicBezTo>
                        <a:pt x="167830" y="463760"/>
                        <a:pt x="233470" y="524057"/>
                        <a:pt x="321488" y="524057"/>
                      </a:cubicBezTo>
                      <a:cubicBezTo>
                        <a:pt x="394587" y="524057"/>
                        <a:pt x="438596" y="482370"/>
                        <a:pt x="451277" y="456317"/>
                      </a:cubicBezTo>
                      <a:lnTo>
                        <a:pt x="610902" y="456317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159" name="Forma libre 158">
                  <a:extLst>
                    <a:ext uri="{FF2B5EF4-FFF2-40B4-BE49-F238E27FC236}">
                      <a16:creationId xmlns:a16="http://schemas.microsoft.com/office/drawing/2014/main" id="{57F88C0D-31DE-773C-C742-0DB862CD5DA9}"/>
                    </a:ext>
                  </a:extLst>
                </p:cNvPr>
                <p:cNvSpPr/>
                <p:nvPr/>
              </p:nvSpPr>
              <p:spPr>
                <a:xfrm>
                  <a:off x="4667796" y="2801337"/>
                  <a:ext cx="154403" cy="862758"/>
                </a:xfrm>
                <a:custGeom>
                  <a:avLst/>
                  <a:gdLst>
                    <a:gd name="connsiteX0" fmla="*/ 0 w 154403"/>
                    <a:gd name="connsiteY0" fmla="*/ 0 h 862758"/>
                    <a:gd name="connsiteX1" fmla="*/ 154404 w 154403"/>
                    <a:gd name="connsiteY1" fmla="*/ 0 h 862758"/>
                    <a:gd name="connsiteX2" fmla="*/ 154404 w 154403"/>
                    <a:gd name="connsiteY2" fmla="*/ 862758 h 862758"/>
                    <a:gd name="connsiteX3" fmla="*/ 0 w 154403"/>
                    <a:gd name="connsiteY3" fmla="*/ 862758 h 8627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4403" h="862758">
                      <a:moveTo>
                        <a:pt x="0" y="0"/>
                      </a:moveTo>
                      <a:lnTo>
                        <a:pt x="154404" y="0"/>
                      </a:lnTo>
                      <a:lnTo>
                        <a:pt x="154404" y="862758"/>
                      </a:lnTo>
                      <a:lnTo>
                        <a:pt x="0" y="862758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160" name="Forma libre 159">
                  <a:extLst>
                    <a:ext uri="{FF2B5EF4-FFF2-40B4-BE49-F238E27FC236}">
                      <a16:creationId xmlns:a16="http://schemas.microsoft.com/office/drawing/2014/main" id="{8C0A4552-C028-FF8F-7170-F29B763539A6}"/>
                    </a:ext>
                  </a:extLst>
                </p:cNvPr>
                <p:cNvSpPr/>
                <p:nvPr/>
              </p:nvSpPr>
              <p:spPr>
                <a:xfrm>
                  <a:off x="4915438" y="3023168"/>
                  <a:ext cx="629549" cy="653582"/>
                </a:xfrm>
                <a:custGeom>
                  <a:avLst/>
                  <a:gdLst>
                    <a:gd name="connsiteX0" fmla="*/ 474400 w 629549"/>
                    <a:gd name="connsiteY0" fmla="*/ 271706 h 653582"/>
                    <a:gd name="connsiteX1" fmla="*/ 319996 w 629549"/>
                    <a:gd name="connsiteY1" fmla="*/ 130270 h 653582"/>
                    <a:gd name="connsiteX2" fmla="*/ 152912 w 629549"/>
                    <a:gd name="connsiteY2" fmla="*/ 271706 h 653582"/>
                    <a:gd name="connsiteX3" fmla="*/ 474400 w 629549"/>
                    <a:gd name="connsiteY3" fmla="*/ 271706 h 653582"/>
                    <a:gd name="connsiteX4" fmla="*/ 610902 w 629549"/>
                    <a:gd name="connsiteY4" fmla="*/ 456317 h 653582"/>
                    <a:gd name="connsiteX5" fmla="*/ 320742 w 629549"/>
                    <a:gd name="connsiteY5" fmla="*/ 653582 h 653582"/>
                    <a:gd name="connsiteX6" fmla="*/ 0 w 629549"/>
                    <a:gd name="connsiteY6" fmla="*/ 326791 h 653582"/>
                    <a:gd name="connsiteX7" fmla="*/ 320742 w 629549"/>
                    <a:gd name="connsiteY7" fmla="*/ 0 h 653582"/>
                    <a:gd name="connsiteX8" fmla="*/ 629549 w 629549"/>
                    <a:gd name="connsiteY8" fmla="*/ 314136 h 653582"/>
                    <a:gd name="connsiteX9" fmla="*/ 625820 w 629549"/>
                    <a:gd name="connsiteY9" fmla="*/ 358800 h 653582"/>
                    <a:gd name="connsiteX10" fmla="*/ 623582 w 629549"/>
                    <a:gd name="connsiteY10" fmla="*/ 375921 h 653582"/>
                    <a:gd name="connsiteX11" fmla="*/ 154404 w 629549"/>
                    <a:gd name="connsiteY11" fmla="*/ 375921 h 653582"/>
                    <a:gd name="connsiteX12" fmla="*/ 321488 w 629549"/>
                    <a:gd name="connsiteY12" fmla="*/ 524057 h 653582"/>
                    <a:gd name="connsiteX13" fmla="*/ 451276 w 629549"/>
                    <a:gd name="connsiteY13" fmla="*/ 456317 h 653582"/>
                    <a:gd name="connsiteX14" fmla="*/ 610902 w 629549"/>
                    <a:gd name="connsiteY14" fmla="*/ 456317 h 653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9549" h="653582">
                      <a:moveTo>
                        <a:pt x="474400" y="271706"/>
                      </a:moveTo>
                      <a:cubicBezTo>
                        <a:pt x="460974" y="191310"/>
                        <a:pt x="408014" y="130270"/>
                        <a:pt x="319996" y="130270"/>
                      </a:cubicBezTo>
                      <a:cubicBezTo>
                        <a:pt x="226011" y="130270"/>
                        <a:pt x="171559" y="192055"/>
                        <a:pt x="152912" y="271706"/>
                      </a:cubicBezTo>
                      <a:lnTo>
                        <a:pt x="474400" y="271706"/>
                      </a:lnTo>
                      <a:close/>
                      <a:moveTo>
                        <a:pt x="610902" y="456317"/>
                      </a:moveTo>
                      <a:cubicBezTo>
                        <a:pt x="597475" y="505447"/>
                        <a:pt x="519155" y="653582"/>
                        <a:pt x="320742" y="653582"/>
                      </a:cubicBezTo>
                      <a:cubicBezTo>
                        <a:pt x="135756" y="653582"/>
                        <a:pt x="0" y="518102"/>
                        <a:pt x="0" y="326791"/>
                      </a:cubicBezTo>
                      <a:cubicBezTo>
                        <a:pt x="0" y="135481"/>
                        <a:pt x="135756" y="0"/>
                        <a:pt x="320742" y="0"/>
                      </a:cubicBezTo>
                      <a:cubicBezTo>
                        <a:pt x="493793" y="0"/>
                        <a:pt x="629549" y="135481"/>
                        <a:pt x="629549" y="314136"/>
                      </a:cubicBezTo>
                      <a:cubicBezTo>
                        <a:pt x="629549" y="332746"/>
                        <a:pt x="627312" y="347634"/>
                        <a:pt x="625820" y="358800"/>
                      </a:cubicBezTo>
                      <a:lnTo>
                        <a:pt x="623582" y="375921"/>
                      </a:lnTo>
                      <a:lnTo>
                        <a:pt x="154404" y="375921"/>
                      </a:lnTo>
                      <a:cubicBezTo>
                        <a:pt x="167830" y="463760"/>
                        <a:pt x="233471" y="524057"/>
                        <a:pt x="321488" y="524057"/>
                      </a:cubicBezTo>
                      <a:cubicBezTo>
                        <a:pt x="394587" y="524057"/>
                        <a:pt x="438596" y="482370"/>
                        <a:pt x="451276" y="456317"/>
                      </a:cubicBezTo>
                      <a:lnTo>
                        <a:pt x="610902" y="456317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161" name="Forma libre 160">
                  <a:extLst>
                    <a:ext uri="{FF2B5EF4-FFF2-40B4-BE49-F238E27FC236}">
                      <a16:creationId xmlns:a16="http://schemas.microsoft.com/office/drawing/2014/main" id="{E24140C0-0182-40B1-240F-ECD855570254}"/>
                    </a:ext>
                  </a:extLst>
                </p:cNvPr>
                <p:cNvSpPr/>
                <p:nvPr/>
              </p:nvSpPr>
              <p:spPr>
                <a:xfrm>
                  <a:off x="5581538" y="2789427"/>
                  <a:ext cx="395333" cy="875412"/>
                </a:xfrm>
                <a:custGeom>
                  <a:avLst/>
                  <a:gdLst>
                    <a:gd name="connsiteX0" fmla="*/ 105173 w 395333"/>
                    <a:gd name="connsiteY0" fmla="*/ 394531 h 875412"/>
                    <a:gd name="connsiteX1" fmla="*/ 0 w 395333"/>
                    <a:gd name="connsiteY1" fmla="*/ 394531 h 875412"/>
                    <a:gd name="connsiteX2" fmla="*/ 0 w 395333"/>
                    <a:gd name="connsiteY2" fmla="*/ 246396 h 875412"/>
                    <a:gd name="connsiteX3" fmla="*/ 105173 w 395333"/>
                    <a:gd name="connsiteY3" fmla="*/ 246396 h 875412"/>
                    <a:gd name="connsiteX4" fmla="*/ 105173 w 395333"/>
                    <a:gd name="connsiteY4" fmla="*/ 154091 h 875412"/>
                    <a:gd name="connsiteX5" fmla="*/ 259577 w 395333"/>
                    <a:gd name="connsiteY5" fmla="*/ 0 h 875412"/>
                    <a:gd name="connsiteX6" fmla="*/ 395333 w 395333"/>
                    <a:gd name="connsiteY6" fmla="*/ 0 h 875412"/>
                    <a:gd name="connsiteX7" fmla="*/ 395333 w 395333"/>
                    <a:gd name="connsiteY7" fmla="*/ 135481 h 875412"/>
                    <a:gd name="connsiteX8" fmla="*/ 302840 w 395333"/>
                    <a:gd name="connsiteY8" fmla="*/ 135481 h 875412"/>
                    <a:gd name="connsiteX9" fmla="*/ 259577 w 395333"/>
                    <a:gd name="connsiteY9" fmla="*/ 178656 h 875412"/>
                    <a:gd name="connsiteX10" fmla="*/ 259577 w 395333"/>
                    <a:gd name="connsiteY10" fmla="*/ 246396 h 875412"/>
                    <a:gd name="connsiteX11" fmla="*/ 395333 w 395333"/>
                    <a:gd name="connsiteY11" fmla="*/ 246396 h 875412"/>
                    <a:gd name="connsiteX12" fmla="*/ 395333 w 395333"/>
                    <a:gd name="connsiteY12" fmla="*/ 394531 h 875412"/>
                    <a:gd name="connsiteX13" fmla="*/ 259577 w 395333"/>
                    <a:gd name="connsiteY13" fmla="*/ 394531 h 875412"/>
                    <a:gd name="connsiteX14" fmla="*/ 259577 w 395333"/>
                    <a:gd name="connsiteY14" fmla="*/ 875413 h 875412"/>
                    <a:gd name="connsiteX15" fmla="*/ 105173 w 395333"/>
                    <a:gd name="connsiteY15" fmla="*/ 875413 h 875412"/>
                    <a:gd name="connsiteX16" fmla="*/ 105173 w 395333"/>
                    <a:gd name="connsiteY16" fmla="*/ 394531 h 875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95333" h="875412">
                      <a:moveTo>
                        <a:pt x="105173" y="394531"/>
                      </a:moveTo>
                      <a:lnTo>
                        <a:pt x="0" y="394531"/>
                      </a:lnTo>
                      <a:lnTo>
                        <a:pt x="0" y="246396"/>
                      </a:lnTo>
                      <a:lnTo>
                        <a:pt x="105173" y="246396"/>
                      </a:lnTo>
                      <a:lnTo>
                        <a:pt x="105173" y="154091"/>
                      </a:lnTo>
                      <a:cubicBezTo>
                        <a:pt x="105173" y="60296"/>
                        <a:pt x="165592" y="0"/>
                        <a:pt x="259577" y="0"/>
                      </a:cubicBezTo>
                      <a:lnTo>
                        <a:pt x="395333" y="0"/>
                      </a:lnTo>
                      <a:lnTo>
                        <a:pt x="395333" y="135481"/>
                      </a:lnTo>
                      <a:lnTo>
                        <a:pt x="302840" y="135481"/>
                      </a:lnTo>
                      <a:cubicBezTo>
                        <a:pt x="278225" y="135481"/>
                        <a:pt x="259577" y="154091"/>
                        <a:pt x="259577" y="178656"/>
                      </a:cubicBezTo>
                      <a:lnTo>
                        <a:pt x="259577" y="246396"/>
                      </a:lnTo>
                      <a:lnTo>
                        <a:pt x="395333" y="246396"/>
                      </a:lnTo>
                      <a:lnTo>
                        <a:pt x="395333" y="394531"/>
                      </a:lnTo>
                      <a:lnTo>
                        <a:pt x="259577" y="394531"/>
                      </a:lnTo>
                      <a:lnTo>
                        <a:pt x="259577" y="875413"/>
                      </a:lnTo>
                      <a:lnTo>
                        <a:pt x="105173" y="875413"/>
                      </a:lnTo>
                      <a:lnTo>
                        <a:pt x="105173" y="394531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162" name="Forma libre 161">
                  <a:extLst>
                    <a:ext uri="{FF2B5EF4-FFF2-40B4-BE49-F238E27FC236}">
                      <a16:creationId xmlns:a16="http://schemas.microsoft.com/office/drawing/2014/main" id="{1C31BE7E-2F3C-7C9C-BEA9-B8C61ABB124A}"/>
                    </a:ext>
                  </a:extLst>
                </p:cNvPr>
                <p:cNvSpPr/>
                <p:nvPr/>
              </p:nvSpPr>
              <p:spPr>
                <a:xfrm>
                  <a:off x="6734717" y="3023168"/>
                  <a:ext cx="580319" cy="640927"/>
                </a:xfrm>
                <a:custGeom>
                  <a:avLst/>
                  <a:gdLst>
                    <a:gd name="connsiteX0" fmla="*/ 0 w 580319"/>
                    <a:gd name="connsiteY0" fmla="*/ 12655 h 640927"/>
                    <a:gd name="connsiteX1" fmla="*/ 141723 w 580319"/>
                    <a:gd name="connsiteY1" fmla="*/ 12655 h 640927"/>
                    <a:gd name="connsiteX2" fmla="*/ 154404 w 580319"/>
                    <a:gd name="connsiteY2" fmla="*/ 74440 h 640927"/>
                    <a:gd name="connsiteX3" fmla="*/ 160371 w 580319"/>
                    <a:gd name="connsiteY3" fmla="*/ 74440 h 640927"/>
                    <a:gd name="connsiteX4" fmla="*/ 202142 w 580319"/>
                    <a:gd name="connsiteY4" fmla="*/ 37220 h 640927"/>
                    <a:gd name="connsiteX5" fmla="*/ 333423 w 580319"/>
                    <a:gd name="connsiteY5" fmla="*/ 0 h 640927"/>
                    <a:gd name="connsiteX6" fmla="*/ 580319 w 580319"/>
                    <a:gd name="connsiteY6" fmla="*/ 265006 h 640927"/>
                    <a:gd name="connsiteX7" fmla="*/ 580319 w 580319"/>
                    <a:gd name="connsiteY7" fmla="*/ 640927 h 640927"/>
                    <a:gd name="connsiteX8" fmla="*/ 425915 w 580319"/>
                    <a:gd name="connsiteY8" fmla="*/ 640927 h 640927"/>
                    <a:gd name="connsiteX9" fmla="*/ 425915 w 580319"/>
                    <a:gd name="connsiteY9" fmla="*/ 277661 h 640927"/>
                    <a:gd name="connsiteX10" fmla="*/ 290160 w 580319"/>
                    <a:gd name="connsiteY10" fmla="*/ 142180 h 640927"/>
                    <a:gd name="connsiteX11" fmla="*/ 154404 w 580319"/>
                    <a:gd name="connsiteY11" fmla="*/ 277661 h 640927"/>
                    <a:gd name="connsiteX12" fmla="*/ 154404 w 580319"/>
                    <a:gd name="connsiteY12" fmla="*/ 640927 h 640927"/>
                    <a:gd name="connsiteX13" fmla="*/ 0 w 580319"/>
                    <a:gd name="connsiteY13" fmla="*/ 640927 h 640927"/>
                    <a:gd name="connsiteX14" fmla="*/ 0 w 580319"/>
                    <a:gd name="connsiteY14" fmla="*/ 12655 h 6409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580319" h="640927">
                      <a:moveTo>
                        <a:pt x="0" y="12655"/>
                      </a:moveTo>
                      <a:lnTo>
                        <a:pt x="141723" y="12655"/>
                      </a:lnTo>
                      <a:lnTo>
                        <a:pt x="154404" y="74440"/>
                      </a:lnTo>
                      <a:lnTo>
                        <a:pt x="160371" y="74440"/>
                      </a:lnTo>
                      <a:cubicBezTo>
                        <a:pt x="171560" y="61041"/>
                        <a:pt x="186478" y="48386"/>
                        <a:pt x="202142" y="37220"/>
                      </a:cubicBezTo>
                      <a:cubicBezTo>
                        <a:pt x="230487" y="18610"/>
                        <a:pt x="273750" y="0"/>
                        <a:pt x="333423" y="0"/>
                      </a:cubicBezTo>
                      <a:cubicBezTo>
                        <a:pt x="475146" y="0"/>
                        <a:pt x="580319" y="104960"/>
                        <a:pt x="580319" y="265006"/>
                      </a:cubicBezTo>
                      <a:lnTo>
                        <a:pt x="580319" y="640927"/>
                      </a:lnTo>
                      <a:lnTo>
                        <a:pt x="425915" y="640927"/>
                      </a:lnTo>
                      <a:lnTo>
                        <a:pt x="425915" y="277661"/>
                      </a:lnTo>
                      <a:cubicBezTo>
                        <a:pt x="425915" y="197266"/>
                        <a:pt x="369972" y="142180"/>
                        <a:pt x="290160" y="142180"/>
                      </a:cubicBezTo>
                      <a:cubicBezTo>
                        <a:pt x="209601" y="142180"/>
                        <a:pt x="154404" y="198010"/>
                        <a:pt x="154404" y="277661"/>
                      </a:cubicBezTo>
                      <a:lnTo>
                        <a:pt x="154404" y="640927"/>
                      </a:lnTo>
                      <a:lnTo>
                        <a:pt x="0" y="640927"/>
                      </a:lnTo>
                      <a:lnTo>
                        <a:pt x="0" y="12655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164" name="Forma libre 163">
                  <a:extLst>
                    <a:ext uri="{FF2B5EF4-FFF2-40B4-BE49-F238E27FC236}">
                      <a16:creationId xmlns:a16="http://schemas.microsoft.com/office/drawing/2014/main" id="{8698D1A4-FBDD-0D0C-D3CC-D984B544D6B7}"/>
                    </a:ext>
                  </a:extLst>
                </p:cNvPr>
                <p:cNvSpPr/>
                <p:nvPr/>
              </p:nvSpPr>
              <p:spPr>
                <a:xfrm>
                  <a:off x="7681279" y="3023168"/>
                  <a:ext cx="616868" cy="653582"/>
                </a:xfrm>
                <a:custGeom>
                  <a:avLst/>
                  <a:gdLst>
                    <a:gd name="connsiteX0" fmla="*/ 616869 w 616868"/>
                    <a:gd name="connsiteY0" fmla="*/ 407186 h 653582"/>
                    <a:gd name="connsiteX1" fmla="*/ 320742 w 616868"/>
                    <a:gd name="connsiteY1" fmla="*/ 653582 h 653582"/>
                    <a:gd name="connsiteX2" fmla="*/ 0 w 616868"/>
                    <a:gd name="connsiteY2" fmla="*/ 326791 h 653582"/>
                    <a:gd name="connsiteX3" fmla="*/ 320742 w 616868"/>
                    <a:gd name="connsiteY3" fmla="*/ 0 h 653582"/>
                    <a:gd name="connsiteX4" fmla="*/ 616869 w 616868"/>
                    <a:gd name="connsiteY4" fmla="*/ 240441 h 653582"/>
                    <a:gd name="connsiteX5" fmla="*/ 462465 w 616868"/>
                    <a:gd name="connsiteY5" fmla="*/ 240441 h 653582"/>
                    <a:gd name="connsiteX6" fmla="*/ 320742 w 616868"/>
                    <a:gd name="connsiteY6" fmla="*/ 142180 h 653582"/>
                    <a:gd name="connsiteX7" fmla="*/ 153658 w 616868"/>
                    <a:gd name="connsiteY7" fmla="*/ 326791 h 653582"/>
                    <a:gd name="connsiteX8" fmla="*/ 320742 w 616868"/>
                    <a:gd name="connsiteY8" fmla="*/ 511402 h 653582"/>
                    <a:gd name="connsiteX9" fmla="*/ 462465 w 616868"/>
                    <a:gd name="connsiteY9" fmla="*/ 406442 h 653582"/>
                    <a:gd name="connsiteX10" fmla="*/ 616869 w 616868"/>
                    <a:gd name="connsiteY10" fmla="*/ 406442 h 653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16868" h="653582">
                      <a:moveTo>
                        <a:pt x="616869" y="407186"/>
                      </a:moveTo>
                      <a:cubicBezTo>
                        <a:pt x="596729" y="505447"/>
                        <a:pt x="519154" y="653582"/>
                        <a:pt x="320742" y="653582"/>
                      </a:cubicBezTo>
                      <a:cubicBezTo>
                        <a:pt x="135756" y="653582"/>
                        <a:pt x="0" y="518102"/>
                        <a:pt x="0" y="326791"/>
                      </a:cubicBezTo>
                      <a:cubicBezTo>
                        <a:pt x="0" y="135481"/>
                        <a:pt x="135756" y="0"/>
                        <a:pt x="320742" y="0"/>
                      </a:cubicBezTo>
                      <a:cubicBezTo>
                        <a:pt x="519900" y="0"/>
                        <a:pt x="597475" y="148135"/>
                        <a:pt x="616869" y="240441"/>
                      </a:cubicBezTo>
                      <a:lnTo>
                        <a:pt x="462465" y="240441"/>
                      </a:lnTo>
                      <a:cubicBezTo>
                        <a:pt x="449038" y="204710"/>
                        <a:pt x="413235" y="142180"/>
                        <a:pt x="320742" y="142180"/>
                      </a:cubicBezTo>
                      <a:cubicBezTo>
                        <a:pt x="228249" y="142180"/>
                        <a:pt x="153658" y="215876"/>
                        <a:pt x="153658" y="326791"/>
                      </a:cubicBezTo>
                      <a:cubicBezTo>
                        <a:pt x="153658" y="437707"/>
                        <a:pt x="227503" y="511402"/>
                        <a:pt x="320742" y="511402"/>
                      </a:cubicBezTo>
                      <a:cubicBezTo>
                        <a:pt x="413981" y="511402"/>
                        <a:pt x="449038" y="449617"/>
                        <a:pt x="462465" y="406442"/>
                      </a:cubicBezTo>
                      <a:lnTo>
                        <a:pt x="616869" y="406442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165" name="Forma libre 164">
                  <a:extLst>
                    <a:ext uri="{FF2B5EF4-FFF2-40B4-BE49-F238E27FC236}">
                      <a16:creationId xmlns:a16="http://schemas.microsoft.com/office/drawing/2014/main" id="{31C828CD-262F-41F0-03EC-D48C6E1F1012}"/>
                    </a:ext>
                  </a:extLst>
                </p:cNvPr>
                <p:cNvSpPr/>
                <p:nvPr/>
              </p:nvSpPr>
              <p:spPr>
                <a:xfrm>
                  <a:off x="8351108" y="3023913"/>
                  <a:ext cx="555703" cy="653582"/>
                </a:xfrm>
                <a:custGeom>
                  <a:avLst/>
                  <a:gdLst>
                    <a:gd name="connsiteX0" fmla="*/ 401300 w 555703"/>
                    <a:gd name="connsiteY0" fmla="*/ 369222 h 653582"/>
                    <a:gd name="connsiteX1" fmla="*/ 271512 w 555703"/>
                    <a:gd name="connsiteY1" fmla="*/ 369222 h 653582"/>
                    <a:gd name="connsiteX2" fmla="*/ 154404 w 555703"/>
                    <a:gd name="connsiteY2" fmla="*/ 449617 h 653582"/>
                    <a:gd name="connsiteX3" fmla="*/ 252864 w 555703"/>
                    <a:gd name="connsiteY3" fmla="*/ 530012 h 653582"/>
                    <a:gd name="connsiteX4" fmla="*/ 401300 w 555703"/>
                    <a:gd name="connsiteY4" fmla="*/ 388576 h 653582"/>
                    <a:gd name="connsiteX5" fmla="*/ 401300 w 555703"/>
                    <a:gd name="connsiteY5" fmla="*/ 369222 h 653582"/>
                    <a:gd name="connsiteX6" fmla="*/ 413235 w 555703"/>
                    <a:gd name="connsiteY6" fmla="*/ 579142 h 653582"/>
                    <a:gd name="connsiteX7" fmla="*/ 407268 w 555703"/>
                    <a:gd name="connsiteY7" fmla="*/ 579142 h 653582"/>
                    <a:gd name="connsiteX8" fmla="*/ 364005 w 555703"/>
                    <a:gd name="connsiteY8" fmla="*/ 616362 h 653582"/>
                    <a:gd name="connsiteX9" fmla="*/ 228249 w 555703"/>
                    <a:gd name="connsiteY9" fmla="*/ 653582 h 653582"/>
                    <a:gd name="connsiteX10" fmla="*/ 0 w 555703"/>
                    <a:gd name="connsiteY10" fmla="*/ 462272 h 653582"/>
                    <a:gd name="connsiteX11" fmla="*/ 259577 w 555703"/>
                    <a:gd name="connsiteY11" fmla="*/ 252351 h 653582"/>
                    <a:gd name="connsiteX12" fmla="*/ 401300 w 555703"/>
                    <a:gd name="connsiteY12" fmla="*/ 252351 h 653582"/>
                    <a:gd name="connsiteX13" fmla="*/ 401300 w 555703"/>
                    <a:gd name="connsiteY13" fmla="*/ 239696 h 653582"/>
                    <a:gd name="connsiteX14" fmla="*/ 290159 w 555703"/>
                    <a:gd name="connsiteY14" fmla="*/ 122826 h 653582"/>
                    <a:gd name="connsiteX15" fmla="*/ 179019 w 555703"/>
                    <a:gd name="connsiteY15" fmla="*/ 203221 h 653582"/>
                    <a:gd name="connsiteX16" fmla="*/ 24615 w 555703"/>
                    <a:gd name="connsiteY16" fmla="*/ 203221 h 653582"/>
                    <a:gd name="connsiteX17" fmla="*/ 290159 w 555703"/>
                    <a:gd name="connsiteY17" fmla="*/ 0 h 653582"/>
                    <a:gd name="connsiteX18" fmla="*/ 555704 w 555703"/>
                    <a:gd name="connsiteY18" fmla="*/ 240441 h 653582"/>
                    <a:gd name="connsiteX19" fmla="*/ 555704 w 555703"/>
                    <a:gd name="connsiteY19" fmla="*/ 640927 h 653582"/>
                    <a:gd name="connsiteX20" fmla="*/ 425916 w 555703"/>
                    <a:gd name="connsiteY20" fmla="*/ 640927 h 653582"/>
                    <a:gd name="connsiteX21" fmla="*/ 413235 w 555703"/>
                    <a:gd name="connsiteY21" fmla="*/ 579142 h 653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555703" h="653582">
                      <a:moveTo>
                        <a:pt x="401300" y="369222"/>
                      </a:moveTo>
                      <a:lnTo>
                        <a:pt x="271512" y="369222"/>
                      </a:lnTo>
                      <a:cubicBezTo>
                        <a:pt x="190953" y="369222"/>
                        <a:pt x="154404" y="399742"/>
                        <a:pt x="154404" y="449617"/>
                      </a:cubicBezTo>
                      <a:cubicBezTo>
                        <a:pt x="154404" y="498747"/>
                        <a:pt x="190207" y="530012"/>
                        <a:pt x="252864" y="530012"/>
                      </a:cubicBezTo>
                      <a:cubicBezTo>
                        <a:pt x="346849" y="530012"/>
                        <a:pt x="401300" y="475671"/>
                        <a:pt x="401300" y="388576"/>
                      </a:cubicBezTo>
                      <a:lnTo>
                        <a:pt x="401300" y="369222"/>
                      </a:lnTo>
                      <a:close/>
                      <a:moveTo>
                        <a:pt x="413235" y="579142"/>
                      </a:moveTo>
                      <a:lnTo>
                        <a:pt x="407268" y="579142"/>
                      </a:lnTo>
                      <a:cubicBezTo>
                        <a:pt x="396079" y="592541"/>
                        <a:pt x="381161" y="605196"/>
                        <a:pt x="364005" y="616362"/>
                      </a:cubicBezTo>
                      <a:cubicBezTo>
                        <a:pt x="334168" y="634972"/>
                        <a:pt x="290906" y="653582"/>
                        <a:pt x="228249" y="653582"/>
                      </a:cubicBezTo>
                      <a:cubicBezTo>
                        <a:pt x="85034" y="653582"/>
                        <a:pt x="0" y="565743"/>
                        <a:pt x="0" y="462272"/>
                      </a:cubicBezTo>
                      <a:cubicBezTo>
                        <a:pt x="0" y="338702"/>
                        <a:pt x="86526" y="252351"/>
                        <a:pt x="259577" y="252351"/>
                      </a:cubicBezTo>
                      <a:lnTo>
                        <a:pt x="401300" y="252351"/>
                      </a:lnTo>
                      <a:lnTo>
                        <a:pt x="401300" y="239696"/>
                      </a:lnTo>
                      <a:cubicBezTo>
                        <a:pt x="401300" y="170467"/>
                        <a:pt x="359530" y="122826"/>
                        <a:pt x="290159" y="122826"/>
                      </a:cubicBezTo>
                      <a:cubicBezTo>
                        <a:pt x="220790" y="122826"/>
                        <a:pt x="184986" y="167490"/>
                        <a:pt x="179019" y="203221"/>
                      </a:cubicBezTo>
                      <a:lnTo>
                        <a:pt x="24615" y="203221"/>
                      </a:lnTo>
                      <a:cubicBezTo>
                        <a:pt x="38041" y="99749"/>
                        <a:pt x="122329" y="0"/>
                        <a:pt x="290159" y="0"/>
                      </a:cubicBezTo>
                      <a:cubicBezTo>
                        <a:pt x="450530" y="0"/>
                        <a:pt x="555704" y="105705"/>
                        <a:pt x="555704" y="240441"/>
                      </a:cubicBezTo>
                      <a:lnTo>
                        <a:pt x="555704" y="640927"/>
                      </a:lnTo>
                      <a:lnTo>
                        <a:pt x="425916" y="640927"/>
                      </a:lnTo>
                      <a:lnTo>
                        <a:pt x="413235" y="579142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169" name="Forma libre 168">
                  <a:extLst>
                    <a:ext uri="{FF2B5EF4-FFF2-40B4-BE49-F238E27FC236}">
                      <a16:creationId xmlns:a16="http://schemas.microsoft.com/office/drawing/2014/main" id="{B63167A1-7DB8-45AF-0385-17308C32BE07}"/>
                    </a:ext>
                  </a:extLst>
                </p:cNvPr>
                <p:cNvSpPr/>
                <p:nvPr/>
              </p:nvSpPr>
              <p:spPr>
                <a:xfrm>
                  <a:off x="7418718" y="2762629"/>
                  <a:ext cx="183494" cy="901466"/>
                </a:xfrm>
                <a:custGeom>
                  <a:avLst/>
                  <a:gdLst>
                    <a:gd name="connsiteX0" fmla="*/ 14918 w 183494"/>
                    <a:gd name="connsiteY0" fmla="*/ 273194 h 901466"/>
                    <a:gd name="connsiteX1" fmla="*/ 169322 w 183494"/>
                    <a:gd name="connsiteY1" fmla="*/ 273194 h 901466"/>
                    <a:gd name="connsiteX2" fmla="*/ 169322 w 183494"/>
                    <a:gd name="connsiteY2" fmla="*/ 901467 h 901466"/>
                    <a:gd name="connsiteX3" fmla="*/ 14918 w 183494"/>
                    <a:gd name="connsiteY3" fmla="*/ 901467 h 901466"/>
                    <a:gd name="connsiteX4" fmla="*/ 14918 w 183494"/>
                    <a:gd name="connsiteY4" fmla="*/ 273194 h 901466"/>
                    <a:gd name="connsiteX5" fmla="*/ 183494 w 183494"/>
                    <a:gd name="connsiteY5" fmla="*/ 91561 h 901466"/>
                    <a:gd name="connsiteX6" fmla="*/ 91747 w 183494"/>
                    <a:gd name="connsiteY6" fmla="*/ 0 h 901466"/>
                    <a:gd name="connsiteX7" fmla="*/ 0 w 183494"/>
                    <a:gd name="connsiteY7" fmla="*/ 91561 h 901466"/>
                    <a:gd name="connsiteX8" fmla="*/ 91747 w 183494"/>
                    <a:gd name="connsiteY8" fmla="*/ 183122 h 901466"/>
                    <a:gd name="connsiteX9" fmla="*/ 183494 w 183494"/>
                    <a:gd name="connsiteY9" fmla="*/ 91561 h 901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83494" h="901466">
                      <a:moveTo>
                        <a:pt x="14918" y="273194"/>
                      </a:moveTo>
                      <a:lnTo>
                        <a:pt x="169322" y="273194"/>
                      </a:lnTo>
                      <a:lnTo>
                        <a:pt x="169322" y="901467"/>
                      </a:lnTo>
                      <a:lnTo>
                        <a:pt x="14918" y="901467"/>
                      </a:lnTo>
                      <a:lnTo>
                        <a:pt x="14918" y="273194"/>
                      </a:lnTo>
                      <a:close/>
                      <a:moveTo>
                        <a:pt x="183494" y="91561"/>
                      </a:moveTo>
                      <a:cubicBezTo>
                        <a:pt x="183494" y="40942"/>
                        <a:pt x="142469" y="0"/>
                        <a:pt x="91747" y="0"/>
                      </a:cubicBezTo>
                      <a:cubicBezTo>
                        <a:pt x="41025" y="0"/>
                        <a:pt x="0" y="40942"/>
                        <a:pt x="0" y="91561"/>
                      </a:cubicBezTo>
                      <a:cubicBezTo>
                        <a:pt x="0" y="142180"/>
                        <a:pt x="41025" y="183122"/>
                        <a:pt x="91747" y="183122"/>
                      </a:cubicBezTo>
                      <a:cubicBezTo>
                        <a:pt x="142469" y="182378"/>
                        <a:pt x="183494" y="142180"/>
                        <a:pt x="183494" y="91561"/>
                      </a:cubicBezTo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170" name="Forma libre 169">
                  <a:extLst>
                    <a:ext uri="{FF2B5EF4-FFF2-40B4-BE49-F238E27FC236}">
                      <a16:creationId xmlns:a16="http://schemas.microsoft.com/office/drawing/2014/main" id="{30BBE3F7-19D2-E300-0F75-11743ACBC98C}"/>
                    </a:ext>
                  </a:extLst>
                </p:cNvPr>
                <p:cNvSpPr/>
                <p:nvPr/>
              </p:nvSpPr>
              <p:spPr>
                <a:xfrm>
                  <a:off x="5999994" y="2770817"/>
                  <a:ext cx="642229" cy="905933"/>
                </a:xfrm>
                <a:custGeom>
                  <a:avLst/>
                  <a:gdLst>
                    <a:gd name="connsiteX0" fmla="*/ 487826 w 642229"/>
                    <a:gd name="connsiteY0" fmla="*/ 579142 h 905933"/>
                    <a:gd name="connsiteX1" fmla="*/ 320742 w 642229"/>
                    <a:gd name="connsiteY1" fmla="*/ 394531 h 905933"/>
                    <a:gd name="connsiteX2" fmla="*/ 153658 w 642229"/>
                    <a:gd name="connsiteY2" fmla="*/ 579142 h 905933"/>
                    <a:gd name="connsiteX3" fmla="*/ 320742 w 642229"/>
                    <a:gd name="connsiteY3" fmla="*/ 763753 h 905933"/>
                    <a:gd name="connsiteX4" fmla="*/ 487826 w 642229"/>
                    <a:gd name="connsiteY4" fmla="*/ 579142 h 905933"/>
                    <a:gd name="connsiteX5" fmla="*/ 642230 w 642229"/>
                    <a:gd name="connsiteY5" fmla="*/ 579142 h 905933"/>
                    <a:gd name="connsiteX6" fmla="*/ 320742 w 642229"/>
                    <a:gd name="connsiteY6" fmla="*/ 905933 h 905933"/>
                    <a:gd name="connsiteX7" fmla="*/ 0 w 642229"/>
                    <a:gd name="connsiteY7" fmla="*/ 579142 h 905933"/>
                    <a:gd name="connsiteX8" fmla="*/ 320742 w 642229"/>
                    <a:gd name="connsiteY8" fmla="*/ 252351 h 905933"/>
                    <a:gd name="connsiteX9" fmla="*/ 642230 w 642229"/>
                    <a:gd name="connsiteY9" fmla="*/ 579142 h 905933"/>
                    <a:gd name="connsiteX10" fmla="*/ 376685 w 642229"/>
                    <a:gd name="connsiteY10" fmla="*/ 0 h 905933"/>
                    <a:gd name="connsiteX11" fmla="*/ 537056 w 642229"/>
                    <a:gd name="connsiteY11" fmla="*/ 0 h 905933"/>
                    <a:gd name="connsiteX12" fmla="*/ 388620 w 642229"/>
                    <a:gd name="connsiteY12" fmla="*/ 178656 h 905933"/>
                    <a:gd name="connsiteX13" fmla="*/ 258831 w 642229"/>
                    <a:gd name="connsiteY13" fmla="*/ 178656 h 905933"/>
                    <a:gd name="connsiteX14" fmla="*/ 376685 w 642229"/>
                    <a:gd name="connsiteY14" fmla="*/ 0 h 905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42229" h="905933">
                      <a:moveTo>
                        <a:pt x="487826" y="579142"/>
                      </a:moveTo>
                      <a:cubicBezTo>
                        <a:pt x="487826" y="468227"/>
                        <a:pt x="413981" y="394531"/>
                        <a:pt x="320742" y="394531"/>
                      </a:cubicBezTo>
                      <a:cubicBezTo>
                        <a:pt x="228249" y="394531"/>
                        <a:pt x="153658" y="468227"/>
                        <a:pt x="153658" y="579142"/>
                      </a:cubicBezTo>
                      <a:cubicBezTo>
                        <a:pt x="153658" y="690058"/>
                        <a:pt x="227503" y="763753"/>
                        <a:pt x="320742" y="763753"/>
                      </a:cubicBezTo>
                      <a:cubicBezTo>
                        <a:pt x="413981" y="763753"/>
                        <a:pt x="487826" y="690058"/>
                        <a:pt x="487826" y="579142"/>
                      </a:cubicBezTo>
                      <a:moveTo>
                        <a:pt x="642230" y="579142"/>
                      </a:moveTo>
                      <a:cubicBezTo>
                        <a:pt x="642230" y="770453"/>
                        <a:pt x="506474" y="905933"/>
                        <a:pt x="320742" y="905933"/>
                      </a:cubicBezTo>
                      <a:cubicBezTo>
                        <a:pt x="135756" y="905933"/>
                        <a:pt x="0" y="770453"/>
                        <a:pt x="0" y="579142"/>
                      </a:cubicBezTo>
                      <a:cubicBezTo>
                        <a:pt x="0" y="387832"/>
                        <a:pt x="135756" y="252351"/>
                        <a:pt x="320742" y="252351"/>
                      </a:cubicBezTo>
                      <a:cubicBezTo>
                        <a:pt x="506474" y="252351"/>
                        <a:pt x="642230" y="387832"/>
                        <a:pt x="642230" y="579142"/>
                      </a:cubicBezTo>
                      <a:moveTo>
                        <a:pt x="376685" y="0"/>
                      </a:moveTo>
                      <a:lnTo>
                        <a:pt x="537056" y="0"/>
                      </a:lnTo>
                      <a:lnTo>
                        <a:pt x="388620" y="178656"/>
                      </a:lnTo>
                      <a:lnTo>
                        <a:pt x="258831" y="178656"/>
                      </a:lnTo>
                      <a:lnTo>
                        <a:pt x="376685" y="0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</p:grpSp>
        </p:grpSp>
        <p:sp>
          <p:nvSpPr>
            <p:cNvPr id="154" name="Gráfico 35">
              <a:extLst>
                <a:ext uri="{FF2B5EF4-FFF2-40B4-BE49-F238E27FC236}">
                  <a16:creationId xmlns:a16="http://schemas.microsoft.com/office/drawing/2014/main" id="{1A72A8B8-EE30-3652-FEB1-95782FC09ED2}"/>
                </a:ext>
              </a:extLst>
            </p:cNvPr>
            <p:cNvSpPr/>
            <p:nvPr/>
          </p:nvSpPr>
          <p:spPr>
            <a:xfrm>
              <a:off x="5319297" y="2061084"/>
              <a:ext cx="497249" cy="117656"/>
            </a:xfrm>
            <a:custGeom>
              <a:avLst/>
              <a:gdLst>
                <a:gd name="connsiteX0" fmla="*/ 7295952 w 7645191"/>
                <a:gd name="connsiteY0" fmla="*/ 1808946 h 1808946"/>
                <a:gd name="connsiteX1" fmla="*/ 6804024 w 7645191"/>
                <a:gd name="connsiteY1" fmla="*/ 1119356 h 1808946"/>
                <a:gd name="connsiteX2" fmla="*/ 5884374 w 7645191"/>
                <a:gd name="connsiteY2" fmla="*/ 1119356 h 1808946"/>
                <a:gd name="connsiteX3" fmla="*/ 5884374 w 7645191"/>
                <a:gd name="connsiteY3" fmla="*/ 1808946 h 1808946"/>
                <a:gd name="connsiteX4" fmla="*/ 5583187 w 7645191"/>
                <a:gd name="connsiteY4" fmla="*/ 1808946 h 1808946"/>
                <a:gd name="connsiteX5" fmla="*/ 5583187 w 7645191"/>
                <a:gd name="connsiteY5" fmla="*/ 0 h 1808946"/>
                <a:gd name="connsiteX6" fmla="*/ 7017247 w 7645191"/>
                <a:gd name="connsiteY6" fmla="*/ 0 h 1808946"/>
                <a:gd name="connsiteX7" fmla="*/ 7629906 w 7645191"/>
                <a:gd name="connsiteY7" fmla="*/ 569746 h 1808946"/>
                <a:gd name="connsiteX8" fmla="*/ 7157733 w 7645191"/>
                <a:gd name="connsiteY8" fmla="*/ 1104298 h 1808946"/>
                <a:gd name="connsiteX9" fmla="*/ 7645192 w 7645191"/>
                <a:gd name="connsiteY9" fmla="*/ 1808946 h 1808946"/>
                <a:gd name="connsiteX10" fmla="*/ 7295952 w 7645191"/>
                <a:gd name="connsiteY10" fmla="*/ 1808946 h 1808946"/>
                <a:gd name="connsiteX11" fmla="*/ 7321277 w 7645191"/>
                <a:gd name="connsiteY11" fmla="*/ 569746 h 1808946"/>
                <a:gd name="connsiteX12" fmla="*/ 6944704 w 7645191"/>
                <a:gd name="connsiteY12" fmla="*/ 272308 h 1808946"/>
                <a:gd name="connsiteX13" fmla="*/ 5884374 w 7645191"/>
                <a:gd name="connsiteY13" fmla="*/ 272308 h 1808946"/>
                <a:gd name="connsiteX14" fmla="*/ 5884374 w 7645191"/>
                <a:gd name="connsiteY14" fmla="*/ 846890 h 1808946"/>
                <a:gd name="connsiteX15" fmla="*/ 6971843 w 7645191"/>
                <a:gd name="connsiteY15" fmla="*/ 846890 h 1808946"/>
                <a:gd name="connsiteX16" fmla="*/ 7321277 w 7645191"/>
                <a:gd name="connsiteY16" fmla="*/ 569746 h 1808946"/>
                <a:gd name="connsiteX17" fmla="*/ 4545099 w 7645191"/>
                <a:gd name="connsiteY17" fmla="*/ 1808946 h 1808946"/>
                <a:gd name="connsiteX18" fmla="*/ 3671267 w 7645191"/>
                <a:gd name="connsiteY18" fmla="*/ 857038 h 1808946"/>
                <a:gd name="connsiteX19" fmla="*/ 3123637 w 7645191"/>
                <a:gd name="connsiteY19" fmla="*/ 1259259 h 1808946"/>
                <a:gd name="connsiteX20" fmla="*/ 3123637 w 7645191"/>
                <a:gd name="connsiteY20" fmla="*/ 1808946 h 1808946"/>
                <a:gd name="connsiteX21" fmla="*/ 2821971 w 7645191"/>
                <a:gd name="connsiteY21" fmla="*/ 1808946 h 1808946"/>
                <a:gd name="connsiteX22" fmla="*/ 2821971 w 7645191"/>
                <a:gd name="connsiteY22" fmla="*/ 0 h 1808946"/>
                <a:gd name="connsiteX23" fmla="*/ 3123637 w 7645191"/>
                <a:gd name="connsiteY23" fmla="*/ 0 h 1808946"/>
                <a:gd name="connsiteX24" fmla="*/ 3123637 w 7645191"/>
                <a:gd name="connsiteY24" fmla="*/ 936851 h 1808946"/>
                <a:gd name="connsiteX25" fmla="*/ 4397100 w 7645191"/>
                <a:gd name="connsiteY25" fmla="*/ 0 h 1808946"/>
                <a:gd name="connsiteX26" fmla="*/ 4831544 w 7645191"/>
                <a:gd name="connsiteY26" fmla="*/ 0 h 1808946"/>
                <a:gd name="connsiteX27" fmla="*/ 3902172 w 7645191"/>
                <a:gd name="connsiteY27" fmla="*/ 684597 h 1808946"/>
                <a:gd name="connsiteX28" fmla="*/ 4932178 w 7645191"/>
                <a:gd name="connsiteY28" fmla="*/ 1808946 h 1808946"/>
                <a:gd name="connsiteX29" fmla="*/ 4545099 w 7645191"/>
                <a:gd name="connsiteY29" fmla="*/ 1808946 h 1808946"/>
                <a:gd name="connsiteX30" fmla="*/ 1722960 w 7645191"/>
                <a:gd name="connsiteY30" fmla="*/ 1808946 h 1808946"/>
                <a:gd name="connsiteX31" fmla="*/ 849057 w 7645191"/>
                <a:gd name="connsiteY31" fmla="*/ 857038 h 1808946"/>
                <a:gd name="connsiteX32" fmla="*/ 301666 w 7645191"/>
                <a:gd name="connsiteY32" fmla="*/ 1259259 h 1808946"/>
                <a:gd name="connsiteX33" fmla="*/ 301666 w 7645191"/>
                <a:gd name="connsiteY33" fmla="*/ 1808946 h 1808946"/>
                <a:gd name="connsiteX34" fmla="*/ 0 w 7645191"/>
                <a:gd name="connsiteY34" fmla="*/ 1808946 h 1808946"/>
                <a:gd name="connsiteX35" fmla="*/ 0 w 7645191"/>
                <a:gd name="connsiteY35" fmla="*/ 0 h 1808946"/>
                <a:gd name="connsiteX36" fmla="*/ 301666 w 7645191"/>
                <a:gd name="connsiteY36" fmla="*/ 0 h 1808946"/>
                <a:gd name="connsiteX37" fmla="*/ 301666 w 7645191"/>
                <a:gd name="connsiteY37" fmla="*/ 936851 h 1808946"/>
                <a:gd name="connsiteX38" fmla="*/ 1574798 w 7645191"/>
                <a:gd name="connsiteY38" fmla="*/ 0 h 1808946"/>
                <a:gd name="connsiteX39" fmla="*/ 2009412 w 7645191"/>
                <a:gd name="connsiteY39" fmla="*/ 0 h 1808946"/>
                <a:gd name="connsiteX40" fmla="*/ 1080040 w 7645191"/>
                <a:gd name="connsiteY40" fmla="*/ 684597 h 1808946"/>
                <a:gd name="connsiteX41" fmla="*/ 2110045 w 7645191"/>
                <a:gd name="connsiteY41" fmla="*/ 1808946 h 1808946"/>
                <a:gd name="connsiteX42" fmla="*/ 1722960 w 7645191"/>
                <a:gd name="connsiteY42" fmla="*/ 1808946 h 1808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7645191" h="1808946">
                  <a:moveTo>
                    <a:pt x="7295952" y="1808946"/>
                  </a:moveTo>
                  <a:lnTo>
                    <a:pt x="6804024" y="1119356"/>
                  </a:lnTo>
                  <a:lnTo>
                    <a:pt x="5884374" y="1119356"/>
                  </a:lnTo>
                  <a:lnTo>
                    <a:pt x="5884374" y="1808946"/>
                  </a:lnTo>
                  <a:lnTo>
                    <a:pt x="5583187" y="1808946"/>
                  </a:lnTo>
                  <a:lnTo>
                    <a:pt x="5583187" y="0"/>
                  </a:lnTo>
                  <a:lnTo>
                    <a:pt x="7017247" y="0"/>
                  </a:lnTo>
                  <a:cubicBezTo>
                    <a:pt x="7399131" y="0"/>
                    <a:pt x="7629906" y="219957"/>
                    <a:pt x="7629906" y="569746"/>
                  </a:cubicBezTo>
                  <a:cubicBezTo>
                    <a:pt x="7629906" y="889415"/>
                    <a:pt x="7429119" y="1059517"/>
                    <a:pt x="7157733" y="1104298"/>
                  </a:cubicBezTo>
                  <a:lnTo>
                    <a:pt x="7645192" y="1808946"/>
                  </a:lnTo>
                  <a:lnTo>
                    <a:pt x="7295952" y="1808946"/>
                  </a:lnTo>
                  <a:close/>
                  <a:moveTo>
                    <a:pt x="7321277" y="569746"/>
                  </a:moveTo>
                  <a:cubicBezTo>
                    <a:pt x="7321277" y="369602"/>
                    <a:pt x="7198020" y="272308"/>
                    <a:pt x="6944704" y="272308"/>
                  </a:cubicBezTo>
                  <a:lnTo>
                    <a:pt x="5884374" y="272308"/>
                  </a:lnTo>
                  <a:lnTo>
                    <a:pt x="5884374" y="846890"/>
                  </a:lnTo>
                  <a:lnTo>
                    <a:pt x="6971843" y="846890"/>
                  </a:lnTo>
                  <a:cubicBezTo>
                    <a:pt x="7198020" y="846890"/>
                    <a:pt x="7321277" y="746935"/>
                    <a:pt x="7321277" y="569746"/>
                  </a:cubicBezTo>
                  <a:moveTo>
                    <a:pt x="4545099" y="1808946"/>
                  </a:moveTo>
                  <a:lnTo>
                    <a:pt x="3671267" y="857038"/>
                  </a:lnTo>
                  <a:lnTo>
                    <a:pt x="3123637" y="1259259"/>
                  </a:lnTo>
                  <a:lnTo>
                    <a:pt x="3123637" y="1808946"/>
                  </a:lnTo>
                  <a:lnTo>
                    <a:pt x="2821971" y="1808946"/>
                  </a:lnTo>
                  <a:lnTo>
                    <a:pt x="2821971" y="0"/>
                  </a:lnTo>
                  <a:lnTo>
                    <a:pt x="3123637" y="0"/>
                  </a:lnTo>
                  <a:lnTo>
                    <a:pt x="3123637" y="936851"/>
                  </a:lnTo>
                  <a:lnTo>
                    <a:pt x="4397100" y="0"/>
                  </a:lnTo>
                  <a:lnTo>
                    <a:pt x="4831544" y="0"/>
                  </a:lnTo>
                  <a:lnTo>
                    <a:pt x="3902172" y="684597"/>
                  </a:lnTo>
                  <a:lnTo>
                    <a:pt x="4932178" y="1808946"/>
                  </a:lnTo>
                  <a:lnTo>
                    <a:pt x="4545099" y="1808946"/>
                  </a:lnTo>
                  <a:close/>
                  <a:moveTo>
                    <a:pt x="1722960" y="1808946"/>
                  </a:moveTo>
                  <a:lnTo>
                    <a:pt x="849057" y="857038"/>
                  </a:lnTo>
                  <a:lnTo>
                    <a:pt x="301666" y="1259259"/>
                  </a:lnTo>
                  <a:lnTo>
                    <a:pt x="301666" y="1808946"/>
                  </a:lnTo>
                  <a:lnTo>
                    <a:pt x="0" y="1808946"/>
                  </a:lnTo>
                  <a:lnTo>
                    <a:pt x="0" y="0"/>
                  </a:lnTo>
                  <a:lnTo>
                    <a:pt x="301666" y="0"/>
                  </a:lnTo>
                  <a:lnTo>
                    <a:pt x="301666" y="936851"/>
                  </a:lnTo>
                  <a:lnTo>
                    <a:pt x="1574798" y="0"/>
                  </a:lnTo>
                  <a:lnTo>
                    <a:pt x="2009412" y="0"/>
                  </a:lnTo>
                  <a:lnTo>
                    <a:pt x="1080040" y="684597"/>
                  </a:lnTo>
                  <a:lnTo>
                    <a:pt x="2110045" y="1808946"/>
                  </a:lnTo>
                  <a:lnTo>
                    <a:pt x="1722960" y="1808946"/>
                  </a:lnTo>
                  <a:close/>
                </a:path>
              </a:pathLst>
            </a:custGeom>
            <a:solidFill>
              <a:srgbClr val="53284F"/>
            </a:solidFill>
            <a:ln w="64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0">
                <a:latin typeface="Pulso Light" pitchFamily="2" charset="0"/>
              </a:endParaRPr>
            </a:p>
          </p:txBody>
        </p:sp>
      </p:grpSp>
      <p:grpSp>
        <p:nvGrpSpPr>
          <p:cNvPr id="220" name="Grupo 219">
            <a:extLst>
              <a:ext uri="{FF2B5EF4-FFF2-40B4-BE49-F238E27FC236}">
                <a16:creationId xmlns:a16="http://schemas.microsoft.com/office/drawing/2014/main" id="{DB5FE8DE-0A44-3B9F-9172-B0AA2A061D1B}"/>
              </a:ext>
            </a:extLst>
          </p:cNvPr>
          <p:cNvGrpSpPr/>
          <p:nvPr/>
        </p:nvGrpSpPr>
        <p:grpSpPr>
          <a:xfrm>
            <a:off x="6467241" y="1776981"/>
            <a:ext cx="634178" cy="426208"/>
            <a:chOff x="7858100" y="2242822"/>
            <a:chExt cx="830086" cy="557871"/>
          </a:xfrm>
        </p:grpSpPr>
        <p:grpSp>
          <p:nvGrpSpPr>
            <p:cNvPr id="221" name="Gráfico 37">
              <a:extLst>
                <a:ext uri="{FF2B5EF4-FFF2-40B4-BE49-F238E27FC236}">
                  <a16:creationId xmlns:a16="http://schemas.microsoft.com/office/drawing/2014/main" id="{C12CABA3-7026-C6D6-D2F1-565DFB0D36BD}"/>
                </a:ext>
              </a:extLst>
            </p:cNvPr>
            <p:cNvGrpSpPr/>
            <p:nvPr/>
          </p:nvGrpSpPr>
          <p:grpSpPr>
            <a:xfrm>
              <a:off x="7858100" y="2242822"/>
              <a:ext cx="830086" cy="198810"/>
              <a:chOff x="1136650" y="2241550"/>
              <a:chExt cx="7770161" cy="1860997"/>
            </a:xfrm>
            <a:solidFill>
              <a:srgbClr val="0066FF"/>
            </a:solidFill>
          </p:grpSpPr>
          <p:grpSp>
            <p:nvGrpSpPr>
              <p:cNvPr id="223" name="Gráfico 37">
                <a:extLst>
                  <a:ext uri="{FF2B5EF4-FFF2-40B4-BE49-F238E27FC236}">
                    <a16:creationId xmlns:a16="http://schemas.microsoft.com/office/drawing/2014/main" id="{11D1C8FF-8D87-31D5-D3A8-4F3A128014FB}"/>
                  </a:ext>
                </a:extLst>
              </p:cNvPr>
              <p:cNvGrpSpPr/>
              <p:nvPr/>
            </p:nvGrpSpPr>
            <p:grpSpPr>
              <a:xfrm>
                <a:off x="1136650" y="2241550"/>
                <a:ext cx="1864779" cy="1860997"/>
                <a:chOff x="1136650" y="2241550"/>
                <a:chExt cx="1864779" cy="1860997"/>
              </a:xfrm>
              <a:solidFill>
                <a:srgbClr val="0066FF"/>
              </a:solidFill>
            </p:grpSpPr>
            <p:sp>
              <p:nvSpPr>
                <p:cNvPr id="285" name="Forma libre 284">
                  <a:extLst>
                    <a:ext uri="{FF2B5EF4-FFF2-40B4-BE49-F238E27FC236}">
                      <a16:creationId xmlns:a16="http://schemas.microsoft.com/office/drawing/2014/main" id="{FA08C041-424E-A399-0A63-B0CBB7D96E80}"/>
                    </a:ext>
                  </a:extLst>
                </p:cNvPr>
                <p:cNvSpPr/>
                <p:nvPr/>
              </p:nvSpPr>
              <p:spPr>
                <a:xfrm>
                  <a:off x="1136650" y="2241550"/>
                  <a:ext cx="556450" cy="555321"/>
                </a:xfrm>
                <a:custGeom>
                  <a:avLst/>
                  <a:gdLst>
                    <a:gd name="connsiteX0" fmla="*/ 556450 w 556450"/>
                    <a:gd name="connsiteY0" fmla="*/ 277661 h 555321"/>
                    <a:gd name="connsiteX1" fmla="*/ 278225 w 556450"/>
                    <a:gd name="connsiteY1" fmla="*/ 0 h 555321"/>
                    <a:gd name="connsiteX2" fmla="*/ 0 w 556450"/>
                    <a:gd name="connsiteY2" fmla="*/ 277661 h 555321"/>
                    <a:gd name="connsiteX3" fmla="*/ 278225 w 556450"/>
                    <a:gd name="connsiteY3" fmla="*/ 555322 h 555321"/>
                    <a:gd name="connsiteX4" fmla="*/ 556450 w 556450"/>
                    <a:gd name="connsiteY4" fmla="*/ 277661 h 55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6450" h="555321">
                      <a:moveTo>
                        <a:pt x="556450" y="277661"/>
                      </a:moveTo>
                      <a:cubicBezTo>
                        <a:pt x="556450" y="124315"/>
                        <a:pt x="431883" y="0"/>
                        <a:pt x="278225" y="0"/>
                      </a:cubicBezTo>
                      <a:cubicBezTo>
                        <a:pt x="124567" y="0"/>
                        <a:pt x="0" y="124315"/>
                        <a:pt x="0" y="277661"/>
                      </a:cubicBezTo>
                      <a:cubicBezTo>
                        <a:pt x="0" y="431007"/>
                        <a:pt x="124567" y="555322"/>
                        <a:pt x="278225" y="555322"/>
                      </a:cubicBezTo>
                      <a:cubicBezTo>
                        <a:pt x="431883" y="555322"/>
                        <a:pt x="556450" y="431007"/>
                        <a:pt x="556450" y="277661"/>
                      </a:cubicBezTo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286" name="Forma libre 285">
                  <a:extLst>
                    <a:ext uri="{FF2B5EF4-FFF2-40B4-BE49-F238E27FC236}">
                      <a16:creationId xmlns:a16="http://schemas.microsoft.com/office/drawing/2014/main" id="{7F004662-D8FB-4E06-CC7C-DC59EC717DDF}"/>
                    </a:ext>
                  </a:extLst>
                </p:cNvPr>
                <p:cNvSpPr/>
                <p:nvPr/>
              </p:nvSpPr>
              <p:spPr>
                <a:xfrm>
                  <a:off x="1790814" y="2241550"/>
                  <a:ext cx="556450" cy="555321"/>
                </a:xfrm>
                <a:custGeom>
                  <a:avLst/>
                  <a:gdLst>
                    <a:gd name="connsiteX0" fmla="*/ 556450 w 556450"/>
                    <a:gd name="connsiteY0" fmla="*/ 277661 h 555321"/>
                    <a:gd name="connsiteX1" fmla="*/ 278225 w 556450"/>
                    <a:gd name="connsiteY1" fmla="*/ 0 h 555321"/>
                    <a:gd name="connsiteX2" fmla="*/ 0 w 556450"/>
                    <a:gd name="connsiteY2" fmla="*/ 277661 h 555321"/>
                    <a:gd name="connsiteX3" fmla="*/ 278225 w 556450"/>
                    <a:gd name="connsiteY3" fmla="*/ 555322 h 555321"/>
                    <a:gd name="connsiteX4" fmla="*/ 556450 w 556450"/>
                    <a:gd name="connsiteY4" fmla="*/ 277661 h 55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6450" h="555321">
                      <a:moveTo>
                        <a:pt x="556450" y="277661"/>
                      </a:moveTo>
                      <a:cubicBezTo>
                        <a:pt x="556450" y="124315"/>
                        <a:pt x="431883" y="0"/>
                        <a:pt x="278225" y="0"/>
                      </a:cubicBezTo>
                      <a:cubicBezTo>
                        <a:pt x="124567" y="0"/>
                        <a:pt x="0" y="124315"/>
                        <a:pt x="0" y="277661"/>
                      </a:cubicBezTo>
                      <a:cubicBezTo>
                        <a:pt x="0" y="431007"/>
                        <a:pt x="124567" y="555322"/>
                        <a:pt x="278225" y="555322"/>
                      </a:cubicBezTo>
                      <a:cubicBezTo>
                        <a:pt x="431883" y="555322"/>
                        <a:pt x="556450" y="431007"/>
                        <a:pt x="556450" y="277661"/>
                      </a:cubicBezTo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318" name="Forma libre 317">
                  <a:extLst>
                    <a:ext uri="{FF2B5EF4-FFF2-40B4-BE49-F238E27FC236}">
                      <a16:creationId xmlns:a16="http://schemas.microsoft.com/office/drawing/2014/main" id="{57C77310-8725-2FC1-809C-862976DE1D98}"/>
                    </a:ext>
                  </a:extLst>
                </p:cNvPr>
                <p:cNvSpPr/>
                <p:nvPr/>
              </p:nvSpPr>
              <p:spPr>
                <a:xfrm>
                  <a:off x="2444979" y="2241550"/>
                  <a:ext cx="556450" cy="555321"/>
                </a:xfrm>
                <a:custGeom>
                  <a:avLst/>
                  <a:gdLst>
                    <a:gd name="connsiteX0" fmla="*/ 556450 w 556450"/>
                    <a:gd name="connsiteY0" fmla="*/ 277661 h 555321"/>
                    <a:gd name="connsiteX1" fmla="*/ 278225 w 556450"/>
                    <a:gd name="connsiteY1" fmla="*/ 0 h 555321"/>
                    <a:gd name="connsiteX2" fmla="*/ 0 w 556450"/>
                    <a:gd name="connsiteY2" fmla="*/ 277661 h 555321"/>
                    <a:gd name="connsiteX3" fmla="*/ 278225 w 556450"/>
                    <a:gd name="connsiteY3" fmla="*/ 555322 h 555321"/>
                    <a:gd name="connsiteX4" fmla="*/ 556450 w 556450"/>
                    <a:gd name="connsiteY4" fmla="*/ 277661 h 55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6450" h="555321">
                      <a:moveTo>
                        <a:pt x="556450" y="277661"/>
                      </a:moveTo>
                      <a:cubicBezTo>
                        <a:pt x="556450" y="124315"/>
                        <a:pt x="431883" y="0"/>
                        <a:pt x="278225" y="0"/>
                      </a:cubicBezTo>
                      <a:cubicBezTo>
                        <a:pt x="124567" y="0"/>
                        <a:pt x="0" y="124315"/>
                        <a:pt x="0" y="277661"/>
                      </a:cubicBezTo>
                      <a:cubicBezTo>
                        <a:pt x="0" y="431007"/>
                        <a:pt x="124567" y="555322"/>
                        <a:pt x="278225" y="555322"/>
                      </a:cubicBezTo>
                      <a:cubicBezTo>
                        <a:pt x="431883" y="555322"/>
                        <a:pt x="556450" y="431007"/>
                        <a:pt x="556450" y="277661"/>
                      </a:cubicBezTo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325" name="Forma libre 324">
                  <a:extLst>
                    <a:ext uri="{FF2B5EF4-FFF2-40B4-BE49-F238E27FC236}">
                      <a16:creationId xmlns:a16="http://schemas.microsoft.com/office/drawing/2014/main" id="{987D936E-54B4-0A02-37E0-35B3ACBBB7D8}"/>
                    </a:ext>
                  </a:extLst>
                </p:cNvPr>
                <p:cNvSpPr/>
                <p:nvPr/>
              </p:nvSpPr>
              <p:spPr>
                <a:xfrm>
                  <a:off x="1790814" y="2894387"/>
                  <a:ext cx="556450" cy="555321"/>
                </a:xfrm>
                <a:custGeom>
                  <a:avLst/>
                  <a:gdLst>
                    <a:gd name="connsiteX0" fmla="*/ 556450 w 556450"/>
                    <a:gd name="connsiteY0" fmla="*/ 277661 h 555321"/>
                    <a:gd name="connsiteX1" fmla="*/ 278225 w 556450"/>
                    <a:gd name="connsiteY1" fmla="*/ 0 h 555321"/>
                    <a:gd name="connsiteX2" fmla="*/ 0 w 556450"/>
                    <a:gd name="connsiteY2" fmla="*/ 277661 h 555321"/>
                    <a:gd name="connsiteX3" fmla="*/ 278225 w 556450"/>
                    <a:gd name="connsiteY3" fmla="*/ 555322 h 555321"/>
                    <a:gd name="connsiteX4" fmla="*/ 556450 w 556450"/>
                    <a:gd name="connsiteY4" fmla="*/ 277661 h 55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6450" h="555321">
                      <a:moveTo>
                        <a:pt x="556450" y="277661"/>
                      </a:moveTo>
                      <a:cubicBezTo>
                        <a:pt x="556450" y="124315"/>
                        <a:pt x="431883" y="0"/>
                        <a:pt x="278225" y="0"/>
                      </a:cubicBezTo>
                      <a:cubicBezTo>
                        <a:pt x="124567" y="0"/>
                        <a:pt x="0" y="124315"/>
                        <a:pt x="0" y="277661"/>
                      </a:cubicBezTo>
                      <a:cubicBezTo>
                        <a:pt x="0" y="431007"/>
                        <a:pt x="124567" y="555322"/>
                        <a:pt x="278225" y="555322"/>
                      </a:cubicBezTo>
                      <a:cubicBezTo>
                        <a:pt x="431883" y="555322"/>
                        <a:pt x="556450" y="431007"/>
                        <a:pt x="556450" y="277661"/>
                      </a:cubicBezTo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335" name="Forma libre 334">
                  <a:extLst>
                    <a:ext uri="{FF2B5EF4-FFF2-40B4-BE49-F238E27FC236}">
                      <a16:creationId xmlns:a16="http://schemas.microsoft.com/office/drawing/2014/main" id="{510A728A-12D7-595C-4AB6-ABECF8EF7494}"/>
                    </a:ext>
                  </a:extLst>
                </p:cNvPr>
                <p:cNvSpPr/>
                <p:nvPr/>
              </p:nvSpPr>
              <p:spPr>
                <a:xfrm>
                  <a:off x="1790814" y="3547225"/>
                  <a:ext cx="556450" cy="555321"/>
                </a:xfrm>
                <a:custGeom>
                  <a:avLst/>
                  <a:gdLst>
                    <a:gd name="connsiteX0" fmla="*/ 556450 w 556450"/>
                    <a:gd name="connsiteY0" fmla="*/ 277661 h 555321"/>
                    <a:gd name="connsiteX1" fmla="*/ 278225 w 556450"/>
                    <a:gd name="connsiteY1" fmla="*/ 0 h 555321"/>
                    <a:gd name="connsiteX2" fmla="*/ 0 w 556450"/>
                    <a:gd name="connsiteY2" fmla="*/ 277661 h 555321"/>
                    <a:gd name="connsiteX3" fmla="*/ 278225 w 556450"/>
                    <a:gd name="connsiteY3" fmla="*/ 555322 h 555321"/>
                    <a:gd name="connsiteX4" fmla="*/ 556450 w 556450"/>
                    <a:gd name="connsiteY4" fmla="*/ 277661 h 55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6450" h="555321">
                      <a:moveTo>
                        <a:pt x="556450" y="277661"/>
                      </a:moveTo>
                      <a:cubicBezTo>
                        <a:pt x="556450" y="124315"/>
                        <a:pt x="431883" y="0"/>
                        <a:pt x="278225" y="0"/>
                      </a:cubicBezTo>
                      <a:cubicBezTo>
                        <a:pt x="124567" y="0"/>
                        <a:pt x="0" y="124315"/>
                        <a:pt x="0" y="277661"/>
                      </a:cubicBezTo>
                      <a:cubicBezTo>
                        <a:pt x="0" y="431007"/>
                        <a:pt x="124567" y="555322"/>
                        <a:pt x="278225" y="555322"/>
                      </a:cubicBezTo>
                      <a:cubicBezTo>
                        <a:pt x="431883" y="555322"/>
                        <a:pt x="556450" y="431007"/>
                        <a:pt x="556450" y="277661"/>
                      </a:cubicBezTo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</p:grpSp>
          <p:grpSp>
            <p:nvGrpSpPr>
              <p:cNvPr id="224" name="Gráfico 37">
                <a:extLst>
                  <a:ext uri="{FF2B5EF4-FFF2-40B4-BE49-F238E27FC236}">
                    <a16:creationId xmlns:a16="http://schemas.microsoft.com/office/drawing/2014/main" id="{7E870AE0-55F5-7CE3-FF80-258696E61F85}"/>
                  </a:ext>
                </a:extLst>
              </p:cNvPr>
              <p:cNvGrpSpPr/>
              <p:nvPr/>
            </p:nvGrpSpPr>
            <p:grpSpPr>
              <a:xfrm>
                <a:off x="3335597" y="2762629"/>
                <a:ext cx="5571214" cy="914866"/>
                <a:chOff x="3335597" y="2762629"/>
                <a:chExt cx="5571214" cy="914866"/>
              </a:xfrm>
              <a:solidFill>
                <a:srgbClr val="0066FF"/>
              </a:solidFill>
            </p:grpSpPr>
            <p:sp>
              <p:nvSpPr>
                <p:cNvPr id="225" name="Forma libre 224">
                  <a:extLst>
                    <a:ext uri="{FF2B5EF4-FFF2-40B4-BE49-F238E27FC236}">
                      <a16:creationId xmlns:a16="http://schemas.microsoft.com/office/drawing/2014/main" id="{C564DA2F-1309-4278-F1AC-D040DB0DAABD}"/>
                    </a:ext>
                  </a:extLst>
                </p:cNvPr>
                <p:cNvSpPr/>
                <p:nvPr/>
              </p:nvSpPr>
              <p:spPr>
                <a:xfrm>
                  <a:off x="3335597" y="2801337"/>
                  <a:ext cx="678779" cy="862758"/>
                </a:xfrm>
                <a:custGeom>
                  <a:avLst/>
                  <a:gdLst>
                    <a:gd name="connsiteX0" fmla="*/ 258831 w 678779"/>
                    <a:gd name="connsiteY0" fmla="*/ 154091 h 862758"/>
                    <a:gd name="connsiteX1" fmla="*/ 0 w 678779"/>
                    <a:gd name="connsiteY1" fmla="*/ 154091 h 862758"/>
                    <a:gd name="connsiteX2" fmla="*/ 0 w 678779"/>
                    <a:gd name="connsiteY2" fmla="*/ 0 h 862758"/>
                    <a:gd name="connsiteX3" fmla="*/ 678780 w 678779"/>
                    <a:gd name="connsiteY3" fmla="*/ 0 h 862758"/>
                    <a:gd name="connsiteX4" fmla="*/ 678780 w 678779"/>
                    <a:gd name="connsiteY4" fmla="*/ 154091 h 862758"/>
                    <a:gd name="connsiteX5" fmla="*/ 419202 w 678779"/>
                    <a:gd name="connsiteY5" fmla="*/ 154091 h 862758"/>
                    <a:gd name="connsiteX6" fmla="*/ 419202 w 678779"/>
                    <a:gd name="connsiteY6" fmla="*/ 862758 h 862758"/>
                    <a:gd name="connsiteX7" fmla="*/ 258831 w 678779"/>
                    <a:gd name="connsiteY7" fmla="*/ 862758 h 8627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78779" h="862758">
                      <a:moveTo>
                        <a:pt x="258831" y="154091"/>
                      </a:moveTo>
                      <a:lnTo>
                        <a:pt x="0" y="154091"/>
                      </a:lnTo>
                      <a:lnTo>
                        <a:pt x="0" y="0"/>
                      </a:lnTo>
                      <a:lnTo>
                        <a:pt x="678780" y="0"/>
                      </a:lnTo>
                      <a:lnTo>
                        <a:pt x="678780" y="154091"/>
                      </a:lnTo>
                      <a:lnTo>
                        <a:pt x="419202" y="154091"/>
                      </a:lnTo>
                      <a:lnTo>
                        <a:pt x="419202" y="862758"/>
                      </a:lnTo>
                      <a:lnTo>
                        <a:pt x="258831" y="862758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226" name="Forma libre 225">
                  <a:extLst>
                    <a:ext uri="{FF2B5EF4-FFF2-40B4-BE49-F238E27FC236}">
                      <a16:creationId xmlns:a16="http://schemas.microsoft.com/office/drawing/2014/main" id="{AED6AE22-D3A8-467E-F31E-B9A3909FB5AD}"/>
                    </a:ext>
                  </a:extLst>
                </p:cNvPr>
                <p:cNvSpPr/>
                <p:nvPr/>
              </p:nvSpPr>
              <p:spPr>
                <a:xfrm>
                  <a:off x="3945753" y="3023168"/>
                  <a:ext cx="629549" cy="653582"/>
                </a:xfrm>
                <a:custGeom>
                  <a:avLst/>
                  <a:gdLst>
                    <a:gd name="connsiteX0" fmla="*/ 475146 w 629549"/>
                    <a:gd name="connsiteY0" fmla="*/ 271706 h 653582"/>
                    <a:gd name="connsiteX1" fmla="*/ 320742 w 629549"/>
                    <a:gd name="connsiteY1" fmla="*/ 130270 h 653582"/>
                    <a:gd name="connsiteX2" fmla="*/ 153658 w 629549"/>
                    <a:gd name="connsiteY2" fmla="*/ 271706 h 653582"/>
                    <a:gd name="connsiteX3" fmla="*/ 475146 w 629549"/>
                    <a:gd name="connsiteY3" fmla="*/ 271706 h 653582"/>
                    <a:gd name="connsiteX4" fmla="*/ 610902 w 629549"/>
                    <a:gd name="connsiteY4" fmla="*/ 456317 h 653582"/>
                    <a:gd name="connsiteX5" fmla="*/ 320742 w 629549"/>
                    <a:gd name="connsiteY5" fmla="*/ 653582 h 653582"/>
                    <a:gd name="connsiteX6" fmla="*/ 0 w 629549"/>
                    <a:gd name="connsiteY6" fmla="*/ 326791 h 653582"/>
                    <a:gd name="connsiteX7" fmla="*/ 320742 w 629549"/>
                    <a:gd name="connsiteY7" fmla="*/ 0 h 653582"/>
                    <a:gd name="connsiteX8" fmla="*/ 629549 w 629549"/>
                    <a:gd name="connsiteY8" fmla="*/ 314136 h 653582"/>
                    <a:gd name="connsiteX9" fmla="*/ 625820 w 629549"/>
                    <a:gd name="connsiteY9" fmla="*/ 358800 h 653582"/>
                    <a:gd name="connsiteX10" fmla="*/ 623582 w 629549"/>
                    <a:gd name="connsiteY10" fmla="*/ 375921 h 653582"/>
                    <a:gd name="connsiteX11" fmla="*/ 154404 w 629549"/>
                    <a:gd name="connsiteY11" fmla="*/ 375921 h 653582"/>
                    <a:gd name="connsiteX12" fmla="*/ 321488 w 629549"/>
                    <a:gd name="connsiteY12" fmla="*/ 524057 h 653582"/>
                    <a:gd name="connsiteX13" fmla="*/ 451277 w 629549"/>
                    <a:gd name="connsiteY13" fmla="*/ 456317 h 653582"/>
                    <a:gd name="connsiteX14" fmla="*/ 610902 w 629549"/>
                    <a:gd name="connsiteY14" fmla="*/ 456317 h 653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9549" h="653582">
                      <a:moveTo>
                        <a:pt x="475146" y="271706"/>
                      </a:moveTo>
                      <a:cubicBezTo>
                        <a:pt x="461719" y="191310"/>
                        <a:pt x="408760" y="130270"/>
                        <a:pt x="320742" y="130270"/>
                      </a:cubicBezTo>
                      <a:cubicBezTo>
                        <a:pt x="226757" y="130270"/>
                        <a:pt x="172306" y="192055"/>
                        <a:pt x="153658" y="271706"/>
                      </a:cubicBezTo>
                      <a:lnTo>
                        <a:pt x="475146" y="271706"/>
                      </a:lnTo>
                      <a:close/>
                      <a:moveTo>
                        <a:pt x="610902" y="456317"/>
                      </a:moveTo>
                      <a:cubicBezTo>
                        <a:pt x="597475" y="505447"/>
                        <a:pt x="519155" y="653582"/>
                        <a:pt x="320742" y="653582"/>
                      </a:cubicBezTo>
                      <a:cubicBezTo>
                        <a:pt x="135756" y="653582"/>
                        <a:pt x="0" y="518102"/>
                        <a:pt x="0" y="326791"/>
                      </a:cubicBezTo>
                      <a:cubicBezTo>
                        <a:pt x="0" y="135481"/>
                        <a:pt x="135756" y="0"/>
                        <a:pt x="320742" y="0"/>
                      </a:cubicBezTo>
                      <a:cubicBezTo>
                        <a:pt x="493793" y="0"/>
                        <a:pt x="629549" y="135481"/>
                        <a:pt x="629549" y="314136"/>
                      </a:cubicBezTo>
                      <a:cubicBezTo>
                        <a:pt x="629549" y="332746"/>
                        <a:pt x="627312" y="347634"/>
                        <a:pt x="625820" y="358800"/>
                      </a:cubicBezTo>
                      <a:lnTo>
                        <a:pt x="623582" y="375921"/>
                      </a:lnTo>
                      <a:lnTo>
                        <a:pt x="154404" y="375921"/>
                      </a:lnTo>
                      <a:cubicBezTo>
                        <a:pt x="167830" y="463760"/>
                        <a:pt x="233470" y="524057"/>
                        <a:pt x="321488" y="524057"/>
                      </a:cubicBezTo>
                      <a:cubicBezTo>
                        <a:pt x="394587" y="524057"/>
                        <a:pt x="438596" y="482370"/>
                        <a:pt x="451277" y="456317"/>
                      </a:cubicBezTo>
                      <a:lnTo>
                        <a:pt x="610902" y="456317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227" name="Forma libre 226">
                  <a:extLst>
                    <a:ext uri="{FF2B5EF4-FFF2-40B4-BE49-F238E27FC236}">
                      <a16:creationId xmlns:a16="http://schemas.microsoft.com/office/drawing/2014/main" id="{E913AD85-4DA3-87FD-BBE9-19F7B16FC742}"/>
                    </a:ext>
                  </a:extLst>
                </p:cNvPr>
                <p:cNvSpPr/>
                <p:nvPr/>
              </p:nvSpPr>
              <p:spPr>
                <a:xfrm>
                  <a:off x="4667796" y="2801337"/>
                  <a:ext cx="154403" cy="862758"/>
                </a:xfrm>
                <a:custGeom>
                  <a:avLst/>
                  <a:gdLst>
                    <a:gd name="connsiteX0" fmla="*/ 0 w 154403"/>
                    <a:gd name="connsiteY0" fmla="*/ 0 h 862758"/>
                    <a:gd name="connsiteX1" fmla="*/ 154404 w 154403"/>
                    <a:gd name="connsiteY1" fmla="*/ 0 h 862758"/>
                    <a:gd name="connsiteX2" fmla="*/ 154404 w 154403"/>
                    <a:gd name="connsiteY2" fmla="*/ 862758 h 862758"/>
                    <a:gd name="connsiteX3" fmla="*/ 0 w 154403"/>
                    <a:gd name="connsiteY3" fmla="*/ 862758 h 8627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4403" h="862758">
                      <a:moveTo>
                        <a:pt x="0" y="0"/>
                      </a:moveTo>
                      <a:lnTo>
                        <a:pt x="154404" y="0"/>
                      </a:lnTo>
                      <a:lnTo>
                        <a:pt x="154404" y="862758"/>
                      </a:lnTo>
                      <a:lnTo>
                        <a:pt x="0" y="862758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228" name="Forma libre 227">
                  <a:extLst>
                    <a:ext uri="{FF2B5EF4-FFF2-40B4-BE49-F238E27FC236}">
                      <a16:creationId xmlns:a16="http://schemas.microsoft.com/office/drawing/2014/main" id="{3062B5DC-10CF-4082-4EA1-4C7B0EB1E7E3}"/>
                    </a:ext>
                  </a:extLst>
                </p:cNvPr>
                <p:cNvSpPr/>
                <p:nvPr/>
              </p:nvSpPr>
              <p:spPr>
                <a:xfrm>
                  <a:off x="4915438" y="3023168"/>
                  <a:ext cx="629549" cy="653582"/>
                </a:xfrm>
                <a:custGeom>
                  <a:avLst/>
                  <a:gdLst>
                    <a:gd name="connsiteX0" fmla="*/ 474400 w 629549"/>
                    <a:gd name="connsiteY0" fmla="*/ 271706 h 653582"/>
                    <a:gd name="connsiteX1" fmla="*/ 319996 w 629549"/>
                    <a:gd name="connsiteY1" fmla="*/ 130270 h 653582"/>
                    <a:gd name="connsiteX2" fmla="*/ 152912 w 629549"/>
                    <a:gd name="connsiteY2" fmla="*/ 271706 h 653582"/>
                    <a:gd name="connsiteX3" fmla="*/ 474400 w 629549"/>
                    <a:gd name="connsiteY3" fmla="*/ 271706 h 653582"/>
                    <a:gd name="connsiteX4" fmla="*/ 610902 w 629549"/>
                    <a:gd name="connsiteY4" fmla="*/ 456317 h 653582"/>
                    <a:gd name="connsiteX5" fmla="*/ 320742 w 629549"/>
                    <a:gd name="connsiteY5" fmla="*/ 653582 h 653582"/>
                    <a:gd name="connsiteX6" fmla="*/ 0 w 629549"/>
                    <a:gd name="connsiteY6" fmla="*/ 326791 h 653582"/>
                    <a:gd name="connsiteX7" fmla="*/ 320742 w 629549"/>
                    <a:gd name="connsiteY7" fmla="*/ 0 h 653582"/>
                    <a:gd name="connsiteX8" fmla="*/ 629549 w 629549"/>
                    <a:gd name="connsiteY8" fmla="*/ 314136 h 653582"/>
                    <a:gd name="connsiteX9" fmla="*/ 625820 w 629549"/>
                    <a:gd name="connsiteY9" fmla="*/ 358800 h 653582"/>
                    <a:gd name="connsiteX10" fmla="*/ 623582 w 629549"/>
                    <a:gd name="connsiteY10" fmla="*/ 375921 h 653582"/>
                    <a:gd name="connsiteX11" fmla="*/ 154404 w 629549"/>
                    <a:gd name="connsiteY11" fmla="*/ 375921 h 653582"/>
                    <a:gd name="connsiteX12" fmla="*/ 321488 w 629549"/>
                    <a:gd name="connsiteY12" fmla="*/ 524057 h 653582"/>
                    <a:gd name="connsiteX13" fmla="*/ 451276 w 629549"/>
                    <a:gd name="connsiteY13" fmla="*/ 456317 h 653582"/>
                    <a:gd name="connsiteX14" fmla="*/ 610902 w 629549"/>
                    <a:gd name="connsiteY14" fmla="*/ 456317 h 653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9549" h="653582">
                      <a:moveTo>
                        <a:pt x="474400" y="271706"/>
                      </a:moveTo>
                      <a:cubicBezTo>
                        <a:pt x="460974" y="191310"/>
                        <a:pt x="408014" y="130270"/>
                        <a:pt x="319996" y="130270"/>
                      </a:cubicBezTo>
                      <a:cubicBezTo>
                        <a:pt x="226011" y="130270"/>
                        <a:pt x="171559" y="192055"/>
                        <a:pt x="152912" y="271706"/>
                      </a:cubicBezTo>
                      <a:lnTo>
                        <a:pt x="474400" y="271706"/>
                      </a:lnTo>
                      <a:close/>
                      <a:moveTo>
                        <a:pt x="610902" y="456317"/>
                      </a:moveTo>
                      <a:cubicBezTo>
                        <a:pt x="597475" y="505447"/>
                        <a:pt x="519155" y="653582"/>
                        <a:pt x="320742" y="653582"/>
                      </a:cubicBezTo>
                      <a:cubicBezTo>
                        <a:pt x="135756" y="653582"/>
                        <a:pt x="0" y="518102"/>
                        <a:pt x="0" y="326791"/>
                      </a:cubicBezTo>
                      <a:cubicBezTo>
                        <a:pt x="0" y="135481"/>
                        <a:pt x="135756" y="0"/>
                        <a:pt x="320742" y="0"/>
                      </a:cubicBezTo>
                      <a:cubicBezTo>
                        <a:pt x="493793" y="0"/>
                        <a:pt x="629549" y="135481"/>
                        <a:pt x="629549" y="314136"/>
                      </a:cubicBezTo>
                      <a:cubicBezTo>
                        <a:pt x="629549" y="332746"/>
                        <a:pt x="627312" y="347634"/>
                        <a:pt x="625820" y="358800"/>
                      </a:cubicBezTo>
                      <a:lnTo>
                        <a:pt x="623582" y="375921"/>
                      </a:lnTo>
                      <a:lnTo>
                        <a:pt x="154404" y="375921"/>
                      </a:lnTo>
                      <a:cubicBezTo>
                        <a:pt x="167830" y="463760"/>
                        <a:pt x="233471" y="524057"/>
                        <a:pt x="321488" y="524057"/>
                      </a:cubicBezTo>
                      <a:cubicBezTo>
                        <a:pt x="394587" y="524057"/>
                        <a:pt x="438596" y="482370"/>
                        <a:pt x="451276" y="456317"/>
                      </a:cubicBezTo>
                      <a:lnTo>
                        <a:pt x="610902" y="456317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229" name="Forma libre 228">
                  <a:extLst>
                    <a:ext uri="{FF2B5EF4-FFF2-40B4-BE49-F238E27FC236}">
                      <a16:creationId xmlns:a16="http://schemas.microsoft.com/office/drawing/2014/main" id="{AD0FA503-ABA8-4862-09B5-B4FE3C519FDD}"/>
                    </a:ext>
                  </a:extLst>
                </p:cNvPr>
                <p:cNvSpPr/>
                <p:nvPr/>
              </p:nvSpPr>
              <p:spPr>
                <a:xfrm>
                  <a:off x="5581538" y="2789427"/>
                  <a:ext cx="395333" cy="875412"/>
                </a:xfrm>
                <a:custGeom>
                  <a:avLst/>
                  <a:gdLst>
                    <a:gd name="connsiteX0" fmla="*/ 105173 w 395333"/>
                    <a:gd name="connsiteY0" fmla="*/ 394531 h 875412"/>
                    <a:gd name="connsiteX1" fmla="*/ 0 w 395333"/>
                    <a:gd name="connsiteY1" fmla="*/ 394531 h 875412"/>
                    <a:gd name="connsiteX2" fmla="*/ 0 w 395333"/>
                    <a:gd name="connsiteY2" fmla="*/ 246396 h 875412"/>
                    <a:gd name="connsiteX3" fmla="*/ 105173 w 395333"/>
                    <a:gd name="connsiteY3" fmla="*/ 246396 h 875412"/>
                    <a:gd name="connsiteX4" fmla="*/ 105173 w 395333"/>
                    <a:gd name="connsiteY4" fmla="*/ 154091 h 875412"/>
                    <a:gd name="connsiteX5" fmla="*/ 259577 w 395333"/>
                    <a:gd name="connsiteY5" fmla="*/ 0 h 875412"/>
                    <a:gd name="connsiteX6" fmla="*/ 395333 w 395333"/>
                    <a:gd name="connsiteY6" fmla="*/ 0 h 875412"/>
                    <a:gd name="connsiteX7" fmla="*/ 395333 w 395333"/>
                    <a:gd name="connsiteY7" fmla="*/ 135481 h 875412"/>
                    <a:gd name="connsiteX8" fmla="*/ 302840 w 395333"/>
                    <a:gd name="connsiteY8" fmla="*/ 135481 h 875412"/>
                    <a:gd name="connsiteX9" fmla="*/ 259577 w 395333"/>
                    <a:gd name="connsiteY9" fmla="*/ 178656 h 875412"/>
                    <a:gd name="connsiteX10" fmla="*/ 259577 w 395333"/>
                    <a:gd name="connsiteY10" fmla="*/ 246396 h 875412"/>
                    <a:gd name="connsiteX11" fmla="*/ 395333 w 395333"/>
                    <a:gd name="connsiteY11" fmla="*/ 246396 h 875412"/>
                    <a:gd name="connsiteX12" fmla="*/ 395333 w 395333"/>
                    <a:gd name="connsiteY12" fmla="*/ 394531 h 875412"/>
                    <a:gd name="connsiteX13" fmla="*/ 259577 w 395333"/>
                    <a:gd name="connsiteY13" fmla="*/ 394531 h 875412"/>
                    <a:gd name="connsiteX14" fmla="*/ 259577 w 395333"/>
                    <a:gd name="connsiteY14" fmla="*/ 875413 h 875412"/>
                    <a:gd name="connsiteX15" fmla="*/ 105173 w 395333"/>
                    <a:gd name="connsiteY15" fmla="*/ 875413 h 875412"/>
                    <a:gd name="connsiteX16" fmla="*/ 105173 w 395333"/>
                    <a:gd name="connsiteY16" fmla="*/ 394531 h 875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95333" h="875412">
                      <a:moveTo>
                        <a:pt x="105173" y="394531"/>
                      </a:moveTo>
                      <a:lnTo>
                        <a:pt x="0" y="394531"/>
                      </a:lnTo>
                      <a:lnTo>
                        <a:pt x="0" y="246396"/>
                      </a:lnTo>
                      <a:lnTo>
                        <a:pt x="105173" y="246396"/>
                      </a:lnTo>
                      <a:lnTo>
                        <a:pt x="105173" y="154091"/>
                      </a:lnTo>
                      <a:cubicBezTo>
                        <a:pt x="105173" y="60296"/>
                        <a:pt x="165592" y="0"/>
                        <a:pt x="259577" y="0"/>
                      </a:cubicBezTo>
                      <a:lnTo>
                        <a:pt x="395333" y="0"/>
                      </a:lnTo>
                      <a:lnTo>
                        <a:pt x="395333" y="135481"/>
                      </a:lnTo>
                      <a:lnTo>
                        <a:pt x="302840" y="135481"/>
                      </a:lnTo>
                      <a:cubicBezTo>
                        <a:pt x="278225" y="135481"/>
                        <a:pt x="259577" y="154091"/>
                        <a:pt x="259577" y="178656"/>
                      </a:cubicBezTo>
                      <a:lnTo>
                        <a:pt x="259577" y="246396"/>
                      </a:lnTo>
                      <a:lnTo>
                        <a:pt x="395333" y="246396"/>
                      </a:lnTo>
                      <a:lnTo>
                        <a:pt x="395333" y="394531"/>
                      </a:lnTo>
                      <a:lnTo>
                        <a:pt x="259577" y="394531"/>
                      </a:lnTo>
                      <a:lnTo>
                        <a:pt x="259577" y="875413"/>
                      </a:lnTo>
                      <a:lnTo>
                        <a:pt x="105173" y="875413"/>
                      </a:lnTo>
                      <a:lnTo>
                        <a:pt x="105173" y="394531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230" name="Forma libre 229">
                  <a:extLst>
                    <a:ext uri="{FF2B5EF4-FFF2-40B4-BE49-F238E27FC236}">
                      <a16:creationId xmlns:a16="http://schemas.microsoft.com/office/drawing/2014/main" id="{41D91BEE-047A-8032-0A7B-2869734787F7}"/>
                    </a:ext>
                  </a:extLst>
                </p:cNvPr>
                <p:cNvSpPr/>
                <p:nvPr/>
              </p:nvSpPr>
              <p:spPr>
                <a:xfrm>
                  <a:off x="6734717" y="3023168"/>
                  <a:ext cx="580319" cy="640927"/>
                </a:xfrm>
                <a:custGeom>
                  <a:avLst/>
                  <a:gdLst>
                    <a:gd name="connsiteX0" fmla="*/ 0 w 580319"/>
                    <a:gd name="connsiteY0" fmla="*/ 12655 h 640927"/>
                    <a:gd name="connsiteX1" fmla="*/ 141723 w 580319"/>
                    <a:gd name="connsiteY1" fmla="*/ 12655 h 640927"/>
                    <a:gd name="connsiteX2" fmla="*/ 154404 w 580319"/>
                    <a:gd name="connsiteY2" fmla="*/ 74440 h 640927"/>
                    <a:gd name="connsiteX3" fmla="*/ 160371 w 580319"/>
                    <a:gd name="connsiteY3" fmla="*/ 74440 h 640927"/>
                    <a:gd name="connsiteX4" fmla="*/ 202142 w 580319"/>
                    <a:gd name="connsiteY4" fmla="*/ 37220 h 640927"/>
                    <a:gd name="connsiteX5" fmla="*/ 333423 w 580319"/>
                    <a:gd name="connsiteY5" fmla="*/ 0 h 640927"/>
                    <a:gd name="connsiteX6" fmla="*/ 580319 w 580319"/>
                    <a:gd name="connsiteY6" fmla="*/ 265006 h 640927"/>
                    <a:gd name="connsiteX7" fmla="*/ 580319 w 580319"/>
                    <a:gd name="connsiteY7" fmla="*/ 640927 h 640927"/>
                    <a:gd name="connsiteX8" fmla="*/ 425915 w 580319"/>
                    <a:gd name="connsiteY8" fmla="*/ 640927 h 640927"/>
                    <a:gd name="connsiteX9" fmla="*/ 425915 w 580319"/>
                    <a:gd name="connsiteY9" fmla="*/ 277661 h 640927"/>
                    <a:gd name="connsiteX10" fmla="*/ 290160 w 580319"/>
                    <a:gd name="connsiteY10" fmla="*/ 142180 h 640927"/>
                    <a:gd name="connsiteX11" fmla="*/ 154404 w 580319"/>
                    <a:gd name="connsiteY11" fmla="*/ 277661 h 640927"/>
                    <a:gd name="connsiteX12" fmla="*/ 154404 w 580319"/>
                    <a:gd name="connsiteY12" fmla="*/ 640927 h 640927"/>
                    <a:gd name="connsiteX13" fmla="*/ 0 w 580319"/>
                    <a:gd name="connsiteY13" fmla="*/ 640927 h 640927"/>
                    <a:gd name="connsiteX14" fmla="*/ 0 w 580319"/>
                    <a:gd name="connsiteY14" fmla="*/ 12655 h 6409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580319" h="640927">
                      <a:moveTo>
                        <a:pt x="0" y="12655"/>
                      </a:moveTo>
                      <a:lnTo>
                        <a:pt x="141723" y="12655"/>
                      </a:lnTo>
                      <a:lnTo>
                        <a:pt x="154404" y="74440"/>
                      </a:lnTo>
                      <a:lnTo>
                        <a:pt x="160371" y="74440"/>
                      </a:lnTo>
                      <a:cubicBezTo>
                        <a:pt x="171560" y="61041"/>
                        <a:pt x="186478" y="48386"/>
                        <a:pt x="202142" y="37220"/>
                      </a:cubicBezTo>
                      <a:cubicBezTo>
                        <a:pt x="230487" y="18610"/>
                        <a:pt x="273750" y="0"/>
                        <a:pt x="333423" y="0"/>
                      </a:cubicBezTo>
                      <a:cubicBezTo>
                        <a:pt x="475146" y="0"/>
                        <a:pt x="580319" y="104960"/>
                        <a:pt x="580319" y="265006"/>
                      </a:cubicBezTo>
                      <a:lnTo>
                        <a:pt x="580319" y="640927"/>
                      </a:lnTo>
                      <a:lnTo>
                        <a:pt x="425915" y="640927"/>
                      </a:lnTo>
                      <a:lnTo>
                        <a:pt x="425915" y="277661"/>
                      </a:lnTo>
                      <a:cubicBezTo>
                        <a:pt x="425915" y="197266"/>
                        <a:pt x="369972" y="142180"/>
                        <a:pt x="290160" y="142180"/>
                      </a:cubicBezTo>
                      <a:cubicBezTo>
                        <a:pt x="209601" y="142180"/>
                        <a:pt x="154404" y="198010"/>
                        <a:pt x="154404" y="277661"/>
                      </a:cubicBezTo>
                      <a:lnTo>
                        <a:pt x="154404" y="640927"/>
                      </a:lnTo>
                      <a:lnTo>
                        <a:pt x="0" y="640927"/>
                      </a:lnTo>
                      <a:lnTo>
                        <a:pt x="0" y="12655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231" name="Forma libre 230">
                  <a:extLst>
                    <a:ext uri="{FF2B5EF4-FFF2-40B4-BE49-F238E27FC236}">
                      <a16:creationId xmlns:a16="http://schemas.microsoft.com/office/drawing/2014/main" id="{5A9B3DA1-8D40-0D83-05E1-465E52A99E2D}"/>
                    </a:ext>
                  </a:extLst>
                </p:cNvPr>
                <p:cNvSpPr/>
                <p:nvPr/>
              </p:nvSpPr>
              <p:spPr>
                <a:xfrm>
                  <a:off x="7681279" y="3023168"/>
                  <a:ext cx="616868" cy="653582"/>
                </a:xfrm>
                <a:custGeom>
                  <a:avLst/>
                  <a:gdLst>
                    <a:gd name="connsiteX0" fmla="*/ 616869 w 616868"/>
                    <a:gd name="connsiteY0" fmla="*/ 407186 h 653582"/>
                    <a:gd name="connsiteX1" fmla="*/ 320742 w 616868"/>
                    <a:gd name="connsiteY1" fmla="*/ 653582 h 653582"/>
                    <a:gd name="connsiteX2" fmla="*/ 0 w 616868"/>
                    <a:gd name="connsiteY2" fmla="*/ 326791 h 653582"/>
                    <a:gd name="connsiteX3" fmla="*/ 320742 w 616868"/>
                    <a:gd name="connsiteY3" fmla="*/ 0 h 653582"/>
                    <a:gd name="connsiteX4" fmla="*/ 616869 w 616868"/>
                    <a:gd name="connsiteY4" fmla="*/ 240441 h 653582"/>
                    <a:gd name="connsiteX5" fmla="*/ 462465 w 616868"/>
                    <a:gd name="connsiteY5" fmla="*/ 240441 h 653582"/>
                    <a:gd name="connsiteX6" fmla="*/ 320742 w 616868"/>
                    <a:gd name="connsiteY6" fmla="*/ 142180 h 653582"/>
                    <a:gd name="connsiteX7" fmla="*/ 153658 w 616868"/>
                    <a:gd name="connsiteY7" fmla="*/ 326791 h 653582"/>
                    <a:gd name="connsiteX8" fmla="*/ 320742 w 616868"/>
                    <a:gd name="connsiteY8" fmla="*/ 511402 h 653582"/>
                    <a:gd name="connsiteX9" fmla="*/ 462465 w 616868"/>
                    <a:gd name="connsiteY9" fmla="*/ 406442 h 653582"/>
                    <a:gd name="connsiteX10" fmla="*/ 616869 w 616868"/>
                    <a:gd name="connsiteY10" fmla="*/ 406442 h 653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16868" h="653582">
                      <a:moveTo>
                        <a:pt x="616869" y="407186"/>
                      </a:moveTo>
                      <a:cubicBezTo>
                        <a:pt x="596729" y="505447"/>
                        <a:pt x="519154" y="653582"/>
                        <a:pt x="320742" y="653582"/>
                      </a:cubicBezTo>
                      <a:cubicBezTo>
                        <a:pt x="135756" y="653582"/>
                        <a:pt x="0" y="518102"/>
                        <a:pt x="0" y="326791"/>
                      </a:cubicBezTo>
                      <a:cubicBezTo>
                        <a:pt x="0" y="135481"/>
                        <a:pt x="135756" y="0"/>
                        <a:pt x="320742" y="0"/>
                      </a:cubicBezTo>
                      <a:cubicBezTo>
                        <a:pt x="519900" y="0"/>
                        <a:pt x="597475" y="148135"/>
                        <a:pt x="616869" y="240441"/>
                      </a:cubicBezTo>
                      <a:lnTo>
                        <a:pt x="462465" y="240441"/>
                      </a:lnTo>
                      <a:cubicBezTo>
                        <a:pt x="449038" y="204710"/>
                        <a:pt x="413235" y="142180"/>
                        <a:pt x="320742" y="142180"/>
                      </a:cubicBezTo>
                      <a:cubicBezTo>
                        <a:pt x="228249" y="142180"/>
                        <a:pt x="153658" y="215876"/>
                        <a:pt x="153658" y="326791"/>
                      </a:cubicBezTo>
                      <a:cubicBezTo>
                        <a:pt x="153658" y="437707"/>
                        <a:pt x="227503" y="511402"/>
                        <a:pt x="320742" y="511402"/>
                      </a:cubicBezTo>
                      <a:cubicBezTo>
                        <a:pt x="413981" y="511402"/>
                        <a:pt x="449038" y="449617"/>
                        <a:pt x="462465" y="406442"/>
                      </a:cubicBezTo>
                      <a:lnTo>
                        <a:pt x="616869" y="406442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232" name="Forma libre 231">
                  <a:extLst>
                    <a:ext uri="{FF2B5EF4-FFF2-40B4-BE49-F238E27FC236}">
                      <a16:creationId xmlns:a16="http://schemas.microsoft.com/office/drawing/2014/main" id="{5B3E24D6-6E7A-9601-D181-EE31F8270A12}"/>
                    </a:ext>
                  </a:extLst>
                </p:cNvPr>
                <p:cNvSpPr/>
                <p:nvPr/>
              </p:nvSpPr>
              <p:spPr>
                <a:xfrm>
                  <a:off x="8351108" y="3023913"/>
                  <a:ext cx="555703" cy="653582"/>
                </a:xfrm>
                <a:custGeom>
                  <a:avLst/>
                  <a:gdLst>
                    <a:gd name="connsiteX0" fmla="*/ 401300 w 555703"/>
                    <a:gd name="connsiteY0" fmla="*/ 369222 h 653582"/>
                    <a:gd name="connsiteX1" fmla="*/ 271512 w 555703"/>
                    <a:gd name="connsiteY1" fmla="*/ 369222 h 653582"/>
                    <a:gd name="connsiteX2" fmla="*/ 154404 w 555703"/>
                    <a:gd name="connsiteY2" fmla="*/ 449617 h 653582"/>
                    <a:gd name="connsiteX3" fmla="*/ 252864 w 555703"/>
                    <a:gd name="connsiteY3" fmla="*/ 530012 h 653582"/>
                    <a:gd name="connsiteX4" fmla="*/ 401300 w 555703"/>
                    <a:gd name="connsiteY4" fmla="*/ 388576 h 653582"/>
                    <a:gd name="connsiteX5" fmla="*/ 401300 w 555703"/>
                    <a:gd name="connsiteY5" fmla="*/ 369222 h 653582"/>
                    <a:gd name="connsiteX6" fmla="*/ 413235 w 555703"/>
                    <a:gd name="connsiteY6" fmla="*/ 579142 h 653582"/>
                    <a:gd name="connsiteX7" fmla="*/ 407268 w 555703"/>
                    <a:gd name="connsiteY7" fmla="*/ 579142 h 653582"/>
                    <a:gd name="connsiteX8" fmla="*/ 364005 w 555703"/>
                    <a:gd name="connsiteY8" fmla="*/ 616362 h 653582"/>
                    <a:gd name="connsiteX9" fmla="*/ 228249 w 555703"/>
                    <a:gd name="connsiteY9" fmla="*/ 653582 h 653582"/>
                    <a:gd name="connsiteX10" fmla="*/ 0 w 555703"/>
                    <a:gd name="connsiteY10" fmla="*/ 462272 h 653582"/>
                    <a:gd name="connsiteX11" fmla="*/ 259577 w 555703"/>
                    <a:gd name="connsiteY11" fmla="*/ 252351 h 653582"/>
                    <a:gd name="connsiteX12" fmla="*/ 401300 w 555703"/>
                    <a:gd name="connsiteY12" fmla="*/ 252351 h 653582"/>
                    <a:gd name="connsiteX13" fmla="*/ 401300 w 555703"/>
                    <a:gd name="connsiteY13" fmla="*/ 239696 h 653582"/>
                    <a:gd name="connsiteX14" fmla="*/ 290159 w 555703"/>
                    <a:gd name="connsiteY14" fmla="*/ 122826 h 653582"/>
                    <a:gd name="connsiteX15" fmla="*/ 179019 w 555703"/>
                    <a:gd name="connsiteY15" fmla="*/ 203221 h 653582"/>
                    <a:gd name="connsiteX16" fmla="*/ 24615 w 555703"/>
                    <a:gd name="connsiteY16" fmla="*/ 203221 h 653582"/>
                    <a:gd name="connsiteX17" fmla="*/ 290159 w 555703"/>
                    <a:gd name="connsiteY17" fmla="*/ 0 h 653582"/>
                    <a:gd name="connsiteX18" fmla="*/ 555704 w 555703"/>
                    <a:gd name="connsiteY18" fmla="*/ 240441 h 653582"/>
                    <a:gd name="connsiteX19" fmla="*/ 555704 w 555703"/>
                    <a:gd name="connsiteY19" fmla="*/ 640927 h 653582"/>
                    <a:gd name="connsiteX20" fmla="*/ 425916 w 555703"/>
                    <a:gd name="connsiteY20" fmla="*/ 640927 h 653582"/>
                    <a:gd name="connsiteX21" fmla="*/ 413235 w 555703"/>
                    <a:gd name="connsiteY21" fmla="*/ 579142 h 653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555703" h="653582">
                      <a:moveTo>
                        <a:pt x="401300" y="369222"/>
                      </a:moveTo>
                      <a:lnTo>
                        <a:pt x="271512" y="369222"/>
                      </a:lnTo>
                      <a:cubicBezTo>
                        <a:pt x="190953" y="369222"/>
                        <a:pt x="154404" y="399742"/>
                        <a:pt x="154404" y="449617"/>
                      </a:cubicBezTo>
                      <a:cubicBezTo>
                        <a:pt x="154404" y="498747"/>
                        <a:pt x="190207" y="530012"/>
                        <a:pt x="252864" y="530012"/>
                      </a:cubicBezTo>
                      <a:cubicBezTo>
                        <a:pt x="346849" y="530012"/>
                        <a:pt x="401300" y="475671"/>
                        <a:pt x="401300" y="388576"/>
                      </a:cubicBezTo>
                      <a:lnTo>
                        <a:pt x="401300" y="369222"/>
                      </a:lnTo>
                      <a:close/>
                      <a:moveTo>
                        <a:pt x="413235" y="579142"/>
                      </a:moveTo>
                      <a:lnTo>
                        <a:pt x="407268" y="579142"/>
                      </a:lnTo>
                      <a:cubicBezTo>
                        <a:pt x="396079" y="592541"/>
                        <a:pt x="381161" y="605196"/>
                        <a:pt x="364005" y="616362"/>
                      </a:cubicBezTo>
                      <a:cubicBezTo>
                        <a:pt x="334168" y="634972"/>
                        <a:pt x="290906" y="653582"/>
                        <a:pt x="228249" y="653582"/>
                      </a:cubicBezTo>
                      <a:cubicBezTo>
                        <a:pt x="85034" y="653582"/>
                        <a:pt x="0" y="565743"/>
                        <a:pt x="0" y="462272"/>
                      </a:cubicBezTo>
                      <a:cubicBezTo>
                        <a:pt x="0" y="338702"/>
                        <a:pt x="86526" y="252351"/>
                        <a:pt x="259577" y="252351"/>
                      </a:cubicBezTo>
                      <a:lnTo>
                        <a:pt x="401300" y="252351"/>
                      </a:lnTo>
                      <a:lnTo>
                        <a:pt x="401300" y="239696"/>
                      </a:lnTo>
                      <a:cubicBezTo>
                        <a:pt x="401300" y="170467"/>
                        <a:pt x="359530" y="122826"/>
                        <a:pt x="290159" y="122826"/>
                      </a:cubicBezTo>
                      <a:cubicBezTo>
                        <a:pt x="220790" y="122826"/>
                        <a:pt x="184986" y="167490"/>
                        <a:pt x="179019" y="203221"/>
                      </a:cubicBezTo>
                      <a:lnTo>
                        <a:pt x="24615" y="203221"/>
                      </a:lnTo>
                      <a:cubicBezTo>
                        <a:pt x="38041" y="99749"/>
                        <a:pt x="122329" y="0"/>
                        <a:pt x="290159" y="0"/>
                      </a:cubicBezTo>
                      <a:cubicBezTo>
                        <a:pt x="450530" y="0"/>
                        <a:pt x="555704" y="105705"/>
                        <a:pt x="555704" y="240441"/>
                      </a:cubicBezTo>
                      <a:lnTo>
                        <a:pt x="555704" y="640927"/>
                      </a:lnTo>
                      <a:lnTo>
                        <a:pt x="425916" y="640927"/>
                      </a:lnTo>
                      <a:lnTo>
                        <a:pt x="413235" y="579142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233" name="Forma libre 232">
                  <a:extLst>
                    <a:ext uri="{FF2B5EF4-FFF2-40B4-BE49-F238E27FC236}">
                      <a16:creationId xmlns:a16="http://schemas.microsoft.com/office/drawing/2014/main" id="{6587E5A9-A06A-4CDC-25F2-5D03D141C3EC}"/>
                    </a:ext>
                  </a:extLst>
                </p:cNvPr>
                <p:cNvSpPr/>
                <p:nvPr/>
              </p:nvSpPr>
              <p:spPr>
                <a:xfrm>
                  <a:off x="7418718" y="2762629"/>
                  <a:ext cx="183494" cy="901466"/>
                </a:xfrm>
                <a:custGeom>
                  <a:avLst/>
                  <a:gdLst>
                    <a:gd name="connsiteX0" fmla="*/ 14918 w 183494"/>
                    <a:gd name="connsiteY0" fmla="*/ 273194 h 901466"/>
                    <a:gd name="connsiteX1" fmla="*/ 169322 w 183494"/>
                    <a:gd name="connsiteY1" fmla="*/ 273194 h 901466"/>
                    <a:gd name="connsiteX2" fmla="*/ 169322 w 183494"/>
                    <a:gd name="connsiteY2" fmla="*/ 901467 h 901466"/>
                    <a:gd name="connsiteX3" fmla="*/ 14918 w 183494"/>
                    <a:gd name="connsiteY3" fmla="*/ 901467 h 901466"/>
                    <a:gd name="connsiteX4" fmla="*/ 14918 w 183494"/>
                    <a:gd name="connsiteY4" fmla="*/ 273194 h 901466"/>
                    <a:gd name="connsiteX5" fmla="*/ 183494 w 183494"/>
                    <a:gd name="connsiteY5" fmla="*/ 91561 h 901466"/>
                    <a:gd name="connsiteX6" fmla="*/ 91747 w 183494"/>
                    <a:gd name="connsiteY6" fmla="*/ 0 h 901466"/>
                    <a:gd name="connsiteX7" fmla="*/ 0 w 183494"/>
                    <a:gd name="connsiteY7" fmla="*/ 91561 h 901466"/>
                    <a:gd name="connsiteX8" fmla="*/ 91747 w 183494"/>
                    <a:gd name="connsiteY8" fmla="*/ 183122 h 901466"/>
                    <a:gd name="connsiteX9" fmla="*/ 183494 w 183494"/>
                    <a:gd name="connsiteY9" fmla="*/ 91561 h 901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83494" h="901466">
                      <a:moveTo>
                        <a:pt x="14918" y="273194"/>
                      </a:moveTo>
                      <a:lnTo>
                        <a:pt x="169322" y="273194"/>
                      </a:lnTo>
                      <a:lnTo>
                        <a:pt x="169322" y="901467"/>
                      </a:lnTo>
                      <a:lnTo>
                        <a:pt x="14918" y="901467"/>
                      </a:lnTo>
                      <a:lnTo>
                        <a:pt x="14918" y="273194"/>
                      </a:lnTo>
                      <a:close/>
                      <a:moveTo>
                        <a:pt x="183494" y="91561"/>
                      </a:moveTo>
                      <a:cubicBezTo>
                        <a:pt x="183494" y="40942"/>
                        <a:pt x="142469" y="0"/>
                        <a:pt x="91747" y="0"/>
                      </a:cubicBezTo>
                      <a:cubicBezTo>
                        <a:pt x="41025" y="0"/>
                        <a:pt x="0" y="40942"/>
                        <a:pt x="0" y="91561"/>
                      </a:cubicBezTo>
                      <a:cubicBezTo>
                        <a:pt x="0" y="142180"/>
                        <a:pt x="41025" y="183122"/>
                        <a:pt x="91747" y="183122"/>
                      </a:cubicBezTo>
                      <a:cubicBezTo>
                        <a:pt x="142469" y="182378"/>
                        <a:pt x="183494" y="142180"/>
                        <a:pt x="183494" y="91561"/>
                      </a:cubicBezTo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234" name="Forma libre 233">
                  <a:extLst>
                    <a:ext uri="{FF2B5EF4-FFF2-40B4-BE49-F238E27FC236}">
                      <a16:creationId xmlns:a16="http://schemas.microsoft.com/office/drawing/2014/main" id="{7B74BA98-D761-4FFC-40A5-16325AA2BB68}"/>
                    </a:ext>
                  </a:extLst>
                </p:cNvPr>
                <p:cNvSpPr/>
                <p:nvPr/>
              </p:nvSpPr>
              <p:spPr>
                <a:xfrm>
                  <a:off x="5999994" y="2770817"/>
                  <a:ext cx="642229" cy="905933"/>
                </a:xfrm>
                <a:custGeom>
                  <a:avLst/>
                  <a:gdLst>
                    <a:gd name="connsiteX0" fmla="*/ 487826 w 642229"/>
                    <a:gd name="connsiteY0" fmla="*/ 579142 h 905933"/>
                    <a:gd name="connsiteX1" fmla="*/ 320742 w 642229"/>
                    <a:gd name="connsiteY1" fmla="*/ 394531 h 905933"/>
                    <a:gd name="connsiteX2" fmla="*/ 153658 w 642229"/>
                    <a:gd name="connsiteY2" fmla="*/ 579142 h 905933"/>
                    <a:gd name="connsiteX3" fmla="*/ 320742 w 642229"/>
                    <a:gd name="connsiteY3" fmla="*/ 763753 h 905933"/>
                    <a:gd name="connsiteX4" fmla="*/ 487826 w 642229"/>
                    <a:gd name="connsiteY4" fmla="*/ 579142 h 905933"/>
                    <a:gd name="connsiteX5" fmla="*/ 642230 w 642229"/>
                    <a:gd name="connsiteY5" fmla="*/ 579142 h 905933"/>
                    <a:gd name="connsiteX6" fmla="*/ 320742 w 642229"/>
                    <a:gd name="connsiteY6" fmla="*/ 905933 h 905933"/>
                    <a:gd name="connsiteX7" fmla="*/ 0 w 642229"/>
                    <a:gd name="connsiteY7" fmla="*/ 579142 h 905933"/>
                    <a:gd name="connsiteX8" fmla="*/ 320742 w 642229"/>
                    <a:gd name="connsiteY8" fmla="*/ 252351 h 905933"/>
                    <a:gd name="connsiteX9" fmla="*/ 642230 w 642229"/>
                    <a:gd name="connsiteY9" fmla="*/ 579142 h 905933"/>
                    <a:gd name="connsiteX10" fmla="*/ 376685 w 642229"/>
                    <a:gd name="connsiteY10" fmla="*/ 0 h 905933"/>
                    <a:gd name="connsiteX11" fmla="*/ 537056 w 642229"/>
                    <a:gd name="connsiteY11" fmla="*/ 0 h 905933"/>
                    <a:gd name="connsiteX12" fmla="*/ 388620 w 642229"/>
                    <a:gd name="connsiteY12" fmla="*/ 178656 h 905933"/>
                    <a:gd name="connsiteX13" fmla="*/ 258831 w 642229"/>
                    <a:gd name="connsiteY13" fmla="*/ 178656 h 905933"/>
                    <a:gd name="connsiteX14" fmla="*/ 376685 w 642229"/>
                    <a:gd name="connsiteY14" fmla="*/ 0 h 905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42229" h="905933">
                      <a:moveTo>
                        <a:pt x="487826" y="579142"/>
                      </a:moveTo>
                      <a:cubicBezTo>
                        <a:pt x="487826" y="468227"/>
                        <a:pt x="413981" y="394531"/>
                        <a:pt x="320742" y="394531"/>
                      </a:cubicBezTo>
                      <a:cubicBezTo>
                        <a:pt x="228249" y="394531"/>
                        <a:pt x="153658" y="468227"/>
                        <a:pt x="153658" y="579142"/>
                      </a:cubicBezTo>
                      <a:cubicBezTo>
                        <a:pt x="153658" y="690058"/>
                        <a:pt x="227503" y="763753"/>
                        <a:pt x="320742" y="763753"/>
                      </a:cubicBezTo>
                      <a:cubicBezTo>
                        <a:pt x="413981" y="763753"/>
                        <a:pt x="487826" y="690058"/>
                        <a:pt x="487826" y="579142"/>
                      </a:cubicBezTo>
                      <a:moveTo>
                        <a:pt x="642230" y="579142"/>
                      </a:moveTo>
                      <a:cubicBezTo>
                        <a:pt x="642230" y="770453"/>
                        <a:pt x="506474" y="905933"/>
                        <a:pt x="320742" y="905933"/>
                      </a:cubicBezTo>
                      <a:cubicBezTo>
                        <a:pt x="135756" y="905933"/>
                        <a:pt x="0" y="770453"/>
                        <a:pt x="0" y="579142"/>
                      </a:cubicBezTo>
                      <a:cubicBezTo>
                        <a:pt x="0" y="387832"/>
                        <a:pt x="135756" y="252351"/>
                        <a:pt x="320742" y="252351"/>
                      </a:cubicBezTo>
                      <a:cubicBezTo>
                        <a:pt x="506474" y="252351"/>
                        <a:pt x="642230" y="387832"/>
                        <a:pt x="642230" y="579142"/>
                      </a:cubicBezTo>
                      <a:moveTo>
                        <a:pt x="376685" y="0"/>
                      </a:moveTo>
                      <a:lnTo>
                        <a:pt x="537056" y="0"/>
                      </a:lnTo>
                      <a:lnTo>
                        <a:pt x="388620" y="178656"/>
                      </a:lnTo>
                      <a:lnTo>
                        <a:pt x="258831" y="178656"/>
                      </a:lnTo>
                      <a:lnTo>
                        <a:pt x="376685" y="0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</p:grpSp>
        </p:grpSp>
        <p:sp>
          <p:nvSpPr>
            <p:cNvPr id="222" name="Gráfico 35">
              <a:extLst>
                <a:ext uri="{FF2B5EF4-FFF2-40B4-BE49-F238E27FC236}">
                  <a16:creationId xmlns:a16="http://schemas.microsoft.com/office/drawing/2014/main" id="{28B9AED3-7264-438D-1727-A2EE9C03504B}"/>
                </a:ext>
              </a:extLst>
            </p:cNvPr>
            <p:cNvSpPr/>
            <p:nvPr/>
          </p:nvSpPr>
          <p:spPr>
            <a:xfrm>
              <a:off x="7947714" y="2646691"/>
              <a:ext cx="650858" cy="154002"/>
            </a:xfrm>
            <a:custGeom>
              <a:avLst/>
              <a:gdLst>
                <a:gd name="connsiteX0" fmla="*/ 7295952 w 7645191"/>
                <a:gd name="connsiteY0" fmla="*/ 1808946 h 1808946"/>
                <a:gd name="connsiteX1" fmla="*/ 6804024 w 7645191"/>
                <a:gd name="connsiteY1" fmla="*/ 1119356 h 1808946"/>
                <a:gd name="connsiteX2" fmla="*/ 5884374 w 7645191"/>
                <a:gd name="connsiteY2" fmla="*/ 1119356 h 1808946"/>
                <a:gd name="connsiteX3" fmla="*/ 5884374 w 7645191"/>
                <a:gd name="connsiteY3" fmla="*/ 1808946 h 1808946"/>
                <a:gd name="connsiteX4" fmla="*/ 5583187 w 7645191"/>
                <a:gd name="connsiteY4" fmla="*/ 1808946 h 1808946"/>
                <a:gd name="connsiteX5" fmla="*/ 5583187 w 7645191"/>
                <a:gd name="connsiteY5" fmla="*/ 0 h 1808946"/>
                <a:gd name="connsiteX6" fmla="*/ 7017247 w 7645191"/>
                <a:gd name="connsiteY6" fmla="*/ 0 h 1808946"/>
                <a:gd name="connsiteX7" fmla="*/ 7629906 w 7645191"/>
                <a:gd name="connsiteY7" fmla="*/ 569746 h 1808946"/>
                <a:gd name="connsiteX8" fmla="*/ 7157733 w 7645191"/>
                <a:gd name="connsiteY8" fmla="*/ 1104298 h 1808946"/>
                <a:gd name="connsiteX9" fmla="*/ 7645192 w 7645191"/>
                <a:gd name="connsiteY9" fmla="*/ 1808946 h 1808946"/>
                <a:gd name="connsiteX10" fmla="*/ 7295952 w 7645191"/>
                <a:gd name="connsiteY10" fmla="*/ 1808946 h 1808946"/>
                <a:gd name="connsiteX11" fmla="*/ 7321277 w 7645191"/>
                <a:gd name="connsiteY11" fmla="*/ 569746 h 1808946"/>
                <a:gd name="connsiteX12" fmla="*/ 6944704 w 7645191"/>
                <a:gd name="connsiteY12" fmla="*/ 272308 h 1808946"/>
                <a:gd name="connsiteX13" fmla="*/ 5884374 w 7645191"/>
                <a:gd name="connsiteY13" fmla="*/ 272308 h 1808946"/>
                <a:gd name="connsiteX14" fmla="*/ 5884374 w 7645191"/>
                <a:gd name="connsiteY14" fmla="*/ 846890 h 1808946"/>
                <a:gd name="connsiteX15" fmla="*/ 6971843 w 7645191"/>
                <a:gd name="connsiteY15" fmla="*/ 846890 h 1808946"/>
                <a:gd name="connsiteX16" fmla="*/ 7321277 w 7645191"/>
                <a:gd name="connsiteY16" fmla="*/ 569746 h 1808946"/>
                <a:gd name="connsiteX17" fmla="*/ 4545099 w 7645191"/>
                <a:gd name="connsiteY17" fmla="*/ 1808946 h 1808946"/>
                <a:gd name="connsiteX18" fmla="*/ 3671267 w 7645191"/>
                <a:gd name="connsiteY18" fmla="*/ 857038 h 1808946"/>
                <a:gd name="connsiteX19" fmla="*/ 3123637 w 7645191"/>
                <a:gd name="connsiteY19" fmla="*/ 1259259 h 1808946"/>
                <a:gd name="connsiteX20" fmla="*/ 3123637 w 7645191"/>
                <a:gd name="connsiteY20" fmla="*/ 1808946 h 1808946"/>
                <a:gd name="connsiteX21" fmla="*/ 2821971 w 7645191"/>
                <a:gd name="connsiteY21" fmla="*/ 1808946 h 1808946"/>
                <a:gd name="connsiteX22" fmla="*/ 2821971 w 7645191"/>
                <a:gd name="connsiteY22" fmla="*/ 0 h 1808946"/>
                <a:gd name="connsiteX23" fmla="*/ 3123637 w 7645191"/>
                <a:gd name="connsiteY23" fmla="*/ 0 h 1808946"/>
                <a:gd name="connsiteX24" fmla="*/ 3123637 w 7645191"/>
                <a:gd name="connsiteY24" fmla="*/ 936851 h 1808946"/>
                <a:gd name="connsiteX25" fmla="*/ 4397100 w 7645191"/>
                <a:gd name="connsiteY25" fmla="*/ 0 h 1808946"/>
                <a:gd name="connsiteX26" fmla="*/ 4831544 w 7645191"/>
                <a:gd name="connsiteY26" fmla="*/ 0 h 1808946"/>
                <a:gd name="connsiteX27" fmla="*/ 3902172 w 7645191"/>
                <a:gd name="connsiteY27" fmla="*/ 684597 h 1808946"/>
                <a:gd name="connsiteX28" fmla="*/ 4932178 w 7645191"/>
                <a:gd name="connsiteY28" fmla="*/ 1808946 h 1808946"/>
                <a:gd name="connsiteX29" fmla="*/ 4545099 w 7645191"/>
                <a:gd name="connsiteY29" fmla="*/ 1808946 h 1808946"/>
                <a:gd name="connsiteX30" fmla="*/ 1722960 w 7645191"/>
                <a:gd name="connsiteY30" fmla="*/ 1808946 h 1808946"/>
                <a:gd name="connsiteX31" fmla="*/ 849057 w 7645191"/>
                <a:gd name="connsiteY31" fmla="*/ 857038 h 1808946"/>
                <a:gd name="connsiteX32" fmla="*/ 301666 w 7645191"/>
                <a:gd name="connsiteY32" fmla="*/ 1259259 h 1808946"/>
                <a:gd name="connsiteX33" fmla="*/ 301666 w 7645191"/>
                <a:gd name="connsiteY33" fmla="*/ 1808946 h 1808946"/>
                <a:gd name="connsiteX34" fmla="*/ 0 w 7645191"/>
                <a:gd name="connsiteY34" fmla="*/ 1808946 h 1808946"/>
                <a:gd name="connsiteX35" fmla="*/ 0 w 7645191"/>
                <a:gd name="connsiteY35" fmla="*/ 0 h 1808946"/>
                <a:gd name="connsiteX36" fmla="*/ 301666 w 7645191"/>
                <a:gd name="connsiteY36" fmla="*/ 0 h 1808946"/>
                <a:gd name="connsiteX37" fmla="*/ 301666 w 7645191"/>
                <a:gd name="connsiteY37" fmla="*/ 936851 h 1808946"/>
                <a:gd name="connsiteX38" fmla="*/ 1574798 w 7645191"/>
                <a:gd name="connsiteY38" fmla="*/ 0 h 1808946"/>
                <a:gd name="connsiteX39" fmla="*/ 2009412 w 7645191"/>
                <a:gd name="connsiteY39" fmla="*/ 0 h 1808946"/>
                <a:gd name="connsiteX40" fmla="*/ 1080040 w 7645191"/>
                <a:gd name="connsiteY40" fmla="*/ 684597 h 1808946"/>
                <a:gd name="connsiteX41" fmla="*/ 2110045 w 7645191"/>
                <a:gd name="connsiteY41" fmla="*/ 1808946 h 1808946"/>
                <a:gd name="connsiteX42" fmla="*/ 1722960 w 7645191"/>
                <a:gd name="connsiteY42" fmla="*/ 1808946 h 1808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7645191" h="1808946">
                  <a:moveTo>
                    <a:pt x="7295952" y="1808946"/>
                  </a:moveTo>
                  <a:lnTo>
                    <a:pt x="6804024" y="1119356"/>
                  </a:lnTo>
                  <a:lnTo>
                    <a:pt x="5884374" y="1119356"/>
                  </a:lnTo>
                  <a:lnTo>
                    <a:pt x="5884374" y="1808946"/>
                  </a:lnTo>
                  <a:lnTo>
                    <a:pt x="5583187" y="1808946"/>
                  </a:lnTo>
                  <a:lnTo>
                    <a:pt x="5583187" y="0"/>
                  </a:lnTo>
                  <a:lnTo>
                    <a:pt x="7017247" y="0"/>
                  </a:lnTo>
                  <a:cubicBezTo>
                    <a:pt x="7399131" y="0"/>
                    <a:pt x="7629906" y="219957"/>
                    <a:pt x="7629906" y="569746"/>
                  </a:cubicBezTo>
                  <a:cubicBezTo>
                    <a:pt x="7629906" y="889415"/>
                    <a:pt x="7429119" y="1059517"/>
                    <a:pt x="7157733" y="1104298"/>
                  </a:cubicBezTo>
                  <a:lnTo>
                    <a:pt x="7645192" y="1808946"/>
                  </a:lnTo>
                  <a:lnTo>
                    <a:pt x="7295952" y="1808946"/>
                  </a:lnTo>
                  <a:close/>
                  <a:moveTo>
                    <a:pt x="7321277" y="569746"/>
                  </a:moveTo>
                  <a:cubicBezTo>
                    <a:pt x="7321277" y="369602"/>
                    <a:pt x="7198020" y="272308"/>
                    <a:pt x="6944704" y="272308"/>
                  </a:cubicBezTo>
                  <a:lnTo>
                    <a:pt x="5884374" y="272308"/>
                  </a:lnTo>
                  <a:lnTo>
                    <a:pt x="5884374" y="846890"/>
                  </a:lnTo>
                  <a:lnTo>
                    <a:pt x="6971843" y="846890"/>
                  </a:lnTo>
                  <a:cubicBezTo>
                    <a:pt x="7198020" y="846890"/>
                    <a:pt x="7321277" y="746935"/>
                    <a:pt x="7321277" y="569746"/>
                  </a:cubicBezTo>
                  <a:moveTo>
                    <a:pt x="4545099" y="1808946"/>
                  </a:moveTo>
                  <a:lnTo>
                    <a:pt x="3671267" y="857038"/>
                  </a:lnTo>
                  <a:lnTo>
                    <a:pt x="3123637" y="1259259"/>
                  </a:lnTo>
                  <a:lnTo>
                    <a:pt x="3123637" y="1808946"/>
                  </a:lnTo>
                  <a:lnTo>
                    <a:pt x="2821971" y="1808946"/>
                  </a:lnTo>
                  <a:lnTo>
                    <a:pt x="2821971" y="0"/>
                  </a:lnTo>
                  <a:lnTo>
                    <a:pt x="3123637" y="0"/>
                  </a:lnTo>
                  <a:lnTo>
                    <a:pt x="3123637" y="936851"/>
                  </a:lnTo>
                  <a:lnTo>
                    <a:pt x="4397100" y="0"/>
                  </a:lnTo>
                  <a:lnTo>
                    <a:pt x="4831544" y="0"/>
                  </a:lnTo>
                  <a:lnTo>
                    <a:pt x="3902172" y="684597"/>
                  </a:lnTo>
                  <a:lnTo>
                    <a:pt x="4932178" y="1808946"/>
                  </a:lnTo>
                  <a:lnTo>
                    <a:pt x="4545099" y="1808946"/>
                  </a:lnTo>
                  <a:close/>
                  <a:moveTo>
                    <a:pt x="1722960" y="1808946"/>
                  </a:moveTo>
                  <a:lnTo>
                    <a:pt x="849057" y="857038"/>
                  </a:lnTo>
                  <a:lnTo>
                    <a:pt x="301666" y="1259259"/>
                  </a:lnTo>
                  <a:lnTo>
                    <a:pt x="301666" y="1808946"/>
                  </a:lnTo>
                  <a:lnTo>
                    <a:pt x="0" y="1808946"/>
                  </a:lnTo>
                  <a:lnTo>
                    <a:pt x="0" y="0"/>
                  </a:lnTo>
                  <a:lnTo>
                    <a:pt x="301666" y="0"/>
                  </a:lnTo>
                  <a:lnTo>
                    <a:pt x="301666" y="936851"/>
                  </a:lnTo>
                  <a:lnTo>
                    <a:pt x="1574798" y="0"/>
                  </a:lnTo>
                  <a:lnTo>
                    <a:pt x="2009412" y="0"/>
                  </a:lnTo>
                  <a:lnTo>
                    <a:pt x="1080040" y="684597"/>
                  </a:lnTo>
                  <a:lnTo>
                    <a:pt x="2110045" y="1808946"/>
                  </a:lnTo>
                  <a:lnTo>
                    <a:pt x="1722960" y="1808946"/>
                  </a:lnTo>
                  <a:close/>
                </a:path>
              </a:pathLst>
            </a:custGeom>
            <a:solidFill>
              <a:srgbClr val="53284F"/>
            </a:solidFill>
            <a:ln w="64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0">
                <a:latin typeface="Pulso Light" pitchFamily="2" charset="0"/>
              </a:endParaRPr>
            </a:p>
          </p:txBody>
        </p:sp>
      </p:grpSp>
      <p:grpSp>
        <p:nvGrpSpPr>
          <p:cNvPr id="336" name="Grupo 335">
            <a:extLst>
              <a:ext uri="{FF2B5EF4-FFF2-40B4-BE49-F238E27FC236}">
                <a16:creationId xmlns:a16="http://schemas.microsoft.com/office/drawing/2014/main" id="{6A73B388-0774-37E9-9F7F-8CB013BAE9C8}"/>
              </a:ext>
            </a:extLst>
          </p:cNvPr>
          <p:cNvGrpSpPr/>
          <p:nvPr/>
        </p:nvGrpSpPr>
        <p:grpSpPr>
          <a:xfrm>
            <a:off x="7679461" y="1635599"/>
            <a:ext cx="634178" cy="708972"/>
            <a:chOff x="9166710" y="2158132"/>
            <a:chExt cx="830086" cy="927985"/>
          </a:xfrm>
        </p:grpSpPr>
        <p:grpSp>
          <p:nvGrpSpPr>
            <p:cNvPr id="338" name="Grupo 337">
              <a:extLst>
                <a:ext uri="{FF2B5EF4-FFF2-40B4-BE49-F238E27FC236}">
                  <a16:creationId xmlns:a16="http://schemas.microsoft.com/office/drawing/2014/main" id="{2B5389CB-3102-BEF7-E02D-719EFDE24079}"/>
                </a:ext>
              </a:extLst>
            </p:cNvPr>
            <p:cNvGrpSpPr/>
            <p:nvPr/>
          </p:nvGrpSpPr>
          <p:grpSpPr>
            <a:xfrm>
              <a:off x="9451061" y="2158132"/>
              <a:ext cx="261406" cy="198299"/>
              <a:chOff x="6657229" y="1014615"/>
              <a:chExt cx="667177" cy="506113"/>
            </a:xfrm>
          </p:grpSpPr>
          <p:sp>
            <p:nvSpPr>
              <p:cNvPr id="358" name="Forma libre 357">
                <a:extLst>
                  <a:ext uri="{FF2B5EF4-FFF2-40B4-BE49-F238E27FC236}">
                    <a16:creationId xmlns:a16="http://schemas.microsoft.com/office/drawing/2014/main" id="{3DEB96FE-9DE0-8DB5-78B1-A2C6734B9441}"/>
                  </a:ext>
                </a:extLst>
              </p:cNvPr>
              <p:cNvSpPr/>
              <p:nvPr/>
            </p:nvSpPr>
            <p:spPr>
              <a:xfrm>
                <a:off x="7145217" y="1043783"/>
                <a:ext cx="179189" cy="458581"/>
              </a:xfrm>
              <a:custGeom>
                <a:avLst/>
                <a:gdLst>
                  <a:gd name="connsiteX0" fmla="*/ 79172 w 179189"/>
                  <a:gd name="connsiteY0" fmla="*/ 3569 h 458581"/>
                  <a:gd name="connsiteX1" fmla="*/ 52485 w 179189"/>
                  <a:gd name="connsiteY1" fmla="*/ 5421 h 458581"/>
                  <a:gd name="connsiteX2" fmla="*/ 8046 w 179189"/>
                  <a:gd name="connsiteY2" fmla="*/ 46343 h 458581"/>
                  <a:gd name="connsiteX3" fmla="*/ 9238 w 179189"/>
                  <a:gd name="connsiteY3" fmla="*/ 68208 h 458581"/>
                  <a:gd name="connsiteX4" fmla="*/ 77743 w 179189"/>
                  <a:gd name="connsiteY4" fmla="*/ 227652 h 458581"/>
                  <a:gd name="connsiteX5" fmla="*/ 5663 w 179189"/>
                  <a:gd name="connsiteY5" fmla="*/ 390204 h 458581"/>
                  <a:gd name="connsiteX6" fmla="*/ 5068 w 179189"/>
                  <a:gd name="connsiteY6" fmla="*/ 412845 h 458581"/>
                  <a:gd name="connsiteX7" fmla="*/ 49090 w 179189"/>
                  <a:gd name="connsiteY7" fmla="*/ 453169 h 458581"/>
                  <a:gd name="connsiteX8" fmla="*/ 75836 w 179189"/>
                  <a:gd name="connsiteY8" fmla="*/ 455081 h 458581"/>
                  <a:gd name="connsiteX9" fmla="*/ 179189 w 179189"/>
                  <a:gd name="connsiteY9" fmla="*/ 228011 h 458581"/>
                  <a:gd name="connsiteX10" fmla="*/ 79172 w 179189"/>
                  <a:gd name="connsiteY10" fmla="*/ 3569 h 458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79189" h="458581">
                    <a:moveTo>
                      <a:pt x="79172" y="3569"/>
                    </a:moveTo>
                    <a:cubicBezTo>
                      <a:pt x="71429" y="-1867"/>
                      <a:pt x="59396" y="-971"/>
                      <a:pt x="52485" y="5421"/>
                    </a:cubicBezTo>
                    <a:lnTo>
                      <a:pt x="8046" y="46343"/>
                    </a:lnTo>
                    <a:cubicBezTo>
                      <a:pt x="1137" y="52794"/>
                      <a:pt x="1672" y="62652"/>
                      <a:pt x="9238" y="68208"/>
                    </a:cubicBezTo>
                    <a:cubicBezTo>
                      <a:pt x="9238" y="68208"/>
                      <a:pt x="77743" y="118866"/>
                      <a:pt x="77743" y="227652"/>
                    </a:cubicBezTo>
                    <a:cubicBezTo>
                      <a:pt x="77743" y="336438"/>
                      <a:pt x="5663" y="390204"/>
                      <a:pt x="5663" y="390204"/>
                    </a:cubicBezTo>
                    <a:cubicBezTo>
                      <a:pt x="-1663" y="396237"/>
                      <a:pt x="-1902" y="406394"/>
                      <a:pt x="5068" y="412845"/>
                    </a:cubicBezTo>
                    <a:lnTo>
                      <a:pt x="49090" y="453169"/>
                    </a:lnTo>
                    <a:cubicBezTo>
                      <a:pt x="55940" y="459501"/>
                      <a:pt x="68093" y="460458"/>
                      <a:pt x="75836" y="455081"/>
                    </a:cubicBezTo>
                    <a:cubicBezTo>
                      <a:pt x="75836" y="455081"/>
                      <a:pt x="179189" y="384230"/>
                      <a:pt x="179189" y="228011"/>
                    </a:cubicBezTo>
                    <a:cubicBezTo>
                      <a:pt x="179189" y="71792"/>
                      <a:pt x="79172" y="3569"/>
                      <a:pt x="79172" y="3569"/>
                    </a:cubicBezTo>
                    <a:close/>
                  </a:path>
                </a:pathLst>
              </a:custGeom>
              <a:solidFill>
                <a:srgbClr val="FF3D00"/>
              </a:solidFill>
              <a:ln w="9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  <p:sp>
            <p:nvSpPr>
              <p:cNvPr id="359" name="Forma libre 358">
                <a:extLst>
                  <a:ext uri="{FF2B5EF4-FFF2-40B4-BE49-F238E27FC236}">
                    <a16:creationId xmlns:a16="http://schemas.microsoft.com/office/drawing/2014/main" id="{3A51FA69-88FE-B5FC-CF22-6F9951249BA1}"/>
                  </a:ext>
                </a:extLst>
              </p:cNvPr>
              <p:cNvSpPr/>
              <p:nvPr/>
            </p:nvSpPr>
            <p:spPr>
              <a:xfrm>
                <a:off x="6657229" y="1014615"/>
                <a:ext cx="447723" cy="506113"/>
              </a:xfrm>
              <a:custGeom>
                <a:avLst/>
                <a:gdLst>
                  <a:gd name="connsiteX0" fmla="*/ 139333 w 447723"/>
                  <a:gd name="connsiteY0" fmla="*/ 291529 h 506113"/>
                  <a:gd name="connsiteX1" fmla="*/ 126526 w 447723"/>
                  <a:gd name="connsiteY1" fmla="*/ 300670 h 506113"/>
                  <a:gd name="connsiteX2" fmla="*/ 238635 w 447723"/>
                  <a:gd name="connsiteY2" fmla="*/ 401629 h 506113"/>
                  <a:gd name="connsiteX3" fmla="*/ 342047 w 447723"/>
                  <a:gd name="connsiteY3" fmla="*/ 366203 h 506113"/>
                  <a:gd name="connsiteX4" fmla="*/ 362659 w 447723"/>
                  <a:gd name="connsiteY4" fmla="*/ 362082 h 506113"/>
                  <a:gd name="connsiteX5" fmla="*/ 420619 w 447723"/>
                  <a:gd name="connsiteY5" fmla="*/ 416683 h 506113"/>
                  <a:gd name="connsiteX6" fmla="*/ 418296 w 447723"/>
                  <a:gd name="connsiteY6" fmla="*/ 436816 h 506113"/>
                  <a:gd name="connsiteX7" fmla="*/ 237742 w 447723"/>
                  <a:gd name="connsiteY7" fmla="*/ 506113 h 506113"/>
                  <a:gd name="connsiteX8" fmla="*/ 0 w 447723"/>
                  <a:gd name="connsiteY8" fmla="*/ 252579 h 506113"/>
                  <a:gd name="connsiteX9" fmla="*/ 223862 w 447723"/>
                  <a:gd name="connsiteY9" fmla="*/ 0 h 506113"/>
                  <a:gd name="connsiteX10" fmla="*/ 447723 w 447723"/>
                  <a:gd name="connsiteY10" fmla="*/ 236449 h 506113"/>
                  <a:gd name="connsiteX11" fmla="*/ 447723 w 447723"/>
                  <a:gd name="connsiteY11" fmla="*/ 270799 h 506113"/>
                  <a:gd name="connsiteX12" fmla="*/ 427112 w 447723"/>
                  <a:gd name="connsiteY12" fmla="*/ 291588 h 506113"/>
                  <a:gd name="connsiteX13" fmla="*/ 139333 w 447723"/>
                  <a:gd name="connsiteY13" fmla="*/ 291588 h 506113"/>
                  <a:gd name="connsiteX14" fmla="*/ 139333 w 447723"/>
                  <a:gd name="connsiteY14" fmla="*/ 291529 h 506113"/>
                  <a:gd name="connsiteX15" fmla="*/ 309642 w 447723"/>
                  <a:gd name="connsiteY15" fmla="*/ 153829 h 506113"/>
                  <a:gd name="connsiteX16" fmla="*/ 223862 w 447723"/>
                  <a:gd name="connsiteY16" fmla="*/ 102572 h 506113"/>
                  <a:gd name="connsiteX17" fmla="*/ 138082 w 447723"/>
                  <a:gd name="connsiteY17" fmla="*/ 153829 h 506113"/>
                  <a:gd name="connsiteX18" fmla="*/ 126227 w 447723"/>
                  <a:gd name="connsiteY18" fmla="*/ 206938 h 506113"/>
                  <a:gd name="connsiteX19" fmla="*/ 321496 w 447723"/>
                  <a:gd name="connsiteY19" fmla="*/ 206938 h 506113"/>
                  <a:gd name="connsiteX20" fmla="*/ 309642 w 447723"/>
                  <a:gd name="connsiteY20" fmla="*/ 153829 h 506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47723" h="506113">
                    <a:moveTo>
                      <a:pt x="139333" y="291529"/>
                    </a:moveTo>
                    <a:cubicBezTo>
                      <a:pt x="139333" y="291529"/>
                      <a:pt x="126526" y="290334"/>
                      <a:pt x="126526" y="300670"/>
                    </a:cubicBezTo>
                    <a:cubicBezTo>
                      <a:pt x="126526" y="359632"/>
                      <a:pt x="170190" y="401629"/>
                      <a:pt x="238635" y="401629"/>
                    </a:cubicBezTo>
                    <a:cubicBezTo>
                      <a:pt x="289507" y="401629"/>
                      <a:pt x="311250" y="389383"/>
                      <a:pt x="342047" y="366203"/>
                    </a:cubicBezTo>
                    <a:cubicBezTo>
                      <a:pt x="349196" y="360768"/>
                      <a:pt x="356820" y="355749"/>
                      <a:pt x="362659" y="362082"/>
                    </a:cubicBezTo>
                    <a:cubicBezTo>
                      <a:pt x="366650" y="366443"/>
                      <a:pt x="420619" y="416683"/>
                      <a:pt x="420619" y="416683"/>
                    </a:cubicBezTo>
                    <a:cubicBezTo>
                      <a:pt x="427410" y="423016"/>
                      <a:pt x="425504" y="430663"/>
                      <a:pt x="418296" y="436816"/>
                    </a:cubicBezTo>
                    <a:cubicBezTo>
                      <a:pt x="411148" y="442909"/>
                      <a:pt x="330432" y="506113"/>
                      <a:pt x="237742" y="506113"/>
                    </a:cubicBezTo>
                    <a:cubicBezTo>
                      <a:pt x="116339" y="506113"/>
                      <a:pt x="0" y="452946"/>
                      <a:pt x="0" y="252579"/>
                    </a:cubicBezTo>
                    <a:cubicBezTo>
                      <a:pt x="0" y="91162"/>
                      <a:pt x="90783" y="0"/>
                      <a:pt x="223862" y="0"/>
                    </a:cubicBezTo>
                    <a:cubicBezTo>
                      <a:pt x="366947" y="0"/>
                      <a:pt x="447723" y="100661"/>
                      <a:pt x="447723" y="236449"/>
                    </a:cubicBezTo>
                    <a:lnTo>
                      <a:pt x="447723" y="270799"/>
                    </a:lnTo>
                    <a:cubicBezTo>
                      <a:pt x="447723" y="284779"/>
                      <a:pt x="436465" y="291588"/>
                      <a:pt x="427112" y="291588"/>
                    </a:cubicBezTo>
                    <a:lnTo>
                      <a:pt x="139333" y="291588"/>
                    </a:lnTo>
                    <a:lnTo>
                      <a:pt x="139333" y="291529"/>
                    </a:lnTo>
                    <a:close/>
                    <a:moveTo>
                      <a:pt x="309642" y="153829"/>
                    </a:moveTo>
                    <a:cubicBezTo>
                      <a:pt x="295941" y="124437"/>
                      <a:pt x="267288" y="102572"/>
                      <a:pt x="223862" y="102572"/>
                    </a:cubicBezTo>
                    <a:cubicBezTo>
                      <a:pt x="180436" y="102572"/>
                      <a:pt x="151902" y="124437"/>
                      <a:pt x="138082" y="153829"/>
                    </a:cubicBezTo>
                    <a:cubicBezTo>
                      <a:pt x="130159" y="171871"/>
                      <a:pt x="127181" y="185192"/>
                      <a:pt x="126227" y="206938"/>
                    </a:cubicBezTo>
                    <a:lnTo>
                      <a:pt x="321496" y="206938"/>
                    </a:lnTo>
                    <a:cubicBezTo>
                      <a:pt x="320483" y="185133"/>
                      <a:pt x="317505" y="171811"/>
                      <a:pt x="309642" y="153829"/>
                    </a:cubicBezTo>
                    <a:close/>
                  </a:path>
                </a:pathLst>
              </a:custGeom>
              <a:solidFill>
                <a:srgbClr val="002EFF"/>
              </a:solidFill>
              <a:ln w="9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</p:grpSp>
        <p:grpSp>
          <p:nvGrpSpPr>
            <p:cNvPr id="339" name="Gráfico 37">
              <a:extLst>
                <a:ext uri="{FF2B5EF4-FFF2-40B4-BE49-F238E27FC236}">
                  <a16:creationId xmlns:a16="http://schemas.microsoft.com/office/drawing/2014/main" id="{6EDB7AE0-BCEB-41A1-998F-CBC5833E5716}"/>
                </a:ext>
              </a:extLst>
            </p:cNvPr>
            <p:cNvGrpSpPr/>
            <p:nvPr/>
          </p:nvGrpSpPr>
          <p:grpSpPr>
            <a:xfrm>
              <a:off x="9166710" y="2887307"/>
              <a:ext cx="830086" cy="198810"/>
              <a:chOff x="1136650" y="2241550"/>
              <a:chExt cx="7770161" cy="1860996"/>
            </a:xfrm>
            <a:solidFill>
              <a:srgbClr val="0066FF"/>
            </a:solidFill>
          </p:grpSpPr>
          <p:grpSp>
            <p:nvGrpSpPr>
              <p:cNvPr id="341" name="Gráfico 37">
                <a:extLst>
                  <a:ext uri="{FF2B5EF4-FFF2-40B4-BE49-F238E27FC236}">
                    <a16:creationId xmlns:a16="http://schemas.microsoft.com/office/drawing/2014/main" id="{3DC4C4A0-C0DA-5231-D2B5-D181FFB50C27}"/>
                  </a:ext>
                </a:extLst>
              </p:cNvPr>
              <p:cNvGrpSpPr/>
              <p:nvPr/>
            </p:nvGrpSpPr>
            <p:grpSpPr>
              <a:xfrm>
                <a:off x="1136650" y="2241550"/>
                <a:ext cx="1864779" cy="1860996"/>
                <a:chOff x="1136650" y="2241550"/>
                <a:chExt cx="1864779" cy="1860996"/>
              </a:xfrm>
              <a:solidFill>
                <a:srgbClr val="0066FF"/>
              </a:solidFill>
            </p:grpSpPr>
            <p:sp>
              <p:nvSpPr>
                <p:cNvPr id="353" name="Forma libre 352">
                  <a:extLst>
                    <a:ext uri="{FF2B5EF4-FFF2-40B4-BE49-F238E27FC236}">
                      <a16:creationId xmlns:a16="http://schemas.microsoft.com/office/drawing/2014/main" id="{45351875-07AD-7647-24D2-A9051CEED9FC}"/>
                    </a:ext>
                  </a:extLst>
                </p:cNvPr>
                <p:cNvSpPr/>
                <p:nvPr/>
              </p:nvSpPr>
              <p:spPr>
                <a:xfrm>
                  <a:off x="1136650" y="2241550"/>
                  <a:ext cx="556450" cy="555321"/>
                </a:xfrm>
                <a:custGeom>
                  <a:avLst/>
                  <a:gdLst>
                    <a:gd name="connsiteX0" fmla="*/ 556450 w 556450"/>
                    <a:gd name="connsiteY0" fmla="*/ 277661 h 555321"/>
                    <a:gd name="connsiteX1" fmla="*/ 278225 w 556450"/>
                    <a:gd name="connsiteY1" fmla="*/ 0 h 555321"/>
                    <a:gd name="connsiteX2" fmla="*/ 0 w 556450"/>
                    <a:gd name="connsiteY2" fmla="*/ 277661 h 555321"/>
                    <a:gd name="connsiteX3" fmla="*/ 278225 w 556450"/>
                    <a:gd name="connsiteY3" fmla="*/ 555322 h 555321"/>
                    <a:gd name="connsiteX4" fmla="*/ 556450 w 556450"/>
                    <a:gd name="connsiteY4" fmla="*/ 277661 h 55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6450" h="555321">
                      <a:moveTo>
                        <a:pt x="556450" y="277661"/>
                      </a:moveTo>
                      <a:cubicBezTo>
                        <a:pt x="556450" y="124315"/>
                        <a:pt x="431883" y="0"/>
                        <a:pt x="278225" y="0"/>
                      </a:cubicBezTo>
                      <a:cubicBezTo>
                        <a:pt x="124567" y="0"/>
                        <a:pt x="0" y="124315"/>
                        <a:pt x="0" y="277661"/>
                      </a:cubicBezTo>
                      <a:cubicBezTo>
                        <a:pt x="0" y="431007"/>
                        <a:pt x="124567" y="555322"/>
                        <a:pt x="278225" y="555322"/>
                      </a:cubicBezTo>
                      <a:cubicBezTo>
                        <a:pt x="431883" y="555322"/>
                        <a:pt x="556450" y="431007"/>
                        <a:pt x="556450" y="277661"/>
                      </a:cubicBezTo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354" name="Forma libre 353">
                  <a:extLst>
                    <a:ext uri="{FF2B5EF4-FFF2-40B4-BE49-F238E27FC236}">
                      <a16:creationId xmlns:a16="http://schemas.microsoft.com/office/drawing/2014/main" id="{DE05171F-ADBF-C1BD-10D0-FB2AAA8B54DD}"/>
                    </a:ext>
                  </a:extLst>
                </p:cNvPr>
                <p:cNvSpPr/>
                <p:nvPr/>
              </p:nvSpPr>
              <p:spPr>
                <a:xfrm>
                  <a:off x="1790814" y="2241550"/>
                  <a:ext cx="556450" cy="555321"/>
                </a:xfrm>
                <a:custGeom>
                  <a:avLst/>
                  <a:gdLst>
                    <a:gd name="connsiteX0" fmla="*/ 556450 w 556450"/>
                    <a:gd name="connsiteY0" fmla="*/ 277661 h 555321"/>
                    <a:gd name="connsiteX1" fmla="*/ 278225 w 556450"/>
                    <a:gd name="connsiteY1" fmla="*/ 0 h 555321"/>
                    <a:gd name="connsiteX2" fmla="*/ 0 w 556450"/>
                    <a:gd name="connsiteY2" fmla="*/ 277661 h 555321"/>
                    <a:gd name="connsiteX3" fmla="*/ 278225 w 556450"/>
                    <a:gd name="connsiteY3" fmla="*/ 555322 h 555321"/>
                    <a:gd name="connsiteX4" fmla="*/ 556450 w 556450"/>
                    <a:gd name="connsiteY4" fmla="*/ 277661 h 55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6450" h="555321">
                      <a:moveTo>
                        <a:pt x="556450" y="277661"/>
                      </a:moveTo>
                      <a:cubicBezTo>
                        <a:pt x="556450" y="124315"/>
                        <a:pt x="431883" y="0"/>
                        <a:pt x="278225" y="0"/>
                      </a:cubicBezTo>
                      <a:cubicBezTo>
                        <a:pt x="124567" y="0"/>
                        <a:pt x="0" y="124315"/>
                        <a:pt x="0" y="277661"/>
                      </a:cubicBezTo>
                      <a:cubicBezTo>
                        <a:pt x="0" y="431007"/>
                        <a:pt x="124567" y="555322"/>
                        <a:pt x="278225" y="555322"/>
                      </a:cubicBezTo>
                      <a:cubicBezTo>
                        <a:pt x="431883" y="555322"/>
                        <a:pt x="556450" y="431007"/>
                        <a:pt x="556450" y="277661"/>
                      </a:cubicBezTo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355" name="Forma libre 354">
                  <a:extLst>
                    <a:ext uri="{FF2B5EF4-FFF2-40B4-BE49-F238E27FC236}">
                      <a16:creationId xmlns:a16="http://schemas.microsoft.com/office/drawing/2014/main" id="{422C2F2D-B22B-C54B-21B9-71CC4614140D}"/>
                    </a:ext>
                  </a:extLst>
                </p:cNvPr>
                <p:cNvSpPr/>
                <p:nvPr/>
              </p:nvSpPr>
              <p:spPr>
                <a:xfrm>
                  <a:off x="2444979" y="2241550"/>
                  <a:ext cx="556450" cy="555321"/>
                </a:xfrm>
                <a:custGeom>
                  <a:avLst/>
                  <a:gdLst>
                    <a:gd name="connsiteX0" fmla="*/ 556450 w 556450"/>
                    <a:gd name="connsiteY0" fmla="*/ 277661 h 555321"/>
                    <a:gd name="connsiteX1" fmla="*/ 278225 w 556450"/>
                    <a:gd name="connsiteY1" fmla="*/ 0 h 555321"/>
                    <a:gd name="connsiteX2" fmla="*/ 0 w 556450"/>
                    <a:gd name="connsiteY2" fmla="*/ 277661 h 555321"/>
                    <a:gd name="connsiteX3" fmla="*/ 278225 w 556450"/>
                    <a:gd name="connsiteY3" fmla="*/ 555322 h 555321"/>
                    <a:gd name="connsiteX4" fmla="*/ 556450 w 556450"/>
                    <a:gd name="connsiteY4" fmla="*/ 277661 h 55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6450" h="555321">
                      <a:moveTo>
                        <a:pt x="556450" y="277661"/>
                      </a:moveTo>
                      <a:cubicBezTo>
                        <a:pt x="556450" y="124315"/>
                        <a:pt x="431883" y="0"/>
                        <a:pt x="278225" y="0"/>
                      </a:cubicBezTo>
                      <a:cubicBezTo>
                        <a:pt x="124567" y="0"/>
                        <a:pt x="0" y="124315"/>
                        <a:pt x="0" y="277661"/>
                      </a:cubicBezTo>
                      <a:cubicBezTo>
                        <a:pt x="0" y="431007"/>
                        <a:pt x="124567" y="555322"/>
                        <a:pt x="278225" y="555322"/>
                      </a:cubicBezTo>
                      <a:cubicBezTo>
                        <a:pt x="431883" y="555322"/>
                        <a:pt x="556450" y="431007"/>
                        <a:pt x="556450" y="277661"/>
                      </a:cubicBezTo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356" name="Forma libre 355">
                  <a:extLst>
                    <a:ext uri="{FF2B5EF4-FFF2-40B4-BE49-F238E27FC236}">
                      <a16:creationId xmlns:a16="http://schemas.microsoft.com/office/drawing/2014/main" id="{B2C7169B-2848-BA0C-9E4F-FA41C8D10257}"/>
                    </a:ext>
                  </a:extLst>
                </p:cNvPr>
                <p:cNvSpPr/>
                <p:nvPr/>
              </p:nvSpPr>
              <p:spPr>
                <a:xfrm>
                  <a:off x="1790814" y="2894387"/>
                  <a:ext cx="556450" cy="555321"/>
                </a:xfrm>
                <a:custGeom>
                  <a:avLst/>
                  <a:gdLst>
                    <a:gd name="connsiteX0" fmla="*/ 556450 w 556450"/>
                    <a:gd name="connsiteY0" fmla="*/ 277661 h 555321"/>
                    <a:gd name="connsiteX1" fmla="*/ 278225 w 556450"/>
                    <a:gd name="connsiteY1" fmla="*/ 0 h 555321"/>
                    <a:gd name="connsiteX2" fmla="*/ 0 w 556450"/>
                    <a:gd name="connsiteY2" fmla="*/ 277661 h 555321"/>
                    <a:gd name="connsiteX3" fmla="*/ 278225 w 556450"/>
                    <a:gd name="connsiteY3" fmla="*/ 555322 h 555321"/>
                    <a:gd name="connsiteX4" fmla="*/ 556450 w 556450"/>
                    <a:gd name="connsiteY4" fmla="*/ 277661 h 55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6450" h="555321">
                      <a:moveTo>
                        <a:pt x="556450" y="277661"/>
                      </a:moveTo>
                      <a:cubicBezTo>
                        <a:pt x="556450" y="124315"/>
                        <a:pt x="431883" y="0"/>
                        <a:pt x="278225" y="0"/>
                      </a:cubicBezTo>
                      <a:cubicBezTo>
                        <a:pt x="124567" y="0"/>
                        <a:pt x="0" y="124315"/>
                        <a:pt x="0" y="277661"/>
                      </a:cubicBezTo>
                      <a:cubicBezTo>
                        <a:pt x="0" y="431007"/>
                        <a:pt x="124567" y="555322"/>
                        <a:pt x="278225" y="555322"/>
                      </a:cubicBezTo>
                      <a:cubicBezTo>
                        <a:pt x="431883" y="555322"/>
                        <a:pt x="556450" y="431007"/>
                        <a:pt x="556450" y="277661"/>
                      </a:cubicBezTo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357" name="Forma libre 356">
                  <a:extLst>
                    <a:ext uri="{FF2B5EF4-FFF2-40B4-BE49-F238E27FC236}">
                      <a16:creationId xmlns:a16="http://schemas.microsoft.com/office/drawing/2014/main" id="{2260823D-1C5D-2D3F-56F0-1F676CA501A0}"/>
                    </a:ext>
                  </a:extLst>
                </p:cNvPr>
                <p:cNvSpPr/>
                <p:nvPr/>
              </p:nvSpPr>
              <p:spPr>
                <a:xfrm>
                  <a:off x="1790814" y="3547225"/>
                  <a:ext cx="556450" cy="555321"/>
                </a:xfrm>
                <a:custGeom>
                  <a:avLst/>
                  <a:gdLst>
                    <a:gd name="connsiteX0" fmla="*/ 556450 w 556450"/>
                    <a:gd name="connsiteY0" fmla="*/ 277661 h 555321"/>
                    <a:gd name="connsiteX1" fmla="*/ 278225 w 556450"/>
                    <a:gd name="connsiteY1" fmla="*/ 0 h 555321"/>
                    <a:gd name="connsiteX2" fmla="*/ 0 w 556450"/>
                    <a:gd name="connsiteY2" fmla="*/ 277661 h 555321"/>
                    <a:gd name="connsiteX3" fmla="*/ 278225 w 556450"/>
                    <a:gd name="connsiteY3" fmla="*/ 555322 h 555321"/>
                    <a:gd name="connsiteX4" fmla="*/ 556450 w 556450"/>
                    <a:gd name="connsiteY4" fmla="*/ 277661 h 55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6450" h="555321">
                      <a:moveTo>
                        <a:pt x="556450" y="277661"/>
                      </a:moveTo>
                      <a:cubicBezTo>
                        <a:pt x="556450" y="124315"/>
                        <a:pt x="431883" y="0"/>
                        <a:pt x="278225" y="0"/>
                      </a:cubicBezTo>
                      <a:cubicBezTo>
                        <a:pt x="124567" y="0"/>
                        <a:pt x="0" y="124315"/>
                        <a:pt x="0" y="277661"/>
                      </a:cubicBezTo>
                      <a:cubicBezTo>
                        <a:pt x="0" y="431007"/>
                        <a:pt x="124567" y="555322"/>
                        <a:pt x="278225" y="555322"/>
                      </a:cubicBezTo>
                      <a:cubicBezTo>
                        <a:pt x="431883" y="555322"/>
                        <a:pt x="556450" y="431007"/>
                        <a:pt x="556450" y="277661"/>
                      </a:cubicBezTo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</p:grpSp>
          <p:grpSp>
            <p:nvGrpSpPr>
              <p:cNvPr id="342" name="Gráfico 37">
                <a:extLst>
                  <a:ext uri="{FF2B5EF4-FFF2-40B4-BE49-F238E27FC236}">
                    <a16:creationId xmlns:a16="http://schemas.microsoft.com/office/drawing/2014/main" id="{F7E9207B-8A48-2C3B-4177-B89A625A2515}"/>
                  </a:ext>
                </a:extLst>
              </p:cNvPr>
              <p:cNvGrpSpPr/>
              <p:nvPr/>
            </p:nvGrpSpPr>
            <p:grpSpPr>
              <a:xfrm>
                <a:off x="3335597" y="2762629"/>
                <a:ext cx="5571214" cy="914866"/>
                <a:chOff x="3335597" y="2762629"/>
                <a:chExt cx="5571214" cy="914866"/>
              </a:xfrm>
              <a:solidFill>
                <a:srgbClr val="0066FF"/>
              </a:solidFill>
            </p:grpSpPr>
            <p:sp>
              <p:nvSpPr>
                <p:cNvPr id="343" name="Forma libre 342">
                  <a:extLst>
                    <a:ext uri="{FF2B5EF4-FFF2-40B4-BE49-F238E27FC236}">
                      <a16:creationId xmlns:a16="http://schemas.microsoft.com/office/drawing/2014/main" id="{B14F9A9B-BC0A-F890-D9C4-09B5A2E6331E}"/>
                    </a:ext>
                  </a:extLst>
                </p:cNvPr>
                <p:cNvSpPr/>
                <p:nvPr/>
              </p:nvSpPr>
              <p:spPr>
                <a:xfrm>
                  <a:off x="3335597" y="2801337"/>
                  <a:ext cx="678779" cy="862758"/>
                </a:xfrm>
                <a:custGeom>
                  <a:avLst/>
                  <a:gdLst>
                    <a:gd name="connsiteX0" fmla="*/ 258831 w 678779"/>
                    <a:gd name="connsiteY0" fmla="*/ 154091 h 862758"/>
                    <a:gd name="connsiteX1" fmla="*/ 0 w 678779"/>
                    <a:gd name="connsiteY1" fmla="*/ 154091 h 862758"/>
                    <a:gd name="connsiteX2" fmla="*/ 0 w 678779"/>
                    <a:gd name="connsiteY2" fmla="*/ 0 h 862758"/>
                    <a:gd name="connsiteX3" fmla="*/ 678780 w 678779"/>
                    <a:gd name="connsiteY3" fmla="*/ 0 h 862758"/>
                    <a:gd name="connsiteX4" fmla="*/ 678780 w 678779"/>
                    <a:gd name="connsiteY4" fmla="*/ 154091 h 862758"/>
                    <a:gd name="connsiteX5" fmla="*/ 419202 w 678779"/>
                    <a:gd name="connsiteY5" fmla="*/ 154091 h 862758"/>
                    <a:gd name="connsiteX6" fmla="*/ 419202 w 678779"/>
                    <a:gd name="connsiteY6" fmla="*/ 862758 h 862758"/>
                    <a:gd name="connsiteX7" fmla="*/ 258831 w 678779"/>
                    <a:gd name="connsiteY7" fmla="*/ 862758 h 8627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78779" h="862758">
                      <a:moveTo>
                        <a:pt x="258831" y="154091"/>
                      </a:moveTo>
                      <a:lnTo>
                        <a:pt x="0" y="154091"/>
                      </a:lnTo>
                      <a:lnTo>
                        <a:pt x="0" y="0"/>
                      </a:lnTo>
                      <a:lnTo>
                        <a:pt x="678780" y="0"/>
                      </a:lnTo>
                      <a:lnTo>
                        <a:pt x="678780" y="154091"/>
                      </a:lnTo>
                      <a:lnTo>
                        <a:pt x="419202" y="154091"/>
                      </a:lnTo>
                      <a:lnTo>
                        <a:pt x="419202" y="862758"/>
                      </a:lnTo>
                      <a:lnTo>
                        <a:pt x="258831" y="862758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344" name="Forma libre 343">
                  <a:extLst>
                    <a:ext uri="{FF2B5EF4-FFF2-40B4-BE49-F238E27FC236}">
                      <a16:creationId xmlns:a16="http://schemas.microsoft.com/office/drawing/2014/main" id="{E8DAE39E-D897-EEAB-7491-FE94CDF0848B}"/>
                    </a:ext>
                  </a:extLst>
                </p:cNvPr>
                <p:cNvSpPr/>
                <p:nvPr/>
              </p:nvSpPr>
              <p:spPr>
                <a:xfrm>
                  <a:off x="3945753" y="3023168"/>
                  <a:ext cx="629549" cy="653582"/>
                </a:xfrm>
                <a:custGeom>
                  <a:avLst/>
                  <a:gdLst>
                    <a:gd name="connsiteX0" fmla="*/ 475146 w 629549"/>
                    <a:gd name="connsiteY0" fmla="*/ 271706 h 653582"/>
                    <a:gd name="connsiteX1" fmla="*/ 320742 w 629549"/>
                    <a:gd name="connsiteY1" fmla="*/ 130270 h 653582"/>
                    <a:gd name="connsiteX2" fmla="*/ 153658 w 629549"/>
                    <a:gd name="connsiteY2" fmla="*/ 271706 h 653582"/>
                    <a:gd name="connsiteX3" fmla="*/ 475146 w 629549"/>
                    <a:gd name="connsiteY3" fmla="*/ 271706 h 653582"/>
                    <a:gd name="connsiteX4" fmla="*/ 610902 w 629549"/>
                    <a:gd name="connsiteY4" fmla="*/ 456317 h 653582"/>
                    <a:gd name="connsiteX5" fmla="*/ 320742 w 629549"/>
                    <a:gd name="connsiteY5" fmla="*/ 653582 h 653582"/>
                    <a:gd name="connsiteX6" fmla="*/ 0 w 629549"/>
                    <a:gd name="connsiteY6" fmla="*/ 326791 h 653582"/>
                    <a:gd name="connsiteX7" fmla="*/ 320742 w 629549"/>
                    <a:gd name="connsiteY7" fmla="*/ 0 h 653582"/>
                    <a:gd name="connsiteX8" fmla="*/ 629549 w 629549"/>
                    <a:gd name="connsiteY8" fmla="*/ 314136 h 653582"/>
                    <a:gd name="connsiteX9" fmla="*/ 625820 w 629549"/>
                    <a:gd name="connsiteY9" fmla="*/ 358800 h 653582"/>
                    <a:gd name="connsiteX10" fmla="*/ 623582 w 629549"/>
                    <a:gd name="connsiteY10" fmla="*/ 375921 h 653582"/>
                    <a:gd name="connsiteX11" fmla="*/ 154404 w 629549"/>
                    <a:gd name="connsiteY11" fmla="*/ 375921 h 653582"/>
                    <a:gd name="connsiteX12" fmla="*/ 321488 w 629549"/>
                    <a:gd name="connsiteY12" fmla="*/ 524057 h 653582"/>
                    <a:gd name="connsiteX13" fmla="*/ 451277 w 629549"/>
                    <a:gd name="connsiteY13" fmla="*/ 456317 h 653582"/>
                    <a:gd name="connsiteX14" fmla="*/ 610902 w 629549"/>
                    <a:gd name="connsiteY14" fmla="*/ 456317 h 653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9549" h="653582">
                      <a:moveTo>
                        <a:pt x="475146" y="271706"/>
                      </a:moveTo>
                      <a:cubicBezTo>
                        <a:pt x="461719" y="191310"/>
                        <a:pt x="408760" y="130270"/>
                        <a:pt x="320742" y="130270"/>
                      </a:cubicBezTo>
                      <a:cubicBezTo>
                        <a:pt x="226757" y="130270"/>
                        <a:pt x="172306" y="192055"/>
                        <a:pt x="153658" y="271706"/>
                      </a:cubicBezTo>
                      <a:lnTo>
                        <a:pt x="475146" y="271706"/>
                      </a:lnTo>
                      <a:close/>
                      <a:moveTo>
                        <a:pt x="610902" y="456317"/>
                      </a:moveTo>
                      <a:cubicBezTo>
                        <a:pt x="597475" y="505447"/>
                        <a:pt x="519155" y="653582"/>
                        <a:pt x="320742" y="653582"/>
                      </a:cubicBezTo>
                      <a:cubicBezTo>
                        <a:pt x="135756" y="653582"/>
                        <a:pt x="0" y="518102"/>
                        <a:pt x="0" y="326791"/>
                      </a:cubicBezTo>
                      <a:cubicBezTo>
                        <a:pt x="0" y="135481"/>
                        <a:pt x="135756" y="0"/>
                        <a:pt x="320742" y="0"/>
                      </a:cubicBezTo>
                      <a:cubicBezTo>
                        <a:pt x="493793" y="0"/>
                        <a:pt x="629549" y="135481"/>
                        <a:pt x="629549" y="314136"/>
                      </a:cubicBezTo>
                      <a:cubicBezTo>
                        <a:pt x="629549" y="332746"/>
                        <a:pt x="627312" y="347634"/>
                        <a:pt x="625820" y="358800"/>
                      </a:cubicBezTo>
                      <a:lnTo>
                        <a:pt x="623582" y="375921"/>
                      </a:lnTo>
                      <a:lnTo>
                        <a:pt x="154404" y="375921"/>
                      </a:lnTo>
                      <a:cubicBezTo>
                        <a:pt x="167830" y="463760"/>
                        <a:pt x="233470" y="524057"/>
                        <a:pt x="321488" y="524057"/>
                      </a:cubicBezTo>
                      <a:cubicBezTo>
                        <a:pt x="394587" y="524057"/>
                        <a:pt x="438596" y="482370"/>
                        <a:pt x="451277" y="456317"/>
                      </a:cubicBezTo>
                      <a:lnTo>
                        <a:pt x="610902" y="456317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345" name="Forma libre 344">
                  <a:extLst>
                    <a:ext uri="{FF2B5EF4-FFF2-40B4-BE49-F238E27FC236}">
                      <a16:creationId xmlns:a16="http://schemas.microsoft.com/office/drawing/2014/main" id="{24D7B5B6-ECF9-8893-04B6-6B0711B6A203}"/>
                    </a:ext>
                  </a:extLst>
                </p:cNvPr>
                <p:cNvSpPr/>
                <p:nvPr/>
              </p:nvSpPr>
              <p:spPr>
                <a:xfrm>
                  <a:off x="4667796" y="2801337"/>
                  <a:ext cx="154403" cy="862758"/>
                </a:xfrm>
                <a:custGeom>
                  <a:avLst/>
                  <a:gdLst>
                    <a:gd name="connsiteX0" fmla="*/ 0 w 154403"/>
                    <a:gd name="connsiteY0" fmla="*/ 0 h 862758"/>
                    <a:gd name="connsiteX1" fmla="*/ 154404 w 154403"/>
                    <a:gd name="connsiteY1" fmla="*/ 0 h 862758"/>
                    <a:gd name="connsiteX2" fmla="*/ 154404 w 154403"/>
                    <a:gd name="connsiteY2" fmla="*/ 862758 h 862758"/>
                    <a:gd name="connsiteX3" fmla="*/ 0 w 154403"/>
                    <a:gd name="connsiteY3" fmla="*/ 862758 h 8627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4403" h="862758">
                      <a:moveTo>
                        <a:pt x="0" y="0"/>
                      </a:moveTo>
                      <a:lnTo>
                        <a:pt x="154404" y="0"/>
                      </a:lnTo>
                      <a:lnTo>
                        <a:pt x="154404" y="862758"/>
                      </a:lnTo>
                      <a:lnTo>
                        <a:pt x="0" y="862758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346" name="Forma libre 345">
                  <a:extLst>
                    <a:ext uri="{FF2B5EF4-FFF2-40B4-BE49-F238E27FC236}">
                      <a16:creationId xmlns:a16="http://schemas.microsoft.com/office/drawing/2014/main" id="{82985BB2-DDFA-BAB2-FC76-CF791D2F68DC}"/>
                    </a:ext>
                  </a:extLst>
                </p:cNvPr>
                <p:cNvSpPr/>
                <p:nvPr/>
              </p:nvSpPr>
              <p:spPr>
                <a:xfrm>
                  <a:off x="4915438" y="3023168"/>
                  <a:ext cx="629549" cy="653582"/>
                </a:xfrm>
                <a:custGeom>
                  <a:avLst/>
                  <a:gdLst>
                    <a:gd name="connsiteX0" fmla="*/ 474400 w 629549"/>
                    <a:gd name="connsiteY0" fmla="*/ 271706 h 653582"/>
                    <a:gd name="connsiteX1" fmla="*/ 319996 w 629549"/>
                    <a:gd name="connsiteY1" fmla="*/ 130270 h 653582"/>
                    <a:gd name="connsiteX2" fmla="*/ 152912 w 629549"/>
                    <a:gd name="connsiteY2" fmla="*/ 271706 h 653582"/>
                    <a:gd name="connsiteX3" fmla="*/ 474400 w 629549"/>
                    <a:gd name="connsiteY3" fmla="*/ 271706 h 653582"/>
                    <a:gd name="connsiteX4" fmla="*/ 610902 w 629549"/>
                    <a:gd name="connsiteY4" fmla="*/ 456317 h 653582"/>
                    <a:gd name="connsiteX5" fmla="*/ 320742 w 629549"/>
                    <a:gd name="connsiteY5" fmla="*/ 653582 h 653582"/>
                    <a:gd name="connsiteX6" fmla="*/ 0 w 629549"/>
                    <a:gd name="connsiteY6" fmla="*/ 326791 h 653582"/>
                    <a:gd name="connsiteX7" fmla="*/ 320742 w 629549"/>
                    <a:gd name="connsiteY7" fmla="*/ 0 h 653582"/>
                    <a:gd name="connsiteX8" fmla="*/ 629549 w 629549"/>
                    <a:gd name="connsiteY8" fmla="*/ 314136 h 653582"/>
                    <a:gd name="connsiteX9" fmla="*/ 625820 w 629549"/>
                    <a:gd name="connsiteY9" fmla="*/ 358800 h 653582"/>
                    <a:gd name="connsiteX10" fmla="*/ 623582 w 629549"/>
                    <a:gd name="connsiteY10" fmla="*/ 375921 h 653582"/>
                    <a:gd name="connsiteX11" fmla="*/ 154404 w 629549"/>
                    <a:gd name="connsiteY11" fmla="*/ 375921 h 653582"/>
                    <a:gd name="connsiteX12" fmla="*/ 321488 w 629549"/>
                    <a:gd name="connsiteY12" fmla="*/ 524057 h 653582"/>
                    <a:gd name="connsiteX13" fmla="*/ 451276 w 629549"/>
                    <a:gd name="connsiteY13" fmla="*/ 456317 h 653582"/>
                    <a:gd name="connsiteX14" fmla="*/ 610902 w 629549"/>
                    <a:gd name="connsiteY14" fmla="*/ 456317 h 653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9549" h="653582">
                      <a:moveTo>
                        <a:pt x="474400" y="271706"/>
                      </a:moveTo>
                      <a:cubicBezTo>
                        <a:pt x="460974" y="191310"/>
                        <a:pt x="408014" y="130270"/>
                        <a:pt x="319996" y="130270"/>
                      </a:cubicBezTo>
                      <a:cubicBezTo>
                        <a:pt x="226011" y="130270"/>
                        <a:pt x="171559" y="192055"/>
                        <a:pt x="152912" y="271706"/>
                      </a:cubicBezTo>
                      <a:lnTo>
                        <a:pt x="474400" y="271706"/>
                      </a:lnTo>
                      <a:close/>
                      <a:moveTo>
                        <a:pt x="610902" y="456317"/>
                      </a:moveTo>
                      <a:cubicBezTo>
                        <a:pt x="597475" y="505447"/>
                        <a:pt x="519155" y="653582"/>
                        <a:pt x="320742" y="653582"/>
                      </a:cubicBezTo>
                      <a:cubicBezTo>
                        <a:pt x="135756" y="653582"/>
                        <a:pt x="0" y="518102"/>
                        <a:pt x="0" y="326791"/>
                      </a:cubicBezTo>
                      <a:cubicBezTo>
                        <a:pt x="0" y="135481"/>
                        <a:pt x="135756" y="0"/>
                        <a:pt x="320742" y="0"/>
                      </a:cubicBezTo>
                      <a:cubicBezTo>
                        <a:pt x="493793" y="0"/>
                        <a:pt x="629549" y="135481"/>
                        <a:pt x="629549" y="314136"/>
                      </a:cubicBezTo>
                      <a:cubicBezTo>
                        <a:pt x="629549" y="332746"/>
                        <a:pt x="627312" y="347634"/>
                        <a:pt x="625820" y="358800"/>
                      </a:cubicBezTo>
                      <a:lnTo>
                        <a:pt x="623582" y="375921"/>
                      </a:lnTo>
                      <a:lnTo>
                        <a:pt x="154404" y="375921"/>
                      </a:lnTo>
                      <a:cubicBezTo>
                        <a:pt x="167830" y="463760"/>
                        <a:pt x="233471" y="524057"/>
                        <a:pt x="321488" y="524057"/>
                      </a:cubicBezTo>
                      <a:cubicBezTo>
                        <a:pt x="394587" y="524057"/>
                        <a:pt x="438596" y="482370"/>
                        <a:pt x="451276" y="456317"/>
                      </a:cubicBezTo>
                      <a:lnTo>
                        <a:pt x="610902" y="456317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347" name="Forma libre 346">
                  <a:extLst>
                    <a:ext uri="{FF2B5EF4-FFF2-40B4-BE49-F238E27FC236}">
                      <a16:creationId xmlns:a16="http://schemas.microsoft.com/office/drawing/2014/main" id="{6AFEADC3-8296-0215-95F1-616EB312758D}"/>
                    </a:ext>
                  </a:extLst>
                </p:cNvPr>
                <p:cNvSpPr/>
                <p:nvPr/>
              </p:nvSpPr>
              <p:spPr>
                <a:xfrm>
                  <a:off x="5581538" y="2789427"/>
                  <a:ext cx="395333" cy="875412"/>
                </a:xfrm>
                <a:custGeom>
                  <a:avLst/>
                  <a:gdLst>
                    <a:gd name="connsiteX0" fmla="*/ 105173 w 395333"/>
                    <a:gd name="connsiteY0" fmla="*/ 394531 h 875412"/>
                    <a:gd name="connsiteX1" fmla="*/ 0 w 395333"/>
                    <a:gd name="connsiteY1" fmla="*/ 394531 h 875412"/>
                    <a:gd name="connsiteX2" fmla="*/ 0 w 395333"/>
                    <a:gd name="connsiteY2" fmla="*/ 246396 h 875412"/>
                    <a:gd name="connsiteX3" fmla="*/ 105173 w 395333"/>
                    <a:gd name="connsiteY3" fmla="*/ 246396 h 875412"/>
                    <a:gd name="connsiteX4" fmla="*/ 105173 w 395333"/>
                    <a:gd name="connsiteY4" fmla="*/ 154091 h 875412"/>
                    <a:gd name="connsiteX5" fmla="*/ 259577 w 395333"/>
                    <a:gd name="connsiteY5" fmla="*/ 0 h 875412"/>
                    <a:gd name="connsiteX6" fmla="*/ 395333 w 395333"/>
                    <a:gd name="connsiteY6" fmla="*/ 0 h 875412"/>
                    <a:gd name="connsiteX7" fmla="*/ 395333 w 395333"/>
                    <a:gd name="connsiteY7" fmla="*/ 135481 h 875412"/>
                    <a:gd name="connsiteX8" fmla="*/ 302840 w 395333"/>
                    <a:gd name="connsiteY8" fmla="*/ 135481 h 875412"/>
                    <a:gd name="connsiteX9" fmla="*/ 259577 w 395333"/>
                    <a:gd name="connsiteY9" fmla="*/ 178656 h 875412"/>
                    <a:gd name="connsiteX10" fmla="*/ 259577 w 395333"/>
                    <a:gd name="connsiteY10" fmla="*/ 246396 h 875412"/>
                    <a:gd name="connsiteX11" fmla="*/ 395333 w 395333"/>
                    <a:gd name="connsiteY11" fmla="*/ 246396 h 875412"/>
                    <a:gd name="connsiteX12" fmla="*/ 395333 w 395333"/>
                    <a:gd name="connsiteY12" fmla="*/ 394531 h 875412"/>
                    <a:gd name="connsiteX13" fmla="*/ 259577 w 395333"/>
                    <a:gd name="connsiteY13" fmla="*/ 394531 h 875412"/>
                    <a:gd name="connsiteX14" fmla="*/ 259577 w 395333"/>
                    <a:gd name="connsiteY14" fmla="*/ 875413 h 875412"/>
                    <a:gd name="connsiteX15" fmla="*/ 105173 w 395333"/>
                    <a:gd name="connsiteY15" fmla="*/ 875413 h 875412"/>
                    <a:gd name="connsiteX16" fmla="*/ 105173 w 395333"/>
                    <a:gd name="connsiteY16" fmla="*/ 394531 h 875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95333" h="875412">
                      <a:moveTo>
                        <a:pt x="105173" y="394531"/>
                      </a:moveTo>
                      <a:lnTo>
                        <a:pt x="0" y="394531"/>
                      </a:lnTo>
                      <a:lnTo>
                        <a:pt x="0" y="246396"/>
                      </a:lnTo>
                      <a:lnTo>
                        <a:pt x="105173" y="246396"/>
                      </a:lnTo>
                      <a:lnTo>
                        <a:pt x="105173" y="154091"/>
                      </a:lnTo>
                      <a:cubicBezTo>
                        <a:pt x="105173" y="60296"/>
                        <a:pt x="165592" y="0"/>
                        <a:pt x="259577" y="0"/>
                      </a:cubicBezTo>
                      <a:lnTo>
                        <a:pt x="395333" y="0"/>
                      </a:lnTo>
                      <a:lnTo>
                        <a:pt x="395333" y="135481"/>
                      </a:lnTo>
                      <a:lnTo>
                        <a:pt x="302840" y="135481"/>
                      </a:lnTo>
                      <a:cubicBezTo>
                        <a:pt x="278225" y="135481"/>
                        <a:pt x="259577" y="154091"/>
                        <a:pt x="259577" y="178656"/>
                      </a:cubicBezTo>
                      <a:lnTo>
                        <a:pt x="259577" y="246396"/>
                      </a:lnTo>
                      <a:lnTo>
                        <a:pt x="395333" y="246396"/>
                      </a:lnTo>
                      <a:lnTo>
                        <a:pt x="395333" y="394531"/>
                      </a:lnTo>
                      <a:lnTo>
                        <a:pt x="259577" y="394531"/>
                      </a:lnTo>
                      <a:lnTo>
                        <a:pt x="259577" y="875413"/>
                      </a:lnTo>
                      <a:lnTo>
                        <a:pt x="105173" y="875413"/>
                      </a:lnTo>
                      <a:lnTo>
                        <a:pt x="105173" y="394531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348" name="Forma libre 347">
                  <a:extLst>
                    <a:ext uri="{FF2B5EF4-FFF2-40B4-BE49-F238E27FC236}">
                      <a16:creationId xmlns:a16="http://schemas.microsoft.com/office/drawing/2014/main" id="{8AF20E5D-C1BE-26B5-A2E4-DE9268390D69}"/>
                    </a:ext>
                  </a:extLst>
                </p:cNvPr>
                <p:cNvSpPr/>
                <p:nvPr/>
              </p:nvSpPr>
              <p:spPr>
                <a:xfrm>
                  <a:off x="6734717" y="3023168"/>
                  <a:ext cx="580319" cy="640927"/>
                </a:xfrm>
                <a:custGeom>
                  <a:avLst/>
                  <a:gdLst>
                    <a:gd name="connsiteX0" fmla="*/ 0 w 580319"/>
                    <a:gd name="connsiteY0" fmla="*/ 12655 h 640927"/>
                    <a:gd name="connsiteX1" fmla="*/ 141723 w 580319"/>
                    <a:gd name="connsiteY1" fmla="*/ 12655 h 640927"/>
                    <a:gd name="connsiteX2" fmla="*/ 154404 w 580319"/>
                    <a:gd name="connsiteY2" fmla="*/ 74440 h 640927"/>
                    <a:gd name="connsiteX3" fmla="*/ 160371 w 580319"/>
                    <a:gd name="connsiteY3" fmla="*/ 74440 h 640927"/>
                    <a:gd name="connsiteX4" fmla="*/ 202142 w 580319"/>
                    <a:gd name="connsiteY4" fmla="*/ 37220 h 640927"/>
                    <a:gd name="connsiteX5" fmla="*/ 333423 w 580319"/>
                    <a:gd name="connsiteY5" fmla="*/ 0 h 640927"/>
                    <a:gd name="connsiteX6" fmla="*/ 580319 w 580319"/>
                    <a:gd name="connsiteY6" fmla="*/ 265006 h 640927"/>
                    <a:gd name="connsiteX7" fmla="*/ 580319 w 580319"/>
                    <a:gd name="connsiteY7" fmla="*/ 640927 h 640927"/>
                    <a:gd name="connsiteX8" fmla="*/ 425915 w 580319"/>
                    <a:gd name="connsiteY8" fmla="*/ 640927 h 640927"/>
                    <a:gd name="connsiteX9" fmla="*/ 425915 w 580319"/>
                    <a:gd name="connsiteY9" fmla="*/ 277661 h 640927"/>
                    <a:gd name="connsiteX10" fmla="*/ 290160 w 580319"/>
                    <a:gd name="connsiteY10" fmla="*/ 142180 h 640927"/>
                    <a:gd name="connsiteX11" fmla="*/ 154404 w 580319"/>
                    <a:gd name="connsiteY11" fmla="*/ 277661 h 640927"/>
                    <a:gd name="connsiteX12" fmla="*/ 154404 w 580319"/>
                    <a:gd name="connsiteY12" fmla="*/ 640927 h 640927"/>
                    <a:gd name="connsiteX13" fmla="*/ 0 w 580319"/>
                    <a:gd name="connsiteY13" fmla="*/ 640927 h 640927"/>
                    <a:gd name="connsiteX14" fmla="*/ 0 w 580319"/>
                    <a:gd name="connsiteY14" fmla="*/ 12655 h 6409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580319" h="640927">
                      <a:moveTo>
                        <a:pt x="0" y="12655"/>
                      </a:moveTo>
                      <a:lnTo>
                        <a:pt x="141723" y="12655"/>
                      </a:lnTo>
                      <a:lnTo>
                        <a:pt x="154404" y="74440"/>
                      </a:lnTo>
                      <a:lnTo>
                        <a:pt x="160371" y="74440"/>
                      </a:lnTo>
                      <a:cubicBezTo>
                        <a:pt x="171560" y="61041"/>
                        <a:pt x="186478" y="48386"/>
                        <a:pt x="202142" y="37220"/>
                      </a:cubicBezTo>
                      <a:cubicBezTo>
                        <a:pt x="230487" y="18610"/>
                        <a:pt x="273750" y="0"/>
                        <a:pt x="333423" y="0"/>
                      </a:cubicBezTo>
                      <a:cubicBezTo>
                        <a:pt x="475146" y="0"/>
                        <a:pt x="580319" y="104960"/>
                        <a:pt x="580319" y="265006"/>
                      </a:cubicBezTo>
                      <a:lnTo>
                        <a:pt x="580319" y="640927"/>
                      </a:lnTo>
                      <a:lnTo>
                        <a:pt x="425915" y="640927"/>
                      </a:lnTo>
                      <a:lnTo>
                        <a:pt x="425915" y="277661"/>
                      </a:lnTo>
                      <a:cubicBezTo>
                        <a:pt x="425915" y="197266"/>
                        <a:pt x="369972" y="142180"/>
                        <a:pt x="290160" y="142180"/>
                      </a:cubicBezTo>
                      <a:cubicBezTo>
                        <a:pt x="209601" y="142180"/>
                        <a:pt x="154404" y="198010"/>
                        <a:pt x="154404" y="277661"/>
                      </a:cubicBezTo>
                      <a:lnTo>
                        <a:pt x="154404" y="640927"/>
                      </a:lnTo>
                      <a:lnTo>
                        <a:pt x="0" y="640927"/>
                      </a:lnTo>
                      <a:lnTo>
                        <a:pt x="0" y="12655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349" name="Forma libre 348">
                  <a:extLst>
                    <a:ext uri="{FF2B5EF4-FFF2-40B4-BE49-F238E27FC236}">
                      <a16:creationId xmlns:a16="http://schemas.microsoft.com/office/drawing/2014/main" id="{11DFC13B-3560-AC3C-8F9A-AB84068F333D}"/>
                    </a:ext>
                  </a:extLst>
                </p:cNvPr>
                <p:cNvSpPr/>
                <p:nvPr/>
              </p:nvSpPr>
              <p:spPr>
                <a:xfrm>
                  <a:off x="7681279" y="3023168"/>
                  <a:ext cx="616868" cy="653582"/>
                </a:xfrm>
                <a:custGeom>
                  <a:avLst/>
                  <a:gdLst>
                    <a:gd name="connsiteX0" fmla="*/ 616869 w 616868"/>
                    <a:gd name="connsiteY0" fmla="*/ 407186 h 653582"/>
                    <a:gd name="connsiteX1" fmla="*/ 320742 w 616868"/>
                    <a:gd name="connsiteY1" fmla="*/ 653582 h 653582"/>
                    <a:gd name="connsiteX2" fmla="*/ 0 w 616868"/>
                    <a:gd name="connsiteY2" fmla="*/ 326791 h 653582"/>
                    <a:gd name="connsiteX3" fmla="*/ 320742 w 616868"/>
                    <a:gd name="connsiteY3" fmla="*/ 0 h 653582"/>
                    <a:gd name="connsiteX4" fmla="*/ 616869 w 616868"/>
                    <a:gd name="connsiteY4" fmla="*/ 240441 h 653582"/>
                    <a:gd name="connsiteX5" fmla="*/ 462465 w 616868"/>
                    <a:gd name="connsiteY5" fmla="*/ 240441 h 653582"/>
                    <a:gd name="connsiteX6" fmla="*/ 320742 w 616868"/>
                    <a:gd name="connsiteY6" fmla="*/ 142180 h 653582"/>
                    <a:gd name="connsiteX7" fmla="*/ 153658 w 616868"/>
                    <a:gd name="connsiteY7" fmla="*/ 326791 h 653582"/>
                    <a:gd name="connsiteX8" fmla="*/ 320742 w 616868"/>
                    <a:gd name="connsiteY8" fmla="*/ 511402 h 653582"/>
                    <a:gd name="connsiteX9" fmla="*/ 462465 w 616868"/>
                    <a:gd name="connsiteY9" fmla="*/ 406442 h 653582"/>
                    <a:gd name="connsiteX10" fmla="*/ 616869 w 616868"/>
                    <a:gd name="connsiteY10" fmla="*/ 406442 h 653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16868" h="653582">
                      <a:moveTo>
                        <a:pt x="616869" y="407186"/>
                      </a:moveTo>
                      <a:cubicBezTo>
                        <a:pt x="596729" y="505447"/>
                        <a:pt x="519154" y="653582"/>
                        <a:pt x="320742" y="653582"/>
                      </a:cubicBezTo>
                      <a:cubicBezTo>
                        <a:pt x="135756" y="653582"/>
                        <a:pt x="0" y="518102"/>
                        <a:pt x="0" y="326791"/>
                      </a:cubicBezTo>
                      <a:cubicBezTo>
                        <a:pt x="0" y="135481"/>
                        <a:pt x="135756" y="0"/>
                        <a:pt x="320742" y="0"/>
                      </a:cubicBezTo>
                      <a:cubicBezTo>
                        <a:pt x="519900" y="0"/>
                        <a:pt x="597475" y="148135"/>
                        <a:pt x="616869" y="240441"/>
                      </a:cubicBezTo>
                      <a:lnTo>
                        <a:pt x="462465" y="240441"/>
                      </a:lnTo>
                      <a:cubicBezTo>
                        <a:pt x="449038" y="204710"/>
                        <a:pt x="413235" y="142180"/>
                        <a:pt x="320742" y="142180"/>
                      </a:cubicBezTo>
                      <a:cubicBezTo>
                        <a:pt x="228249" y="142180"/>
                        <a:pt x="153658" y="215876"/>
                        <a:pt x="153658" y="326791"/>
                      </a:cubicBezTo>
                      <a:cubicBezTo>
                        <a:pt x="153658" y="437707"/>
                        <a:pt x="227503" y="511402"/>
                        <a:pt x="320742" y="511402"/>
                      </a:cubicBezTo>
                      <a:cubicBezTo>
                        <a:pt x="413981" y="511402"/>
                        <a:pt x="449038" y="449617"/>
                        <a:pt x="462465" y="406442"/>
                      </a:cubicBezTo>
                      <a:lnTo>
                        <a:pt x="616869" y="406442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350" name="Forma libre 349">
                  <a:extLst>
                    <a:ext uri="{FF2B5EF4-FFF2-40B4-BE49-F238E27FC236}">
                      <a16:creationId xmlns:a16="http://schemas.microsoft.com/office/drawing/2014/main" id="{E1E7246B-5FF0-2BCA-FA7D-5A74B084D8B6}"/>
                    </a:ext>
                  </a:extLst>
                </p:cNvPr>
                <p:cNvSpPr/>
                <p:nvPr/>
              </p:nvSpPr>
              <p:spPr>
                <a:xfrm>
                  <a:off x="8351108" y="3023913"/>
                  <a:ext cx="555703" cy="653582"/>
                </a:xfrm>
                <a:custGeom>
                  <a:avLst/>
                  <a:gdLst>
                    <a:gd name="connsiteX0" fmla="*/ 401300 w 555703"/>
                    <a:gd name="connsiteY0" fmla="*/ 369222 h 653582"/>
                    <a:gd name="connsiteX1" fmla="*/ 271512 w 555703"/>
                    <a:gd name="connsiteY1" fmla="*/ 369222 h 653582"/>
                    <a:gd name="connsiteX2" fmla="*/ 154404 w 555703"/>
                    <a:gd name="connsiteY2" fmla="*/ 449617 h 653582"/>
                    <a:gd name="connsiteX3" fmla="*/ 252864 w 555703"/>
                    <a:gd name="connsiteY3" fmla="*/ 530012 h 653582"/>
                    <a:gd name="connsiteX4" fmla="*/ 401300 w 555703"/>
                    <a:gd name="connsiteY4" fmla="*/ 388576 h 653582"/>
                    <a:gd name="connsiteX5" fmla="*/ 401300 w 555703"/>
                    <a:gd name="connsiteY5" fmla="*/ 369222 h 653582"/>
                    <a:gd name="connsiteX6" fmla="*/ 413235 w 555703"/>
                    <a:gd name="connsiteY6" fmla="*/ 579142 h 653582"/>
                    <a:gd name="connsiteX7" fmla="*/ 407268 w 555703"/>
                    <a:gd name="connsiteY7" fmla="*/ 579142 h 653582"/>
                    <a:gd name="connsiteX8" fmla="*/ 364005 w 555703"/>
                    <a:gd name="connsiteY8" fmla="*/ 616362 h 653582"/>
                    <a:gd name="connsiteX9" fmla="*/ 228249 w 555703"/>
                    <a:gd name="connsiteY9" fmla="*/ 653582 h 653582"/>
                    <a:gd name="connsiteX10" fmla="*/ 0 w 555703"/>
                    <a:gd name="connsiteY10" fmla="*/ 462272 h 653582"/>
                    <a:gd name="connsiteX11" fmla="*/ 259577 w 555703"/>
                    <a:gd name="connsiteY11" fmla="*/ 252351 h 653582"/>
                    <a:gd name="connsiteX12" fmla="*/ 401300 w 555703"/>
                    <a:gd name="connsiteY12" fmla="*/ 252351 h 653582"/>
                    <a:gd name="connsiteX13" fmla="*/ 401300 w 555703"/>
                    <a:gd name="connsiteY13" fmla="*/ 239696 h 653582"/>
                    <a:gd name="connsiteX14" fmla="*/ 290159 w 555703"/>
                    <a:gd name="connsiteY14" fmla="*/ 122826 h 653582"/>
                    <a:gd name="connsiteX15" fmla="*/ 179019 w 555703"/>
                    <a:gd name="connsiteY15" fmla="*/ 203221 h 653582"/>
                    <a:gd name="connsiteX16" fmla="*/ 24615 w 555703"/>
                    <a:gd name="connsiteY16" fmla="*/ 203221 h 653582"/>
                    <a:gd name="connsiteX17" fmla="*/ 290159 w 555703"/>
                    <a:gd name="connsiteY17" fmla="*/ 0 h 653582"/>
                    <a:gd name="connsiteX18" fmla="*/ 555704 w 555703"/>
                    <a:gd name="connsiteY18" fmla="*/ 240441 h 653582"/>
                    <a:gd name="connsiteX19" fmla="*/ 555704 w 555703"/>
                    <a:gd name="connsiteY19" fmla="*/ 640927 h 653582"/>
                    <a:gd name="connsiteX20" fmla="*/ 425916 w 555703"/>
                    <a:gd name="connsiteY20" fmla="*/ 640927 h 653582"/>
                    <a:gd name="connsiteX21" fmla="*/ 413235 w 555703"/>
                    <a:gd name="connsiteY21" fmla="*/ 579142 h 653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555703" h="653582">
                      <a:moveTo>
                        <a:pt x="401300" y="369222"/>
                      </a:moveTo>
                      <a:lnTo>
                        <a:pt x="271512" y="369222"/>
                      </a:lnTo>
                      <a:cubicBezTo>
                        <a:pt x="190953" y="369222"/>
                        <a:pt x="154404" y="399742"/>
                        <a:pt x="154404" y="449617"/>
                      </a:cubicBezTo>
                      <a:cubicBezTo>
                        <a:pt x="154404" y="498747"/>
                        <a:pt x="190207" y="530012"/>
                        <a:pt x="252864" y="530012"/>
                      </a:cubicBezTo>
                      <a:cubicBezTo>
                        <a:pt x="346849" y="530012"/>
                        <a:pt x="401300" y="475671"/>
                        <a:pt x="401300" y="388576"/>
                      </a:cubicBezTo>
                      <a:lnTo>
                        <a:pt x="401300" y="369222"/>
                      </a:lnTo>
                      <a:close/>
                      <a:moveTo>
                        <a:pt x="413235" y="579142"/>
                      </a:moveTo>
                      <a:lnTo>
                        <a:pt x="407268" y="579142"/>
                      </a:lnTo>
                      <a:cubicBezTo>
                        <a:pt x="396079" y="592541"/>
                        <a:pt x="381161" y="605196"/>
                        <a:pt x="364005" y="616362"/>
                      </a:cubicBezTo>
                      <a:cubicBezTo>
                        <a:pt x="334168" y="634972"/>
                        <a:pt x="290906" y="653582"/>
                        <a:pt x="228249" y="653582"/>
                      </a:cubicBezTo>
                      <a:cubicBezTo>
                        <a:pt x="85034" y="653582"/>
                        <a:pt x="0" y="565743"/>
                        <a:pt x="0" y="462272"/>
                      </a:cubicBezTo>
                      <a:cubicBezTo>
                        <a:pt x="0" y="338702"/>
                        <a:pt x="86526" y="252351"/>
                        <a:pt x="259577" y="252351"/>
                      </a:cubicBezTo>
                      <a:lnTo>
                        <a:pt x="401300" y="252351"/>
                      </a:lnTo>
                      <a:lnTo>
                        <a:pt x="401300" y="239696"/>
                      </a:lnTo>
                      <a:cubicBezTo>
                        <a:pt x="401300" y="170467"/>
                        <a:pt x="359530" y="122826"/>
                        <a:pt x="290159" y="122826"/>
                      </a:cubicBezTo>
                      <a:cubicBezTo>
                        <a:pt x="220790" y="122826"/>
                        <a:pt x="184986" y="167490"/>
                        <a:pt x="179019" y="203221"/>
                      </a:cubicBezTo>
                      <a:lnTo>
                        <a:pt x="24615" y="203221"/>
                      </a:lnTo>
                      <a:cubicBezTo>
                        <a:pt x="38041" y="99749"/>
                        <a:pt x="122329" y="0"/>
                        <a:pt x="290159" y="0"/>
                      </a:cubicBezTo>
                      <a:cubicBezTo>
                        <a:pt x="450530" y="0"/>
                        <a:pt x="555704" y="105705"/>
                        <a:pt x="555704" y="240441"/>
                      </a:cubicBezTo>
                      <a:lnTo>
                        <a:pt x="555704" y="640927"/>
                      </a:lnTo>
                      <a:lnTo>
                        <a:pt x="425916" y="640927"/>
                      </a:lnTo>
                      <a:lnTo>
                        <a:pt x="413235" y="579142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351" name="Forma libre 350">
                  <a:extLst>
                    <a:ext uri="{FF2B5EF4-FFF2-40B4-BE49-F238E27FC236}">
                      <a16:creationId xmlns:a16="http://schemas.microsoft.com/office/drawing/2014/main" id="{4782FA31-9C46-CBBE-9CEC-7E90BBB20744}"/>
                    </a:ext>
                  </a:extLst>
                </p:cNvPr>
                <p:cNvSpPr/>
                <p:nvPr/>
              </p:nvSpPr>
              <p:spPr>
                <a:xfrm>
                  <a:off x="7418718" y="2762629"/>
                  <a:ext cx="183494" cy="901466"/>
                </a:xfrm>
                <a:custGeom>
                  <a:avLst/>
                  <a:gdLst>
                    <a:gd name="connsiteX0" fmla="*/ 14918 w 183494"/>
                    <a:gd name="connsiteY0" fmla="*/ 273194 h 901466"/>
                    <a:gd name="connsiteX1" fmla="*/ 169322 w 183494"/>
                    <a:gd name="connsiteY1" fmla="*/ 273194 h 901466"/>
                    <a:gd name="connsiteX2" fmla="*/ 169322 w 183494"/>
                    <a:gd name="connsiteY2" fmla="*/ 901467 h 901466"/>
                    <a:gd name="connsiteX3" fmla="*/ 14918 w 183494"/>
                    <a:gd name="connsiteY3" fmla="*/ 901467 h 901466"/>
                    <a:gd name="connsiteX4" fmla="*/ 14918 w 183494"/>
                    <a:gd name="connsiteY4" fmla="*/ 273194 h 901466"/>
                    <a:gd name="connsiteX5" fmla="*/ 183494 w 183494"/>
                    <a:gd name="connsiteY5" fmla="*/ 91561 h 901466"/>
                    <a:gd name="connsiteX6" fmla="*/ 91747 w 183494"/>
                    <a:gd name="connsiteY6" fmla="*/ 0 h 901466"/>
                    <a:gd name="connsiteX7" fmla="*/ 0 w 183494"/>
                    <a:gd name="connsiteY7" fmla="*/ 91561 h 901466"/>
                    <a:gd name="connsiteX8" fmla="*/ 91747 w 183494"/>
                    <a:gd name="connsiteY8" fmla="*/ 183122 h 901466"/>
                    <a:gd name="connsiteX9" fmla="*/ 183494 w 183494"/>
                    <a:gd name="connsiteY9" fmla="*/ 91561 h 901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83494" h="901466">
                      <a:moveTo>
                        <a:pt x="14918" y="273194"/>
                      </a:moveTo>
                      <a:lnTo>
                        <a:pt x="169322" y="273194"/>
                      </a:lnTo>
                      <a:lnTo>
                        <a:pt x="169322" y="901467"/>
                      </a:lnTo>
                      <a:lnTo>
                        <a:pt x="14918" y="901467"/>
                      </a:lnTo>
                      <a:lnTo>
                        <a:pt x="14918" y="273194"/>
                      </a:lnTo>
                      <a:close/>
                      <a:moveTo>
                        <a:pt x="183494" y="91561"/>
                      </a:moveTo>
                      <a:cubicBezTo>
                        <a:pt x="183494" y="40942"/>
                        <a:pt x="142469" y="0"/>
                        <a:pt x="91747" y="0"/>
                      </a:cubicBezTo>
                      <a:cubicBezTo>
                        <a:pt x="41025" y="0"/>
                        <a:pt x="0" y="40942"/>
                        <a:pt x="0" y="91561"/>
                      </a:cubicBezTo>
                      <a:cubicBezTo>
                        <a:pt x="0" y="142180"/>
                        <a:pt x="41025" y="183122"/>
                        <a:pt x="91747" y="183122"/>
                      </a:cubicBezTo>
                      <a:cubicBezTo>
                        <a:pt x="142469" y="182378"/>
                        <a:pt x="183494" y="142180"/>
                        <a:pt x="183494" y="91561"/>
                      </a:cubicBezTo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  <p:sp>
              <p:nvSpPr>
                <p:cNvPr id="352" name="Forma libre 351">
                  <a:extLst>
                    <a:ext uri="{FF2B5EF4-FFF2-40B4-BE49-F238E27FC236}">
                      <a16:creationId xmlns:a16="http://schemas.microsoft.com/office/drawing/2014/main" id="{98E3D1CA-2708-44E9-12DA-F825DF8325EB}"/>
                    </a:ext>
                  </a:extLst>
                </p:cNvPr>
                <p:cNvSpPr/>
                <p:nvPr/>
              </p:nvSpPr>
              <p:spPr>
                <a:xfrm>
                  <a:off x="5999994" y="2770817"/>
                  <a:ext cx="642229" cy="905933"/>
                </a:xfrm>
                <a:custGeom>
                  <a:avLst/>
                  <a:gdLst>
                    <a:gd name="connsiteX0" fmla="*/ 487826 w 642229"/>
                    <a:gd name="connsiteY0" fmla="*/ 579142 h 905933"/>
                    <a:gd name="connsiteX1" fmla="*/ 320742 w 642229"/>
                    <a:gd name="connsiteY1" fmla="*/ 394531 h 905933"/>
                    <a:gd name="connsiteX2" fmla="*/ 153658 w 642229"/>
                    <a:gd name="connsiteY2" fmla="*/ 579142 h 905933"/>
                    <a:gd name="connsiteX3" fmla="*/ 320742 w 642229"/>
                    <a:gd name="connsiteY3" fmla="*/ 763753 h 905933"/>
                    <a:gd name="connsiteX4" fmla="*/ 487826 w 642229"/>
                    <a:gd name="connsiteY4" fmla="*/ 579142 h 905933"/>
                    <a:gd name="connsiteX5" fmla="*/ 642230 w 642229"/>
                    <a:gd name="connsiteY5" fmla="*/ 579142 h 905933"/>
                    <a:gd name="connsiteX6" fmla="*/ 320742 w 642229"/>
                    <a:gd name="connsiteY6" fmla="*/ 905933 h 905933"/>
                    <a:gd name="connsiteX7" fmla="*/ 0 w 642229"/>
                    <a:gd name="connsiteY7" fmla="*/ 579142 h 905933"/>
                    <a:gd name="connsiteX8" fmla="*/ 320742 w 642229"/>
                    <a:gd name="connsiteY8" fmla="*/ 252351 h 905933"/>
                    <a:gd name="connsiteX9" fmla="*/ 642230 w 642229"/>
                    <a:gd name="connsiteY9" fmla="*/ 579142 h 905933"/>
                    <a:gd name="connsiteX10" fmla="*/ 376685 w 642229"/>
                    <a:gd name="connsiteY10" fmla="*/ 0 h 905933"/>
                    <a:gd name="connsiteX11" fmla="*/ 537056 w 642229"/>
                    <a:gd name="connsiteY11" fmla="*/ 0 h 905933"/>
                    <a:gd name="connsiteX12" fmla="*/ 388620 w 642229"/>
                    <a:gd name="connsiteY12" fmla="*/ 178656 h 905933"/>
                    <a:gd name="connsiteX13" fmla="*/ 258831 w 642229"/>
                    <a:gd name="connsiteY13" fmla="*/ 178656 h 905933"/>
                    <a:gd name="connsiteX14" fmla="*/ 376685 w 642229"/>
                    <a:gd name="connsiteY14" fmla="*/ 0 h 905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42229" h="905933">
                      <a:moveTo>
                        <a:pt x="487826" y="579142"/>
                      </a:moveTo>
                      <a:cubicBezTo>
                        <a:pt x="487826" y="468227"/>
                        <a:pt x="413981" y="394531"/>
                        <a:pt x="320742" y="394531"/>
                      </a:cubicBezTo>
                      <a:cubicBezTo>
                        <a:pt x="228249" y="394531"/>
                        <a:pt x="153658" y="468227"/>
                        <a:pt x="153658" y="579142"/>
                      </a:cubicBezTo>
                      <a:cubicBezTo>
                        <a:pt x="153658" y="690058"/>
                        <a:pt x="227503" y="763753"/>
                        <a:pt x="320742" y="763753"/>
                      </a:cubicBezTo>
                      <a:cubicBezTo>
                        <a:pt x="413981" y="763753"/>
                        <a:pt x="487826" y="690058"/>
                        <a:pt x="487826" y="579142"/>
                      </a:cubicBezTo>
                      <a:moveTo>
                        <a:pt x="642230" y="579142"/>
                      </a:moveTo>
                      <a:cubicBezTo>
                        <a:pt x="642230" y="770453"/>
                        <a:pt x="506474" y="905933"/>
                        <a:pt x="320742" y="905933"/>
                      </a:cubicBezTo>
                      <a:cubicBezTo>
                        <a:pt x="135756" y="905933"/>
                        <a:pt x="0" y="770453"/>
                        <a:pt x="0" y="579142"/>
                      </a:cubicBezTo>
                      <a:cubicBezTo>
                        <a:pt x="0" y="387832"/>
                        <a:pt x="135756" y="252351"/>
                        <a:pt x="320742" y="252351"/>
                      </a:cubicBezTo>
                      <a:cubicBezTo>
                        <a:pt x="506474" y="252351"/>
                        <a:pt x="642230" y="387832"/>
                        <a:pt x="642230" y="579142"/>
                      </a:cubicBezTo>
                      <a:moveTo>
                        <a:pt x="376685" y="0"/>
                      </a:moveTo>
                      <a:lnTo>
                        <a:pt x="537056" y="0"/>
                      </a:lnTo>
                      <a:lnTo>
                        <a:pt x="388620" y="178656"/>
                      </a:lnTo>
                      <a:lnTo>
                        <a:pt x="258831" y="178656"/>
                      </a:lnTo>
                      <a:lnTo>
                        <a:pt x="376685" y="0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74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0">
                    <a:latin typeface="Pulso Light" pitchFamily="2" charset="0"/>
                  </a:endParaRPr>
                </a:p>
              </p:txBody>
            </p:sp>
          </p:grpSp>
        </p:grpSp>
        <p:sp>
          <p:nvSpPr>
            <p:cNvPr id="340" name="Gráfico 35">
              <a:extLst>
                <a:ext uri="{FF2B5EF4-FFF2-40B4-BE49-F238E27FC236}">
                  <a16:creationId xmlns:a16="http://schemas.microsoft.com/office/drawing/2014/main" id="{010756B3-A884-C107-D379-68B1816322E5}"/>
                </a:ext>
              </a:extLst>
            </p:cNvPr>
            <p:cNvSpPr/>
            <p:nvPr/>
          </p:nvSpPr>
          <p:spPr>
            <a:xfrm>
              <a:off x="9256324" y="2540324"/>
              <a:ext cx="650858" cy="154002"/>
            </a:xfrm>
            <a:custGeom>
              <a:avLst/>
              <a:gdLst>
                <a:gd name="connsiteX0" fmla="*/ 7295952 w 7645191"/>
                <a:gd name="connsiteY0" fmla="*/ 1808946 h 1808946"/>
                <a:gd name="connsiteX1" fmla="*/ 6804024 w 7645191"/>
                <a:gd name="connsiteY1" fmla="*/ 1119356 h 1808946"/>
                <a:gd name="connsiteX2" fmla="*/ 5884374 w 7645191"/>
                <a:gd name="connsiteY2" fmla="*/ 1119356 h 1808946"/>
                <a:gd name="connsiteX3" fmla="*/ 5884374 w 7645191"/>
                <a:gd name="connsiteY3" fmla="*/ 1808946 h 1808946"/>
                <a:gd name="connsiteX4" fmla="*/ 5583187 w 7645191"/>
                <a:gd name="connsiteY4" fmla="*/ 1808946 h 1808946"/>
                <a:gd name="connsiteX5" fmla="*/ 5583187 w 7645191"/>
                <a:gd name="connsiteY5" fmla="*/ 0 h 1808946"/>
                <a:gd name="connsiteX6" fmla="*/ 7017247 w 7645191"/>
                <a:gd name="connsiteY6" fmla="*/ 0 h 1808946"/>
                <a:gd name="connsiteX7" fmla="*/ 7629906 w 7645191"/>
                <a:gd name="connsiteY7" fmla="*/ 569746 h 1808946"/>
                <a:gd name="connsiteX8" fmla="*/ 7157733 w 7645191"/>
                <a:gd name="connsiteY8" fmla="*/ 1104298 h 1808946"/>
                <a:gd name="connsiteX9" fmla="*/ 7645192 w 7645191"/>
                <a:gd name="connsiteY9" fmla="*/ 1808946 h 1808946"/>
                <a:gd name="connsiteX10" fmla="*/ 7295952 w 7645191"/>
                <a:gd name="connsiteY10" fmla="*/ 1808946 h 1808946"/>
                <a:gd name="connsiteX11" fmla="*/ 7321277 w 7645191"/>
                <a:gd name="connsiteY11" fmla="*/ 569746 h 1808946"/>
                <a:gd name="connsiteX12" fmla="*/ 6944704 w 7645191"/>
                <a:gd name="connsiteY12" fmla="*/ 272308 h 1808946"/>
                <a:gd name="connsiteX13" fmla="*/ 5884374 w 7645191"/>
                <a:gd name="connsiteY13" fmla="*/ 272308 h 1808946"/>
                <a:gd name="connsiteX14" fmla="*/ 5884374 w 7645191"/>
                <a:gd name="connsiteY14" fmla="*/ 846890 h 1808946"/>
                <a:gd name="connsiteX15" fmla="*/ 6971843 w 7645191"/>
                <a:gd name="connsiteY15" fmla="*/ 846890 h 1808946"/>
                <a:gd name="connsiteX16" fmla="*/ 7321277 w 7645191"/>
                <a:gd name="connsiteY16" fmla="*/ 569746 h 1808946"/>
                <a:gd name="connsiteX17" fmla="*/ 4545099 w 7645191"/>
                <a:gd name="connsiteY17" fmla="*/ 1808946 h 1808946"/>
                <a:gd name="connsiteX18" fmla="*/ 3671267 w 7645191"/>
                <a:gd name="connsiteY18" fmla="*/ 857038 h 1808946"/>
                <a:gd name="connsiteX19" fmla="*/ 3123637 w 7645191"/>
                <a:gd name="connsiteY19" fmla="*/ 1259259 h 1808946"/>
                <a:gd name="connsiteX20" fmla="*/ 3123637 w 7645191"/>
                <a:gd name="connsiteY20" fmla="*/ 1808946 h 1808946"/>
                <a:gd name="connsiteX21" fmla="*/ 2821971 w 7645191"/>
                <a:gd name="connsiteY21" fmla="*/ 1808946 h 1808946"/>
                <a:gd name="connsiteX22" fmla="*/ 2821971 w 7645191"/>
                <a:gd name="connsiteY22" fmla="*/ 0 h 1808946"/>
                <a:gd name="connsiteX23" fmla="*/ 3123637 w 7645191"/>
                <a:gd name="connsiteY23" fmla="*/ 0 h 1808946"/>
                <a:gd name="connsiteX24" fmla="*/ 3123637 w 7645191"/>
                <a:gd name="connsiteY24" fmla="*/ 936851 h 1808946"/>
                <a:gd name="connsiteX25" fmla="*/ 4397100 w 7645191"/>
                <a:gd name="connsiteY25" fmla="*/ 0 h 1808946"/>
                <a:gd name="connsiteX26" fmla="*/ 4831544 w 7645191"/>
                <a:gd name="connsiteY26" fmla="*/ 0 h 1808946"/>
                <a:gd name="connsiteX27" fmla="*/ 3902172 w 7645191"/>
                <a:gd name="connsiteY27" fmla="*/ 684597 h 1808946"/>
                <a:gd name="connsiteX28" fmla="*/ 4932178 w 7645191"/>
                <a:gd name="connsiteY28" fmla="*/ 1808946 h 1808946"/>
                <a:gd name="connsiteX29" fmla="*/ 4545099 w 7645191"/>
                <a:gd name="connsiteY29" fmla="*/ 1808946 h 1808946"/>
                <a:gd name="connsiteX30" fmla="*/ 1722960 w 7645191"/>
                <a:gd name="connsiteY30" fmla="*/ 1808946 h 1808946"/>
                <a:gd name="connsiteX31" fmla="*/ 849057 w 7645191"/>
                <a:gd name="connsiteY31" fmla="*/ 857038 h 1808946"/>
                <a:gd name="connsiteX32" fmla="*/ 301666 w 7645191"/>
                <a:gd name="connsiteY32" fmla="*/ 1259259 h 1808946"/>
                <a:gd name="connsiteX33" fmla="*/ 301666 w 7645191"/>
                <a:gd name="connsiteY33" fmla="*/ 1808946 h 1808946"/>
                <a:gd name="connsiteX34" fmla="*/ 0 w 7645191"/>
                <a:gd name="connsiteY34" fmla="*/ 1808946 h 1808946"/>
                <a:gd name="connsiteX35" fmla="*/ 0 w 7645191"/>
                <a:gd name="connsiteY35" fmla="*/ 0 h 1808946"/>
                <a:gd name="connsiteX36" fmla="*/ 301666 w 7645191"/>
                <a:gd name="connsiteY36" fmla="*/ 0 h 1808946"/>
                <a:gd name="connsiteX37" fmla="*/ 301666 w 7645191"/>
                <a:gd name="connsiteY37" fmla="*/ 936851 h 1808946"/>
                <a:gd name="connsiteX38" fmla="*/ 1574798 w 7645191"/>
                <a:gd name="connsiteY38" fmla="*/ 0 h 1808946"/>
                <a:gd name="connsiteX39" fmla="*/ 2009412 w 7645191"/>
                <a:gd name="connsiteY39" fmla="*/ 0 h 1808946"/>
                <a:gd name="connsiteX40" fmla="*/ 1080040 w 7645191"/>
                <a:gd name="connsiteY40" fmla="*/ 684597 h 1808946"/>
                <a:gd name="connsiteX41" fmla="*/ 2110045 w 7645191"/>
                <a:gd name="connsiteY41" fmla="*/ 1808946 h 1808946"/>
                <a:gd name="connsiteX42" fmla="*/ 1722960 w 7645191"/>
                <a:gd name="connsiteY42" fmla="*/ 1808946 h 1808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7645191" h="1808946">
                  <a:moveTo>
                    <a:pt x="7295952" y="1808946"/>
                  </a:moveTo>
                  <a:lnTo>
                    <a:pt x="6804024" y="1119356"/>
                  </a:lnTo>
                  <a:lnTo>
                    <a:pt x="5884374" y="1119356"/>
                  </a:lnTo>
                  <a:lnTo>
                    <a:pt x="5884374" y="1808946"/>
                  </a:lnTo>
                  <a:lnTo>
                    <a:pt x="5583187" y="1808946"/>
                  </a:lnTo>
                  <a:lnTo>
                    <a:pt x="5583187" y="0"/>
                  </a:lnTo>
                  <a:lnTo>
                    <a:pt x="7017247" y="0"/>
                  </a:lnTo>
                  <a:cubicBezTo>
                    <a:pt x="7399131" y="0"/>
                    <a:pt x="7629906" y="219957"/>
                    <a:pt x="7629906" y="569746"/>
                  </a:cubicBezTo>
                  <a:cubicBezTo>
                    <a:pt x="7629906" y="889415"/>
                    <a:pt x="7429119" y="1059517"/>
                    <a:pt x="7157733" y="1104298"/>
                  </a:cubicBezTo>
                  <a:lnTo>
                    <a:pt x="7645192" y="1808946"/>
                  </a:lnTo>
                  <a:lnTo>
                    <a:pt x="7295952" y="1808946"/>
                  </a:lnTo>
                  <a:close/>
                  <a:moveTo>
                    <a:pt x="7321277" y="569746"/>
                  </a:moveTo>
                  <a:cubicBezTo>
                    <a:pt x="7321277" y="369602"/>
                    <a:pt x="7198020" y="272308"/>
                    <a:pt x="6944704" y="272308"/>
                  </a:cubicBezTo>
                  <a:lnTo>
                    <a:pt x="5884374" y="272308"/>
                  </a:lnTo>
                  <a:lnTo>
                    <a:pt x="5884374" y="846890"/>
                  </a:lnTo>
                  <a:lnTo>
                    <a:pt x="6971843" y="846890"/>
                  </a:lnTo>
                  <a:cubicBezTo>
                    <a:pt x="7198020" y="846890"/>
                    <a:pt x="7321277" y="746935"/>
                    <a:pt x="7321277" y="569746"/>
                  </a:cubicBezTo>
                  <a:moveTo>
                    <a:pt x="4545099" y="1808946"/>
                  </a:moveTo>
                  <a:lnTo>
                    <a:pt x="3671267" y="857038"/>
                  </a:lnTo>
                  <a:lnTo>
                    <a:pt x="3123637" y="1259259"/>
                  </a:lnTo>
                  <a:lnTo>
                    <a:pt x="3123637" y="1808946"/>
                  </a:lnTo>
                  <a:lnTo>
                    <a:pt x="2821971" y="1808946"/>
                  </a:lnTo>
                  <a:lnTo>
                    <a:pt x="2821971" y="0"/>
                  </a:lnTo>
                  <a:lnTo>
                    <a:pt x="3123637" y="0"/>
                  </a:lnTo>
                  <a:lnTo>
                    <a:pt x="3123637" y="936851"/>
                  </a:lnTo>
                  <a:lnTo>
                    <a:pt x="4397100" y="0"/>
                  </a:lnTo>
                  <a:lnTo>
                    <a:pt x="4831544" y="0"/>
                  </a:lnTo>
                  <a:lnTo>
                    <a:pt x="3902172" y="684597"/>
                  </a:lnTo>
                  <a:lnTo>
                    <a:pt x="4932178" y="1808946"/>
                  </a:lnTo>
                  <a:lnTo>
                    <a:pt x="4545099" y="1808946"/>
                  </a:lnTo>
                  <a:close/>
                  <a:moveTo>
                    <a:pt x="1722960" y="1808946"/>
                  </a:moveTo>
                  <a:lnTo>
                    <a:pt x="849057" y="857038"/>
                  </a:lnTo>
                  <a:lnTo>
                    <a:pt x="301666" y="1259259"/>
                  </a:lnTo>
                  <a:lnTo>
                    <a:pt x="301666" y="1808946"/>
                  </a:lnTo>
                  <a:lnTo>
                    <a:pt x="0" y="1808946"/>
                  </a:lnTo>
                  <a:lnTo>
                    <a:pt x="0" y="0"/>
                  </a:lnTo>
                  <a:lnTo>
                    <a:pt x="301666" y="0"/>
                  </a:lnTo>
                  <a:lnTo>
                    <a:pt x="301666" y="936851"/>
                  </a:lnTo>
                  <a:lnTo>
                    <a:pt x="1574798" y="0"/>
                  </a:lnTo>
                  <a:lnTo>
                    <a:pt x="2009412" y="0"/>
                  </a:lnTo>
                  <a:lnTo>
                    <a:pt x="1080040" y="684597"/>
                  </a:lnTo>
                  <a:lnTo>
                    <a:pt x="2110045" y="1808946"/>
                  </a:lnTo>
                  <a:lnTo>
                    <a:pt x="1722960" y="1808946"/>
                  </a:lnTo>
                  <a:close/>
                </a:path>
              </a:pathLst>
            </a:custGeom>
            <a:solidFill>
              <a:srgbClr val="53284F"/>
            </a:solidFill>
            <a:ln w="64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0">
                <a:latin typeface="Pulso Light" pitchFamily="2" charset="0"/>
              </a:endParaRPr>
            </a:p>
          </p:txBody>
        </p:sp>
      </p:grpSp>
      <p:sp>
        <p:nvSpPr>
          <p:cNvPr id="423" name="Rectángulo 422">
            <a:extLst>
              <a:ext uri="{FF2B5EF4-FFF2-40B4-BE49-F238E27FC236}">
                <a16:creationId xmlns:a16="http://schemas.microsoft.com/office/drawing/2014/main" id="{230BBE86-94B4-4355-3F28-98CEEA1EAD95}"/>
              </a:ext>
            </a:extLst>
          </p:cNvPr>
          <p:cNvSpPr/>
          <p:nvPr/>
        </p:nvSpPr>
        <p:spPr>
          <a:xfrm>
            <a:off x="540657" y="2666438"/>
            <a:ext cx="8062686" cy="1464395"/>
          </a:xfrm>
          <a:prstGeom prst="rect">
            <a:avLst/>
          </a:prstGeom>
          <a:gradFill>
            <a:gsLst>
              <a:gs pos="40000">
                <a:schemeClr val="bg1">
                  <a:alpha val="31000"/>
                </a:schemeClr>
              </a:gs>
              <a:gs pos="0">
                <a:schemeClr val="bg1">
                  <a:alpha val="0"/>
                </a:schemeClr>
              </a:gs>
            </a:gsLst>
            <a:lin ang="0" scaled="0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n-US" sz="1050">
              <a:solidFill>
                <a:schemeClr val="tx1"/>
              </a:solidFill>
              <a:latin typeface="Pulso Light" pitchFamily="2" charset="0"/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C2042094-C205-4C5A-B078-81A045C4D7B9}"/>
              </a:ext>
            </a:extLst>
          </p:cNvPr>
          <p:cNvGrpSpPr/>
          <p:nvPr/>
        </p:nvGrpSpPr>
        <p:grpSpPr>
          <a:xfrm>
            <a:off x="543169" y="2666437"/>
            <a:ext cx="8060174" cy="1470817"/>
            <a:chOff x="1519796" y="3536039"/>
            <a:chExt cx="9938576" cy="1965192"/>
          </a:xfrm>
        </p:grpSpPr>
        <p:cxnSp>
          <p:nvCxnSpPr>
            <p:cNvPr id="3" name="Conector recto 2">
              <a:extLst>
                <a:ext uri="{FF2B5EF4-FFF2-40B4-BE49-F238E27FC236}">
                  <a16:creationId xmlns:a16="http://schemas.microsoft.com/office/drawing/2014/main" id="{106A28EF-8D4A-A6BD-C1AA-E08CCA892413}"/>
                </a:ext>
              </a:extLst>
            </p:cNvPr>
            <p:cNvCxnSpPr>
              <a:cxnSpLocks/>
            </p:cNvCxnSpPr>
            <p:nvPr/>
          </p:nvCxnSpPr>
          <p:spPr>
            <a:xfrm>
              <a:off x="1519796" y="3536039"/>
              <a:ext cx="9938576" cy="0"/>
            </a:xfrm>
            <a:prstGeom prst="line">
              <a:avLst/>
            </a:prstGeom>
            <a:ln w="12700" cap="rnd">
              <a:solidFill>
                <a:schemeClr val="tx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Conector recto 3">
              <a:extLst>
                <a:ext uri="{FF2B5EF4-FFF2-40B4-BE49-F238E27FC236}">
                  <a16:creationId xmlns:a16="http://schemas.microsoft.com/office/drawing/2014/main" id="{C2EBE6AF-26EB-626C-AC12-DCB7EBAAC716}"/>
                </a:ext>
              </a:extLst>
            </p:cNvPr>
            <p:cNvCxnSpPr>
              <a:cxnSpLocks/>
            </p:cNvCxnSpPr>
            <p:nvPr/>
          </p:nvCxnSpPr>
          <p:spPr>
            <a:xfrm>
              <a:off x="1519796" y="5501231"/>
              <a:ext cx="9938576" cy="0"/>
            </a:xfrm>
            <a:prstGeom prst="line">
              <a:avLst/>
            </a:prstGeom>
            <a:ln w="12700" cap="rnd">
              <a:solidFill>
                <a:schemeClr val="tx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3" name="Title 1">
            <a:extLst>
              <a:ext uri="{FF2B5EF4-FFF2-40B4-BE49-F238E27FC236}">
                <a16:creationId xmlns:a16="http://schemas.microsoft.com/office/drawing/2014/main" id="{8DE1F799-F440-5B33-0203-F1E744B2BD55}"/>
              </a:ext>
            </a:extLst>
          </p:cNvPr>
          <p:cNvSpPr txBox="1">
            <a:spLocks/>
          </p:cNvSpPr>
          <p:nvPr/>
        </p:nvSpPr>
        <p:spPr>
          <a:xfrm>
            <a:off x="540657" y="2873914"/>
            <a:ext cx="632240" cy="125408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algn="ctr" defTabSz="914318">
              <a:lnSpc>
                <a:spcPct val="100000"/>
              </a:lnSpc>
              <a:spcBef>
                <a:spcPct val="0"/>
              </a:spcBef>
              <a:buNone/>
              <a:defRPr sz="1200" b="0" i="0" spc="0" baseline="0">
                <a:solidFill>
                  <a:schemeClr val="accent2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Montserrat" charset="0"/>
              </a:defRPr>
            </a:lvl1pPr>
          </a:lstStyle>
          <a:p>
            <a:pPr algn="r"/>
            <a:r>
              <a:rPr lang="es-ES_tradnl" sz="800">
                <a:solidFill>
                  <a:schemeClr val="tx1"/>
                </a:solidFill>
                <a:latin typeface="Pulso" pitchFamily="2" charset="0"/>
              </a:rPr>
              <a:t>Descripción</a:t>
            </a:r>
          </a:p>
        </p:txBody>
      </p:sp>
      <p:sp>
        <p:nvSpPr>
          <p:cNvPr id="384" name="CuadroTexto 383">
            <a:extLst>
              <a:ext uri="{FF2B5EF4-FFF2-40B4-BE49-F238E27FC236}">
                <a16:creationId xmlns:a16="http://schemas.microsoft.com/office/drawing/2014/main" id="{4E888618-C6C8-2A8D-DA71-A936A0F3CF5C}"/>
              </a:ext>
            </a:extLst>
          </p:cNvPr>
          <p:cNvSpPr txBox="1"/>
          <p:nvPr/>
        </p:nvSpPr>
        <p:spPr>
          <a:xfrm>
            <a:off x="1327852" y="4174408"/>
            <a:ext cx="1204646" cy="282166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algn="ctr" defTabSz="914318">
              <a:lnSpc>
                <a:spcPct val="100000"/>
              </a:lnSpc>
              <a:spcBef>
                <a:spcPct val="0"/>
              </a:spcBef>
              <a:buNone/>
              <a:defRPr sz="1200" b="0" i="0" spc="0" baseline="0">
                <a:solidFill>
                  <a:schemeClr val="accent2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Montserrat" charset="0"/>
              </a:defRPr>
            </a:lvl1pPr>
          </a:lstStyle>
          <a:p>
            <a:r>
              <a:rPr lang="es-ES" sz="90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 Medium"/>
              </a:rPr>
              <a:t>Estrategia largo </a:t>
            </a:r>
            <a:endParaRPr lang="en-US" sz="900">
              <a:solidFill>
                <a:schemeClr val="tx2">
                  <a:lumMod val="75000"/>
                  <a:lumOff val="25000"/>
                </a:schemeClr>
              </a:solidFill>
              <a:latin typeface="Pulso" pitchFamily="2" charset="0"/>
              <a:ea typeface="Roboto Medium"/>
            </a:endParaRPr>
          </a:p>
          <a:p>
            <a:r>
              <a:rPr lang="es-ES" sz="90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 Medium"/>
              </a:rPr>
              <a:t>plazo</a:t>
            </a:r>
          </a:p>
        </p:txBody>
      </p:sp>
      <p:sp>
        <p:nvSpPr>
          <p:cNvPr id="385" name="CuadroTexto 384">
            <a:extLst>
              <a:ext uri="{FF2B5EF4-FFF2-40B4-BE49-F238E27FC236}">
                <a16:creationId xmlns:a16="http://schemas.microsoft.com/office/drawing/2014/main" id="{EBA7DABD-CA34-1E5C-69F0-1A3608C8FCAC}"/>
              </a:ext>
            </a:extLst>
          </p:cNvPr>
          <p:cNvSpPr txBox="1"/>
          <p:nvPr/>
        </p:nvSpPr>
        <p:spPr>
          <a:xfrm>
            <a:off x="4962603" y="4244951"/>
            <a:ext cx="3640741" cy="141083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algn="r" defTabSz="914318">
              <a:lnSpc>
                <a:spcPct val="100000"/>
              </a:lnSpc>
              <a:spcBef>
                <a:spcPct val="0"/>
              </a:spcBef>
              <a:buNone/>
              <a:defRPr sz="1200" b="0" i="0" spc="-15" baseline="0">
                <a:solidFill>
                  <a:schemeClr val="accent2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Montserrat" charset="0"/>
              </a:defRPr>
            </a:lvl1pPr>
          </a:lstStyle>
          <a:p>
            <a:pPr algn="ctr"/>
            <a:r>
              <a:rPr lang="es-ES" sz="900" spc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</a:rPr>
              <a:t>Estrategia corto plazo: maximización de salida</a:t>
            </a:r>
          </a:p>
        </p:txBody>
      </p:sp>
      <p:sp>
        <p:nvSpPr>
          <p:cNvPr id="386" name="Title 1">
            <a:extLst>
              <a:ext uri="{FF2B5EF4-FFF2-40B4-BE49-F238E27FC236}">
                <a16:creationId xmlns:a16="http://schemas.microsoft.com/office/drawing/2014/main" id="{CD6CC760-3D63-8447-876C-A6599E75B6B8}"/>
              </a:ext>
            </a:extLst>
          </p:cNvPr>
          <p:cNvSpPr txBox="1">
            <a:spLocks/>
          </p:cNvSpPr>
          <p:nvPr/>
        </p:nvSpPr>
        <p:spPr>
          <a:xfrm>
            <a:off x="1385239" y="2895416"/>
            <a:ext cx="1089020" cy="98488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indent="0" defTabSz="914400">
              <a:lnSpc>
                <a:spcPct val="120000"/>
              </a:lnSpc>
              <a:spcBef>
                <a:spcPts val="0"/>
              </a:spcBef>
              <a:spcAft>
                <a:spcPts val="15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" pitchFamily="2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>
              <a:lnSpc>
                <a:spcPct val="100000"/>
              </a:lnSpc>
            </a:pPr>
            <a:r>
              <a:rPr lang="es-ES_tradnl" sz="800">
                <a:latin typeface="Pulso Light" pitchFamily="2" charset="0"/>
              </a:rPr>
              <a:t>En julio ‘25 Telefónica adquiere el 50% de CDPQ quedándose con el 100% de la red de fibra de FiBrasil. (75% en manos de Vivo y el 25% restante en Telefónica Infra).</a:t>
            </a:r>
          </a:p>
        </p:txBody>
      </p:sp>
      <p:sp>
        <p:nvSpPr>
          <p:cNvPr id="387" name="Title 1">
            <a:extLst>
              <a:ext uri="{FF2B5EF4-FFF2-40B4-BE49-F238E27FC236}">
                <a16:creationId xmlns:a16="http://schemas.microsoft.com/office/drawing/2014/main" id="{72CE0B32-1F7E-3B31-F77E-B76364F46CAB}"/>
              </a:ext>
            </a:extLst>
          </p:cNvPr>
          <p:cNvSpPr txBox="1">
            <a:spLocks/>
          </p:cNvSpPr>
          <p:nvPr/>
        </p:nvSpPr>
        <p:spPr>
          <a:xfrm>
            <a:off x="2596523" y="2895416"/>
            <a:ext cx="1085526" cy="110799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indent="0" defTabSz="914400">
              <a:lnSpc>
                <a:spcPct val="120000"/>
              </a:lnSpc>
              <a:spcBef>
                <a:spcPts val="0"/>
              </a:spcBef>
              <a:spcAft>
                <a:spcPts val="15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" pitchFamily="2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>
              <a:lnSpc>
                <a:spcPct val="100000"/>
              </a:lnSpc>
            </a:pPr>
            <a:r>
              <a:rPr lang="es-ES_tradnl" sz="800">
                <a:latin typeface="Pulso Light" pitchFamily="2" charset="0"/>
              </a:rPr>
              <a:t>Globenet y BTG Pactual adquirieron una participación del 65,3% de los activos de Oi que comprenden la</a:t>
            </a:r>
            <a:br>
              <a:rPr lang="es-ES_tradnl" sz="800">
                <a:latin typeface="Pulso Light" pitchFamily="2" charset="0"/>
              </a:rPr>
            </a:br>
            <a:r>
              <a:rPr lang="es-ES_tradnl" sz="800">
                <a:latin typeface="Pulso Light" pitchFamily="2" charset="0"/>
              </a:rPr>
              <a:t>red de fibra. En 2025 </a:t>
            </a:r>
            <a:r>
              <a:rPr lang="es-ES_tradnl" sz="800" err="1">
                <a:latin typeface="Pulso Light" pitchFamily="2" charset="0"/>
              </a:rPr>
              <a:t>V.tal</a:t>
            </a:r>
            <a:r>
              <a:rPr lang="es-ES_tradnl" sz="800">
                <a:latin typeface="Pulso Light" pitchFamily="2" charset="0"/>
              </a:rPr>
              <a:t> adquiere  </a:t>
            </a:r>
            <a:r>
              <a:rPr lang="es-ES_tradnl" sz="800" err="1">
                <a:latin typeface="Pulso Light" pitchFamily="2" charset="0"/>
              </a:rPr>
              <a:t>ClientCo</a:t>
            </a:r>
            <a:r>
              <a:rPr lang="es-ES_tradnl" sz="800">
                <a:latin typeface="Pulso Light" pitchFamily="2" charset="0"/>
              </a:rPr>
              <a:t>, </a:t>
            </a:r>
            <a:r>
              <a:rPr lang="es-ES_tradnl" sz="800" err="1">
                <a:latin typeface="Pulso Light" pitchFamily="2" charset="0"/>
              </a:rPr>
              <a:t>cía</a:t>
            </a:r>
            <a:r>
              <a:rPr lang="es-ES_tradnl" sz="800">
                <a:latin typeface="Pulso Light" pitchFamily="2" charset="0"/>
              </a:rPr>
              <a:t> </a:t>
            </a:r>
            <a:r>
              <a:rPr lang="es-ES_tradnl" sz="800" err="1">
                <a:latin typeface="Pulso Light" pitchFamily="2" charset="0"/>
              </a:rPr>
              <a:t>minorsita</a:t>
            </a:r>
            <a:r>
              <a:rPr lang="es-ES_tradnl" sz="800">
                <a:latin typeface="Pulso Light" pitchFamily="2" charset="0"/>
              </a:rPr>
              <a:t> de FTTH de Oi.</a:t>
            </a:r>
          </a:p>
        </p:txBody>
      </p:sp>
      <p:sp>
        <p:nvSpPr>
          <p:cNvPr id="388" name="Title 1">
            <a:extLst>
              <a:ext uri="{FF2B5EF4-FFF2-40B4-BE49-F238E27FC236}">
                <a16:creationId xmlns:a16="http://schemas.microsoft.com/office/drawing/2014/main" id="{0CC3980E-D6E3-1E4A-59CD-0D9438019281}"/>
              </a:ext>
            </a:extLst>
          </p:cNvPr>
          <p:cNvSpPr txBox="1">
            <a:spLocks/>
          </p:cNvSpPr>
          <p:nvPr/>
        </p:nvSpPr>
        <p:spPr>
          <a:xfrm>
            <a:off x="3833635" y="2895416"/>
            <a:ext cx="1042512" cy="61555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indent="0" defTabSz="914400">
              <a:lnSpc>
                <a:spcPct val="120000"/>
              </a:lnSpc>
              <a:spcBef>
                <a:spcPts val="0"/>
              </a:spcBef>
              <a:spcAft>
                <a:spcPts val="15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" pitchFamily="2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>
              <a:lnSpc>
                <a:spcPct val="100000"/>
              </a:lnSpc>
            </a:pPr>
            <a:r>
              <a:rPr lang="es-ES_tradnl" sz="800">
                <a:latin typeface="Pulso Light" pitchFamily="2" charset="0"/>
              </a:rPr>
              <a:t>IHS adquirió una participación del 51% de TIM FiberCo para su expansión en América Latina.</a:t>
            </a:r>
          </a:p>
        </p:txBody>
      </p:sp>
      <p:sp>
        <p:nvSpPr>
          <p:cNvPr id="389" name="Title 1">
            <a:extLst>
              <a:ext uri="{FF2B5EF4-FFF2-40B4-BE49-F238E27FC236}">
                <a16:creationId xmlns:a16="http://schemas.microsoft.com/office/drawing/2014/main" id="{B114F184-9C17-17C9-069C-7DF3FAFF3E9A}"/>
              </a:ext>
            </a:extLst>
          </p:cNvPr>
          <p:cNvSpPr txBox="1">
            <a:spLocks/>
          </p:cNvSpPr>
          <p:nvPr/>
        </p:nvSpPr>
        <p:spPr>
          <a:xfrm>
            <a:off x="5023542" y="2895416"/>
            <a:ext cx="1088758" cy="61555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indent="0" defTabSz="914400">
              <a:lnSpc>
                <a:spcPct val="120000"/>
              </a:lnSpc>
              <a:spcBef>
                <a:spcPts val="0"/>
              </a:spcBef>
              <a:spcAft>
                <a:spcPts val="15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" pitchFamily="2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>
              <a:lnSpc>
                <a:spcPct val="100000"/>
              </a:lnSpc>
            </a:pPr>
            <a:r>
              <a:rPr lang="es-ES_tradnl" sz="800">
                <a:latin typeface="Pulso Light" pitchFamily="2" charset="0"/>
              </a:rPr>
              <a:t>KKR adquirió una participación del 60% de la red de fibra óptica existente de Telefónica Colombia</a:t>
            </a:r>
          </a:p>
        </p:txBody>
      </p:sp>
      <p:sp>
        <p:nvSpPr>
          <p:cNvPr id="390" name="Title 1">
            <a:extLst>
              <a:ext uri="{FF2B5EF4-FFF2-40B4-BE49-F238E27FC236}">
                <a16:creationId xmlns:a16="http://schemas.microsoft.com/office/drawing/2014/main" id="{A9D3F4B1-7F6F-3219-991D-F59009F2DEB7}"/>
              </a:ext>
            </a:extLst>
          </p:cNvPr>
          <p:cNvSpPr txBox="1">
            <a:spLocks/>
          </p:cNvSpPr>
          <p:nvPr/>
        </p:nvSpPr>
        <p:spPr>
          <a:xfrm>
            <a:off x="6233901" y="2895416"/>
            <a:ext cx="1100858" cy="61555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indent="0" defTabSz="914400">
              <a:lnSpc>
                <a:spcPct val="120000"/>
              </a:lnSpc>
              <a:spcBef>
                <a:spcPts val="0"/>
              </a:spcBef>
              <a:spcAft>
                <a:spcPts val="15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" pitchFamily="2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>
              <a:lnSpc>
                <a:spcPct val="100000"/>
              </a:lnSpc>
            </a:pPr>
            <a:r>
              <a:rPr lang="es-ES_tradnl" sz="800">
                <a:latin typeface="Pulso Light" pitchFamily="2" charset="0"/>
              </a:rPr>
              <a:t>KKR adquirió una participación del 60% de la red de fibra óptica existente de Telefónica Chile</a:t>
            </a:r>
          </a:p>
        </p:txBody>
      </p:sp>
      <p:sp>
        <p:nvSpPr>
          <p:cNvPr id="391" name="Title 1">
            <a:extLst>
              <a:ext uri="{FF2B5EF4-FFF2-40B4-BE49-F238E27FC236}">
                <a16:creationId xmlns:a16="http://schemas.microsoft.com/office/drawing/2014/main" id="{DE0CE81B-5AC5-8620-6995-AC43962BE16D}"/>
              </a:ext>
            </a:extLst>
          </p:cNvPr>
          <p:cNvSpPr txBox="1">
            <a:spLocks/>
          </p:cNvSpPr>
          <p:nvPr/>
        </p:nvSpPr>
        <p:spPr>
          <a:xfrm>
            <a:off x="7445660" y="2895416"/>
            <a:ext cx="1101780" cy="61555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indent="0" defTabSz="914400">
              <a:lnSpc>
                <a:spcPct val="120000"/>
              </a:lnSpc>
              <a:spcBef>
                <a:spcPts val="0"/>
              </a:spcBef>
              <a:spcAft>
                <a:spcPts val="15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" pitchFamily="2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>
              <a:lnSpc>
                <a:spcPct val="100000"/>
              </a:lnSpc>
            </a:pPr>
            <a:r>
              <a:rPr lang="es-ES_tradnl" sz="800">
                <a:latin typeface="Pulso Light" pitchFamily="2" charset="0"/>
              </a:rPr>
              <a:t>Entel InfraCo vende el 100% de sus activos de fibra a OnNet Fibra, una empresa conjunta de KKR y Telefónica</a:t>
            </a:r>
          </a:p>
        </p:txBody>
      </p:sp>
      <p:sp>
        <p:nvSpPr>
          <p:cNvPr id="393" name="Rectángulo: esquinas redondeadas 4">
            <a:extLst>
              <a:ext uri="{FF2B5EF4-FFF2-40B4-BE49-F238E27FC236}">
                <a16:creationId xmlns:a16="http://schemas.microsoft.com/office/drawing/2014/main" id="{CD47BC9C-BCFA-5101-0BCF-55ABA0D3044A}"/>
              </a:ext>
            </a:extLst>
          </p:cNvPr>
          <p:cNvSpPr/>
          <p:nvPr/>
        </p:nvSpPr>
        <p:spPr>
          <a:xfrm>
            <a:off x="4962603" y="1308271"/>
            <a:ext cx="3640741" cy="3187885"/>
          </a:xfrm>
          <a:prstGeom prst="roundRect">
            <a:avLst>
              <a:gd name="adj" fmla="val 3040"/>
            </a:avLst>
          </a:prstGeom>
          <a:noFill/>
          <a:ln w="12700" cap="rnd" cmpd="sng">
            <a:solidFill>
              <a:schemeClr val="bg2"/>
            </a:solidFill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>
              <a:solidFill>
                <a:schemeClr val="tx1"/>
              </a:solidFill>
              <a:latin typeface="Pulso Light" pitchFamily="2" charset="0"/>
            </a:endParaRPr>
          </a:p>
        </p:txBody>
      </p:sp>
      <p:sp>
        <p:nvSpPr>
          <p:cNvPr id="394" name="Rectángulo: esquinas redondeadas 5">
            <a:extLst>
              <a:ext uri="{FF2B5EF4-FFF2-40B4-BE49-F238E27FC236}">
                <a16:creationId xmlns:a16="http://schemas.microsoft.com/office/drawing/2014/main" id="{05C60F6B-3AB2-B790-8D0E-15DE5CB9768A}"/>
              </a:ext>
            </a:extLst>
          </p:cNvPr>
          <p:cNvSpPr/>
          <p:nvPr/>
        </p:nvSpPr>
        <p:spPr>
          <a:xfrm>
            <a:off x="1327852" y="1308271"/>
            <a:ext cx="1204646" cy="3187885"/>
          </a:xfrm>
          <a:prstGeom prst="roundRect">
            <a:avLst>
              <a:gd name="adj" fmla="val 6255"/>
            </a:avLst>
          </a:prstGeom>
          <a:noFill/>
          <a:ln w="12700" cap="rnd" cmpd="sng">
            <a:solidFill>
              <a:schemeClr val="bg2"/>
            </a:solidFill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>
              <a:solidFill>
                <a:schemeClr val="tx1"/>
              </a:solidFill>
              <a:latin typeface="Pulso Light" pitchFamily="2" charset="0"/>
            </a:endParaRPr>
          </a:p>
        </p:txBody>
      </p:sp>
      <p:grpSp>
        <p:nvGrpSpPr>
          <p:cNvPr id="395" name="Grupo 394">
            <a:extLst>
              <a:ext uri="{FF2B5EF4-FFF2-40B4-BE49-F238E27FC236}">
                <a16:creationId xmlns:a16="http://schemas.microsoft.com/office/drawing/2014/main" id="{107A0D29-53B7-DC97-7BB1-670A5BA78A78}"/>
              </a:ext>
            </a:extLst>
          </p:cNvPr>
          <p:cNvGrpSpPr/>
          <p:nvPr/>
        </p:nvGrpSpPr>
        <p:grpSpPr>
          <a:xfrm>
            <a:off x="1782157" y="1158733"/>
            <a:ext cx="295185" cy="295185"/>
            <a:chOff x="4307822" y="1655865"/>
            <a:chExt cx="386372" cy="386372"/>
          </a:xfrm>
        </p:grpSpPr>
        <p:sp>
          <p:nvSpPr>
            <p:cNvPr id="396" name="Oval 24">
              <a:extLst>
                <a:ext uri="{FF2B5EF4-FFF2-40B4-BE49-F238E27FC236}">
                  <a16:creationId xmlns:a16="http://schemas.microsoft.com/office/drawing/2014/main" id="{6897CC4A-62DD-5317-305A-C5ED1E233C50}"/>
                </a:ext>
              </a:extLst>
            </p:cNvPr>
            <p:cNvSpPr/>
            <p:nvPr/>
          </p:nvSpPr>
          <p:spPr>
            <a:xfrm rot="10800000">
              <a:off x="4348781" y="1696822"/>
              <a:ext cx="304454" cy="304458"/>
            </a:xfrm>
            <a:prstGeom prst="ellipse">
              <a:avLst/>
            </a:prstGeom>
            <a:solidFill>
              <a:schemeClr val="tx2"/>
            </a:solidFill>
            <a:ln w="25400">
              <a:noFill/>
            </a:ln>
            <a:effectLst>
              <a:outerShdw blurRad="38100" dist="12700" dir="5400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n-US" sz="10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  <p:sp>
          <p:nvSpPr>
            <p:cNvPr id="397" name="Oval 24">
              <a:extLst>
                <a:ext uri="{FF2B5EF4-FFF2-40B4-BE49-F238E27FC236}">
                  <a16:creationId xmlns:a16="http://schemas.microsoft.com/office/drawing/2014/main" id="{BFA7972F-D2CF-391A-9470-0971255FDB0A}"/>
                </a:ext>
              </a:extLst>
            </p:cNvPr>
            <p:cNvSpPr/>
            <p:nvPr/>
          </p:nvSpPr>
          <p:spPr>
            <a:xfrm>
              <a:off x="4307822" y="1655865"/>
              <a:ext cx="386372" cy="386372"/>
            </a:xfrm>
            <a:prstGeom prst="ellipse">
              <a:avLst/>
            </a:prstGeom>
            <a:noFill/>
            <a:ln w="19050">
              <a:solidFill>
                <a:srgbClr val="FFFFFF"/>
              </a:solidFill>
            </a:ln>
            <a:effectLst>
              <a:outerShdw blurRad="38100" dist="12700" dir="5400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n-US" sz="10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</p:grpSp>
      <p:grpSp>
        <p:nvGrpSpPr>
          <p:cNvPr id="399" name="Grupo 398">
            <a:extLst>
              <a:ext uri="{FF2B5EF4-FFF2-40B4-BE49-F238E27FC236}">
                <a16:creationId xmlns:a16="http://schemas.microsoft.com/office/drawing/2014/main" id="{E73435DB-3354-5222-BC42-9B5BE6BABD8C}"/>
              </a:ext>
            </a:extLst>
          </p:cNvPr>
          <p:cNvGrpSpPr/>
          <p:nvPr/>
        </p:nvGrpSpPr>
        <p:grpSpPr>
          <a:xfrm>
            <a:off x="2991694" y="1158733"/>
            <a:ext cx="295185" cy="295185"/>
            <a:chOff x="4307822" y="1655865"/>
            <a:chExt cx="386372" cy="386372"/>
          </a:xfrm>
        </p:grpSpPr>
        <p:sp>
          <p:nvSpPr>
            <p:cNvPr id="400" name="Oval 24">
              <a:extLst>
                <a:ext uri="{FF2B5EF4-FFF2-40B4-BE49-F238E27FC236}">
                  <a16:creationId xmlns:a16="http://schemas.microsoft.com/office/drawing/2014/main" id="{D1E0D878-339E-C37C-4ECA-CCEE572DCCAD}"/>
                </a:ext>
              </a:extLst>
            </p:cNvPr>
            <p:cNvSpPr/>
            <p:nvPr/>
          </p:nvSpPr>
          <p:spPr>
            <a:xfrm rot="10800000">
              <a:off x="4348781" y="1696822"/>
              <a:ext cx="304454" cy="304458"/>
            </a:xfrm>
            <a:prstGeom prst="ellipse">
              <a:avLst/>
            </a:prstGeom>
            <a:solidFill>
              <a:schemeClr val="tx2"/>
            </a:solidFill>
            <a:ln w="25400">
              <a:noFill/>
            </a:ln>
            <a:effectLst>
              <a:outerShdw blurRad="38100" dist="12700" dir="5400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n-US" sz="10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  <p:sp>
          <p:nvSpPr>
            <p:cNvPr id="401" name="Oval 24">
              <a:extLst>
                <a:ext uri="{FF2B5EF4-FFF2-40B4-BE49-F238E27FC236}">
                  <a16:creationId xmlns:a16="http://schemas.microsoft.com/office/drawing/2014/main" id="{1C8E1B6E-9B93-956F-0DBA-A62A73BA6A11}"/>
                </a:ext>
              </a:extLst>
            </p:cNvPr>
            <p:cNvSpPr/>
            <p:nvPr/>
          </p:nvSpPr>
          <p:spPr>
            <a:xfrm>
              <a:off x="4307822" y="1655865"/>
              <a:ext cx="386372" cy="386372"/>
            </a:xfrm>
            <a:prstGeom prst="ellipse">
              <a:avLst/>
            </a:prstGeom>
            <a:noFill/>
            <a:ln w="19050">
              <a:solidFill>
                <a:srgbClr val="FFFFFF"/>
              </a:solidFill>
            </a:ln>
            <a:effectLst>
              <a:outerShdw blurRad="38100" dist="12700" dir="5400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n-US" sz="10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</p:grpSp>
      <p:grpSp>
        <p:nvGrpSpPr>
          <p:cNvPr id="403" name="Grupo 402">
            <a:extLst>
              <a:ext uri="{FF2B5EF4-FFF2-40B4-BE49-F238E27FC236}">
                <a16:creationId xmlns:a16="http://schemas.microsoft.com/office/drawing/2014/main" id="{2EDA679F-4B29-82B3-2E59-FAE53FF08160}"/>
              </a:ext>
            </a:extLst>
          </p:cNvPr>
          <p:cNvGrpSpPr/>
          <p:nvPr/>
        </p:nvGrpSpPr>
        <p:grpSpPr>
          <a:xfrm>
            <a:off x="4207299" y="1158733"/>
            <a:ext cx="295185" cy="295185"/>
            <a:chOff x="4307822" y="1655865"/>
            <a:chExt cx="386372" cy="386372"/>
          </a:xfrm>
        </p:grpSpPr>
        <p:sp>
          <p:nvSpPr>
            <p:cNvPr id="404" name="Oval 24">
              <a:extLst>
                <a:ext uri="{FF2B5EF4-FFF2-40B4-BE49-F238E27FC236}">
                  <a16:creationId xmlns:a16="http://schemas.microsoft.com/office/drawing/2014/main" id="{50F80415-5962-1324-932F-E291716B25B3}"/>
                </a:ext>
              </a:extLst>
            </p:cNvPr>
            <p:cNvSpPr/>
            <p:nvPr/>
          </p:nvSpPr>
          <p:spPr>
            <a:xfrm rot="10800000">
              <a:off x="4348781" y="1696822"/>
              <a:ext cx="304454" cy="304458"/>
            </a:xfrm>
            <a:prstGeom prst="ellipse">
              <a:avLst/>
            </a:prstGeom>
            <a:solidFill>
              <a:schemeClr val="tx2"/>
            </a:solidFill>
            <a:ln w="25400">
              <a:noFill/>
            </a:ln>
            <a:effectLst>
              <a:outerShdw blurRad="38100" dist="12700" dir="5400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n-US" sz="10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  <p:sp>
          <p:nvSpPr>
            <p:cNvPr id="405" name="Oval 24">
              <a:extLst>
                <a:ext uri="{FF2B5EF4-FFF2-40B4-BE49-F238E27FC236}">
                  <a16:creationId xmlns:a16="http://schemas.microsoft.com/office/drawing/2014/main" id="{B738935A-DE15-3362-818D-670858A5F45C}"/>
                </a:ext>
              </a:extLst>
            </p:cNvPr>
            <p:cNvSpPr/>
            <p:nvPr/>
          </p:nvSpPr>
          <p:spPr>
            <a:xfrm>
              <a:off x="4307822" y="1655865"/>
              <a:ext cx="386372" cy="386372"/>
            </a:xfrm>
            <a:prstGeom prst="ellipse">
              <a:avLst/>
            </a:prstGeom>
            <a:noFill/>
            <a:ln w="19050">
              <a:solidFill>
                <a:srgbClr val="FFFFFF"/>
              </a:solidFill>
            </a:ln>
            <a:effectLst>
              <a:outerShdw blurRad="38100" dist="12700" dir="5400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n-US" sz="10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</p:grpSp>
      <p:grpSp>
        <p:nvGrpSpPr>
          <p:cNvPr id="407" name="Grupo 406">
            <a:extLst>
              <a:ext uri="{FF2B5EF4-FFF2-40B4-BE49-F238E27FC236}">
                <a16:creationId xmlns:a16="http://schemas.microsoft.com/office/drawing/2014/main" id="{0E1F7F6B-7C6F-E09E-E384-6B0E75AD62FA}"/>
              </a:ext>
            </a:extLst>
          </p:cNvPr>
          <p:cNvGrpSpPr/>
          <p:nvPr/>
        </p:nvGrpSpPr>
        <p:grpSpPr>
          <a:xfrm>
            <a:off x="5420329" y="1158733"/>
            <a:ext cx="295185" cy="295185"/>
            <a:chOff x="4307822" y="1655865"/>
            <a:chExt cx="386372" cy="386372"/>
          </a:xfrm>
        </p:grpSpPr>
        <p:sp>
          <p:nvSpPr>
            <p:cNvPr id="408" name="Oval 24">
              <a:extLst>
                <a:ext uri="{FF2B5EF4-FFF2-40B4-BE49-F238E27FC236}">
                  <a16:creationId xmlns:a16="http://schemas.microsoft.com/office/drawing/2014/main" id="{48D174E6-9384-23B8-DFB6-1D1BD6CC5AF5}"/>
                </a:ext>
              </a:extLst>
            </p:cNvPr>
            <p:cNvSpPr/>
            <p:nvPr/>
          </p:nvSpPr>
          <p:spPr>
            <a:xfrm rot="10800000">
              <a:off x="4348781" y="1696822"/>
              <a:ext cx="304454" cy="304458"/>
            </a:xfrm>
            <a:prstGeom prst="ellipse">
              <a:avLst/>
            </a:prstGeom>
            <a:solidFill>
              <a:schemeClr val="tx2"/>
            </a:solidFill>
            <a:ln w="25400">
              <a:noFill/>
            </a:ln>
            <a:effectLst>
              <a:outerShdw blurRad="38100" dist="12700" dir="5400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n-US" sz="10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  <p:sp>
          <p:nvSpPr>
            <p:cNvPr id="409" name="Oval 24">
              <a:extLst>
                <a:ext uri="{FF2B5EF4-FFF2-40B4-BE49-F238E27FC236}">
                  <a16:creationId xmlns:a16="http://schemas.microsoft.com/office/drawing/2014/main" id="{CF5FA9F8-AD0C-5270-C034-AD4A82ACCD1A}"/>
                </a:ext>
              </a:extLst>
            </p:cNvPr>
            <p:cNvSpPr/>
            <p:nvPr/>
          </p:nvSpPr>
          <p:spPr>
            <a:xfrm>
              <a:off x="4307822" y="1655865"/>
              <a:ext cx="386372" cy="386372"/>
            </a:xfrm>
            <a:prstGeom prst="ellipse">
              <a:avLst/>
            </a:prstGeom>
            <a:noFill/>
            <a:ln w="19050">
              <a:solidFill>
                <a:srgbClr val="FFFFFF"/>
              </a:solidFill>
            </a:ln>
            <a:effectLst>
              <a:outerShdw blurRad="38100" dist="12700" dir="5400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n-US" sz="10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</p:grpSp>
      <p:grpSp>
        <p:nvGrpSpPr>
          <p:cNvPr id="411" name="Grupo 410">
            <a:extLst>
              <a:ext uri="{FF2B5EF4-FFF2-40B4-BE49-F238E27FC236}">
                <a16:creationId xmlns:a16="http://schemas.microsoft.com/office/drawing/2014/main" id="{A32D05DF-7E65-CFC0-C5F6-FEDD7CF12276}"/>
              </a:ext>
            </a:extLst>
          </p:cNvPr>
          <p:cNvGrpSpPr/>
          <p:nvPr/>
        </p:nvGrpSpPr>
        <p:grpSpPr>
          <a:xfrm>
            <a:off x="6636738" y="1158733"/>
            <a:ext cx="295185" cy="295185"/>
            <a:chOff x="4307822" y="1655865"/>
            <a:chExt cx="386372" cy="386372"/>
          </a:xfrm>
        </p:grpSpPr>
        <p:sp>
          <p:nvSpPr>
            <p:cNvPr id="412" name="Oval 24">
              <a:extLst>
                <a:ext uri="{FF2B5EF4-FFF2-40B4-BE49-F238E27FC236}">
                  <a16:creationId xmlns:a16="http://schemas.microsoft.com/office/drawing/2014/main" id="{E4A26910-2E99-A36D-3F4A-B3120E131B7C}"/>
                </a:ext>
              </a:extLst>
            </p:cNvPr>
            <p:cNvSpPr/>
            <p:nvPr/>
          </p:nvSpPr>
          <p:spPr>
            <a:xfrm rot="10800000">
              <a:off x="4348781" y="1696822"/>
              <a:ext cx="304454" cy="304458"/>
            </a:xfrm>
            <a:prstGeom prst="ellipse">
              <a:avLst/>
            </a:prstGeom>
            <a:solidFill>
              <a:schemeClr val="tx2"/>
            </a:solidFill>
            <a:ln w="25400">
              <a:noFill/>
            </a:ln>
            <a:effectLst>
              <a:outerShdw blurRad="38100" dist="12700" dir="5400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n-US" sz="10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  <p:sp>
          <p:nvSpPr>
            <p:cNvPr id="413" name="Oval 24">
              <a:extLst>
                <a:ext uri="{FF2B5EF4-FFF2-40B4-BE49-F238E27FC236}">
                  <a16:creationId xmlns:a16="http://schemas.microsoft.com/office/drawing/2014/main" id="{B9FA4461-10C1-922E-BFA6-ACFCCF818685}"/>
                </a:ext>
              </a:extLst>
            </p:cNvPr>
            <p:cNvSpPr/>
            <p:nvPr/>
          </p:nvSpPr>
          <p:spPr>
            <a:xfrm>
              <a:off x="4307822" y="1655865"/>
              <a:ext cx="386372" cy="386372"/>
            </a:xfrm>
            <a:prstGeom prst="ellipse">
              <a:avLst/>
            </a:prstGeom>
            <a:noFill/>
            <a:ln w="19050">
              <a:solidFill>
                <a:srgbClr val="FFFFFF"/>
              </a:solidFill>
            </a:ln>
            <a:effectLst>
              <a:outerShdw blurRad="38100" dist="12700" dir="5400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n-US" sz="10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</p:grpSp>
      <p:grpSp>
        <p:nvGrpSpPr>
          <p:cNvPr id="415" name="Grupo 414">
            <a:extLst>
              <a:ext uri="{FF2B5EF4-FFF2-40B4-BE49-F238E27FC236}">
                <a16:creationId xmlns:a16="http://schemas.microsoft.com/office/drawing/2014/main" id="{1D4347FB-8E54-A6F8-6AF2-6E50F801A890}"/>
              </a:ext>
            </a:extLst>
          </p:cNvPr>
          <p:cNvGrpSpPr/>
          <p:nvPr/>
        </p:nvGrpSpPr>
        <p:grpSpPr>
          <a:xfrm>
            <a:off x="7848958" y="1158733"/>
            <a:ext cx="295185" cy="295185"/>
            <a:chOff x="4307822" y="1655865"/>
            <a:chExt cx="386372" cy="386372"/>
          </a:xfrm>
        </p:grpSpPr>
        <p:sp>
          <p:nvSpPr>
            <p:cNvPr id="416" name="Oval 24">
              <a:extLst>
                <a:ext uri="{FF2B5EF4-FFF2-40B4-BE49-F238E27FC236}">
                  <a16:creationId xmlns:a16="http://schemas.microsoft.com/office/drawing/2014/main" id="{A12458FB-918B-D0BA-23D1-BEE3BF9CBEF8}"/>
                </a:ext>
              </a:extLst>
            </p:cNvPr>
            <p:cNvSpPr/>
            <p:nvPr/>
          </p:nvSpPr>
          <p:spPr>
            <a:xfrm rot="10800000">
              <a:off x="4348781" y="1696822"/>
              <a:ext cx="304454" cy="304458"/>
            </a:xfrm>
            <a:prstGeom prst="ellipse">
              <a:avLst/>
            </a:prstGeom>
            <a:solidFill>
              <a:schemeClr val="tx2"/>
            </a:solidFill>
            <a:ln w="25400">
              <a:noFill/>
            </a:ln>
            <a:effectLst>
              <a:outerShdw blurRad="38100" dist="12700" dir="5400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n-US" sz="10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  <p:sp>
          <p:nvSpPr>
            <p:cNvPr id="417" name="Oval 24">
              <a:extLst>
                <a:ext uri="{FF2B5EF4-FFF2-40B4-BE49-F238E27FC236}">
                  <a16:creationId xmlns:a16="http://schemas.microsoft.com/office/drawing/2014/main" id="{E3492B5A-3544-7054-AA72-CDB0F76CE198}"/>
                </a:ext>
              </a:extLst>
            </p:cNvPr>
            <p:cNvSpPr/>
            <p:nvPr/>
          </p:nvSpPr>
          <p:spPr>
            <a:xfrm>
              <a:off x="4307822" y="1655865"/>
              <a:ext cx="386372" cy="386372"/>
            </a:xfrm>
            <a:prstGeom prst="ellipse">
              <a:avLst/>
            </a:prstGeom>
            <a:noFill/>
            <a:ln w="19050">
              <a:solidFill>
                <a:srgbClr val="FFFFFF"/>
              </a:solidFill>
            </a:ln>
            <a:effectLst>
              <a:outerShdw blurRad="38100" dist="12700" dir="5400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n-US" sz="10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</p:grpSp>
      <p:sp>
        <p:nvSpPr>
          <p:cNvPr id="10" name="CuadroTexto 9">
            <a:extLst>
              <a:ext uri="{FF2B5EF4-FFF2-40B4-BE49-F238E27FC236}">
                <a16:creationId xmlns:a16="http://schemas.microsoft.com/office/drawing/2014/main" id="{1681FF95-166B-B492-0EA3-21003991D72C}"/>
              </a:ext>
            </a:extLst>
          </p:cNvPr>
          <p:cNvSpPr txBox="1"/>
          <p:nvPr/>
        </p:nvSpPr>
        <p:spPr>
          <a:xfrm>
            <a:off x="3058755" y="1227946"/>
            <a:ext cx="161063" cy="15675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1000" b="1">
                <a:solidFill>
                  <a:srgbClr val="FFFFFF"/>
                </a:solidFill>
                <a:latin typeface="Pulso" pitchFamily="2" charset="0"/>
              </a:rPr>
              <a:t>2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106FD39B-99B9-C7E7-37B2-2E94678DCE56}"/>
              </a:ext>
            </a:extLst>
          </p:cNvPr>
          <p:cNvSpPr txBox="1"/>
          <p:nvPr/>
        </p:nvSpPr>
        <p:spPr>
          <a:xfrm>
            <a:off x="5487390" y="1227946"/>
            <a:ext cx="161063" cy="15675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1000" b="1">
                <a:solidFill>
                  <a:srgbClr val="FFFFFF"/>
                </a:solidFill>
                <a:latin typeface="Pulso" pitchFamily="2" charset="0"/>
              </a:rPr>
              <a:t>4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CD5F5E87-3BF8-74B2-DE5F-3147AC5F8D88}"/>
              </a:ext>
            </a:extLst>
          </p:cNvPr>
          <p:cNvSpPr txBox="1"/>
          <p:nvPr/>
        </p:nvSpPr>
        <p:spPr>
          <a:xfrm>
            <a:off x="4274360" y="1227946"/>
            <a:ext cx="161063" cy="15675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1000" b="1">
                <a:solidFill>
                  <a:srgbClr val="FFFFFF"/>
                </a:solidFill>
                <a:latin typeface="Pulso" pitchFamily="2" charset="0"/>
              </a:rPr>
              <a:t>3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FD3FF574-5D17-660B-0B78-9A866CF0A2CC}"/>
              </a:ext>
            </a:extLst>
          </p:cNvPr>
          <p:cNvSpPr txBox="1"/>
          <p:nvPr/>
        </p:nvSpPr>
        <p:spPr>
          <a:xfrm>
            <a:off x="1849218" y="1227946"/>
            <a:ext cx="161063" cy="15675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1000" b="1">
                <a:solidFill>
                  <a:srgbClr val="FFFFFF"/>
                </a:solidFill>
                <a:latin typeface="Pulso" pitchFamily="2" charset="0"/>
              </a:rPr>
              <a:t>1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49BBA02F-9EF5-8947-57A5-F1CDC57AF7BA}"/>
              </a:ext>
            </a:extLst>
          </p:cNvPr>
          <p:cNvSpPr txBox="1"/>
          <p:nvPr/>
        </p:nvSpPr>
        <p:spPr>
          <a:xfrm>
            <a:off x="6703799" y="1227946"/>
            <a:ext cx="161063" cy="15675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1000" b="1">
                <a:solidFill>
                  <a:srgbClr val="FFFFFF"/>
                </a:solidFill>
                <a:latin typeface="Pulso" pitchFamily="2" charset="0"/>
              </a:rPr>
              <a:t>5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4CF3499D-4809-87E0-5460-4D46DAFBBDA5}"/>
              </a:ext>
            </a:extLst>
          </p:cNvPr>
          <p:cNvSpPr txBox="1"/>
          <p:nvPr/>
        </p:nvSpPr>
        <p:spPr>
          <a:xfrm>
            <a:off x="7916019" y="1227946"/>
            <a:ext cx="161063" cy="15675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1000" b="1">
                <a:solidFill>
                  <a:srgbClr val="FFFFFF"/>
                </a:solidFill>
                <a:latin typeface="Pulso" pitchFamily="2" charset="0"/>
              </a:rPr>
              <a:t>6</a:t>
            </a:r>
          </a:p>
        </p:txBody>
      </p:sp>
      <p:grpSp>
        <p:nvGrpSpPr>
          <p:cNvPr id="19" name="Gráfico 37">
            <a:extLst>
              <a:ext uri="{FF2B5EF4-FFF2-40B4-BE49-F238E27FC236}">
                <a16:creationId xmlns:a16="http://schemas.microsoft.com/office/drawing/2014/main" id="{D762E8D8-489D-B16E-0B9B-9E9B2C384765}"/>
              </a:ext>
            </a:extLst>
          </p:cNvPr>
          <p:cNvGrpSpPr/>
          <p:nvPr/>
        </p:nvGrpSpPr>
        <p:grpSpPr>
          <a:xfrm>
            <a:off x="1612660" y="1914141"/>
            <a:ext cx="634178" cy="151889"/>
            <a:chOff x="1136650" y="2241550"/>
            <a:chExt cx="7770161" cy="1860997"/>
          </a:xfrm>
          <a:solidFill>
            <a:srgbClr val="0066FF"/>
          </a:solidFill>
        </p:grpSpPr>
        <p:grpSp>
          <p:nvGrpSpPr>
            <p:cNvPr id="20" name="Gráfico 37">
              <a:extLst>
                <a:ext uri="{FF2B5EF4-FFF2-40B4-BE49-F238E27FC236}">
                  <a16:creationId xmlns:a16="http://schemas.microsoft.com/office/drawing/2014/main" id="{E837A3AD-059A-E4F6-680C-8668E3CD3321}"/>
                </a:ext>
              </a:extLst>
            </p:cNvPr>
            <p:cNvGrpSpPr/>
            <p:nvPr/>
          </p:nvGrpSpPr>
          <p:grpSpPr>
            <a:xfrm>
              <a:off x="1136650" y="2241550"/>
              <a:ext cx="1864779" cy="1860997"/>
              <a:chOff x="1136650" y="2241550"/>
              <a:chExt cx="1864779" cy="1860997"/>
            </a:xfrm>
            <a:solidFill>
              <a:srgbClr val="0066FF"/>
            </a:solidFill>
          </p:grpSpPr>
          <p:sp>
            <p:nvSpPr>
              <p:cNvPr id="73" name="Forma libre 72">
                <a:extLst>
                  <a:ext uri="{FF2B5EF4-FFF2-40B4-BE49-F238E27FC236}">
                    <a16:creationId xmlns:a16="http://schemas.microsoft.com/office/drawing/2014/main" id="{A5968846-F2A0-E814-28A4-993DE66FFE3C}"/>
                  </a:ext>
                </a:extLst>
              </p:cNvPr>
              <p:cNvSpPr/>
              <p:nvPr/>
            </p:nvSpPr>
            <p:spPr>
              <a:xfrm>
                <a:off x="1136650" y="2241550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2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2"/>
                      <a:pt x="278225" y="555322"/>
                    </a:cubicBezTo>
                    <a:cubicBezTo>
                      <a:pt x="431883" y="555322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  <p:sp>
            <p:nvSpPr>
              <p:cNvPr id="74" name="Forma libre 73">
                <a:extLst>
                  <a:ext uri="{FF2B5EF4-FFF2-40B4-BE49-F238E27FC236}">
                    <a16:creationId xmlns:a16="http://schemas.microsoft.com/office/drawing/2014/main" id="{674DE167-E4D4-60D7-A1FB-B8678682B637}"/>
                  </a:ext>
                </a:extLst>
              </p:cNvPr>
              <p:cNvSpPr/>
              <p:nvPr/>
            </p:nvSpPr>
            <p:spPr>
              <a:xfrm>
                <a:off x="1790814" y="2241550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2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2"/>
                      <a:pt x="278225" y="555322"/>
                    </a:cubicBezTo>
                    <a:cubicBezTo>
                      <a:pt x="431883" y="555322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  <p:sp>
            <p:nvSpPr>
              <p:cNvPr id="75" name="Forma libre 74">
                <a:extLst>
                  <a:ext uri="{FF2B5EF4-FFF2-40B4-BE49-F238E27FC236}">
                    <a16:creationId xmlns:a16="http://schemas.microsoft.com/office/drawing/2014/main" id="{BAF642BA-F5AC-6794-9482-DA9A8660F165}"/>
                  </a:ext>
                </a:extLst>
              </p:cNvPr>
              <p:cNvSpPr/>
              <p:nvPr/>
            </p:nvSpPr>
            <p:spPr>
              <a:xfrm>
                <a:off x="2444979" y="2241550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2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2"/>
                      <a:pt x="278225" y="555322"/>
                    </a:cubicBezTo>
                    <a:cubicBezTo>
                      <a:pt x="431883" y="555322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  <p:sp>
            <p:nvSpPr>
              <p:cNvPr id="76" name="Forma libre 75">
                <a:extLst>
                  <a:ext uri="{FF2B5EF4-FFF2-40B4-BE49-F238E27FC236}">
                    <a16:creationId xmlns:a16="http://schemas.microsoft.com/office/drawing/2014/main" id="{8C81B710-B772-F7FC-7921-3347D32BE83C}"/>
                  </a:ext>
                </a:extLst>
              </p:cNvPr>
              <p:cNvSpPr/>
              <p:nvPr/>
            </p:nvSpPr>
            <p:spPr>
              <a:xfrm>
                <a:off x="1790814" y="2894387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2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2"/>
                      <a:pt x="278225" y="555322"/>
                    </a:cubicBezTo>
                    <a:cubicBezTo>
                      <a:pt x="431883" y="555322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  <p:sp>
            <p:nvSpPr>
              <p:cNvPr id="77" name="Forma libre 76">
                <a:extLst>
                  <a:ext uri="{FF2B5EF4-FFF2-40B4-BE49-F238E27FC236}">
                    <a16:creationId xmlns:a16="http://schemas.microsoft.com/office/drawing/2014/main" id="{1BF1CFDD-CAD6-1BB4-95AA-2C039E724B34}"/>
                  </a:ext>
                </a:extLst>
              </p:cNvPr>
              <p:cNvSpPr/>
              <p:nvPr/>
            </p:nvSpPr>
            <p:spPr>
              <a:xfrm>
                <a:off x="1790814" y="3547225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2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2"/>
                      <a:pt x="278225" y="555322"/>
                    </a:cubicBezTo>
                    <a:cubicBezTo>
                      <a:pt x="431883" y="555322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</p:grpSp>
        <p:grpSp>
          <p:nvGrpSpPr>
            <p:cNvPr id="21" name="Gráfico 37">
              <a:extLst>
                <a:ext uri="{FF2B5EF4-FFF2-40B4-BE49-F238E27FC236}">
                  <a16:creationId xmlns:a16="http://schemas.microsoft.com/office/drawing/2014/main" id="{831196AE-4E6C-D51F-C607-7AF80A734291}"/>
                </a:ext>
              </a:extLst>
            </p:cNvPr>
            <p:cNvGrpSpPr/>
            <p:nvPr/>
          </p:nvGrpSpPr>
          <p:grpSpPr>
            <a:xfrm>
              <a:off x="3335597" y="2762629"/>
              <a:ext cx="5571214" cy="914866"/>
              <a:chOff x="3335597" y="2762629"/>
              <a:chExt cx="5571214" cy="914866"/>
            </a:xfrm>
            <a:solidFill>
              <a:srgbClr val="0066FF"/>
            </a:solidFill>
          </p:grpSpPr>
          <p:sp>
            <p:nvSpPr>
              <p:cNvPr id="22" name="Forma libre 21">
                <a:extLst>
                  <a:ext uri="{FF2B5EF4-FFF2-40B4-BE49-F238E27FC236}">
                    <a16:creationId xmlns:a16="http://schemas.microsoft.com/office/drawing/2014/main" id="{16D6910E-9C43-7F48-8593-F4649A418EEC}"/>
                  </a:ext>
                </a:extLst>
              </p:cNvPr>
              <p:cNvSpPr/>
              <p:nvPr/>
            </p:nvSpPr>
            <p:spPr>
              <a:xfrm>
                <a:off x="3335597" y="2801337"/>
                <a:ext cx="678779" cy="862758"/>
              </a:xfrm>
              <a:custGeom>
                <a:avLst/>
                <a:gdLst>
                  <a:gd name="connsiteX0" fmla="*/ 258831 w 678779"/>
                  <a:gd name="connsiteY0" fmla="*/ 154091 h 862758"/>
                  <a:gd name="connsiteX1" fmla="*/ 0 w 678779"/>
                  <a:gd name="connsiteY1" fmla="*/ 154091 h 862758"/>
                  <a:gd name="connsiteX2" fmla="*/ 0 w 678779"/>
                  <a:gd name="connsiteY2" fmla="*/ 0 h 862758"/>
                  <a:gd name="connsiteX3" fmla="*/ 678780 w 678779"/>
                  <a:gd name="connsiteY3" fmla="*/ 0 h 862758"/>
                  <a:gd name="connsiteX4" fmla="*/ 678780 w 678779"/>
                  <a:gd name="connsiteY4" fmla="*/ 154091 h 862758"/>
                  <a:gd name="connsiteX5" fmla="*/ 419202 w 678779"/>
                  <a:gd name="connsiteY5" fmla="*/ 154091 h 862758"/>
                  <a:gd name="connsiteX6" fmla="*/ 419202 w 678779"/>
                  <a:gd name="connsiteY6" fmla="*/ 862758 h 862758"/>
                  <a:gd name="connsiteX7" fmla="*/ 258831 w 678779"/>
                  <a:gd name="connsiteY7" fmla="*/ 862758 h 862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8779" h="862758">
                    <a:moveTo>
                      <a:pt x="258831" y="154091"/>
                    </a:moveTo>
                    <a:lnTo>
                      <a:pt x="0" y="154091"/>
                    </a:lnTo>
                    <a:lnTo>
                      <a:pt x="0" y="0"/>
                    </a:lnTo>
                    <a:lnTo>
                      <a:pt x="678780" y="0"/>
                    </a:lnTo>
                    <a:lnTo>
                      <a:pt x="678780" y="154091"/>
                    </a:lnTo>
                    <a:lnTo>
                      <a:pt x="419202" y="154091"/>
                    </a:lnTo>
                    <a:lnTo>
                      <a:pt x="419202" y="862758"/>
                    </a:lnTo>
                    <a:lnTo>
                      <a:pt x="258831" y="862758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  <p:sp>
            <p:nvSpPr>
              <p:cNvPr id="23" name="Forma libre 22">
                <a:extLst>
                  <a:ext uri="{FF2B5EF4-FFF2-40B4-BE49-F238E27FC236}">
                    <a16:creationId xmlns:a16="http://schemas.microsoft.com/office/drawing/2014/main" id="{602851C5-7EE2-ECCE-7939-6BCD0643159F}"/>
                  </a:ext>
                </a:extLst>
              </p:cNvPr>
              <p:cNvSpPr/>
              <p:nvPr/>
            </p:nvSpPr>
            <p:spPr>
              <a:xfrm>
                <a:off x="3945753" y="3023168"/>
                <a:ext cx="629549" cy="653582"/>
              </a:xfrm>
              <a:custGeom>
                <a:avLst/>
                <a:gdLst>
                  <a:gd name="connsiteX0" fmla="*/ 475146 w 629549"/>
                  <a:gd name="connsiteY0" fmla="*/ 271706 h 653582"/>
                  <a:gd name="connsiteX1" fmla="*/ 320742 w 629549"/>
                  <a:gd name="connsiteY1" fmla="*/ 130270 h 653582"/>
                  <a:gd name="connsiteX2" fmla="*/ 153658 w 629549"/>
                  <a:gd name="connsiteY2" fmla="*/ 271706 h 653582"/>
                  <a:gd name="connsiteX3" fmla="*/ 475146 w 629549"/>
                  <a:gd name="connsiteY3" fmla="*/ 271706 h 653582"/>
                  <a:gd name="connsiteX4" fmla="*/ 610902 w 629549"/>
                  <a:gd name="connsiteY4" fmla="*/ 456317 h 653582"/>
                  <a:gd name="connsiteX5" fmla="*/ 320742 w 629549"/>
                  <a:gd name="connsiteY5" fmla="*/ 653582 h 653582"/>
                  <a:gd name="connsiteX6" fmla="*/ 0 w 629549"/>
                  <a:gd name="connsiteY6" fmla="*/ 326791 h 653582"/>
                  <a:gd name="connsiteX7" fmla="*/ 320742 w 629549"/>
                  <a:gd name="connsiteY7" fmla="*/ 0 h 653582"/>
                  <a:gd name="connsiteX8" fmla="*/ 629549 w 629549"/>
                  <a:gd name="connsiteY8" fmla="*/ 314136 h 653582"/>
                  <a:gd name="connsiteX9" fmla="*/ 625820 w 629549"/>
                  <a:gd name="connsiteY9" fmla="*/ 358800 h 653582"/>
                  <a:gd name="connsiteX10" fmla="*/ 623582 w 629549"/>
                  <a:gd name="connsiteY10" fmla="*/ 375921 h 653582"/>
                  <a:gd name="connsiteX11" fmla="*/ 154404 w 629549"/>
                  <a:gd name="connsiteY11" fmla="*/ 375921 h 653582"/>
                  <a:gd name="connsiteX12" fmla="*/ 321488 w 629549"/>
                  <a:gd name="connsiteY12" fmla="*/ 524057 h 653582"/>
                  <a:gd name="connsiteX13" fmla="*/ 451277 w 629549"/>
                  <a:gd name="connsiteY13" fmla="*/ 456317 h 653582"/>
                  <a:gd name="connsiteX14" fmla="*/ 610902 w 629549"/>
                  <a:gd name="connsiteY14" fmla="*/ 456317 h 653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29549" h="653582">
                    <a:moveTo>
                      <a:pt x="475146" y="271706"/>
                    </a:moveTo>
                    <a:cubicBezTo>
                      <a:pt x="461719" y="191310"/>
                      <a:pt x="408760" y="130270"/>
                      <a:pt x="320742" y="130270"/>
                    </a:cubicBezTo>
                    <a:cubicBezTo>
                      <a:pt x="226757" y="130270"/>
                      <a:pt x="172306" y="192055"/>
                      <a:pt x="153658" y="271706"/>
                    </a:cubicBezTo>
                    <a:lnTo>
                      <a:pt x="475146" y="271706"/>
                    </a:lnTo>
                    <a:close/>
                    <a:moveTo>
                      <a:pt x="610902" y="456317"/>
                    </a:moveTo>
                    <a:cubicBezTo>
                      <a:pt x="597475" y="505447"/>
                      <a:pt x="519155" y="653582"/>
                      <a:pt x="320742" y="653582"/>
                    </a:cubicBezTo>
                    <a:cubicBezTo>
                      <a:pt x="135756" y="653582"/>
                      <a:pt x="0" y="518102"/>
                      <a:pt x="0" y="326791"/>
                    </a:cubicBezTo>
                    <a:cubicBezTo>
                      <a:pt x="0" y="135481"/>
                      <a:pt x="135756" y="0"/>
                      <a:pt x="320742" y="0"/>
                    </a:cubicBezTo>
                    <a:cubicBezTo>
                      <a:pt x="493793" y="0"/>
                      <a:pt x="629549" y="135481"/>
                      <a:pt x="629549" y="314136"/>
                    </a:cubicBezTo>
                    <a:cubicBezTo>
                      <a:pt x="629549" y="332746"/>
                      <a:pt x="627312" y="347634"/>
                      <a:pt x="625820" y="358800"/>
                    </a:cubicBezTo>
                    <a:lnTo>
                      <a:pt x="623582" y="375921"/>
                    </a:lnTo>
                    <a:lnTo>
                      <a:pt x="154404" y="375921"/>
                    </a:lnTo>
                    <a:cubicBezTo>
                      <a:pt x="167830" y="463760"/>
                      <a:pt x="233470" y="524057"/>
                      <a:pt x="321488" y="524057"/>
                    </a:cubicBezTo>
                    <a:cubicBezTo>
                      <a:pt x="394587" y="524057"/>
                      <a:pt x="438596" y="482370"/>
                      <a:pt x="451277" y="456317"/>
                    </a:cubicBezTo>
                    <a:lnTo>
                      <a:pt x="610902" y="456317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  <p:sp>
            <p:nvSpPr>
              <p:cNvPr id="24" name="Forma libre 23">
                <a:extLst>
                  <a:ext uri="{FF2B5EF4-FFF2-40B4-BE49-F238E27FC236}">
                    <a16:creationId xmlns:a16="http://schemas.microsoft.com/office/drawing/2014/main" id="{C63DF6A8-F8D2-797C-CA09-1AAFCD7C5459}"/>
                  </a:ext>
                </a:extLst>
              </p:cNvPr>
              <p:cNvSpPr/>
              <p:nvPr/>
            </p:nvSpPr>
            <p:spPr>
              <a:xfrm>
                <a:off x="4667796" y="2801337"/>
                <a:ext cx="154403" cy="862758"/>
              </a:xfrm>
              <a:custGeom>
                <a:avLst/>
                <a:gdLst>
                  <a:gd name="connsiteX0" fmla="*/ 0 w 154403"/>
                  <a:gd name="connsiteY0" fmla="*/ 0 h 862758"/>
                  <a:gd name="connsiteX1" fmla="*/ 154404 w 154403"/>
                  <a:gd name="connsiteY1" fmla="*/ 0 h 862758"/>
                  <a:gd name="connsiteX2" fmla="*/ 154404 w 154403"/>
                  <a:gd name="connsiteY2" fmla="*/ 862758 h 862758"/>
                  <a:gd name="connsiteX3" fmla="*/ 0 w 154403"/>
                  <a:gd name="connsiteY3" fmla="*/ 862758 h 862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4403" h="862758">
                    <a:moveTo>
                      <a:pt x="0" y="0"/>
                    </a:moveTo>
                    <a:lnTo>
                      <a:pt x="154404" y="0"/>
                    </a:lnTo>
                    <a:lnTo>
                      <a:pt x="154404" y="862758"/>
                    </a:lnTo>
                    <a:lnTo>
                      <a:pt x="0" y="862758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  <p:sp>
            <p:nvSpPr>
              <p:cNvPr id="25" name="Forma libre 24">
                <a:extLst>
                  <a:ext uri="{FF2B5EF4-FFF2-40B4-BE49-F238E27FC236}">
                    <a16:creationId xmlns:a16="http://schemas.microsoft.com/office/drawing/2014/main" id="{FF2817B1-4AE8-048B-2A7A-4F5E4BE6B4A4}"/>
                  </a:ext>
                </a:extLst>
              </p:cNvPr>
              <p:cNvSpPr/>
              <p:nvPr/>
            </p:nvSpPr>
            <p:spPr>
              <a:xfrm>
                <a:off x="4915438" y="3023168"/>
                <a:ext cx="629549" cy="653582"/>
              </a:xfrm>
              <a:custGeom>
                <a:avLst/>
                <a:gdLst>
                  <a:gd name="connsiteX0" fmla="*/ 474400 w 629549"/>
                  <a:gd name="connsiteY0" fmla="*/ 271706 h 653582"/>
                  <a:gd name="connsiteX1" fmla="*/ 319996 w 629549"/>
                  <a:gd name="connsiteY1" fmla="*/ 130270 h 653582"/>
                  <a:gd name="connsiteX2" fmla="*/ 152912 w 629549"/>
                  <a:gd name="connsiteY2" fmla="*/ 271706 h 653582"/>
                  <a:gd name="connsiteX3" fmla="*/ 474400 w 629549"/>
                  <a:gd name="connsiteY3" fmla="*/ 271706 h 653582"/>
                  <a:gd name="connsiteX4" fmla="*/ 610902 w 629549"/>
                  <a:gd name="connsiteY4" fmla="*/ 456317 h 653582"/>
                  <a:gd name="connsiteX5" fmla="*/ 320742 w 629549"/>
                  <a:gd name="connsiteY5" fmla="*/ 653582 h 653582"/>
                  <a:gd name="connsiteX6" fmla="*/ 0 w 629549"/>
                  <a:gd name="connsiteY6" fmla="*/ 326791 h 653582"/>
                  <a:gd name="connsiteX7" fmla="*/ 320742 w 629549"/>
                  <a:gd name="connsiteY7" fmla="*/ 0 h 653582"/>
                  <a:gd name="connsiteX8" fmla="*/ 629549 w 629549"/>
                  <a:gd name="connsiteY8" fmla="*/ 314136 h 653582"/>
                  <a:gd name="connsiteX9" fmla="*/ 625820 w 629549"/>
                  <a:gd name="connsiteY9" fmla="*/ 358800 h 653582"/>
                  <a:gd name="connsiteX10" fmla="*/ 623582 w 629549"/>
                  <a:gd name="connsiteY10" fmla="*/ 375921 h 653582"/>
                  <a:gd name="connsiteX11" fmla="*/ 154404 w 629549"/>
                  <a:gd name="connsiteY11" fmla="*/ 375921 h 653582"/>
                  <a:gd name="connsiteX12" fmla="*/ 321488 w 629549"/>
                  <a:gd name="connsiteY12" fmla="*/ 524057 h 653582"/>
                  <a:gd name="connsiteX13" fmla="*/ 451276 w 629549"/>
                  <a:gd name="connsiteY13" fmla="*/ 456317 h 653582"/>
                  <a:gd name="connsiteX14" fmla="*/ 610902 w 629549"/>
                  <a:gd name="connsiteY14" fmla="*/ 456317 h 653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29549" h="653582">
                    <a:moveTo>
                      <a:pt x="474400" y="271706"/>
                    </a:moveTo>
                    <a:cubicBezTo>
                      <a:pt x="460974" y="191310"/>
                      <a:pt x="408014" y="130270"/>
                      <a:pt x="319996" y="130270"/>
                    </a:cubicBezTo>
                    <a:cubicBezTo>
                      <a:pt x="226011" y="130270"/>
                      <a:pt x="171559" y="192055"/>
                      <a:pt x="152912" y="271706"/>
                    </a:cubicBezTo>
                    <a:lnTo>
                      <a:pt x="474400" y="271706"/>
                    </a:lnTo>
                    <a:close/>
                    <a:moveTo>
                      <a:pt x="610902" y="456317"/>
                    </a:moveTo>
                    <a:cubicBezTo>
                      <a:pt x="597475" y="505447"/>
                      <a:pt x="519155" y="653582"/>
                      <a:pt x="320742" y="653582"/>
                    </a:cubicBezTo>
                    <a:cubicBezTo>
                      <a:pt x="135756" y="653582"/>
                      <a:pt x="0" y="518102"/>
                      <a:pt x="0" y="326791"/>
                    </a:cubicBezTo>
                    <a:cubicBezTo>
                      <a:pt x="0" y="135481"/>
                      <a:pt x="135756" y="0"/>
                      <a:pt x="320742" y="0"/>
                    </a:cubicBezTo>
                    <a:cubicBezTo>
                      <a:pt x="493793" y="0"/>
                      <a:pt x="629549" y="135481"/>
                      <a:pt x="629549" y="314136"/>
                    </a:cubicBezTo>
                    <a:cubicBezTo>
                      <a:pt x="629549" y="332746"/>
                      <a:pt x="627312" y="347634"/>
                      <a:pt x="625820" y="358800"/>
                    </a:cubicBezTo>
                    <a:lnTo>
                      <a:pt x="623582" y="375921"/>
                    </a:lnTo>
                    <a:lnTo>
                      <a:pt x="154404" y="375921"/>
                    </a:lnTo>
                    <a:cubicBezTo>
                      <a:pt x="167830" y="463760"/>
                      <a:pt x="233471" y="524057"/>
                      <a:pt x="321488" y="524057"/>
                    </a:cubicBezTo>
                    <a:cubicBezTo>
                      <a:pt x="394587" y="524057"/>
                      <a:pt x="438596" y="482370"/>
                      <a:pt x="451276" y="456317"/>
                    </a:cubicBezTo>
                    <a:lnTo>
                      <a:pt x="610902" y="456317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  <p:sp>
            <p:nvSpPr>
              <p:cNvPr id="26" name="Forma libre 25">
                <a:extLst>
                  <a:ext uri="{FF2B5EF4-FFF2-40B4-BE49-F238E27FC236}">
                    <a16:creationId xmlns:a16="http://schemas.microsoft.com/office/drawing/2014/main" id="{62BBDFEB-60E0-8992-C5DD-1D47FDC60380}"/>
                  </a:ext>
                </a:extLst>
              </p:cNvPr>
              <p:cNvSpPr/>
              <p:nvPr/>
            </p:nvSpPr>
            <p:spPr>
              <a:xfrm>
                <a:off x="5581538" y="2789427"/>
                <a:ext cx="395333" cy="875412"/>
              </a:xfrm>
              <a:custGeom>
                <a:avLst/>
                <a:gdLst>
                  <a:gd name="connsiteX0" fmla="*/ 105173 w 395333"/>
                  <a:gd name="connsiteY0" fmla="*/ 394531 h 875412"/>
                  <a:gd name="connsiteX1" fmla="*/ 0 w 395333"/>
                  <a:gd name="connsiteY1" fmla="*/ 394531 h 875412"/>
                  <a:gd name="connsiteX2" fmla="*/ 0 w 395333"/>
                  <a:gd name="connsiteY2" fmla="*/ 246396 h 875412"/>
                  <a:gd name="connsiteX3" fmla="*/ 105173 w 395333"/>
                  <a:gd name="connsiteY3" fmla="*/ 246396 h 875412"/>
                  <a:gd name="connsiteX4" fmla="*/ 105173 w 395333"/>
                  <a:gd name="connsiteY4" fmla="*/ 154091 h 875412"/>
                  <a:gd name="connsiteX5" fmla="*/ 259577 w 395333"/>
                  <a:gd name="connsiteY5" fmla="*/ 0 h 875412"/>
                  <a:gd name="connsiteX6" fmla="*/ 395333 w 395333"/>
                  <a:gd name="connsiteY6" fmla="*/ 0 h 875412"/>
                  <a:gd name="connsiteX7" fmla="*/ 395333 w 395333"/>
                  <a:gd name="connsiteY7" fmla="*/ 135481 h 875412"/>
                  <a:gd name="connsiteX8" fmla="*/ 302840 w 395333"/>
                  <a:gd name="connsiteY8" fmla="*/ 135481 h 875412"/>
                  <a:gd name="connsiteX9" fmla="*/ 259577 w 395333"/>
                  <a:gd name="connsiteY9" fmla="*/ 178656 h 875412"/>
                  <a:gd name="connsiteX10" fmla="*/ 259577 w 395333"/>
                  <a:gd name="connsiteY10" fmla="*/ 246396 h 875412"/>
                  <a:gd name="connsiteX11" fmla="*/ 395333 w 395333"/>
                  <a:gd name="connsiteY11" fmla="*/ 246396 h 875412"/>
                  <a:gd name="connsiteX12" fmla="*/ 395333 w 395333"/>
                  <a:gd name="connsiteY12" fmla="*/ 394531 h 875412"/>
                  <a:gd name="connsiteX13" fmla="*/ 259577 w 395333"/>
                  <a:gd name="connsiteY13" fmla="*/ 394531 h 875412"/>
                  <a:gd name="connsiteX14" fmla="*/ 259577 w 395333"/>
                  <a:gd name="connsiteY14" fmla="*/ 875413 h 875412"/>
                  <a:gd name="connsiteX15" fmla="*/ 105173 w 395333"/>
                  <a:gd name="connsiteY15" fmla="*/ 875413 h 875412"/>
                  <a:gd name="connsiteX16" fmla="*/ 105173 w 395333"/>
                  <a:gd name="connsiteY16" fmla="*/ 394531 h 875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95333" h="875412">
                    <a:moveTo>
                      <a:pt x="105173" y="394531"/>
                    </a:moveTo>
                    <a:lnTo>
                      <a:pt x="0" y="394531"/>
                    </a:lnTo>
                    <a:lnTo>
                      <a:pt x="0" y="246396"/>
                    </a:lnTo>
                    <a:lnTo>
                      <a:pt x="105173" y="246396"/>
                    </a:lnTo>
                    <a:lnTo>
                      <a:pt x="105173" y="154091"/>
                    </a:lnTo>
                    <a:cubicBezTo>
                      <a:pt x="105173" y="60296"/>
                      <a:pt x="165592" y="0"/>
                      <a:pt x="259577" y="0"/>
                    </a:cubicBezTo>
                    <a:lnTo>
                      <a:pt x="395333" y="0"/>
                    </a:lnTo>
                    <a:lnTo>
                      <a:pt x="395333" y="135481"/>
                    </a:lnTo>
                    <a:lnTo>
                      <a:pt x="302840" y="135481"/>
                    </a:lnTo>
                    <a:cubicBezTo>
                      <a:pt x="278225" y="135481"/>
                      <a:pt x="259577" y="154091"/>
                      <a:pt x="259577" y="178656"/>
                    </a:cubicBezTo>
                    <a:lnTo>
                      <a:pt x="259577" y="246396"/>
                    </a:lnTo>
                    <a:lnTo>
                      <a:pt x="395333" y="246396"/>
                    </a:lnTo>
                    <a:lnTo>
                      <a:pt x="395333" y="394531"/>
                    </a:lnTo>
                    <a:lnTo>
                      <a:pt x="259577" y="394531"/>
                    </a:lnTo>
                    <a:lnTo>
                      <a:pt x="259577" y="875413"/>
                    </a:lnTo>
                    <a:lnTo>
                      <a:pt x="105173" y="875413"/>
                    </a:lnTo>
                    <a:lnTo>
                      <a:pt x="105173" y="394531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  <p:sp>
            <p:nvSpPr>
              <p:cNvPr id="28" name="Forma libre 27">
                <a:extLst>
                  <a:ext uri="{FF2B5EF4-FFF2-40B4-BE49-F238E27FC236}">
                    <a16:creationId xmlns:a16="http://schemas.microsoft.com/office/drawing/2014/main" id="{CB7A7F98-95BA-8D24-269A-806728059006}"/>
                  </a:ext>
                </a:extLst>
              </p:cNvPr>
              <p:cNvSpPr/>
              <p:nvPr/>
            </p:nvSpPr>
            <p:spPr>
              <a:xfrm>
                <a:off x="6734717" y="3023168"/>
                <a:ext cx="580319" cy="640927"/>
              </a:xfrm>
              <a:custGeom>
                <a:avLst/>
                <a:gdLst>
                  <a:gd name="connsiteX0" fmla="*/ 0 w 580319"/>
                  <a:gd name="connsiteY0" fmla="*/ 12655 h 640927"/>
                  <a:gd name="connsiteX1" fmla="*/ 141723 w 580319"/>
                  <a:gd name="connsiteY1" fmla="*/ 12655 h 640927"/>
                  <a:gd name="connsiteX2" fmla="*/ 154404 w 580319"/>
                  <a:gd name="connsiteY2" fmla="*/ 74440 h 640927"/>
                  <a:gd name="connsiteX3" fmla="*/ 160371 w 580319"/>
                  <a:gd name="connsiteY3" fmla="*/ 74440 h 640927"/>
                  <a:gd name="connsiteX4" fmla="*/ 202142 w 580319"/>
                  <a:gd name="connsiteY4" fmla="*/ 37220 h 640927"/>
                  <a:gd name="connsiteX5" fmla="*/ 333423 w 580319"/>
                  <a:gd name="connsiteY5" fmla="*/ 0 h 640927"/>
                  <a:gd name="connsiteX6" fmla="*/ 580319 w 580319"/>
                  <a:gd name="connsiteY6" fmla="*/ 265006 h 640927"/>
                  <a:gd name="connsiteX7" fmla="*/ 580319 w 580319"/>
                  <a:gd name="connsiteY7" fmla="*/ 640927 h 640927"/>
                  <a:gd name="connsiteX8" fmla="*/ 425915 w 580319"/>
                  <a:gd name="connsiteY8" fmla="*/ 640927 h 640927"/>
                  <a:gd name="connsiteX9" fmla="*/ 425915 w 580319"/>
                  <a:gd name="connsiteY9" fmla="*/ 277661 h 640927"/>
                  <a:gd name="connsiteX10" fmla="*/ 290160 w 580319"/>
                  <a:gd name="connsiteY10" fmla="*/ 142180 h 640927"/>
                  <a:gd name="connsiteX11" fmla="*/ 154404 w 580319"/>
                  <a:gd name="connsiteY11" fmla="*/ 277661 h 640927"/>
                  <a:gd name="connsiteX12" fmla="*/ 154404 w 580319"/>
                  <a:gd name="connsiteY12" fmla="*/ 640927 h 640927"/>
                  <a:gd name="connsiteX13" fmla="*/ 0 w 580319"/>
                  <a:gd name="connsiteY13" fmla="*/ 640927 h 640927"/>
                  <a:gd name="connsiteX14" fmla="*/ 0 w 580319"/>
                  <a:gd name="connsiteY14" fmla="*/ 12655 h 640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80319" h="640927">
                    <a:moveTo>
                      <a:pt x="0" y="12655"/>
                    </a:moveTo>
                    <a:lnTo>
                      <a:pt x="141723" y="12655"/>
                    </a:lnTo>
                    <a:lnTo>
                      <a:pt x="154404" y="74440"/>
                    </a:lnTo>
                    <a:lnTo>
                      <a:pt x="160371" y="74440"/>
                    </a:lnTo>
                    <a:cubicBezTo>
                      <a:pt x="171560" y="61041"/>
                      <a:pt x="186478" y="48386"/>
                      <a:pt x="202142" y="37220"/>
                    </a:cubicBezTo>
                    <a:cubicBezTo>
                      <a:pt x="230487" y="18610"/>
                      <a:pt x="273750" y="0"/>
                      <a:pt x="333423" y="0"/>
                    </a:cubicBezTo>
                    <a:cubicBezTo>
                      <a:pt x="475146" y="0"/>
                      <a:pt x="580319" y="104960"/>
                      <a:pt x="580319" y="265006"/>
                    </a:cubicBezTo>
                    <a:lnTo>
                      <a:pt x="580319" y="640927"/>
                    </a:lnTo>
                    <a:lnTo>
                      <a:pt x="425915" y="640927"/>
                    </a:lnTo>
                    <a:lnTo>
                      <a:pt x="425915" y="277661"/>
                    </a:lnTo>
                    <a:cubicBezTo>
                      <a:pt x="425915" y="197266"/>
                      <a:pt x="369972" y="142180"/>
                      <a:pt x="290160" y="142180"/>
                    </a:cubicBezTo>
                    <a:cubicBezTo>
                      <a:pt x="209601" y="142180"/>
                      <a:pt x="154404" y="198010"/>
                      <a:pt x="154404" y="277661"/>
                    </a:cubicBezTo>
                    <a:lnTo>
                      <a:pt x="154404" y="640927"/>
                    </a:lnTo>
                    <a:lnTo>
                      <a:pt x="0" y="640927"/>
                    </a:lnTo>
                    <a:lnTo>
                      <a:pt x="0" y="12655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  <p:sp>
            <p:nvSpPr>
              <p:cNvPr id="60" name="Forma libre 59">
                <a:extLst>
                  <a:ext uri="{FF2B5EF4-FFF2-40B4-BE49-F238E27FC236}">
                    <a16:creationId xmlns:a16="http://schemas.microsoft.com/office/drawing/2014/main" id="{43A8E555-3B3C-ABA6-E031-92EB484FF290}"/>
                  </a:ext>
                </a:extLst>
              </p:cNvPr>
              <p:cNvSpPr/>
              <p:nvPr/>
            </p:nvSpPr>
            <p:spPr>
              <a:xfrm>
                <a:off x="7681279" y="3023168"/>
                <a:ext cx="616868" cy="653582"/>
              </a:xfrm>
              <a:custGeom>
                <a:avLst/>
                <a:gdLst>
                  <a:gd name="connsiteX0" fmla="*/ 616869 w 616868"/>
                  <a:gd name="connsiteY0" fmla="*/ 407186 h 653582"/>
                  <a:gd name="connsiteX1" fmla="*/ 320742 w 616868"/>
                  <a:gd name="connsiteY1" fmla="*/ 653582 h 653582"/>
                  <a:gd name="connsiteX2" fmla="*/ 0 w 616868"/>
                  <a:gd name="connsiteY2" fmla="*/ 326791 h 653582"/>
                  <a:gd name="connsiteX3" fmla="*/ 320742 w 616868"/>
                  <a:gd name="connsiteY3" fmla="*/ 0 h 653582"/>
                  <a:gd name="connsiteX4" fmla="*/ 616869 w 616868"/>
                  <a:gd name="connsiteY4" fmla="*/ 240441 h 653582"/>
                  <a:gd name="connsiteX5" fmla="*/ 462465 w 616868"/>
                  <a:gd name="connsiteY5" fmla="*/ 240441 h 653582"/>
                  <a:gd name="connsiteX6" fmla="*/ 320742 w 616868"/>
                  <a:gd name="connsiteY6" fmla="*/ 142180 h 653582"/>
                  <a:gd name="connsiteX7" fmla="*/ 153658 w 616868"/>
                  <a:gd name="connsiteY7" fmla="*/ 326791 h 653582"/>
                  <a:gd name="connsiteX8" fmla="*/ 320742 w 616868"/>
                  <a:gd name="connsiteY8" fmla="*/ 511402 h 653582"/>
                  <a:gd name="connsiteX9" fmla="*/ 462465 w 616868"/>
                  <a:gd name="connsiteY9" fmla="*/ 406442 h 653582"/>
                  <a:gd name="connsiteX10" fmla="*/ 616869 w 616868"/>
                  <a:gd name="connsiteY10" fmla="*/ 406442 h 653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6868" h="653582">
                    <a:moveTo>
                      <a:pt x="616869" y="407186"/>
                    </a:moveTo>
                    <a:cubicBezTo>
                      <a:pt x="596729" y="505447"/>
                      <a:pt x="519154" y="653582"/>
                      <a:pt x="320742" y="653582"/>
                    </a:cubicBezTo>
                    <a:cubicBezTo>
                      <a:pt x="135756" y="653582"/>
                      <a:pt x="0" y="518102"/>
                      <a:pt x="0" y="326791"/>
                    </a:cubicBezTo>
                    <a:cubicBezTo>
                      <a:pt x="0" y="135481"/>
                      <a:pt x="135756" y="0"/>
                      <a:pt x="320742" y="0"/>
                    </a:cubicBezTo>
                    <a:cubicBezTo>
                      <a:pt x="519900" y="0"/>
                      <a:pt x="597475" y="148135"/>
                      <a:pt x="616869" y="240441"/>
                    </a:cubicBezTo>
                    <a:lnTo>
                      <a:pt x="462465" y="240441"/>
                    </a:lnTo>
                    <a:cubicBezTo>
                      <a:pt x="449038" y="204710"/>
                      <a:pt x="413235" y="142180"/>
                      <a:pt x="320742" y="142180"/>
                    </a:cubicBezTo>
                    <a:cubicBezTo>
                      <a:pt x="228249" y="142180"/>
                      <a:pt x="153658" y="215876"/>
                      <a:pt x="153658" y="326791"/>
                    </a:cubicBezTo>
                    <a:cubicBezTo>
                      <a:pt x="153658" y="437707"/>
                      <a:pt x="227503" y="511402"/>
                      <a:pt x="320742" y="511402"/>
                    </a:cubicBezTo>
                    <a:cubicBezTo>
                      <a:pt x="413981" y="511402"/>
                      <a:pt x="449038" y="449617"/>
                      <a:pt x="462465" y="406442"/>
                    </a:cubicBezTo>
                    <a:lnTo>
                      <a:pt x="616869" y="406442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  <p:sp>
            <p:nvSpPr>
              <p:cNvPr id="61" name="Forma libre 60">
                <a:extLst>
                  <a:ext uri="{FF2B5EF4-FFF2-40B4-BE49-F238E27FC236}">
                    <a16:creationId xmlns:a16="http://schemas.microsoft.com/office/drawing/2014/main" id="{83417F71-89B7-6342-86B2-74A3229F3434}"/>
                  </a:ext>
                </a:extLst>
              </p:cNvPr>
              <p:cNvSpPr/>
              <p:nvPr/>
            </p:nvSpPr>
            <p:spPr>
              <a:xfrm>
                <a:off x="8351108" y="3023913"/>
                <a:ext cx="555703" cy="653582"/>
              </a:xfrm>
              <a:custGeom>
                <a:avLst/>
                <a:gdLst>
                  <a:gd name="connsiteX0" fmla="*/ 401300 w 555703"/>
                  <a:gd name="connsiteY0" fmla="*/ 369222 h 653582"/>
                  <a:gd name="connsiteX1" fmla="*/ 271512 w 555703"/>
                  <a:gd name="connsiteY1" fmla="*/ 369222 h 653582"/>
                  <a:gd name="connsiteX2" fmla="*/ 154404 w 555703"/>
                  <a:gd name="connsiteY2" fmla="*/ 449617 h 653582"/>
                  <a:gd name="connsiteX3" fmla="*/ 252864 w 555703"/>
                  <a:gd name="connsiteY3" fmla="*/ 530012 h 653582"/>
                  <a:gd name="connsiteX4" fmla="*/ 401300 w 555703"/>
                  <a:gd name="connsiteY4" fmla="*/ 388576 h 653582"/>
                  <a:gd name="connsiteX5" fmla="*/ 401300 w 555703"/>
                  <a:gd name="connsiteY5" fmla="*/ 369222 h 653582"/>
                  <a:gd name="connsiteX6" fmla="*/ 413235 w 555703"/>
                  <a:gd name="connsiteY6" fmla="*/ 579142 h 653582"/>
                  <a:gd name="connsiteX7" fmla="*/ 407268 w 555703"/>
                  <a:gd name="connsiteY7" fmla="*/ 579142 h 653582"/>
                  <a:gd name="connsiteX8" fmla="*/ 364005 w 555703"/>
                  <a:gd name="connsiteY8" fmla="*/ 616362 h 653582"/>
                  <a:gd name="connsiteX9" fmla="*/ 228249 w 555703"/>
                  <a:gd name="connsiteY9" fmla="*/ 653582 h 653582"/>
                  <a:gd name="connsiteX10" fmla="*/ 0 w 555703"/>
                  <a:gd name="connsiteY10" fmla="*/ 462272 h 653582"/>
                  <a:gd name="connsiteX11" fmla="*/ 259577 w 555703"/>
                  <a:gd name="connsiteY11" fmla="*/ 252351 h 653582"/>
                  <a:gd name="connsiteX12" fmla="*/ 401300 w 555703"/>
                  <a:gd name="connsiteY12" fmla="*/ 252351 h 653582"/>
                  <a:gd name="connsiteX13" fmla="*/ 401300 w 555703"/>
                  <a:gd name="connsiteY13" fmla="*/ 239696 h 653582"/>
                  <a:gd name="connsiteX14" fmla="*/ 290159 w 555703"/>
                  <a:gd name="connsiteY14" fmla="*/ 122826 h 653582"/>
                  <a:gd name="connsiteX15" fmla="*/ 179019 w 555703"/>
                  <a:gd name="connsiteY15" fmla="*/ 203221 h 653582"/>
                  <a:gd name="connsiteX16" fmla="*/ 24615 w 555703"/>
                  <a:gd name="connsiteY16" fmla="*/ 203221 h 653582"/>
                  <a:gd name="connsiteX17" fmla="*/ 290159 w 555703"/>
                  <a:gd name="connsiteY17" fmla="*/ 0 h 653582"/>
                  <a:gd name="connsiteX18" fmla="*/ 555704 w 555703"/>
                  <a:gd name="connsiteY18" fmla="*/ 240441 h 653582"/>
                  <a:gd name="connsiteX19" fmla="*/ 555704 w 555703"/>
                  <a:gd name="connsiteY19" fmla="*/ 640927 h 653582"/>
                  <a:gd name="connsiteX20" fmla="*/ 425916 w 555703"/>
                  <a:gd name="connsiteY20" fmla="*/ 640927 h 653582"/>
                  <a:gd name="connsiteX21" fmla="*/ 413235 w 555703"/>
                  <a:gd name="connsiteY21" fmla="*/ 579142 h 653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5703" h="653582">
                    <a:moveTo>
                      <a:pt x="401300" y="369222"/>
                    </a:moveTo>
                    <a:lnTo>
                      <a:pt x="271512" y="369222"/>
                    </a:lnTo>
                    <a:cubicBezTo>
                      <a:pt x="190953" y="369222"/>
                      <a:pt x="154404" y="399742"/>
                      <a:pt x="154404" y="449617"/>
                    </a:cubicBezTo>
                    <a:cubicBezTo>
                      <a:pt x="154404" y="498747"/>
                      <a:pt x="190207" y="530012"/>
                      <a:pt x="252864" y="530012"/>
                    </a:cubicBezTo>
                    <a:cubicBezTo>
                      <a:pt x="346849" y="530012"/>
                      <a:pt x="401300" y="475671"/>
                      <a:pt x="401300" y="388576"/>
                    </a:cubicBezTo>
                    <a:lnTo>
                      <a:pt x="401300" y="369222"/>
                    </a:lnTo>
                    <a:close/>
                    <a:moveTo>
                      <a:pt x="413235" y="579142"/>
                    </a:moveTo>
                    <a:lnTo>
                      <a:pt x="407268" y="579142"/>
                    </a:lnTo>
                    <a:cubicBezTo>
                      <a:pt x="396079" y="592541"/>
                      <a:pt x="381161" y="605196"/>
                      <a:pt x="364005" y="616362"/>
                    </a:cubicBezTo>
                    <a:cubicBezTo>
                      <a:pt x="334168" y="634972"/>
                      <a:pt x="290906" y="653582"/>
                      <a:pt x="228249" y="653582"/>
                    </a:cubicBezTo>
                    <a:cubicBezTo>
                      <a:pt x="85034" y="653582"/>
                      <a:pt x="0" y="565743"/>
                      <a:pt x="0" y="462272"/>
                    </a:cubicBezTo>
                    <a:cubicBezTo>
                      <a:pt x="0" y="338702"/>
                      <a:pt x="86526" y="252351"/>
                      <a:pt x="259577" y="252351"/>
                    </a:cubicBezTo>
                    <a:lnTo>
                      <a:pt x="401300" y="252351"/>
                    </a:lnTo>
                    <a:lnTo>
                      <a:pt x="401300" y="239696"/>
                    </a:lnTo>
                    <a:cubicBezTo>
                      <a:pt x="401300" y="170467"/>
                      <a:pt x="359530" y="122826"/>
                      <a:pt x="290159" y="122826"/>
                    </a:cubicBezTo>
                    <a:cubicBezTo>
                      <a:pt x="220790" y="122826"/>
                      <a:pt x="184986" y="167490"/>
                      <a:pt x="179019" y="203221"/>
                    </a:cubicBezTo>
                    <a:lnTo>
                      <a:pt x="24615" y="203221"/>
                    </a:lnTo>
                    <a:cubicBezTo>
                      <a:pt x="38041" y="99749"/>
                      <a:pt x="122329" y="0"/>
                      <a:pt x="290159" y="0"/>
                    </a:cubicBezTo>
                    <a:cubicBezTo>
                      <a:pt x="450530" y="0"/>
                      <a:pt x="555704" y="105705"/>
                      <a:pt x="555704" y="240441"/>
                    </a:cubicBezTo>
                    <a:lnTo>
                      <a:pt x="555704" y="640927"/>
                    </a:lnTo>
                    <a:lnTo>
                      <a:pt x="425916" y="640927"/>
                    </a:lnTo>
                    <a:lnTo>
                      <a:pt x="413235" y="579142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  <p:sp>
            <p:nvSpPr>
              <p:cNvPr id="70" name="Forma libre 69">
                <a:extLst>
                  <a:ext uri="{FF2B5EF4-FFF2-40B4-BE49-F238E27FC236}">
                    <a16:creationId xmlns:a16="http://schemas.microsoft.com/office/drawing/2014/main" id="{51BA78CA-B621-BB90-8D9E-F978A3FF8495}"/>
                  </a:ext>
                </a:extLst>
              </p:cNvPr>
              <p:cNvSpPr/>
              <p:nvPr/>
            </p:nvSpPr>
            <p:spPr>
              <a:xfrm>
                <a:off x="7418718" y="2762629"/>
                <a:ext cx="183494" cy="901466"/>
              </a:xfrm>
              <a:custGeom>
                <a:avLst/>
                <a:gdLst>
                  <a:gd name="connsiteX0" fmla="*/ 14918 w 183494"/>
                  <a:gd name="connsiteY0" fmla="*/ 273194 h 901466"/>
                  <a:gd name="connsiteX1" fmla="*/ 169322 w 183494"/>
                  <a:gd name="connsiteY1" fmla="*/ 273194 h 901466"/>
                  <a:gd name="connsiteX2" fmla="*/ 169322 w 183494"/>
                  <a:gd name="connsiteY2" fmla="*/ 901467 h 901466"/>
                  <a:gd name="connsiteX3" fmla="*/ 14918 w 183494"/>
                  <a:gd name="connsiteY3" fmla="*/ 901467 h 901466"/>
                  <a:gd name="connsiteX4" fmla="*/ 14918 w 183494"/>
                  <a:gd name="connsiteY4" fmla="*/ 273194 h 901466"/>
                  <a:gd name="connsiteX5" fmla="*/ 183494 w 183494"/>
                  <a:gd name="connsiteY5" fmla="*/ 91561 h 901466"/>
                  <a:gd name="connsiteX6" fmla="*/ 91747 w 183494"/>
                  <a:gd name="connsiteY6" fmla="*/ 0 h 901466"/>
                  <a:gd name="connsiteX7" fmla="*/ 0 w 183494"/>
                  <a:gd name="connsiteY7" fmla="*/ 91561 h 901466"/>
                  <a:gd name="connsiteX8" fmla="*/ 91747 w 183494"/>
                  <a:gd name="connsiteY8" fmla="*/ 183122 h 901466"/>
                  <a:gd name="connsiteX9" fmla="*/ 183494 w 183494"/>
                  <a:gd name="connsiteY9" fmla="*/ 91561 h 901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3494" h="901466">
                    <a:moveTo>
                      <a:pt x="14918" y="273194"/>
                    </a:moveTo>
                    <a:lnTo>
                      <a:pt x="169322" y="273194"/>
                    </a:lnTo>
                    <a:lnTo>
                      <a:pt x="169322" y="901467"/>
                    </a:lnTo>
                    <a:lnTo>
                      <a:pt x="14918" y="901467"/>
                    </a:lnTo>
                    <a:lnTo>
                      <a:pt x="14918" y="273194"/>
                    </a:lnTo>
                    <a:close/>
                    <a:moveTo>
                      <a:pt x="183494" y="91561"/>
                    </a:moveTo>
                    <a:cubicBezTo>
                      <a:pt x="183494" y="40942"/>
                      <a:pt x="142469" y="0"/>
                      <a:pt x="91747" y="0"/>
                    </a:cubicBezTo>
                    <a:cubicBezTo>
                      <a:pt x="41025" y="0"/>
                      <a:pt x="0" y="40942"/>
                      <a:pt x="0" y="91561"/>
                    </a:cubicBezTo>
                    <a:cubicBezTo>
                      <a:pt x="0" y="142180"/>
                      <a:pt x="41025" y="183122"/>
                      <a:pt x="91747" y="183122"/>
                    </a:cubicBezTo>
                    <a:cubicBezTo>
                      <a:pt x="142469" y="182378"/>
                      <a:pt x="183494" y="142180"/>
                      <a:pt x="183494" y="915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  <p:sp>
            <p:nvSpPr>
              <p:cNvPr id="72" name="Forma libre 71">
                <a:extLst>
                  <a:ext uri="{FF2B5EF4-FFF2-40B4-BE49-F238E27FC236}">
                    <a16:creationId xmlns:a16="http://schemas.microsoft.com/office/drawing/2014/main" id="{54A51646-B7BB-A278-1093-0DA046584C2F}"/>
                  </a:ext>
                </a:extLst>
              </p:cNvPr>
              <p:cNvSpPr/>
              <p:nvPr/>
            </p:nvSpPr>
            <p:spPr>
              <a:xfrm>
                <a:off x="5999994" y="2770817"/>
                <a:ext cx="642229" cy="905933"/>
              </a:xfrm>
              <a:custGeom>
                <a:avLst/>
                <a:gdLst>
                  <a:gd name="connsiteX0" fmla="*/ 487826 w 642229"/>
                  <a:gd name="connsiteY0" fmla="*/ 579142 h 905933"/>
                  <a:gd name="connsiteX1" fmla="*/ 320742 w 642229"/>
                  <a:gd name="connsiteY1" fmla="*/ 394531 h 905933"/>
                  <a:gd name="connsiteX2" fmla="*/ 153658 w 642229"/>
                  <a:gd name="connsiteY2" fmla="*/ 579142 h 905933"/>
                  <a:gd name="connsiteX3" fmla="*/ 320742 w 642229"/>
                  <a:gd name="connsiteY3" fmla="*/ 763753 h 905933"/>
                  <a:gd name="connsiteX4" fmla="*/ 487826 w 642229"/>
                  <a:gd name="connsiteY4" fmla="*/ 579142 h 905933"/>
                  <a:gd name="connsiteX5" fmla="*/ 642230 w 642229"/>
                  <a:gd name="connsiteY5" fmla="*/ 579142 h 905933"/>
                  <a:gd name="connsiteX6" fmla="*/ 320742 w 642229"/>
                  <a:gd name="connsiteY6" fmla="*/ 905933 h 905933"/>
                  <a:gd name="connsiteX7" fmla="*/ 0 w 642229"/>
                  <a:gd name="connsiteY7" fmla="*/ 579142 h 905933"/>
                  <a:gd name="connsiteX8" fmla="*/ 320742 w 642229"/>
                  <a:gd name="connsiteY8" fmla="*/ 252351 h 905933"/>
                  <a:gd name="connsiteX9" fmla="*/ 642230 w 642229"/>
                  <a:gd name="connsiteY9" fmla="*/ 579142 h 905933"/>
                  <a:gd name="connsiteX10" fmla="*/ 376685 w 642229"/>
                  <a:gd name="connsiteY10" fmla="*/ 0 h 905933"/>
                  <a:gd name="connsiteX11" fmla="*/ 537056 w 642229"/>
                  <a:gd name="connsiteY11" fmla="*/ 0 h 905933"/>
                  <a:gd name="connsiteX12" fmla="*/ 388620 w 642229"/>
                  <a:gd name="connsiteY12" fmla="*/ 178656 h 905933"/>
                  <a:gd name="connsiteX13" fmla="*/ 258831 w 642229"/>
                  <a:gd name="connsiteY13" fmla="*/ 178656 h 905933"/>
                  <a:gd name="connsiteX14" fmla="*/ 376685 w 642229"/>
                  <a:gd name="connsiteY14" fmla="*/ 0 h 905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42229" h="905933">
                    <a:moveTo>
                      <a:pt x="487826" y="579142"/>
                    </a:moveTo>
                    <a:cubicBezTo>
                      <a:pt x="487826" y="468227"/>
                      <a:pt x="413981" y="394531"/>
                      <a:pt x="320742" y="394531"/>
                    </a:cubicBezTo>
                    <a:cubicBezTo>
                      <a:pt x="228249" y="394531"/>
                      <a:pt x="153658" y="468227"/>
                      <a:pt x="153658" y="579142"/>
                    </a:cubicBezTo>
                    <a:cubicBezTo>
                      <a:pt x="153658" y="690058"/>
                      <a:pt x="227503" y="763753"/>
                      <a:pt x="320742" y="763753"/>
                    </a:cubicBezTo>
                    <a:cubicBezTo>
                      <a:pt x="413981" y="763753"/>
                      <a:pt x="487826" y="690058"/>
                      <a:pt x="487826" y="579142"/>
                    </a:cubicBezTo>
                    <a:moveTo>
                      <a:pt x="642230" y="579142"/>
                    </a:moveTo>
                    <a:cubicBezTo>
                      <a:pt x="642230" y="770453"/>
                      <a:pt x="506474" y="905933"/>
                      <a:pt x="320742" y="905933"/>
                    </a:cubicBezTo>
                    <a:cubicBezTo>
                      <a:pt x="135756" y="905933"/>
                      <a:pt x="0" y="770453"/>
                      <a:pt x="0" y="579142"/>
                    </a:cubicBezTo>
                    <a:cubicBezTo>
                      <a:pt x="0" y="387832"/>
                      <a:pt x="135756" y="252351"/>
                      <a:pt x="320742" y="252351"/>
                    </a:cubicBezTo>
                    <a:cubicBezTo>
                      <a:pt x="506474" y="252351"/>
                      <a:pt x="642230" y="387832"/>
                      <a:pt x="642230" y="579142"/>
                    </a:cubicBezTo>
                    <a:moveTo>
                      <a:pt x="376685" y="0"/>
                    </a:moveTo>
                    <a:lnTo>
                      <a:pt x="537056" y="0"/>
                    </a:lnTo>
                    <a:lnTo>
                      <a:pt x="388620" y="178656"/>
                    </a:lnTo>
                    <a:lnTo>
                      <a:pt x="258831" y="178656"/>
                    </a:lnTo>
                    <a:lnTo>
                      <a:pt x="376685" y="0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0">
                  <a:latin typeface="Pulso Light" pitchFamily="2" charset="0"/>
                </a:endParaRPr>
              </a:p>
            </p:txBody>
          </p:sp>
        </p:grpSp>
      </p:grpSp>
      <p:cxnSp>
        <p:nvCxnSpPr>
          <p:cNvPr id="95" name="Conector recto 94">
            <a:extLst>
              <a:ext uri="{FF2B5EF4-FFF2-40B4-BE49-F238E27FC236}">
                <a16:creationId xmlns:a16="http://schemas.microsoft.com/office/drawing/2014/main" id="{12E5F62E-9A94-4EAF-05BD-FE606AD3735A}"/>
              </a:ext>
            </a:extLst>
          </p:cNvPr>
          <p:cNvCxnSpPr>
            <a:cxnSpLocks/>
          </p:cNvCxnSpPr>
          <p:nvPr/>
        </p:nvCxnSpPr>
        <p:spPr>
          <a:xfrm>
            <a:off x="3749018" y="1394504"/>
            <a:ext cx="0" cy="2656520"/>
          </a:xfrm>
          <a:prstGeom prst="line">
            <a:avLst/>
          </a:prstGeom>
          <a:ln cap="rnd">
            <a:solidFill>
              <a:schemeClr val="tx1">
                <a:lumMod val="75000"/>
                <a:lumOff val="2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ector recto 97">
            <a:extLst>
              <a:ext uri="{FF2B5EF4-FFF2-40B4-BE49-F238E27FC236}">
                <a16:creationId xmlns:a16="http://schemas.microsoft.com/office/drawing/2014/main" id="{CBE33AC9-D394-F3C9-A1F1-43698242F095}"/>
              </a:ext>
            </a:extLst>
          </p:cNvPr>
          <p:cNvCxnSpPr>
            <a:cxnSpLocks/>
          </p:cNvCxnSpPr>
          <p:nvPr/>
        </p:nvCxnSpPr>
        <p:spPr>
          <a:xfrm>
            <a:off x="7389761" y="1394504"/>
            <a:ext cx="0" cy="2656520"/>
          </a:xfrm>
          <a:prstGeom prst="line">
            <a:avLst/>
          </a:prstGeom>
          <a:ln cap="rnd">
            <a:solidFill>
              <a:schemeClr val="tx1">
                <a:lumMod val="75000"/>
                <a:lumOff val="2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ector recto 98">
            <a:extLst>
              <a:ext uri="{FF2B5EF4-FFF2-40B4-BE49-F238E27FC236}">
                <a16:creationId xmlns:a16="http://schemas.microsoft.com/office/drawing/2014/main" id="{26538113-7191-CE8F-B439-F9F797184671}"/>
              </a:ext>
            </a:extLst>
          </p:cNvPr>
          <p:cNvCxnSpPr>
            <a:cxnSpLocks/>
          </p:cNvCxnSpPr>
          <p:nvPr/>
        </p:nvCxnSpPr>
        <p:spPr>
          <a:xfrm>
            <a:off x="6176180" y="1394504"/>
            <a:ext cx="0" cy="2656520"/>
          </a:xfrm>
          <a:prstGeom prst="line">
            <a:avLst/>
          </a:prstGeom>
          <a:ln cap="rnd">
            <a:solidFill>
              <a:schemeClr val="tx1">
                <a:lumMod val="75000"/>
                <a:lumOff val="2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3" name="Imagen 112">
            <a:extLst>
              <a:ext uri="{FF2B5EF4-FFF2-40B4-BE49-F238E27FC236}">
                <a16:creationId xmlns:a16="http://schemas.microsoft.com/office/drawing/2014/main" id="{80F2C9AD-D014-A988-C67A-7E02BA0579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2231" y="2528917"/>
            <a:ext cx="275037" cy="278911"/>
          </a:xfrm>
          <a:prstGeom prst="rect">
            <a:avLst/>
          </a:prstGeom>
        </p:spPr>
      </p:pic>
      <p:pic>
        <p:nvPicPr>
          <p:cNvPr id="114" name="Imagen 113">
            <a:extLst>
              <a:ext uri="{FF2B5EF4-FFF2-40B4-BE49-F238E27FC236}">
                <a16:creationId xmlns:a16="http://schemas.microsoft.com/office/drawing/2014/main" id="{500BA672-B4EA-65F6-C720-5AD21559DF65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5430403" y="2528918"/>
            <a:ext cx="275037" cy="275037"/>
          </a:xfrm>
          <a:prstGeom prst="rect">
            <a:avLst/>
          </a:prstGeom>
        </p:spPr>
      </p:pic>
      <p:pic>
        <p:nvPicPr>
          <p:cNvPr id="115" name="Imagen 114">
            <a:extLst>
              <a:ext uri="{FF2B5EF4-FFF2-40B4-BE49-F238E27FC236}">
                <a16:creationId xmlns:a16="http://schemas.microsoft.com/office/drawing/2014/main" id="{1830AFB6-4D61-4789-D310-C874A4E0FA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17373" y="2528918"/>
            <a:ext cx="275037" cy="275037"/>
          </a:xfrm>
          <a:prstGeom prst="rect">
            <a:avLst/>
          </a:prstGeom>
        </p:spPr>
      </p:pic>
      <p:pic>
        <p:nvPicPr>
          <p:cNvPr id="116" name="Imagen 115">
            <a:extLst>
              <a:ext uri="{FF2B5EF4-FFF2-40B4-BE49-F238E27FC236}">
                <a16:creationId xmlns:a16="http://schemas.microsoft.com/office/drawing/2014/main" id="{8171DB7A-3713-5DCE-FE79-D39A7F24B2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59032" y="2528918"/>
            <a:ext cx="275037" cy="275037"/>
          </a:xfrm>
          <a:prstGeom prst="rect">
            <a:avLst/>
          </a:prstGeom>
        </p:spPr>
      </p:pic>
      <p:pic>
        <p:nvPicPr>
          <p:cNvPr id="117" name="Imagen 116">
            <a:extLst>
              <a:ext uri="{FF2B5EF4-FFF2-40B4-BE49-F238E27FC236}">
                <a16:creationId xmlns:a16="http://schemas.microsoft.com/office/drawing/2014/main" id="{F93D4868-2D46-78A2-B54A-8F8F8246659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46812" y="2528918"/>
            <a:ext cx="275037" cy="275037"/>
          </a:xfrm>
          <a:prstGeom prst="rect">
            <a:avLst/>
          </a:prstGeom>
        </p:spPr>
      </p:pic>
      <p:pic>
        <p:nvPicPr>
          <p:cNvPr id="118" name="Imagen 117">
            <a:extLst>
              <a:ext uri="{FF2B5EF4-FFF2-40B4-BE49-F238E27FC236}">
                <a16:creationId xmlns:a16="http://schemas.microsoft.com/office/drawing/2014/main" id="{FCE27D9E-B265-97C4-8380-566C8DB688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01768" y="2528917"/>
            <a:ext cx="275037" cy="278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379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55BFA5-7F39-0238-8944-9DED92184E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75098B5-50E7-9117-886D-9BC074B68F9D}"/>
              </a:ext>
            </a:extLst>
          </p:cNvPr>
          <p:cNvSpPr txBox="1">
            <a:spLocks/>
          </p:cNvSpPr>
          <p:nvPr/>
        </p:nvSpPr>
        <p:spPr>
          <a:xfrm>
            <a:off x="540657" y="580494"/>
            <a:ext cx="2530180" cy="359073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ts val="3200"/>
              </a:lnSpc>
              <a:spcAft>
                <a:spcPts val="0"/>
              </a:spcAft>
              <a:buNone/>
              <a:defRPr sz="2800" b="0" i="0" spc="-70" baseline="0">
                <a:solidFill>
                  <a:schemeClr val="tx2"/>
                </a:solidFill>
                <a:latin typeface="Pulso Light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>
                <a:solidFill>
                  <a:schemeClr val="bg2"/>
                </a:solidFill>
              </a:rPr>
              <a:t>Contexto Mercado</a:t>
            </a:r>
          </a:p>
        </p:txBody>
      </p:sp>
      <p:sp>
        <p:nvSpPr>
          <p:cNvPr id="6" name="Marcador de texto 8">
            <a:extLst>
              <a:ext uri="{FF2B5EF4-FFF2-40B4-BE49-F238E27FC236}">
                <a16:creationId xmlns:a16="http://schemas.microsoft.com/office/drawing/2014/main" id="{3ABE99B6-157C-6D87-F046-9781881DC391}"/>
              </a:ext>
            </a:extLst>
          </p:cNvPr>
          <p:cNvSpPr txBox="1">
            <a:spLocks/>
          </p:cNvSpPr>
          <p:nvPr/>
        </p:nvSpPr>
        <p:spPr>
          <a:xfrm>
            <a:off x="540657" y="973507"/>
            <a:ext cx="2530180" cy="24000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400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De disruptoras a ecosistemas</a:t>
            </a:r>
          </a:p>
        </p:txBody>
      </p:sp>
      <p:sp>
        <p:nvSpPr>
          <p:cNvPr id="37" name="Text 0">
            <a:extLst>
              <a:ext uri="{FF2B5EF4-FFF2-40B4-BE49-F238E27FC236}">
                <a16:creationId xmlns:a16="http://schemas.microsoft.com/office/drawing/2014/main" id="{B064A8AD-61F8-B297-BF75-1AA55D8C31A9}"/>
              </a:ext>
            </a:extLst>
          </p:cNvPr>
          <p:cNvSpPr/>
          <p:nvPr/>
        </p:nvSpPr>
        <p:spPr>
          <a:xfrm>
            <a:off x="6243402" y="1350270"/>
            <a:ext cx="2226657" cy="461665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spAutoFit/>
          </a:bodyPr>
          <a:lstStyle/>
          <a:p>
            <a:pPr marL="0" lvl="1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000" noProof="0">
                <a:solidFill>
                  <a:schemeClr val="tx2"/>
                </a:solidFill>
                <a:latin typeface="Pulso Light"/>
                <a:cs typeface="Poppins Regular"/>
              </a:rPr>
              <a:t>Las </a:t>
            </a:r>
            <a:r>
              <a:rPr lang="es-ES_tradnl" sz="1000" noProof="0" err="1">
                <a:solidFill>
                  <a:schemeClr val="tx2"/>
                </a:solidFill>
                <a:latin typeface="Pulso Light"/>
                <a:cs typeface="Poppins Regular"/>
              </a:rPr>
              <a:t>fintechs</a:t>
            </a:r>
            <a:r>
              <a:rPr lang="es-ES_tradnl" sz="1000" noProof="0">
                <a:solidFill>
                  <a:schemeClr val="tx2"/>
                </a:solidFill>
                <a:latin typeface="Pulso Light"/>
                <a:cs typeface="Poppins Regular"/>
              </a:rPr>
              <a:t> más exitosas evolucionan hacia un </a:t>
            </a:r>
            <a:r>
              <a:rPr lang="es-ES_tradnl" sz="1000" noProof="0">
                <a:solidFill>
                  <a:schemeClr val="tx2"/>
                </a:solidFill>
                <a:latin typeface="Pulso"/>
                <a:cs typeface="Poppins Regular"/>
              </a:rPr>
              <a:t>ecosistema</a:t>
            </a:r>
            <a:r>
              <a:rPr lang="es-ES_tradnl" sz="1000">
                <a:solidFill>
                  <a:schemeClr val="tx2"/>
                </a:solidFill>
                <a:latin typeface="Pulso"/>
                <a:cs typeface="Poppins Regular"/>
              </a:rPr>
              <a:t> </a:t>
            </a:r>
            <a:r>
              <a:rPr lang="es-ES_tradnl" sz="1000" noProof="0">
                <a:solidFill>
                  <a:schemeClr val="tx2"/>
                </a:solidFill>
                <a:latin typeface="Pulso"/>
                <a:cs typeface="Poppins Regular"/>
              </a:rPr>
              <a:t> completo </a:t>
            </a:r>
            <a:r>
              <a:rPr lang="es-ES_tradnl" sz="1000" noProof="0">
                <a:solidFill>
                  <a:schemeClr val="tx2"/>
                </a:solidFill>
                <a:latin typeface="Pulso Light"/>
                <a:cs typeface="Poppins Regular"/>
              </a:rPr>
              <a:t>bajo </a:t>
            </a:r>
            <a:r>
              <a:rPr lang="es-ES_tradnl" sz="1000" noProof="0">
                <a:solidFill>
                  <a:schemeClr val="tx2"/>
                </a:solidFill>
                <a:latin typeface="Pulso"/>
                <a:cs typeface="Poppins Regular"/>
              </a:rPr>
              <a:t>una única plataforma digital</a:t>
            </a:r>
            <a:r>
              <a:rPr lang="es-ES_tradnl" sz="1000" noProof="0">
                <a:solidFill>
                  <a:schemeClr val="tx2"/>
                </a:solidFill>
                <a:latin typeface="Pulso Light"/>
                <a:cs typeface="Poppins Regular"/>
              </a:rPr>
              <a:t>. 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E77441D4-9617-0216-CBE3-AD301B2AEBCA}"/>
              </a:ext>
            </a:extLst>
          </p:cNvPr>
          <p:cNvSpPr txBox="1"/>
          <p:nvPr/>
        </p:nvSpPr>
        <p:spPr>
          <a:xfrm>
            <a:off x="7320166" y="2745065"/>
            <a:ext cx="131950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lnSpc>
                <a:spcPts val="2000"/>
              </a:lnSpc>
              <a:defRPr>
                <a:solidFill>
                  <a:srgbClr val="FFFFFF"/>
                </a:solidFill>
                <a:latin typeface="Poppins Regular"/>
                <a:cs typeface="Poppins Regular"/>
              </a:defRPr>
            </a:lvl1pPr>
          </a:lstStyle>
          <a:p>
            <a:pPr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8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Integra comercio, pagos, inversiones y fidelización en una experiencia integrada.</a:t>
            </a:r>
          </a:p>
        </p:txBody>
      </p:sp>
      <p:grpSp>
        <p:nvGrpSpPr>
          <p:cNvPr id="1037" name="Grupo 1036">
            <a:extLst>
              <a:ext uri="{FF2B5EF4-FFF2-40B4-BE49-F238E27FC236}">
                <a16:creationId xmlns:a16="http://schemas.microsoft.com/office/drawing/2014/main" id="{DF065ABD-ED83-1CF2-9929-B4C17B7823FB}"/>
              </a:ext>
            </a:extLst>
          </p:cNvPr>
          <p:cNvGrpSpPr/>
          <p:nvPr/>
        </p:nvGrpSpPr>
        <p:grpSpPr>
          <a:xfrm>
            <a:off x="6243403" y="2720530"/>
            <a:ext cx="957955" cy="413482"/>
            <a:chOff x="6243403" y="2703302"/>
            <a:chExt cx="957955" cy="413482"/>
          </a:xfrm>
        </p:grpSpPr>
        <p:sp>
          <p:nvSpPr>
            <p:cNvPr id="10" name="Rectángulo redondeado 42">
              <a:extLst>
                <a:ext uri="{FF2B5EF4-FFF2-40B4-BE49-F238E27FC236}">
                  <a16:creationId xmlns:a16="http://schemas.microsoft.com/office/drawing/2014/main" id="{274E608A-86CE-68D3-5BCD-BE36F2CD7A32}"/>
                </a:ext>
              </a:extLst>
            </p:cNvPr>
            <p:cNvSpPr/>
            <p:nvPr/>
          </p:nvSpPr>
          <p:spPr>
            <a:xfrm>
              <a:off x="6243403" y="2703302"/>
              <a:ext cx="957955" cy="413482"/>
            </a:xfrm>
            <a:prstGeom prst="roundRect">
              <a:avLst/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1400" b="1">
                <a:solidFill>
                  <a:schemeClr val="tx1"/>
                </a:solidFill>
              </a:endParaRPr>
            </a:p>
          </p:txBody>
        </p:sp>
        <p:pic>
          <p:nvPicPr>
            <p:cNvPr id="28" name="Picture 2">
              <a:extLst>
                <a:ext uri="{FF2B5EF4-FFF2-40B4-BE49-F238E27FC236}">
                  <a16:creationId xmlns:a16="http://schemas.microsoft.com/office/drawing/2014/main" id="{D84CDD40-1476-802C-96A7-63F563C6C7F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2168" y="2851184"/>
              <a:ext cx="824176" cy="1391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3" name="Text 6">
            <a:extLst>
              <a:ext uri="{FF2B5EF4-FFF2-40B4-BE49-F238E27FC236}">
                <a16:creationId xmlns:a16="http://schemas.microsoft.com/office/drawing/2014/main" id="{1D764223-20DB-F76D-C1FB-7487D5A6FAFA}"/>
              </a:ext>
            </a:extLst>
          </p:cNvPr>
          <p:cNvSpPr/>
          <p:nvPr/>
        </p:nvSpPr>
        <p:spPr>
          <a:xfrm>
            <a:off x="7325382" y="2135882"/>
            <a:ext cx="131950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s-ES_tradnl" sz="8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Banco europeo global con licencia en múltiples países.</a:t>
            </a:r>
          </a:p>
        </p:txBody>
      </p:sp>
      <p:grpSp>
        <p:nvGrpSpPr>
          <p:cNvPr id="1038" name="Grupo 1037">
            <a:extLst>
              <a:ext uri="{FF2B5EF4-FFF2-40B4-BE49-F238E27FC236}">
                <a16:creationId xmlns:a16="http://schemas.microsoft.com/office/drawing/2014/main" id="{9B2752E6-035E-F42C-9045-FC213775E02F}"/>
              </a:ext>
            </a:extLst>
          </p:cNvPr>
          <p:cNvGrpSpPr/>
          <p:nvPr/>
        </p:nvGrpSpPr>
        <p:grpSpPr>
          <a:xfrm>
            <a:off x="6243403" y="2094119"/>
            <a:ext cx="957955" cy="413482"/>
            <a:chOff x="6243403" y="2094119"/>
            <a:chExt cx="957955" cy="413482"/>
          </a:xfrm>
        </p:grpSpPr>
        <p:sp>
          <p:nvSpPr>
            <p:cNvPr id="40" name="Rectángulo redondeado 62">
              <a:extLst>
                <a:ext uri="{FF2B5EF4-FFF2-40B4-BE49-F238E27FC236}">
                  <a16:creationId xmlns:a16="http://schemas.microsoft.com/office/drawing/2014/main" id="{00A85E6E-0406-D6DB-4B2F-FBF2FBB1D474}"/>
                </a:ext>
              </a:extLst>
            </p:cNvPr>
            <p:cNvSpPr/>
            <p:nvPr/>
          </p:nvSpPr>
          <p:spPr>
            <a:xfrm>
              <a:off x="6243403" y="2094119"/>
              <a:ext cx="957955" cy="413482"/>
            </a:xfrm>
            <a:prstGeom prst="roundRect">
              <a:avLst/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1400" b="1">
                <a:solidFill>
                  <a:schemeClr val="tx1"/>
                </a:solidFill>
              </a:endParaRPr>
            </a:p>
          </p:txBody>
        </p:sp>
        <p:pic>
          <p:nvPicPr>
            <p:cNvPr id="44" name="Imagen 43">
              <a:extLst>
                <a:ext uri="{FF2B5EF4-FFF2-40B4-BE49-F238E27FC236}">
                  <a16:creationId xmlns:a16="http://schemas.microsoft.com/office/drawing/2014/main" id="{93212BF8-7B8E-5403-14D0-858F7F0C96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391463" y="2211971"/>
              <a:ext cx="661836" cy="177777"/>
            </a:xfrm>
            <a:prstGeom prst="rect">
              <a:avLst/>
            </a:prstGeom>
          </p:spPr>
        </p:pic>
      </p:grpSp>
      <p:sp>
        <p:nvSpPr>
          <p:cNvPr id="45" name="Text 2">
            <a:extLst>
              <a:ext uri="{FF2B5EF4-FFF2-40B4-BE49-F238E27FC236}">
                <a16:creationId xmlns:a16="http://schemas.microsoft.com/office/drawing/2014/main" id="{724C57CF-980A-1DF8-8DBE-351DBB1735F3}"/>
              </a:ext>
            </a:extLst>
          </p:cNvPr>
          <p:cNvSpPr/>
          <p:nvPr/>
        </p:nvSpPr>
        <p:spPr>
          <a:xfrm>
            <a:off x="7336642" y="3362345"/>
            <a:ext cx="1300614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s-ES_tradnl" sz="8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Líder latinoamericano con + de 90 millones de clientes. Licencia bancaria completa en Brasil, México y Colombia.</a:t>
            </a:r>
          </a:p>
        </p:txBody>
      </p:sp>
      <p:grpSp>
        <p:nvGrpSpPr>
          <p:cNvPr id="1036" name="Grupo 1035">
            <a:extLst>
              <a:ext uri="{FF2B5EF4-FFF2-40B4-BE49-F238E27FC236}">
                <a16:creationId xmlns:a16="http://schemas.microsoft.com/office/drawing/2014/main" id="{4E44D791-BE2A-5C38-2585-BB457237E40C}"/>
              </a:ext>
            </a:extLst>
          </p:cNvPr>
          <p:cNvGrpSpPr/>
          <p:nvPr/>
        </p:nvGrpSpPr>
        <p:grpSpPr>
          <a:xfrm>
            <a:off x="6243403" y="3346941"/>
            <a:ext cx="957955" cy="413482"/>
            <a:chOff x="6243403" y="3320582"/>
            <a:chExt cx="957955" cy="413482"/>
          </a:xfrm>
        </p:grpSpPr>
        <p:sp>
          <p:nvSpPr>
            <p:cNvPr id="46" name="Rectángulo redondeado 1033">
              <a:extLst>
                <a:ext uri="{FF2B5EF4-FFF2-40B4-BE49-F238E27FC236}">
                  <a16:creationId xmlns:a16="http://schemas.microsoft.com/office/drawing/2014/main" id="{405DA28E-FB5E-6848-1BC5-E929830F6390}"/>
                </a:ext>
              </a:extLst>
            </p:cNvPr>
            <p:cNvSpPr/>
            <p:nvPr/>
          </p:nvSpPr>
          <p:spPr>
            <a:xfrm>
              <a:off x="6243403" y="3320582"/>
              <a:ext cx="957955" cy="413482"/>
            </a:xfrm>
            <a:prstGeom prst="roundRect">
              <a:avLst/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1400" b="1">
                <a:solidFill>
                  <a:schemeClr val="tx1"/>
                </a:solidFill>
              </a:endParaRPr>
            </a:p>
          </p:txBody>
        </p:sp>
        <p:pic>
          <p:nvPicPr>
            <p:cNvPr id="47" name="Picture 4">
              <a:extLst>
                <a:ext uri="{FF2B5EF4-FFF2-40B4-BE49-F238E27FC236}">
                  <a16:creationId xmlns:a16="http://schemas.microsoft.com/office/drawing/2014/main" id="{156F9AFC-E571-5B37-830A-DDC46F4EE2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520226" y="3415822"/>
              <a:ext cx="404310" cy="2230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8" name="Text 4">
            <a:extLst>
              <a:ext uri="{FF2B5EF4-FFF2-40B4-BE49-F238E27FC236}">
                <a16:creationId xmlns:a16="http://schemas.microsoft.com/office/drawing/2014/main" id="{2C7D7C73-A8DD-484A-A1A2-A98726623887}"/>
              </a:ext>
            </a:extLst>
          </p:cNvPr>
          <p:cNvSpPr/>
          <p:nvPr/>
        </p:nvSpPr>
        <p:spPr>
          <a:xfrm>
            <a:off x="7336643" y="4015116"/>
            <a:ext cx="130061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s-ES_tradnl" sz="8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Integración total con </a:t>
            </a:r>
            <a:br>
              <a:rPr lang="es-ES_tradnl" sz="8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</a:br>
            <a:r>
              <a:rPr lang="es-ES_tradnl" sz="8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e-</a:t>
            </a:r>
            <a:r>
              <a:rPr lang="es-ES_tradnl" sz="800" noProof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commerce</a:t>
            </a:r>
            <a:r>
              <a:rPr lang="es-ES_tradnl" sz="8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, crédito, inversiones y adquirencia en todo el ecosistema.</a:t>
            </a:r>
          </a:p>
        </p:txBody>
      </p:sp>
      <p:grpSp>
        <p:nvGrpSpPr>
          <p:cNvPr id="1035" name="Grupo 1034">
            <a:extLst>
              <a:ext uri="{FF2B5EF4-FFF2-40B4-BE49-F238E27FC236}">
                <a16:creationId xmlns:a16="http://schemas.microsoft.com/office/drawing/2014/main" id="{4F533C51-AE74-1BD9-C068-94701F682628}"/>
              </a:ext>
            </a:extLst>
          </p:cNvPr>
          <p:cNvGrpSpPr/>
          <p:nvPr/>
        </p:nvGrpSpPr>
        <p:grpSpPr>
          <a:xfrm>
            <a:off x="6243403" y="3973353"/>
            <a:ext cx="957955" cy="413482"/>
            <a:chOff x="6243403" y="3919674"/>
            <a:chExt cx="957955" cy="413482"/>
          </a:xfrm>
        </p:grpSpPr>
        <p:sp>
          <p:nvSpPr>
            <p:cNvPr id="49" name="Rectángulo redondeado 1033">
              <a:extLst>
                <a:ext uri="{FF2B5EF4-FFF2-40B4-BE49-F238E27FC236}">
                  <a16:creationId xmlns:a16="http://schemas.microsoft.com/office/drawing/2014/main" id="{E0817E1F-5BC3-6AEB-2B4A-98FDD4D4713F}"/>
                </a:ext>
              </a:extLst>
            </p:cNvPr>
            <p:cNvSpPr/>
            <p:nvPr/>
          </p:nvSpPr>
          <p:spPr>
            <a:xfrm>
              <a:off x="6243403" y="3919674"/>
              <a:ext cx="957955" cy="413482"/>
            </a:xfrm>
            <a:prstGeom prst="roundRect">
              <a:avLst/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1400" b="1">
                <a:solidFill>
                  <a:schemeClr val="tx1"/>
                </a:solidFill>
              </a:endParaRPr>
            </a:p>
          </p:txBody>
        </p:sp>
        <p:pic>
          <p:nvPicPr>
            <p:cNvPr id="50" name="Imagen 49">
              <a:extLst>
                <a:ext uri="{FF2B5EF4-FFF2-40B4-BE49-F238E27FC236}">
                  <a16:creationId xmlns:a16="http://schemas.microsoft.com/office/drawing/2014/main" id="{1794B444-3567-C97C-CA7B-BAC20700DF2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67427" y="4043807"/>
              <a:ext cx="709905" cy="174649"/>
            </a:xfrm>
            <a:prstGeom prst="rect">
              <a:avLst/>
            </a:prstGeom>
          </p:spPr>
        </p:pic>
      </p:grpSp>
      <p:sp>
        <p:nvSpPr>
          <p:cNvPr id="1087" name="Title 1">
            <a:extLst>
              <a:ext uri="{FF2B5EF4-FFF2-40B4-BE49-F238E27FC236}">
                <a16:creationId xmlns:a16="http://schemas.microsoft.com/office/drawing/2014/main" id="{F4D3A9B7-FD71-2C9C-E5C6-4C1A0A17212A}"/>
              </a:ext>
            </a:extLst>
          </p:cNvPr>
          <p:cNvSpPr txBox="1">
            <a:spLocks/>
          </p:cNvSpPr>
          <p:nvPr/>
        </p:nvSpPr>
        <p:spPr>
          <a:xfrm>
            <a:off x="787602" y="4026206"/>
            <a:ext cx="1053173" cy="15388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000" b="0" spc="0">
                <a:solidFill>
                  <a:schemeClr val="tx2"/>
                </a:solidFill>
              </a:rPr>
              <a:t>Billeteras móviles</a:t>
            </a:r>
          </a:p>
        </p:txBody>
      </p:sp>
      <p:sp>
        <p:nvSpPr>
          <p:cNvPr id="1108" name="CuadroTexto 1107">
            <a:extLst>
              <a:ext uri="{FF2B5EF4-FFF2-40B4-BE49-F238E27FC236}">
                <a16:creationId xmlns:a16="http://schemas.microsoft.com/office/drawing/2014/main" id="{ADBE66DC-B418-A33A-0D98-0BEA5D006646}"/>
              </a:ext>
            </a:extLst>
          </p:cNvPr>
          <p:cNvSpPr txBox="1"/>
          <p:nvPr/>
        </p:nvSpPr>
        <p:spPr>
          <a:xfrm>
            <a:off x="801399" y="4219325"/>
            <a:ext cx="1887067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s-MX" sz="8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Roboto" panose="02000000000000000000" pitchFamily="2" charset="0"/>
              </a:rPr>
              <a:t>Servicios Simples </a:t>
            </a:r>
          </a:p>
        </p:txBody>
      </p:sp>
      <p:pic>
        <p:nvPicPr>
          <p:cNvPr id="1133" name="Imagen 1132" descr="Logotipo&#10;&#10;El contenido generado por IA puede ser incorrecto.">
            <a:extLst>
              <a:ext uri="{FF2B5EF4-FFF2-40B4-BE49-F238E27FC236}">
                <a16:creationId xmlns:a16="http://schemas.microsoft.com/office/drawing/2014/main" id="{F6778AEF-ACD6-F2FF-0A65-BFCC4856D0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7239" y="4036640"/>
            <a:ext cx="255600" cy="255600"/>
          </a:xfrm>
          <a:prstGeom prst="roundRect">
            <a:avLst/>
          </a:prstGeom>
          <a:solidFill>
            <a:srgbClr val="FFFFFF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</p:pic>
      <p:sp>
        <p:nvSpPr>
          <p:cNvPr id="1094" name="Title 1">
            <a:extLst>
              <a:ext uri="{FF2B5EF4-FFF2-40B4-BE49-F238E27FC236}">
                <a16:creationId xmlns:a16="http://schemas.microsoft.com/office/drawing/2014/main" id="{AFF78A70-E432-57DE-D4DE-FB73C13B6C62}"/>
              </a:ext>
            </a:extLst>
          </p:cNvPr>
          <p:cNvSpPr txBox="1">
            <a:spLocks/>
          </p:cNvSpPr>
          <p:nvPr/>
        </p:nvSpPr>
        <p:spPr>
          <a:xfrm>
            <a:off x="2931999" y="2371127"/>
            <a:ext cx="681277" cy="15388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000" b="0" spc="0" err="1">
                <a:solidFill>
                  <a:schemeClr val="tx2"/>
                </a:solidFill>
              </a:rPr>
              <a:t>Neobancos</a:t>
            </a:r>
            <a:endParaRPr lang="es-ES_tradnl" sz="1000" b="0" spc="0">
              <a:solidFill>
                <a:schemeClr val="tx2"/>
              </a:solidFill>
            </a:endParaRPr>
          </a:p>
        </p:txBody>
      </p:sp>
      <p:sp>
        <p:nvSpPr>
          <p:cNvPr id="1109" name="CuadroTexto 1108">
            <a:extLst>
              <a:ext uri="{FF2B5EF4-FFF2-40B4-BE49-F238E27FC236}">
                <a16:creationId xmlns:a16="http://schemas.microsoft.com/office/drawing/2014/main" id="{199EF423-0B18-3CB2-9B1F-E69934A4D3BF}"/>
              </a:ext>
            </a:extLst>
          </p:cNvPr>
          <p:cNvSpPr txBox="1"/>
          <p:nvPr/>
        </p:nvSpPr>
        <p:spPr>
          <a:xfrm>
            <a:off x="2933660" y="2564246"/>
            <a:ext cx="1014694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s-MX" sz="8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Roboto" panose="02000000000000000000" pitchFamily="2" charset="0"/>
              </a:rPr>
              <a:t>Asociación/ Integración de oferta entre Telcos y Bancos </a:t>
            </a:r>
          </a:p>
        </p:txBody>
      </p:sp>
      <p:pic>
        <p:nvPicPr>
          <p:cNvPr id="1134" name="Imagen 1133" descr="Icono&#10;&#10;El contenido generado por IA puede ser incorrecto.">
            <a:extLst>
              <a:ext uri="{FF2B5EF4-FFF2-40B4-BE49-F238E27FC236}">
                <a16:creationId xmlns:a16="http://schemas.microsoft.com/office/drawing/2014/main" id="{1FE6634D-55AB-A4A7-BFC3-092B682BE6BF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9997" y="2379801"/>
            <a:ext cx="255600" cy="255600"/>
          </a:xfrm>
          <a:prstGeom prst="roundRect">
            <a:avLst/>
          </a:prstGeom>
          <a:solidFill>
            <a:srgbClr val="FFFFFF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</p:pic>
      <p:sp>
        <p:nvSpPr>
          <p:cNvPr id="1095" name="Title 1">
            <a:extLst>
              <a:ext uri="{FF2B5EF4-FFF2-40B4-BE49-F238E27FC236}">
                <a16:creationId xmlns:a16="http://schemas.microsoft.com/office/drawing/2014/main" id="{79D766E6-588C-30F8-0F1C-AC215B92380D}"/>
              </a:ext>
            </a:extLst>
          </p:cNvPr>
          <p:cNvSpPr txBox="1">
            <a:spLocks/>
          </p:cNvSpPr>
          <p:nvPr/>
        </p:nvSpPr>
        <p:spPr>
          <a:xfrm>
            <a:off x="1858825" y="3197972"/>
            <a:ext cx="984244" cy="15388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000" b="0" spc="0">
                <a:solidFill>
                  <a:schemeClr val="tx2"/>
                </a:solidFill>
              </a:rPr>
              <a:t>Bancos Digitales</a:t>
            </a:r>
          </a:p>
        </p:txBody>
      </p:sp>
      <p:sp>
        <p:nvSpPr>
          <p:cNvPr id="1110" name="CuadroTexto 1109">
            <a:extLst>
              <a:ext uri="{FF2B5EF4-FFF2-40B4-BE49-F238E27FC236}">
                <a16:creationId xmlns:a16="http://schemas.microsoft.com/office/drawing/2014/main" id="{87DB23B3-0C44-DACF-8FE4-EFBC9F3BCBEF}"/>
              </a:ext>
            </a:extLst>
          </p:cNvPr>
          <p:cNvSpPr txBox="1"/>
          <p:nvPr/>
        </p:nvSpPr>
        <p:spPr>
          <a:xfrm>
            <a:off x="1858825" y="3387431"/>
            <a:ext cx="84578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s-MX" sz="8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Roboto" panose="02000000000000000000" pitchFamily="2" charset="0"/>
              </a:rPr>
              <a:t>Licencias Fintech o de crédito</a:t>
            </a:r>
          </a:p>
        </p:txBody>
      </p:sp>
      <p:pic>
        <p:nvPicPr>
          <p:cNvPr id="1135" name="Imagen 1134" descr="Un dibujo animado con letras&#10;&#10;El contenido generado por IA puede ser incorrecto.">
            <a:extLst>
              <a:ext uri="{FF2B5EF4-FFF2-40B4-BE49-F238E27FC236}">
                <a16:creationId xmlns:a16="http://schemas.microsoft.com/office/drawing/2014/main" id="{53CAFB48-6AF0-1857-54DE-6217C614F583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3447" y="3214121"/>
            <a:ext cx="255600" cy="255600"/>
          </a:xfrm>
          <a:prstGeom prst="roundRect">
            <a:avLst/>
          </a:prstGeom>
          <a:solidFill>
            <a:srgbClr val="FFFFFF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</p:pic>
      <p:sp>
        <p:nvSpPr>
          <p:cNvPr id="1131" name="Title 1">
            <a:extLst>
              <a:ext uri="{FF2B5EF4-FFF2-40B4-BE49-F238E27FC236}">
                <a16:creationId xmlns:a16="http://schemas.microsoft.com/office/drawing/2014/main" id="{079BDD21-7756-D6C8-8692-BD6DE11CCBEA}"/>
              </a:ext>
            </a:extLst>
          </p:cNvPr>
          <p:cNvSpPr txBox="1">
            <a:spLocks/>
          </p:cNvSpPr>
          <p:nvPr/>
        </p:nvSpPr>
        <p:spPr>
          <a:xfrm>
            <a:off x="4005174" y="1542751"/>
            <a:ext cx="694101" cy="15388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000" b="0" spc="0">
                <a:solidFill>
                  <a:schemeClr val="tx2"/>
                </a:solidFill>
              </a:rPr>
              <a:t>Super Apps</a:t>
            </a:r>
          </a:p>
        </p:txBody>
      </p:sp>
      <p:sp>
        <p:nvSpPr>
          <p:cNvPr id="1132" name="CuadroTexto 1131">
            <a:extLst>
              <a:ext uri="{FF2B5EF4-FFF2-40B4-BE49-F238E27FC236}">
                <a16:creationId xmlns:a16="http://schemas.microsoft.com/office/drawing/2014/main" id="{006B88F9-8BE3-E66A-1B7B-E0CAA645FEED}"/>
              </a:ext>
            </a:extLst>
          </p:cNvPr>
          <p:cNvSpPr txBox="1"/>
          <p:nvPr/>
        </p:nvSpPr>
        <p:spPr>
          <a:xfrm>
            <a:off x="4005175" y="1739036"/>
            <a:ext cx="1065309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s-MX" sz="8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Roboto" panose="02000000000000000000" pitchFamily="2" charset="0"/>
              </a:rPr>
              <a:t>Ecosistema integrado. Finanzas embebidas en consumo Teco </a:t>
            </a:r>
          </a:p>
        </p:txBody>
      </p:sp>
      <p:pic>
        <p:nvPicPr>
          <p:cNvPr id="1139" name="Imagen 1138" descr="Interfaz de usuario gráfica&#10;&#10;El contenido generado por IA puede ser incorrecto.">
            <a:extLst>
              <a:ext uri="{FF2B5EF4-FFF2-40B4-BE49-F238E27FC236}">
                <a16:creationId xmlns:a16="http://schemas.microsoft.com/office/drawing/2014/main" id="{E61B0535-24C3-3728-4AB6-A38244628D4F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0536" y="1556335"/>
            <a:ext cx="255600" cy="255600"/>
          </a:xfrm>
          <a:prstGeom prst="roundRect">
            <a:avLst/>
          </a:prstGeom>
          <a:solidFill>
            <a:srgbClr val="FFFFFF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</p:pic>
      <p:grpSp>
        <p:nvGrpSpPr>
          <p:cNvPr id="1142" name="Grupo 1141">
            <a:extLst>
              <a:ext uri="{FF2B5EF4-FFF2-40B4-BE49-F238E27FC236}">
                <a16:creationId xmlns:a16="http://schemas.microsoft.com/office/drawing/2014/main" id="{AF005FF3-8143-CC07-CD17-BE5DEE40A2B4}"/>
              </a:ext>
            </a:extLst>
          </p:cNvPr>
          <p:cNvGrpSpPr/>
          <p:nvPr/>
        </p:nvGrpSpPr>
        <p:grpSpPr>
          <a:xfrm>
            <a:off x="5250536" y="1890482"/>
            <a:ext cx="255600" cy="255600"/>
            <a:chOff x="2137732" y="4190077"/>
            <a:chExt cx="255600" cy="255600"/>
          </a:xfrm>
        </p:grpSpPr>
        <p:sp>
          <p:nvSpPr>
            <p:cNvPr id="1140" name="Rectángulo redondeado 1139">
              <a:extLst>
                <a:ext uri="{FF2B5EF4-FFF2-40B4-BE49-F238E27FC236}">
                  <a16:creationId xmlns:a16="http://schemas.microsoft.com/office/drawing/2014/main" id="{941290D7-5EDA-5EFB-8636-3D558C714124}"/>
                </a:ext>
              </a:extLst>
            </p:cNvPr>
            <p:cNvSpPr/>
            <p:nvPr/>
          </p:nvSpPr>
          <p:spPr>
            <a:xfrm>
              <a:off x="2137732" y="4190077"/>
              <a:ext cx="255600" cy="255600"/>
            </a:xfrm>
            <a:prstGeom prst="roundRect">
              <a:avLst>
                <a:gd name="adj" fmla="val 15425"/>
              </a:avLst>
            </a:prstGeom>
            <a:solidFill>
              <a:srgbClr val="FFFFFF"/>
            </a:solidFill>
            <a:ln>
              <a:noFill/>
            </a:ln>
            <a:effectLst>
              <a:outerShdw blurRad="38100" dist="12700" dir="5400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AR" sz="1400" b="1">
                <a:solidFill>
                  <a:schemeClr val="tx1"/>
                </a:solidFill>
              </a:endParaRPr>
            </a:p>
          </p:txBody>
        </p:sp>
        <p:pic>
          <p:nvPicPr>
            <p:cNvPr id="1141" name="Picture 4">
              <a:extLst>
                <a:ext uri="{FF2B5EF4-FFF2-40B4-BE49-F238E27FC236}">
                  <a16:creationId xmlns:a16="http://schemas.microsoft.com/office/drawing/2014/main" id="{FDD93D2F-CEE5-FEEC-D66D-26A80190F3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174898" y="4270129"/>
              <a:ext cx="173138" cy="954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31" name="Grupo 1030">
            <a:extLst>
              <a:ext uri="{FF2B5EF4-FFF2-40B4-BE49-F238E27FC236}">
                <a16:creationId xmlns:a16="http://schemas.microsoft.com/office/drawing/2014/main" id="{AE46345F-D1DC-7A28-81C9-73B535A78ECC}"/>
              </a:ext>
            </a:extLst>
          </p:cNvPr>
          <p:cNvGrpSpPr/>
          <p:nvPr/>
        </p:nvGrpSpPr>
        <p:grpSpPr>
          <a:xfrm>
            <a:off x="540657" y="1309724"/>
            <a:ext cx="5352143" cy="3235874"/>
            <a:chOff x="540657" y="1309724"/>
            <a:chExt cx="5352143" cy="3235874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grpSpPr>
        <p:cxnSp>
          <p:nvCxnSpPr>
            <p:cNvPr id="63" name="Conector recto 62">
              <a:extLst>
                <a:ext uri="{FF2B5EF4-FFF2-40B4-BE49-F238E27FC236}">
                  <a16:creationId xmlns:a16="http://schemas.microsoft.com/office/drawing/2014/main" id="{7757AA00-6172-C576-0C2A-21B9A7200F16}"/>
                </a:ext>
              </a:extLst>
            </p:cNvPr>
            <p:cNvCxnSpPr>
              <a:cxnSpLocks/>
            </p:cNvCxnSpPr>
            <p:nvPr/>
          </p:nvCxnSpPr>
          <p:spPr>
            <a:xfrm>
              <a:off x="540657" y="3792342"/>
              <a:ext cx="1073174" cy="0"/>
            </a:xfrm>
            <a:prstGeom prst="line">
              <a:avLst/>
            </a:prstGeom>
            <a:ln w="19050" cap="rnd">
              <a:solidFill>
                <a:schemeClr val="tx2">
                  <a:lumMod val="75000"/>
                  <a:lumOff val="2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4" name="Conector recto 1023">
              <a:extLst>
                <a:ext uri="{FF2B5EF4-FFF2-40B4-BE49-F238E27FC236}">
                  <a16:creationId xmlns:a16="http://schemas.microsoft.com/office/drawing/2014/main" id="{114B905A-5BC5-CF24-D9A8-DC6E41C5C150}"/>
                </a:ext>
              </a:extLst>
            </p:cNvPr>
            <p:cNvCxnSpPr>
              <a:cxnSpLocks/>
            </p:cNvCxnSpPr>
            <p:nvPr/>
          </p:nvCxnSpPr>
          <p:spPr>
            <a:xfrm>
              <a:off x="1613831" y="2964802"/>
              <a:ext cx="1073174" cy="0"/>
            </a:xfrm>
            <a:prstGeom prst="line">
              <a:avLst/>
            </a:prstGeom>
            <a:ln w="19050" cap="rnd">
              <a:solidFill>
                <a:schemeClr val="tx2">
                  <a:lumMod val="75000"/>
                  <a:lumOff val="2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5" name="Conector recto 1024">
              <a:extLst>
                <a:ext uri="{FF2B5EF4-FFF2-40B4-BE49-F238E27FC236}">
                  <a16:creationId xmlns:a16="http://schemas.microsoft.com/office/drawing/2014/main" id="{9C5B85A4-5388-1307-F804-99665BB29EA7}"/>
                </a:ext>
              </a:extLst>
            </p:cNvPr>
            <p:cNvCxnSpPr>
              <a:cxnSpLocks/>
            </p:cNvCxnSpPr>
            <p:nvPr/>
          </p:nvCxnSpPr>
          <p:spPr>
            <a:xfrm>
              <a:off x="2687006" y="2137263"/>
              <a:ext cx="1073174" cy="0"/>
            </a:xfrm>
            <a:prstGeom prst="line">
              <a:avLst/>
            </a:prstGeom>
            <a:ln w="19050" cap="rnd">
              <a:solidFill>
                <a:schemeClr val="tx2">
                  <a:lumMod val="75000"/>
                  <a:lumOff val="2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6" name="Conector recto 1025">
              <a:extLst>
                <a:ext uri="{FF2B5EF4-FFF2-40B4-BE49-F238E27FC236}">
                  <a16:creationId xmlns:a16="http://schemas.microsoft.com/office/drawing/2014/main" id="{B421A358-AF1A-D167-6EC7-A2E53B5BC60A}"/>
                </a:ext>
              </a:extLst>
            </p:cNvPr>
            <p:cNvCxnSpPr>
              <a:cxnSpLocks/>
            </p:cNvCxnSpPr>
            <p:nvPr/>
          </p:nvCxnSpPr>
          <p:spPr>
            <a:xfrm>
              <a:off x="3760180" y="1309724"/>
              <a:ext cx="2132620" cy="0"/>
            </a:xfrm>
            <a:prstGeom prst="line">
              <a:avLst/>
            </a:prstGeom>
            <a:ln w="19050" cap="rnd">
              <a:solidFill>
                <a:schemeClr val="tx2">
                  <a:lumMod val="75000"/>
                  <a:lumOff val="2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7" name="Conector recto 1026">
              <a:extLst>
                <a:ext uri="{FF2B5EF4-FFF2-40B4-BE49-F238E27FC236}">
                  <a16:creationId xmlns:a16="http://schemas.microsoft.com/office/drawing/2014/main" id="{DDD8A157-FB32-52B7-A134-BFD55D5B3C68}"/>
                </a:ext>
              </a:extLst>
            </p:cNvPr>
            <p:cNvCxnSpPr>
              <a:cxnSpLocks/>
            </p:cNvCxnSpPr>
            <p:nvPr/>
          </p:nvCxnSpPr>
          <p:spPr>
            <a:xfrm>
              <a:off x="3760180" y="1309724"/>
              <a:ext cx="0" cy="827539"/>
            </a:xfrm>
            <a:prstGeom prst="line">
              <a:avLst/>
            </a:prstGeom>
            <a:ln w="19050" cap="rnd">
              <a:solidFill>
                <a:schemeClr val="tx2">
                  <a:lumMod val="75000"/>
                  <a:lumOff val="2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8" name="Conector recto 1027">
              <a:extLst>
                <a:ext uri="{FF2B5EF4-FFF2-40B4-BE49-F238E27FC236}">
                  <a16:creationId xmlns:a16="http://schemas.microsoft.com/office/drawing/2014/main" id="{0017F5FF-32F8-0ADA-4971-7DBF0C5A7A22}"/>
                </a:ext>
              </a:extLst>
            </p:cNvPr>
            <p:cNvCxnSpPr>
              <a:cxnSpLocks/>
            </p:cNvCxnSpPr>
            <p:nvPr/>
          </p:nvCxnSpPr>
          <p:spPr>
            <a:xfrm>
              <a:off x="2687005" y="2137263"/>
              <a:ext cx="0" cy="827539"/>
            </a:xfrm>
            <a:prstGeom prst="line">
              <a:avLst/>
            </a:prstGeom>
            <a:ln w="19050" cap="rnd">
              <a:solidFill>
                <a:schemeClr val="tx2">
                  <a:lumMod val="75000"/>
                  <a:lumOff val="2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9" name="Conector recto 1028">
              <a:extLst>
                <a:ext uri="{FF2B5EF4-FFF2-40B4-BE49-F238E27FC236}">
                  <a16:creationId xmlns:a16="http://schemas.microsoft.com/office/drawing/2014/main" id="{490BEF04-953F-7F46-DCCF-348CF2C19620}"/>
                </a:ext>
              </a:extLst>
            </p:cNvPr>
            <p:cNvCxnSpPr>
              <a:cxnSpLocks/>
            </p:cNvCxnSpPr>
            <p:nvPr/>
          </p:nvCxnSpPr>
          <p:spPr>
            <a:xfrm>
              <a:off x="1613831" y="2964802"/>
              <a:ext cx="0" cy="827540"/>
            </a:xfrm>
            <a:prstGeom prst="line">
              <a:avLst/>
            </a:prstGeom>
            <a:ln w="19050" cap="rnd">
              <a:solidFill>
                <a:schemeClr val="tx2">
                  <a:lumMod val="75000"/>
                  <a:lumOff val="2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0" name="Conector recto 1029">
              <a:extLst>
                <a:ext uri="{FF2B5EF4-FFF2-40B4-BE49-F238E27FC236}">
                  <a16:creationId xmlns:a16="http://schemas.microsoft.com/office/drawing/2014/main" id="{E2632594-8F79-2E50-2D3E-FBE9243B4C6E}"/>
                </a:ext>
              </a:extLst>
            </p:cNvPr>
            <p:cNvCxnSpPr>
              <a:cxnSpLocks/>
            </p:cNvCxnSpPr>
            <p:nvPr/>
          </p:nvCxnSpPr>
          <p:spPr>
            <a:xfrm>
              <a:off x="540657" y="3792342"/>
              <a:ext cx="0" cy="753256"/>
            </a:xfrm>
            <a:prstGeom prst="line">
              <a:avLst/>
            </a:prstGeom>
            <a:ln w="19050" cap="rnd">
              <a:solidFill>
                <a:schemeClr val="tx2">
                  <a:lumMod val="75000"/>
                  <a:lumOff val="2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33" name="Conector recto de flecha 1032">
            <a:extLst>
              <a:ext uri="{FF2B5EF4-FFF2-40B4-BE49-F238E27FC236}">
                <a16:creationId xmlns:a16="http://schemas.microsoft.com/office/drawing/2014/main" id="{CCCF161C-9EFD-97EA-CCE0-27713B9CF012}"/>
              </a:ext>
            </a:extLst>
          </p:cNvPr>
          <p:cNvCxnSpPr/>
          <p:nvPr/>
        </p:nvCxnSpPr>
        <p:spPr>
          <a:xfrm flipH="1">
            <a:off x="2709495" y="2062980"/>
            <a:ext cx="3219523" cy="2482618"/>
          </a:xfrm>
          <a:prstGeom prst="straightConnector1">
            <a:avLst/>
          </a:prstGeom>
          <a:ln w="15875" cap="rnd">
            <a:solidFill>
              <a:schemeClr val="accent1"/>
            </a:solidFill>
            <a:prstDash val="dash"/>
            <a:round/>
            <a:headEnd type="triangle" w="lg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4" name="Title 1">
            <a:extLst>
              <a:ext uri="{FF2B5EF4-FFF2-40B4-BE49-F238E27FC236}">
                <a16:creationId xmlns:a16="http://schemas.microsoft.com/office/drawing/2014/main" id="{4500469A-DAD6-1A84-3EF6-30EB6C4A037A}"/>
              </a:ext>
            </a:extLst>
          </p:cNvPr>
          <p:cNvSpPr txBox="1">
            <a:spLocks/>
          </p:cNvSpPr>
          <p:nvPr/>
        </p:nvSpPr>
        <p:spPr>
          <a:xfrm rot="19310584">
            <a:off x="3765684" y="3392777"/>
            <a:ext cx="1240724" cy="15388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000" b="0" spc="0">
                <a:solidFill>
                  <a:schemeClr val="accent1"/>
                </a:solidFill>
              </a:rPr>
              <a:t>CAMINO DEL VALOR</a:t>
            </a:r>
          </a:p>
        </p:txBody>
      </p:sp>
    </p:spTree>
    <p:extLst>
      <p:ext uri="{BB962C8B-B14F-4D97-AF65-F5344CB8AC3E}">
        <p14:creationId xmlns:p14="http://schemas.microsoft.com/office/powerpoint/2010/main" val="568594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C63EC0-0518-359C-0FBA-FE07DF211D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6706558B-44FA-A70D-9B39-98E8B10E6EF9}"/>
              </a:ext>
            </a:extLst>
          </p:cNvPr>
          <p:cNvSpPr/>
          <p:nvPr/>
        </p:nvSpPr>
        <p:spPr>
          <a:xfrm flipV="1">
            <a:off x="1" y="3165633"/>
            <a:ext cx="9144000" cy="1977867"/>
          </a:xfrm>
          <a:prstGeom prst="rect">
            <a:avLst/>
          </a:prstGeom>
          <a:gradFill>
            <a:gsLst>
              <a:gs pos="60000">
                <a:schemeClr val="bg2">
                  <a:alpha val="0"/>
                </a:schemeClr>
              </a:gs>
              <a:gs pos="0">
                <a:schemeClr val="bg2">
                  <a:alpha val="24648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AR"/>
          </a:p>
        </p:txBody>
      </p:sp>
      <p:sp>
        <p:nvSpPr>
          <p:cNvPr id="39" name="Rectángulo redondeado 38">
            <a:extLst>
              <a:ext uri="{FF2B5EF4-FFF2-40B4-BE49-F238E27FC236}">
                <a16:creationId xmlns:a16="http://schemas.microsoft.com/office/drawing/2014/main" id="{FBDD4D99-12CA-8F80-710A-0E5044A771AC}"/>
              </a:ext>
            </a:extLst>
          </p:cNvPr>
          <p:cNvSpPr/>
          <p:nvPr/>
        </p:nvSpPr>
        <p:spPr>
          <a:xfrm>
            <a:off x="5913266" y="1434173"/>
            <a:ext cx="2274478" cy="3354804"/>
          </a:xfrm>
          <a:prstGeom prst="roundRect">
            <a:avLst>
              <a:gd name="adj" fmla="val 6503"/>
            </a:avLst>
          </a:prstGeom>
          <a:solidFill>
            <a:schemeClr val="bg1"/>
          </a:solidFill>
          <a:ln w="12700">
            <a:solidFill>
              <a:srgbClr val="FFFFFF"/>
            </a:solidFill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40" name="Rectángulo redondeado 39">
            <a:extLst>
              <a:ext uri="{FF2B5EF4-FFF2-40B4-BE49-F238E27FC236}">
                <a16:creationId xmlns:a16="http://schemas.microsoft.com/office/drawing/2014/main" id="{760F62A1-A64E-A2C2-46DE-DA197DB42AC2}"/>
              </a:ext>
            </a:extLst>
          </p:cNvPr>
          <p:cNvSpPr/>
          <p:nvPr/>
        </p:nvSpPr>
        <p:spPr>
          <a:xfrm>
            <a:off x="5913266" y="1434173"/>
            <a:ext cx="2274478" cy="3354804"/>
          </a:xfrm>
          <a:prstGeom prst="roundRect">
            <a:avLst>
              <a:gd name="adj" fmla="val 6503"/>
            </a:avLst>
          </a:prstGeom>
          <a:gradFill>
            <a:gsLst>
              <a:gs pos="49000">
                <a:srgbClr val="FFFFFF"/>
              </a:gs>
              <a:gs pos="0">
                <a:schemeClr val="bg2">
                  <a:alpha val="27000"/>
                </a:scheme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41" name="Imagen 40">
            <a:extLst>
              <a:ext uri="{FF2B5EF4-FFF2-40B4-BE49-F238E27FC236}">
                <a16:creationId xmlns:a16="http://schemas.microsoft.com/office/drawing/2014/main" id="{6E2AB9AE-1F4D-B800-5B1B-CC4371AA50C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12358" y="1549091"/>
            <a:ext cx="2076295" cy="2076295"/>
          </a:xfrm>
          <a:prstGeom prst="roundRect">
            <a:avLst>
              <a:gd name="adj" fmla="val 3601"/>
            </a:avLst>
          </a:prstGeom>
        </p:spPr>
      </p:pic>
      <p:sp>
        <p:nvSpPr>
          <p:cNvPr id="23" name="Rectángulo redondeado 22">
            <a:extLst>
              <a:ext uri="{FF2B5EF4-FFF2-40B4-BE49-F238E27FC236}">
                <a16:creationId xmlns:a16="http://schemas.microsoft.com/office/drawing/2014/main" id="{E202F7A8-46A0-CEDC-5E06-41FA93EBF6BA}"/>
              </a:ext>
            </a:extLst>
          </p:cNvPr>
          <p:cNvSpPr/>
          <p:nvPr/>
        </p:nvSpPr>
        <p:spPr>
          <a:xfrm>
            <a:off x="3434761" y="1434173"/>
            <a:ext cx="2274478" cy="3354804"/>
          </a:xfrm>
          <a:prstGeom prst="roundRect">
            <a:avLst>
              <a:gd name="adj" fmla="val 6503"/>
            </a:avLst>
          </a:prstGeom>
          <a:solidFill>
            <a:schemeClr val="bg1"/>
          </a:solidFill>
          <a:ln w="12700">
            <a:solidFill>
              <a:srgbClr val="FFFFFF"/>
            </a:solidFill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24" name="Rectángulo redondeado 23">
            <a:extLst>
              <a:ext uri="{FF2B5EF4-FFF2-40B4-BE49-F238E27FC236}">
                <a16:creationId xmlns:a16="http://schemas.microsoft.com/office/drawing/2014/main" id="{B8AB3A7B-FC48-0224-F03F-F75E4FA154FD}"/>
              </a:ext>
            </a:extLst>
          </p:cNvPr>
          <p:cNvSpPr/>
          <p:nvPr/>
        </p:nvSpPr>
        <p:spPr>
          <a:xfrm>
            <a:off x="3434761" y="1434173"/>
            <a:ext cx="2274478" cy="3354804"/>
          </a:xfrm>
          <a:prstGeom prst="roundRect">
            <a:avLst>
              <a:gd name="adj" fmla="val 6503"/>
            </a:avLst>
          </a:prstGeom>
          <a:gradFill>
            <a:gsLst>
              <a:gs pos="49000">
                <a:srgbClr val="FFFFFF"/>
              </a:gs>
              <a:gs pos="0">
                <a:schemeClr val="bg2">
                  <a:alpha val="27000"/>
                </a:scheme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DAE59DB2-ABAC-1015-6EF3-E7884E8B4B2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33853" y="1549091"/>
            <a:ext cx="2076295" cy="2076295"/>
          </a:xfrm>
          <a:prstGeom prst="roundRect">
            <a:avLst>
              <a:gd name="adj" fmla="val 3601"/>
            </a:avLst>
          </a:prstGeom>
        </p:spPr>
      </p:pic>
      <p:sp>
        <p:nvSpPr>
          <p:cNvPr id="52" name="Rectángulo 51">
            <a:extLst>
              <a:ext uri="{FF2B5EF4-FFF2-40B4-BE49-F238E27FC236}">
                <a16:creationId xmlns:a16="http://schemas.microsoft.com/office/drawing/2014/main" id="{0D07D6E3-9A4C-361C-00CF-67F5B83CD54D}"/>
              </a:ext>
            </a:extLst>
          </p:cNvPr>
          <p:cNvSpPr/>
          <p:nvPr/>
        </p:nvSpPr>
        <p:spPr>
          <a:xfrm>
            <a:off x="2859993" y="889597"/>
            <a:ext cx="3424014" cy="3139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2400" spc="-7" noProof="0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Estrategia  </a:t>
            </a:r>
            <a:r>
              <a:rPr lang="es-ES_tradnl" sz="2400" b="1" spc="-7" noProof="0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2026 · 2030</a:t>
            </a:r>
            <a:endParaRPr lang="es-ES_tradnl" sz="2400" b="1" spc="-7" noProof="0">
              <a:solidFill>
                <a:srgbClr val="FFFFFF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grpSp>
        <p:nvGrpSpPr>
          <p:cNvPr id="30" name="Gráfico 3">
            <a:extLst>
              <a:ext uri="{FF2B5EF4-FFF2-40B4-BE49-F238E27FC236}">
                <a16:creationId xmlns:a16="http://schemas.microsoft.com/office/drawing/2014/main" id="{C62D2AD5-4BAE-95E6-BF42-F522F7524EB2}"/>
              </a:ext>
            </a:extLst>
          </p:cNvPr>
          <p:cNvGrpSpPr/>
          <p:nvPr/>
        </p:nvGrpSpPr>
        <p:grpSpPr>
          <a:xfrm>
            <a:off x="4100452" y="351882"/>
            <a:ext cx="943095" cy="2163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31" name="Forma libre 30">
              <a:extLst>
                <a:ext uri="{FF2B5EF4-FFF2-40B4-BE49-F238E27FC236}">
                  <a16:creationId xmlns:a16="http://schemas.microsoft.com/office/drawing/2014/main" id="{0D11288A-D841-8D10-7850-F86E1A9336AA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noProof="0">
                <a:solidFill>
                  <a:schemeClr val="bg2"/>
                </a:solidFill>
                <a:latin typeface="Pulso" pitchFamily="2" charset="0"/>
              </a:endParaRPr>
            </a:p>
          </p:txBody>
        </p:sp>
        <p:sp>
          <p:nvSpPr>
            <p:cNvPr id="32" name="Forma libre 31">
              <a:extLst>
                <a:ext uri="{FF2B5EF4-FFF2-40B4-BE49-F238E27FC236}">
                  <a16:creationId xmlns:a16="http://schemas.microsoft.com/office/drawing/2014/main" id="{0BB7759C-4DB1-57CD-3DA9-3676CD1593CC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noProof="0">
                <a:solidFill>
                  <a:schemeClr val="bg2"/>
                </a:solidFill>
                <a:latin typeface="Pulso" pitchFamily="2" charset="0"/>
              </a:endParaRPr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05176641-F0B6-D66D-6220-B7CB3F00FB4B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noProof="0">
                <a:solidFill>
                  <a:schemeClr val="bg2"/>
                </a:solidFill>
                <a:latin typeface="Pulso" pitchFamily="2" charset="0"/>
              </a:endParaRPr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A66E98B0-EE8C-CB4D-FFF2-6D929E9BAE68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noProof="0">
                <a:solidFill>
                  <a:schemeClr val="bg2"/>
                </a:solidFill>
                <a:latin typeface="Pulso" pitchFamily="2" charset="0"/>
              </a:endParaRPr>
            </a:p>
          </p:txBody>
        </p:sp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496672AE-8DA9-4398-D19A-7EEB87CB3A99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noProof="0">
                <a:solidFill>
                  <a:schemeClr val="bg2"/>
                </a:solidFill>
                <a:latin typeface="Pulso" pitchFamily="2" charset="0"/>
              </a:endParaRPr>
            </a:p>
          </p:txBody>
        </p:sp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F7A9578C-3322-B171-018A-C68B315432A1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noProof="0">
                <a:solidFill>
                  <a:schemeClr val="bg2"/>
                </a:solidFill>
                <a:latin typeface="Pulso" pitchFamily="2" charset="0"/>
              </a:endParaRPr>
            </a:p>
          </p:txBody>
        </p:sp>
        <p:sp>
          <p:nvSpPr>
            <p:cNvPr id="37" name="Forma libre 36">
              <a:extLst>
                <a:ext uri="{FF2B5EF4-FFF2-40B4-BE49-F238E27FC236}">
                  <a16:creationId xmlns:a16="http://schemas.microsoft.com/office/drawing/2014/main" id="{CE3DEDBB-2383-4C90-A8ED-DFBC9B541C7C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noProof="0">
                <a:solidFill>
                  <a:schemeClr val="bg2"/>
                </a:solidFill>
                <a:latin typeface="Pulso" pitchFamily="2" charset="0"/>
              </a:endParaRPr>
            </a:p>
          </p:txBody>
        </p:sp>
        <p:sp>
          <p:nvSpPr>
            <p:cNvPr id="38" name="Forma libre 37">
              <a:extLst>
                <a:ext uri="{FF2B5EF4-FFF2-40B4-BE49-F238E27FC236}">
                  <a16:creationId xmlns:a16="http://schemas.microsoft.com/office/drawing/2014/main" id="{F1EEFE23-6939-AB44-317B-76D42AB65682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noProof="0">
                <a:solidFill>
                  <a:schemeClr val="bg2"/>
                </a:solidFill>
                <a:latin typeface="Pulso" pitchFamily="2" charset="0"/>
              </a:endParaRPr>
            </a:p>
          </p:txBody>
        </p:sp>
      </p:grp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6A39F1D5-C1A3-4A64-BA5F-78712F99B273}"/>
              </a:ext>
            </a:extLst>
          </p:cNvPr>
          <p:cNvSpPr/>
          <p:nvPr/>
        </p:nvSpPr>
        <p:spPr>
          <a:xfrm>
            <a:off x="956256" y="1434173"/>
            <a:ext cx="2274478" cy="3354804"/>
          </a:xfrm>
          <a:prstGeom prst="roundRect">
            <a:avLst>
              <a:gd name="adj" fmla="val 6503"/>
            </a:avLst>
          </a:prstGeom>
          <a:solidFill>
            <a:schemeClr val="bg1"/>
          </a:solidFill>
          <a:ln w="12700">
            <a:solidFill>
              <a:srgbClr val="FFFFFF"/>
            </a:solidFill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5" name="Rectángulo redondeado 4">
            <a:extLst>
              <a:ext uri="{FF2B5EF4-FFF2-40B4-BE49-F238E27FC236}">
                <a16:creationId xmlns:a16="http://schemas.microsoft.com/office/drawing/2014/main" id="{7BFE640E-095E-C0EC-1288-294E6E0187F9}"/>
              </a:ext>
            </a:extLst>
          </p:cNvPr>
          <p:cNvSpPr/>
          <p:nvPr/>
        </p:nvSpPr>
        <p:spPr>
          <a:xfrm>
            <a:off x="956256" y="1434173"/>
            <a:ext cx="2274478" cy="3354804"/>
          </a:xfrm>
          <a:prstGeom prst="roundRect">
            <a:avLst>
              <a:gd name="adj" fmla="val 6503"/>
            </a:avLst>
          </a:prstGeom>
          <a:gradFill>
            <a:gsLst>
              <a:gs pos="49000">
                <a:srgbClr val="FFFFFF"/>
              </a:gs>
              <a:gs pos="0">
                <a:schemeClr val="bg2">
                  <a:alpha val="27000"/>
                </a:scheme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28EC4DCE-052F-BCB8-4DD0-21F2F47DA22E}"/>
              </a:ext>
            </a:extLst>
          </p:cNvPr>
          <p:cNvSpPr/>
          <p:nvPr/>
        </p:nvSpPr>
        <p:spPr>
          <a:xfrm>
            <a:off x="3533853" y="3824816"/>
            <a:ext cx="2076295" cy="4712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s-ES_tradnl" sz="180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Visión y</a:t>
            </a:r>
            <a:br>
              <a:rPr lang="es-ES_tradnl" sz="180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</a:br>
            <a:r>
              <a:rPr lang="es-ES_tradnl" sz="1800" spc="-7">
                <a:solidFill>
                  <a:schemeClr val="bg2"/>
                </a:solidFill>
                <a:latin typeface="Pulso Light" pitchFamily="2" charset="0"/>
              </a:rPr>
              <a:t>Propósito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6D84AF9-7EFD-8084-702C-9172F49F4CC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5348" y="1549091"/>
            <a:ext cx="2076295" cy="2076295"/>
          </a:xfrm>
          <a:prstGeom prst="roundRect">
            <a:avLst>
              <a:gd name="adj" fmla="val 3601"/>
            </a:avLst>
          </a:prstGeom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0A174785-93B5-03E1-25A8-6ACED884F932}"/>
              </a:ext>
            </a:extLst>
          </p:cNvPr>
          <p:cNvSpPr/>
          <p:nvPr/>
        </p:nvSpPr>
        <p:spPr>
          <a:xfrm>
            <a:off x="1055347" y="3824816"/>
            <a:ext cx="2076295" cy="4712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s-ES_tradnl" sz="180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Contexto de </a:t>
            </a:r>
            <a:r>
              <a:rPr lang="es-ES_tradnl" sz="1800" spc="-7" noProof="0">
                <a:solidFill>
                  <a:schemeClr val="bg2"/>
                </a:solidFill>
                <a:latin typeface="Pulso Light" pitchFamily="2" charset="0"/>
                <a:ea typeface="Inter Light BETA" panose="020B0402030000000004" pitchFamily="34" charset="0"/>
              </a:rPr>
              <a:t>Negocio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CC447011-FE77-96F7-A141-5B8776CC0F50}"/>
              </a:ext>
            </a:extLst>
          </p:cNvPr>
          <p:cNvSpPr/>
          <p:nvPr/>
        </p:nvSpPr>
        <p:spPr>
          <a:xfrm>
            <a:off x="1091853" y="4489591"/>
            <a:ext cx="2003284" cy="1177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5000"/>
              </a:lnSpc>
              <a:spcAft>
                <a:spcPts val="1000"/>
              </a:spcAft>
            </a:pPr>
            <a:r>
              <a:rPr lang="es-ES_tradnl" sz="900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INTERNACIONAL </a:t>
            </a:r>
            <a:r>
              <a:rPr lang="es-ES_tradnl" sz="900" b="1" noProof="0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 ·  </a:t>
            </a:r>
            <a:r>
              <a:rPr lang="es-ES_tradnl" sz="900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LOCAL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B86C698B-08BD-DEDA-56F4-AC996347E0F2}"/>
              </a:ext>
            </a:extLst>
          </p:cNvPr>
          <p:cNvSpPr/>
          <p:nvPr/>
        </p:nvSpPr>
        <p:spPr>
          <a:xfrm>
            <a:off x="6012357" y="3824816"/>
            <a:ext cx="2076295" cy="7067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s-ES_tradnl" sz="180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Desafíos</a:t>
            </a:r>
            <a:br>
              <a:rPr lang="es-ES_tradnl" sz="180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</a:br>
            <a:r>
              <a:rPr lang="es-ES_tradnl" sz="1800" spc="-7">
                <a:solidFill>
                  <a:schemeClr val="bg2"/>
                </a:solidFill>
                <a:latin typeface="Pulso Light" pitchFamily="2" charset="0"/>
              </a:rPr>
              <a:t>Estratégicos</a:t>
            </a:r>
            <a:br>
              <a:rPr lang="es-ES_tradnl" sz="1800" spc="-7">
                <a:solidFill>
                  <a:schemeClr val="bg2"/>
                </a:solidFill>
                <a:latin typeface="Pulso Light" pitchFamily="2" charset="0"/>
              </a:rPr>
            </a:br>
            <a:r>
              <a:rPr lang="es-ES_tradnl" sz="1800" spc="-7">
                <a:solidFill>
                  <a:schemeClr val="bg2"/>
                </a:solidFill>
                <a:latin typeface="Pulso Light" pitchFamily="2" charset="0"/>
              </a:rPr>
              <a:t>Planteados</a:t>
            </a:r>
          </a:p>
        </p:txBody>
      </p: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3E4ABBD3-3C86-3A34-7E65-2C6AD6440E69}"/>
              </a:ext>
            </a:extLst>
          </p:cNvPr>
          <p:cNvCxnSpPr>
            <a:cxnSpLocks/>
          </p:cNvCxnSpPr>
          <p:nvPr/>
        </p:nvCxnSpPr>
        <p:spPr>
          <a:xfrm>
            <a:off x="1292782" y="4378788"/>
            <a:ext cx="1584120" cy="0"/>
          </a:xfrm>
          <a:prstGeom prst="line">
            <a:avLst/>
          </a:prstGeom>
          <a:ln>
            <a:solidFill>
              <a:schemeClr val="tx2">
                <a:alpha val="49589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3552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818938-EA5B-F67A-568C-D6B890EDB0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02" name="Redondear rectángulo de esquina del mismo lado 53">
            <a:extLst>
              <a:ext uri="{FF2B5EF4-FFF2-40B4-BE49-F238E27FC236}">
                <a16:creationId xmlns:a16="http://schemas.microsoft.com/office/drawing/2014/main" id="{2F48881E-3537-D8D1-92D6-26EEEB20FD88}"/>
              </a:ext>
            </a:extLst>
          </p:cNvPr>
          <p:cNvSpPr/>
          <p:nvPr/>
        </p:nvSpPr>
        <p:spPr>
          <a:xfrm>
            <a:off x="380366" y="1783373"/>
            <a:ext cx="8495620" cy="335436"/>
          </a:xfrm>
          <a:prstGeom prst="roundRect">
            <a:avLst>
              <a:gd name="adj" fmla="val 50000"/>
            </a:avLst>
          </a:prstGeom>
          <a:solidFill>
            <a:schemeClr val="bg1">
              <a:lumMod val="10000"/>
            </a:schemeClr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563"/>
              </a:spcBef>
            </a:pPr>
            <a:endParaRPr lang="es-AR" sz="825" b="1">
              <a:solidFill>
                <a:schemeClr val="tx1"/>
              </a:solidFill>
            </a:endParaRPr>
          </a:p>
        </p:txBody>
      </p:sp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84979167-C772-8F43-C488-D94E7935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9" progId="TCLayout.ActiveDocument.1">
                  <p:embed/>
                </p:oleObj>
              </mc:Choice>
              <mc:Fallback>
                <p:oleObj name="Diapositiva de think-cell" r:id="rId4" imgW="378" imgH="379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979167-C772-8F43-C488-D94E7935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E827AEAA-F843-5195-71EB-6EDD2A03AD9D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4373954" cy="769441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>
                <a:solidFill>
                  <a:schemeClr val="tx2"/>
                </a:solidFill>
                <a:latin typeface="Pulso Light" pitchFamily="2" charset="0"/>
              </a:rPr>
              <a:t>Los OTT juegan en todo</a:t>
            </a:r>
            <a:br>
              <a:rPr lang="es-ES_tradnl" sz="2600" b="0" noProof="0">
                <a:solidFill>
                  <a:schemeClr val="tx2"/>
                </a:solidFill>
                <a:latin typeface="Pulso Light" pitchFamily="2" charset="0"/>
              </a:rPr>
            </a:b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el mercado de Entretenimiento</a:t>
            </a:r>
          </a:p>
        </p:txBody>
      </p:sp>
      <p:grpSp>
        <p:nvGrpSpPr>
          <p:cNvPr id="4" name="Gráfico 26">
            <a:extLst>
              <a:ext uri="{FF2B5EF4-FFF2-40B4-BE49-F238E27FC236}">
                <a16:creationId xmlns:a16="http://schemas.microsoft.com/office/drawing/2014/main" id="{B359B7FE-BF80-66CD-E592-DE9A66D7CF8B}"/>
              </a:ext>
            </a:extLst>
          </p:cNvPr>
          <p:cNvGrpSpPr/>
          <p:nvPr/>
        </p:nvGrpSpPr>
        <p:grpSpPr>
          <a:xfrm>
            <a:off x="626515" y="1863722"/>
            <a:ext cx="408390" cy="150882"/>
            <a:chOff x="1194757" y="1847886"/>
            <a:chExt cx="1158908" cy="428165"/>
          </a:xfrm>
          <a:solidFill>
            <a:srgbClr val="00DCAA"/>
          </a:solidFill>
        </p:grpSpPr>
        <p:sp>
          <p:nvSpPr>
            <p:cNvPr id="6" name="Forma libre 5">
              <a:extLst>
                <a:ext uri="{FF2B5EF4-FFF2-40B4-BE49-F238E27FC236}">
                  <a16:creationId xmlns:a16="http://schemas.microsoft.com/office/drawing/2014/main" id="{9B39F550-AB4D-5554-C24D-64D6E6E13A5E}"/>
                </a:ext>
              </a:extLst>
            </p:cNvPr>
            <p:cNvSpPr/>
            <p:nvPr/>
          </p:nvSpPr>
          <p:spPr>
            <a:xfrm>
              <a:off x="1540830" y="1952376"/>
              <a:ext cx="322807" cy="323675"/>
            </a:xfrm>
            <a:custGeom>
              <a:avLst/>
              <a:gdLst>
                <a:gd name="connsiteX0" fmla="*/ 161404 w 322807"/>
                <a:gd name="connsiteY0" fmla="*/ 0 h 323675"/>
                <a:gd name="connsiteX1" fmla="*/ 0 w 322807"/>
                <a:gd name="connsiteY1" fmla="*/ 161838 h 323675"/>
                <a:gd name="connsiteX2" fmla="*/ 161404 w 322807"/>
                <a:gd name="connsiteY2" fmla="*/ 323676 h 323675"/>
                <a:gd name="connsiteX3" fmla="*/ 322808 w 322807"/>
                <a:gd name="connsiteY3" fmla="*/ 161838 h 323675"/>
                <a:gd name="connsiteX4" fmla="*/ 161404 w 322807"/>
                <a:gd name="connsiteY4" fmla="*/ 0 h 323675"/>
                <a:gd name="connsiteX5" fmla="*/ 161404 w 322807"/>
                <a:gd name="connsiteY5" fmla="*/ 259524 h 323675"/>
                <a:gd name="connsiteX6" fmla="*/ 63980 w 322807"/>
                <a:gd name="connsiteY6" fmla="*/ 161838 h 323675"/>
                <a:gd name="connsiteX7" fmla="*/ 161404 w 322807"/>
                <a:gd name="connsiteY7" fmla="*/ 64152 h 323675"/>
                <a:gd name="connsiteX8" fmla="*/ 258828 w 322807"/>
                <a:gd name="connsiteY8" fmla="*/ 161838 h 323675"/>
                <a:gd name="connsiteX9" fmla="*/ 161404 w 322807"/>
                <a:gd name="connsiteY9" fmla="*/ 259524 h 323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2807" h="323675">
                  <a:moveTo>
                    <a:pt x="161404" y="0"/>
                  </a:moveTo>
                  <a:cubicBezTo>
                    <a:pt x="72220" y="0"/>
                    <a:pt x="0" y="72900"/>
                    <a:pt x="0" y="161838"/>
                  </a:cubicBezTo>
                  <a:cubicBezTo>
                    <a:pt x="0" y="251262"/>
                    <a:pt x="72704" y="323676"/>
                    <a:pt x="161404" y="323676"/>
                  </a:cubicBezTo>
                  <a:cubicBezTo>
                    <a:pt x="250588" y="323676"/>
                    <a:pt x="322808" y="250776"/>
                    <a:pt x="322808" y="161838"/>
                  </a:cubicBezTo>
                  <a:cubicBezTo>
                    <a:pt x="322808" y="72414"/>
                    <a:pt x="250103" y="0"/>
                    <a:pt x="161404" y="0"/>
                  </a:cubicBezTo>
                  <a:close/>
                  <a:moveTo>
                    <a:pt x="161404" y="259524"/>
                  </a:moveTo>
                  <a:cubicBezTo>
                    <a:pt x="107603" y="259524"/>
                    <a:pt x="63980" y="215784"/>
                    <a:pt x="63980" y="161838"/>
                  </a:cubicBezTo>
                  <a:cubicBezTo>
                    <a:pt x="63980" y="107892"/>
                    <a:pt x="107603" y="64152"/>
                    <a:pt x="161404" y="64152"/>
                  </a:cubicBezTo>
                  <a:cubicBezTo>
                    <a:pt x="215205" y="64152"/>
                    <a:pt x="258828" y="107892"/>
                    <a:pt x="258828" y="161838"/>
                  </a:cubicBezTo>
                  <a:cubicBezTo>
                    <a:pt x="258828" y="215784"/>
                    <a:pt x="215205" y="259524"/>
                    <a:pt x="161404" y="259524"/>
                  </a:cubicBezTo>
                  <a:close/>
                </a:path>
              </a:pathLst>
            </a:custGeom>
            <a:solidFill>
              <a:srgbClr val="00DCAA"/>
            </a:solidFill>
            <a:ln w="48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325A0CFA-962A-9F85-800F-48ACEFC04712}"/>
                </a:ext>
              </a:extLst>
            </p:cNvPr>
            <p:cNvSpPr/>
            <p:nvPr/>
          </p:nvSpPr>
          <p:spPr>
            <a:xfrm>
              <a:off x="1194757" y="1847886"/>
              <a:ext cx="182245" cy="420389"/>
            </a:xfrm>
            <a:custGeom>
              <a:avLst/>
              <a:gdLst>
                <a:gd name="connsiteX0" fmla="*/ 54771 w 182245"/>
                <a:gd name="connsiteY0" fmla="*/ 17496 h 420389"/>
                <a:gd name="connsiteX1" fmla="*/ 35867 w 182245"/>
                <a:gd name="connsiteY1" fmla="*/ 67554 h 420389"/>
                <a:gd name="connsiteX2" fmla="*/ 35867 w 182245"/>
                <a:gd name="connsiteY2" fmla="*/ 119556 h 420389"/>
                <a:gd name="connsiteX3" fmla="*/ 0 w 182245"/>
                <a:gd name="connsiteY3" fmla="*/ 119556 h 420389"/>
                <a:gd name="connsiteX4" fmla="*/ 0 w 182245"/>
                <a:gd name="connsiteY4" fmla="*/ 174474 h 420389"/>
                <a:gd name="connsiteX5" fmla="*/ 35867 w 182245"/>
                <a:gd name="connsiteY5" fmla="*/ 174474 h 420389"/>
                <a:gd name="connsiteX6" fmla="*/ 35867 w 182245"/>
                <a:gd name="connsiteY6" fmla="*/ 420390 h 420389"/>
                <a:gd name="connsiteX7" fmla="*/ 101786 w 182245"/>
                <a:gd name="connsiteY7" fmla="*/ 420390 h 420389"/>
                <a:gd name="connsiteX8" fmla="*/ 101786 w 182245"/>
                <a:gd name="connsiteY8" fmla="*/ 174474 h 420389"/>
                <a:gd name="connsiteX9" fmla="*/ 167705 w 182245"/>
                <a:gd name="connsiteY9" fmla="*/ 174474 h 420389"/>
                <a:gd name="connsiteX10" fmla="*/ 167705 w 182245"/>
                <a:gd name="connsiteY10" fmla="*/ 119556 h 420389"/>
                <a:gd name="connsiteX11" fmla="*/ 101301 w 182245"/>
                <a:gd name="connsiteY11" fmla="*/ 119556 h 420389"/>
                <a:gd name="connsiteX12" fmla="*/ 101301 w 182245"/>
                <a:gd name="connsiteY12" fmla="*/ 67554 h 420389"/>
                <a:gd name="connsiteX13" fmla="*/ 112934 w 182245"/>
                <a:gd name="connsiteY13" fmla="*/ 54432 h 420389"/>
                <a:gd name="connsiteX14" fmla="*/ 182246 w 182245"/>
                <a:gd name="connsiteY14" fmla="*/ 54432 h 420389"/>
                <a:gd name="connsiteX15" fmla="*/ 182246 w 182245"/>
                <a:gd name="connsiteY15" fmla="*/ 0 h 420389"/>
                <a:gd name="connsiteX16" fmla="*/ 105179 w 182245"/>
                <a:gd name="connsiteY16" fmla="*/ 0 h 420389"/>
                <a:gd name="connsiteX17" fmla="*/ 54771 w 182245"/>
                <a:gd name="connsiteY17" fmla="*/ 17496 h 42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2245" h="420389">
                  <a:moveTo>
                    <a:pt x="54771" y="17496"/>
                  </a:moveTo>
                  <a:cubicBezTo>
                    <a:pt x="42169" y="29160"/>
                    <a:pt x="35867" y="46656"/>
                    <a:pt x="35867" y="67554"/>
                  </a:cubicBezTo>
                  <a:lnTo>
                    <a:pt x="35867" y="119556"/>
                  </a:lnTo>
                  <a:lnTo>
                    <a:pt x="0" y="119556"/>
                  </a:lnTo>
                  <a:lnTo>
                    <a:pt x="0" y="174474"/>
                  </a:lnTo>
                  <a:lnTo>
                    <a:pt x="35867" y="174474"/>
                  </a:lnTo>
                  <a:lnTo>
                    <a:pt x="35867" y="420390"/>
                  </a:lnTo>
                  <a:lnTo>
                    <a:pt x="101786" y="420390"/>
                  </a:lnTo>
                  <a:lnTo>
                    <a:pt x="101786" y="174474"/>
                  </a:lnTo>
                  <a:lnTo>
                    <a:pt x="167705" y="174474"/>
                  </a:lnTo>
                  <a:lnTo>
                    <a:pt x="167705" y="119556"/>
                  </a:lnTo>
                  <a:lnTo>
                    <a:pt x="101301" y="119556"/>
                  </a:lnTo>
                  <a:lnTo>
                    <a:pt x="101301" y="67554"/>
                  </a:lnTo>
                  <a:cubicBezTo>
                    <a:pt x="101301" y="58320"/>
                    <a:pt x="105179" y="54432"/>
                    <a:pt x="112934" y="54432"/>
                  </a:cubicBezTo>
                  <a:lnTo>
                    <a:pt x="182246" y="54432"/>
                  </a:lnTo>
                  <a:lnTo>
                    <a:pt x="182246" y="0"/>
                  </a:lnTo>
                  <a:lnTo>
                    <a:pt x="105179" y="0"/>
                  </a:lnTo>
                  <a:cubicBezTo>
                    <a:pt x="84337" y="0"/>
                    <a:pt x="66888" y="5832"/>
                    <a:pt x="54771" y="17496"/>
                  </a:cubicBezTo>
                  <a:close/>
                </a:path>
              </a:pathLst>
            </a:custGeom>
            <a:solidFill>
              <a:srgbClr val="00DCAA"/>
            </a:solidFill>
            <a:ln w="48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63243F5F-1C5C-A228-8D6C-03776D112429}"/>
                </a:ext>
              </a:extLst>
            </p:cNvPr>
            <p:cNvSpPr/>
            <p:nvPr/>
          </p:nvSpPr>
          <p:spPr>
            <a:xfrm>
              <a:off x="1406084" y="1848372"/>
              <a:ext cx="118265" cy="420389"/>
            </a:xfrm>
            <a:custGeom>
              <a:avLst/>
              <a:gdLst>
                <a:gd name="connsiteX0" fmla="*/ 68342 w 118265"/>
                <a:gd name="connsiteY0" fmla="*/ 357696 h 420389"/>
                <a:gd name="connsiteX1" fmla="*/ 66403 w 118265"/>
                <a:gd name="connsiteY1" fmla="*/ 347490 h 420389"/>
                <a:gd name="connsiteX2" fmla="*/ 66403 w 118265"/>
                <a:gd name="connsiteY2" fmla="*/ 0 h 420389"/>
                <a:gd name="connsiteX3" fmla="*/ 0 w 118265"/>
                <a:gd name="connsiteY3" fmla="*/ 0 h 420389"/>
                <a:gd name="connsiteX4" fmla="*/ 0 w 118265"/>
                <a:gd name="connsiteY4" fmla="*/ 351378 h 420389"/>
                <a:gd name="connsiteX5" fmla="*/ 13571 w 118265"/>
                <a:gd name="connsiteY5" fmla="*/ 402894 h 420389"/>
                <a:gd name="connsiteX6" fmla="*/ 54286 w 118265"/>
                <a:gd name="connsiteY6" fmla="*/ 420390 h 420389"/>
                <a:gd name="connsiteX7" fmla="*/ 118266 w 118265"/>
                <a:gd name="connsiteY7" fmla="*/ 420390 h 420389"/>
                <a:gd name="connsiteX8" fmla="*/ 118266 w 118265"/>
                <a:gd name="connsiteY8" fmla="*/ 360126 h 420389"/>
                <a:gd name="connsiteX9" fmla="*/ 75128 w 118265"/>
                <a:gd name="connsiteY9" fmla="*/ 360126 h 420389"/>
                <a:gd name="connsiteX10" fmla="*/ 68342 w 118265"/>
                <a:gd name="connsiteY10" fmla="*/ 357696 h 42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265" h="420389">
                  <a:moveTo>
                    <a:pt x="68342" y="357696"/>
                  </a:moveTo>
                  <a:cubicBezTo>
                    <a:pt x="66888" y="356238"/>
                    <a:pt x="66403" y="352836"/>
                    <a:pt x="66403" y="347490"/>
                  </a:cubicBezTo>
                  <a:lnTo>
                    <a:pt x="66403" y="0"/>
                  </a:lnTo>
                  <a:lnTo>
                    <a:pt x="0" y="0"/>
                  </a:lnTo>
                  <a:lnTo>
                    <a:pt x="0" y="351378"/>
                  </a:lnTo>
                  <a:cubicBezTo>
                    <a:pt x="0" y="374220"/>
                    <a:pt x="4847" y="391230"/>
                    <a:pt x="13571" y="402894"/>
                  </a:cubicBezTo>
                  <a:cubicBezTo>
                    <a:pt x="22781" y="414558"/>
                    <a:pt x="36352" y="420390"/>
                    <a:pt x="54286" y="420390"/>
                  </a:cubicBezTo>
                  <a:lnTo>
                    <a:pt x="118266" y="420390"/>
                  </a:lnTo>
                  <a:lnTo>
                    <a:pt x="118266" y="360126"/>
                  </a:lnTo>
                  <a:lnTo>
                    <a:pt x="75128" y="360126"/>
                  </a:lnTo>
                  <a:cubicBezTo>
                    <a:pt x="70281" y="360126"/>
                    <a:pt x="68827" y="358668"/>
                    <a:pt x="68342" y="357696"/>
                  </a:cubicBezTo>
                  <a:close/>
                </a:path>
              </a:pathLst>
            </a:custGeom>
            <a:solidFill>
              <a:srgbClr val="00DCAA"/>
            </a:solidFill>
            <a:ln w="48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740F47B5-3DAE-44BB-BBC2-12B0F4C3E241}"/>
                </a:ext>
              </a:extLst>
            </p:cNvPr>
            <p:cNvSpPr/>
            <p:nvPr/>
          </p:nvSpPr>
          <p:spPr>
            <a:xfrm>
              <a:off x="1867515" y="1960638"/>
              <a:ext cx="486150" cy="307637"/>
            </a:xfrm>
            <a:custGeom>
              <a:avLst/>
              <a:gdLst>
                <a:gd name="connsiteX0" fmla="*/ 422170 w 486150"/>
                <a:gd name="connsiteY0" fmla="*/ 0 h 307637"/>
                <a:gd name="connsiteX1" fmla="*/ 354798 w 486150"/>
                <a:gd name="connsiteY1" fmla="*/ 252234 h 307637"/>
                <a:gd name="connsiteX2" fmla="*/ 353828 w 486150"/>
                <a:gd name="connsiteY2" fmla="*/ 252234 h 307637"/>
                <a:gd name="connsiteX3" fmla="*/ 280154 w 486150"/>
                <a:gd name="connsiteY3" fmla="*/ 1944 h 307637"/>
                <a:gd name="connsiteX4" fmla="*/ 279670 w 486150"/>
                <a:gd name="connsiteY4" fmla="*/ 0 h 307637"/>
                <a:gd name="connsiteX5" fmla="*/ 211812 w 486150"/>
                <a:gd name="connsiteY5" fmla="*/ 0 h 307637"/>
                <a:gd name="connsiteX6" fmla="*/ 141531 w 486150"/>
                <a:gd name="connsiteY6" fmla="*/ 252234 h 307637"/>
                <a:gd name="connsiteX7" fmla="*/ 140562 w 486150"/>
                <a:gd name="connsiteY7" fmla="*/ 252234 h 307637"/>
                <a:gd name="connsiteX8" fmla="*/ 70281 w 486150"/>
                <a:gd name="connsiteY8" fmla="*/ 0 h 307637"/>
                <a:gd name="connsiteX9" fmla="*/ 0 w 486150"/>
                <a:gd name="connsiteY9" fmla="*/ 0 h 307637"/>
                <a:gd name="connsiteX10" fmla="*/ 90153 w 486150"/>
                <a:gd name="connsiteY10" fmla="*/ 305694 h 307637"/>
                <a:gd name="connsiteX11" fmla="*/ 90638 w 486150"/>
                <a:gd name="connsiteY11" fmla="*/ 307638 h 307637"/>
                <a:gd name="connsiteX12" fmla="*/ 182246 w 486150"/>
                <a:gd name="connsiteY12" fmla="*/ 307638 h 307637"/>
                <a:gd name="connsiteX13" fmla="*/ 245256 w 486150"/>
                <a:gd name="connsiteY13" fmla="*/ 91368 h 307637"/>
                <a:gd name="connsiteX14" fmla="*/ 304874 w 486150"/>
                <a:gd name="connsiteY14" fmla="*/ 307638 h 307637"/>
                <a:gd name="connsiteX15" fmla="*/ 397451 w 486150"/>
                <a:gd name="connsiteY15" fmla="*/ 307638 h 307637"/>
                <a:gd name="connsiteX16" fmla="*/ 486150 w 486150"/>
                <a:gd name="connsiteY16" fmla="*/ 0 h 307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86150" h="307637">
                  <a:moveTo>
                    <a:pt x="422170" y="0"/>
                  </a:moveTo>
                  <a:lnTo>
                    <a:pt x="354798" y="252234"/>
                  </a:lnTo>
                  <a:lnTo>
                    <a:pt x="353828" y="252234"/>
                  </a:lnTo>
                  <a:lnTo>
                    <a:pt x="280154" y="1944"/>
                  </a:lnTo>
                  <a:lnTo>
                    <a:pt x="279670" y="0"/>
                  </a:lnTo>
                  <a:lnTo>
                    <a:pt x="211812" y="0"/>
                  </a:lnTo>
                  <a:lnTo>
                    <a:pt x="141531" y="252234"/>
                  </a:lnTo>
                  <a:lnTo>
                    <a:pt x="140562" y="252234"/>
                  </a:lnTo>
                  <a:lnTo>
                    <a:pt x="70281" y="0"/>
                  </a:lnTo>
                  <a:lnTo>
                    <a:pt x="0" y="0"/>
                  </a:lnTo>
                  <a:lnTo>
                    <a:pt x="90153" y="305694"/>
                  </a:lnTo>
                  <a:lnTo>
                    <a:pt x="90638" y="307638"/>
                  </a:lnTo>
                  <a:lnTo>
                    <a:pt x="182246" y="307638"/>
                  </a:lnTo>
                  <a:lnTo>
                    <a:pt x="245256" y="91368"/>
                  </a:lnTo>
                  <a:lnTo>
                    <a:pt x="304874" y="307638"/>
                  </a:lnTo>
                  <a:lnTo>
                    <a:pt x="397451" y="307638"/>
                  </a:lnTo>
                  <a:lnTo>
                    <a:pt x="486150" y="0"/>
                  </a:lnTo>
                  <a:close/>
                </a:path>
              </a:pathLst>
            </a:custGeom>
            <a:solidFill>
              <a:srgbClr val="00DCAA"/>
            </a:solidFill>
            <a:ln w="48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9958E52D-26FB-3480-7731-83FF3133EDDC}"/>
                </a:ext>
              </a:extLst>
            </p:cNvPr>
            <p:cNvSpPr/>
            <p:nvPr/>
          </p:nvSpPr>
          <p:spPr>
            <a:xfrm>
              <a:off x="1670728" y="2069745"/>
              <a:ext cx="79005" cy="89180"/>
            </a:xfrm>
            <a:custGeom>
              <a:avLst/>
              <a:gdLst>
                <a:gd name="connsiteX0" fmla="*/ 76097 w 79005"/>
                <a:gd name="connsiteY0" fmla="*/ 39609 h 89180"/>
                <a:gd name="connsiteX1" fmla="*/ 8725 w 79005"/>
                <a:gd name="connsiteY1" fmla="*/ 729 h 89180"/>
                <a:gd name="connsiteX2" fmla="*/ 2908 w 79005"/>
                <a:gd name="connsiteY2" fmla="*/ 729 h 89180"/>
                <a:gd name="connsiteX3" fmla="*/ 0 w 79005"/>
                <a:gd name="connsiteY3" fmla="*/ 5589 h 89180"/>
                <a:gd name="connsiteX4" fmla="*/ 0 w 79005"/>
                <a:gd name="connsiteY4" fmla="*/ 83349 h 89180"/>
                <a:gd name="connsiteX5" fmla="*/ 2908 w 79005"/>
                <a:gd name="connsiteY5" fmla="*/ 88209 h 89180"/>
                <a:gd name="connsiteX6" fmla="*/ 5816 w 79005"/>
                <a:gd name="connsiteY6" fmla="*/ 89181 h 89180"/>
                <a:gd name="connsiteX7" fmla="*/ 8725 w 79005"/>
                <a:gd name="connsiteY7" fmla="*/ 88209 h 89180"/>
                <a:gd name="connsiteX8" fmla="*/ 76097 w 79005"/>
                <a:gd name="connsiteY8" fmla="*/ 49329 h 89180"/>
                <a:gd name="connsiteX9" fmla="*/ 79006 w 79005"/>
                <a:gd name="connsiteY9" fmla="*/ 44469 h 89180"/>
                <a:gd name="connsiteX10" fmla="*/ 76097 w 79005"/>
                <a:gd name="connsiteY10" fmla="*/ 39609 h 89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9005" h="89180">
                  <a:moveTo>
                    <a:pt x="76097" y="39609"/>
                  </a:moveTo>
                  <a:lnTo>
                    <a:pt x="8725" y="729"/>
                  </a:lnTo>
                  <a:cubicBezTo>
                    <a:pt x="6786" y="-243"/>
                    <a:pt x="4847" y="-243"/>
                    <a:pt x="2908" y="729"/>
                  </a:cubicBezTo>
                  <a:cubicBezTo>
                    <a:pt x="969" y="1701"/>
                    <a:pt x="0" y="3645"/>
                    <a:pt x="0" y="5589"/>
                  </a:cubicBezTo>
                  <a:lnTo>
                    <a:pt x="0" y="83349"/>
                  </a:lnTo>
                  <a:cubicBezTo>
                    <a:pt x="0" y="85293"/>
                    <a:pt x="969" y="87237"/>
                    <a:pt x="2908" y="88209"/>
                  </a:cubicBezTo>
                  <a:cubicBezTo>
                    <a:pt x="3878" y="88695"/>
                    <a:pt x="4847" y="89181"/>
                    <a:pt x="5816" y="89181"/>
                  </a:cubicBezTo>
                  <a:cubicBezTo>
                    <a:pt x="6786" y="89181"/>
                    <a:pt x="7755" y="88695"/>
                    <a:pt x="8725" y="88209"/>
                  </a:cubicBezTo>
                  <a:lnTo>
                    <a:pt x="76097" y="49329"/>
                  </a:lnTo>
                  <a:cubicBezTo>
                    <a:pt x="78036" y="48357"/>
                    <a:pt x="79006" y="46413"/>
                    <a:pt x="79006" y="44469"/>
                  </a:cubicBezTo>
                  <a:cubicBezTo>
                    <a:pt x="79006" y="42525"/>
                    <a:pt x="78036" y="40581"/>
                    <a:pt x="76097" y="39609"/>
                  </a:cubicBezTo>
                  <a:close/>
                </a:path>
              </a:pathLst>
            </a:custGeom>
            <a:solidFill>
              <a:srgbClr val="00DCAA"/>
            </a:solidFill>
            <a:ln w="48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17" name="CuadroTexto 16">
            <a:extLst>
              <a:ext uri="{FF2B5EF4-FFF2-40B4-BE49-F238E27FC236}">
                <a16:creationId xmlns:a16="http://schemas.microsoft.com/office/drawing/2014/main" id="{788A4463-CAC3-9F12-AB5D-77F31C598343}"/>
              </a:ext>
            </a:extLst>
          </p:cNvPr>
          <p:cNvSpPr txBox="1"/>
          <p:nvPr/>
        </p:nvSpPr>
        <p:spPr>
          <a:xfrm>
            <a:off x="1461080" y="1496977"/>
            <a:ext cx="1033100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s-AR" sz="700">
                <a:solidFill>
                  <a:schemeClr val="tx2"/>
                </a:solidFill>
                <a:latin typeface="Pulso" pitchFamily="2" charset="0"/>
              </a:rPr>
              <a:t>Canales</a:t>
            </a:r>
          </a:p>
          <a:p>
            <a:pPr algn="ctr"/>
            <a:r>
              <a:rPr lang="es-AR" sz="700">
                <a:solidFill>
                  <a:schemeClr val="tx2"/>
                </a:solidFill>
                <a:latin typeface="Pulso" pitchFamily="2" charset="0"/>
              </a:rPr>
              <a:t>Lineales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23705758-392A-0DBA-68CE-093A6BD5AEC8}"/>
              </a:ext>
            </a:extLst>
          </p:cNvPr>
          <p:cNvSpPr txBox="1"/>
          <p:nvPr/>
        </p:nvSpPr>
        <p:spPr>
          <a:xfrm>
            <a:off x="2494001" y="1496977"/>
            <a:ext cx="1033100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s-AR" sz="700">
                <a:solidFill>
                  <a:schemeClr val="tx2"/>
                </a:solidFill>
                <a:latin typeface="Pulso" pitchFamily="2" charset="0"/>
              </a:rPr>
              <a:t>Catálogo</a:t>
            </a:r>
            <a:br>
              <a:rPr lang="es-AR" sz="700">
                <a:solidFill>
                  <a:schemeClr val="tx2"/>
                </a:solidFill>
                <a:latin typeface="Pulso" pitchFamily="2" charset="0"/>
              </a:rPr>
            </a:br>
            <a:r>
              <a:rPr lang="es-AR" sz="700">
                <a:solidFill>
                  <a:schemeClr val="tx2"/>
                </a:solidFill>
                <a:latin typeface="Pulso" pitchFamily="2" charset="0"/>
              </a:rPr>
              <a:t>SVOD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4A884301-881B-069F-0566-87A531FAA763}"/>
              </a:ext>
            </a:extLst>
          </p:cNvPr>
          <p:cNvSpPr txBox="1"/>
          <p:nvPr/>
        </p:nvSpPr>
        <p:spPr>
          <a:xfrm>
            <a:off x="3527279" y="1496977"/>
            <a:ext cx="1033100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s-AR" sz="700">
                <a:solidFill>
                  <a:schemeClr val="tx2"/>
                </a:solidFill>
                <a:latin typeface="Pulso" pitchFamily="2" charset="0"/>
              </a:rPr>
              <a:t>Catálogo TOD</a:t>
            </a:r>
          </a:p>
          <a:p>
            <a:pPr algn="ctr"/>
            <a:r>
              <a:rPr lang="es-AR" sz="700">
                <a:solidFill>
                  <a:schemeClr val="tx2"/>
                </a:solidFill>
                <a:latin typeface="Pulso" pitchFamily="2" charset="0"/>
              </a:rPr>
              <a:t>(Alquileres)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76B1EA3D-D56E-13B4-E8B4-1A4721AC8296}"/>
              </a:ext>
            </a:extLst>
          </p:cNvPr>
          <p:cNvSpPr txBox="1"/>
          <p:nvPr/>
        </p:nvSpPr>
        <p:spPr>
          <a:xfrm>
            <a:off x="4558943" y="1496977"/>
            <a:ext cx="1033100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s-AR" sz="700">
                <a:solidFill>
                  <a:schemeClr val="tx2"/>
                </a:solidFill>
                <a:latin typeface="Pulso" pitchFamily="2" charset="0"/>
              </a:rPr>
              <a:t>Eventos en Vivo</a:t>
            </a:r>
          </a:p>
          <a:p>
            <a:pPr algn="ctr"/>
            <a:r>
              <a:rPr lang="es-AR" sz="700">
                <a:solidFill>
                  <a:schemeClr val="tx2"/>
                </a:solidFill>
                <a:latin typeface="Pulso" pitchFamily="2" charset="0"/>
              </a:rPr>
              <a:t>Exclusivos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1FB53B3B-9DAB-6B3A-5FFC-92DB22035751}"/>
              </a:ext>
            </a:extLst>
          </p:cNvPr>
          <p:cNvSpPr txBox="1"/>
          <p:nvPr/>
        </p:nvSpPr>
        <p:spPr>
          <a:xfrm>
            <a:off x="5593480" y="1496975"/>
            <a:ext cx="1033100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900">
                <a:latin typeface="Pulso Light" pitchFamily="2" charset="0"/>
              </a:defRPr>
            </a:lvl1pPr>
          </a:lstStyle>
          <a:p>
            <a:r>
              <a:rPr lang="es-AR" sz="700">
                <a:solidFill>
                  <a:schemeClr val="tx2"/>
                </a:solidFill>
                <a:latin typeface="Pulso" pitchFamily="2" charset="0"/>
              </a:rPr>
              <a:t>Producción Originales (</a:t>
            </a:r>
            <a:r>
              <a:rPr lang="es-AR" sz="700" err="1">
                <a:solidFill>
                  <a:schemeClr val="tx2"/>
                </a:solidFill>
                <a:latin typeface="Pulso" pitchFamily="2" charset="0"/>
              </a:rPr>
              <a:t>Docu</a:t>
            </a:r>
            <a:r>
              <a:rPr lang="es-AR" sz="700">
                <a:solidFill>
                  <a:schemeClr val="tx2"/>
                </a:solidFill>
                <a:latin typeface="Pulso" pitchFamily="2" charset="0"/>
              </a:rPr>
              <a:t> y Ficción)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248F583A-8DED-F7FF-3B0D-5CCCF2AED4EA}"/>
              </a:ext>
            </a:extLst>
          </p:cNvPr>
          <p:cNvSpPr txBox="1"/>
          <p:nvPr/>
        </p:nvSpPr>
        <p:spPr>
          <a:xfrm>
            <a:off x="6623706" y="1496975"/>
            <a:ext cx="1033100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900">
                <a:latin typeface="Pulso Light" pitchFamily="2" charset="0"/>
              </a:defRPr>
            </a:lvl1pPr>
          </a:lstStyle>
          <a:p>
            <a:r>
              <a:rPr lang="es-AR" sz="700">
                <a:solidFill>
                  <a:schemeClr val="tx2"/>
                </a:solidFill>
                <a:latin typeface="Pulso" pitchFamily="2" charset="0"/>
              </a:rPr>
              <a:t>Producción Argentina</a:t>
            </a:r>
          </a:p>
          <a:p>
            <a:r>
              <a:rPr lang="es-AR" sz="700">
                <a:solidFill>
                  <a:schemeClr val="tx2"/>
                </a:solidFill>
                <a:latin typeface="Pulso" pitchFamily="2" charset="0"/>
              </a:rPr>
              <a:t>(</a:t>
            </a:r>
            <a:r>
              <a:rPr lang="es-AR" sz="700" err="1">
                <a:solidFill>
                  <a:schemeClr val="tx2"/>
                </a:solidFill>
                <a:latin typeface="Pulso" pitchFamily="2" charset="0"/>
              </a:rPr>
              <a:t>Docu</a:t>
            </a:r>
            <a:r>
              <a:rPr lang="es-AR" sz="700">
                <a:solidFill>
                  <a:schemeClr val="tx2"/>
                </a:solidFill>
                <a:latin typeface="Pulso" pitchFamily="2" charset="0"/>
              </a:rPr>
              <a:t> y Ficción)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A193CF20-2275-6DA3-4D1E-99021562706C}"/>
              </a:ext>
            </a:extLst>
          </p:cNvPr>
          <p:cNvSpPr txBox="1"/>
          <p:nvPr/>
        </p:nvSpPr>
        <p:spPr>
          <a:xfrm>
            <a:off x="7650645" y="1496977"/>
            <a:ext cx="1033100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s-AR" sz="700">
                <a:solidFill>
                  <a:schemeClr val="tx2"/>
                </a:solidFill>
                <a:latin typeface="Pulso" pitchFamily="2" charset="0"/>
              </a:rPr>
              <a:t>Integrador de</a:t>
            </a:r>
            <a:br>
              <a:rPr lang="es-AR" sz="700">
                <a:solidFill>
                  <a:schemeClr val="tx2"/>
                </a:solidFill>
                <a:latin typeface="Pulso" pitchFamily="2" charset="0"/>
              </a:rPr>
            </a:br>
            <a:r>
              <a:rPr lang="es-AR" sz="700">
                <a:solidFill>
                  <a:schemeClr val="tx2"/>
                </a:solidFill>
                <a:latin typeface="Pulso" pitchFamily="2" charset="0"/>
              </a:rPr>
              <a:t>otros OTT</a:t>
            </a:r>
          </a:p>
        </p:txBody>
      </p:sp>
      <p:sp>
        <p:nvSpPr>
          <p:cNvPr id="4221" name="Forma libre 163">
            <a:extLst>
              <a:ext uri="{FF2B5EF4-FFF2-40B4-BE49-F238E27FC236}">
                <a16:creationId xmlns:a16="http://schemas.microsoft.com/office/drawing/2014/main" id="{B046B93E-2BC6-431A-4ECE-813895C0A516}"/>
              </a:ext>
            </a:extLst>
          </p:cNvPr>
          <p:cNvSpPr>
            <a:spLocks/>
          </p:cNvSpPr>
          <p:nvPr/>
        </p:nvSpPr>
        <p:spPr>
          <a:xfrm>
            <a:off x="1896607" y="1863722"/>
            <a:ext cx="162047" cy="16560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4210" name="Forma libre 163">
            <a:extLst>
              <a:ext uri="{FF2B5EF4-FFF2-40B4-BE49-F238E27FC236}">
                <a16:creationId xmlns:a16="http://schemas.microsoft.com/office/drawing/2014/main" id="{BD495BEC-7C65-BD4E-A73B-B46A408FDBE8}"/>
              </a:ext>
            </a:extLst>
          </p:cNvPr>
          <p:cNvSpPr>
            <a:spLocks/>
          </p:cNvSpPr>
          <p:nvPr/>
        </p:nvSpPr>
        <p:spPr>
          <a:xfrm>
            <a:off x="8086172" y="1863722"/>
            <a:ext cx="162047" cy="16560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5635" name="Forma libre 163">
            <a:extLst>
              <a:ext uri="{FF2B5EF4-FFF2-40B4-BE49-F238E27FC236}">
                <a16:creationId xmlns:a16="http://schemas.microsoft.com/office/drawing/2014/main" id="{7172F952-CB85-1D5C-68E1-D5B2A3E9FBDD}"/>
              </a:ext>
            </a:extLst>
          </p:cNvPr>
          <p:cNvSpPr>
            <a:spLocks/>
          </p:cNvSpPr>
          <p:nvPr/>
        </p:nvSpPr>
        <p:spPr>
          <a:xfrm>
            <a:off x="7054577" y="1863722"/>
            <a:ext cx="162047" cy="16560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5663" name="Forma libre 163">
            <a:extLst>
              <a:ext uri="{FF2B5EF4-FFF2-40B4-BE49-F238E27FC236}">
                <a16:creationId xmlns:a16="http://schemas.microsoft.com/office/drawing/2014/main" id="{7731E1A6-69FA-11B2-201F-90C0842F853D}"/>
              </a:ext>
            </a:extLst>
          </p:cNvPr>
          <p:cNvSpPr>
            <a:spLocks/>
          </p:cNvSpPr>
          <p:nvPr/>
        </p:nvSpPr>
        <p:spPr>
          <a:xfrm>
            <a:off x="6022983" y="1863722"/>
            <a:ext cx="162047" cy="16560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grpSp>
        <p:nvGrpSpPr>
          <p:cNvPr id="5728" name="Grupo 5727">
            <a:extLst>
              <a:ext uri="{FF2B5EF4-FFF2-40B4-BE49-F238E27FC236}">
                <a16:creationId xmlns:a16="http://schemas.microsoft.com/office/drawing/2014/main" id="{B704E02E-C732-32F2-684A-2D6A73198B56}"/>
              </a:ext>
            </a:extLst>
          </p:cNvPr>
          <p:cNvGrpSpPr/>
          <p:nvPr/>
        </p:nvGrpSpPr>
        <p:grpSpPr>
          <a:xfrm>
            <a:off x="380366" y="4360413"/>
            <a:ext cx="8495620" cy="245428"/>
            <a:chOff x="380366" y="4360413"/>
            <a:chExt cx="8495620" cy="245428"/>
          </a:xfrm>
        </p:grpSpPr>
        <p:sp>
          <p:nvSpPr>
            <p:cNvPr id="5711" name="Redondear rectángulo de esquina del mismo lado 53">
              <a:extLst>
                <a:ext uri="{FF2B5EF4-FFF2-40B4-BE49-F238E27FC236}">
                  <a16:creationId xmlns:a16="http://schemas.microsoft.com/office/drawing/2014/main" id="{13567989-C4A5-A22B-D122-093FF98066CD}"/>
                </a:ext>
              </a:extLst>
            </p:cNvPr>
            <p:cNvSpPr/>
            <p:nvPr/>
          </p:nvSpPr>
          <p:spPr>
            <a:xfrm>
              <a:off x="380366" y="4360413"/>
              <a:ext cx="8495620" cy="245428"/>
            </a:xfrm>
            <a:prstGeom prst="roundRect">
              <a:avLst>
                <a:gd name="adj" fmla="val 50000"/>
              </a:avLst>
            </a:prstGeom>
            <a:gradFill>
              <a:gsLst>
                <a:gs pos="6000">
                  <a:srgbClr val="FFFFFF">
                    <a:alpha val="0"/>
                  </a:srgbClr>
                </a:gs>
                <a:gs pos="28000">
                  <a:srgbClr val="FFFFFF"/>
                </a:gs>
              </a:gsLst>
              <a:lin ang="0" scaled="0"/>
            </a:gra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s-AR" sz="825" b="1">
                <a:solidFill>
                  <a:schemeClr val="tx1"/>
                </a:solidFill>
              </a:endParaRPr>
            </a:p>
          </p:txBody>
        </p:sp>
        <p:sp>
          <p:nvSpPr>
            <p:cNvPr id="5575" name="Forma libre 163">
              <a:extLst>
                <a:ext uri="{FF2B5EF4-FFF2-40B4-BE49-F238E27FC236}">
                  <a16:creationId xmlns:a16="http://schemas.microsoft.com/office/drawing/2014/main" id="{593395E4-1599-5D4C-C033-182BB022B203}"/>
                </a:ext>
              </a:extLst>
            </p:cNvPr>
            <p:cNvSpPr>
              <a:spLocks/>
            </p:cNvSpPr>
            <p:nvPr/>
          </p:nvSpPr>
          <p:spPr>
            <a:xfrm>
              <a:off x="1896607" y="4400324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674" name="Forma libre 163">
              <a:extLst>
                <a:ext uri="{FF2B5EF4-FFF2-40B4-BE49-F238E27FC236}">
                  <a16:creationId xmlns:a16="http://schemas.microsoft.com/office/drawing/2014/main" id="{72FB1EA8-14DD-E5B3-9359-9AE1069A456C}"/>
                </a:ext>
              </a:extLst>
            </p:cNvPr>
            <p:cNvSpPr>
              <a:spLocks/>
            </p:cNvSpPr>
            <p:nvPr/>
          </p:nvSpPr>
          <p:spPr>
            <a:xfrm>
              <a:off x="4991389" y="4400324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</p:grpSp>
      <p:sp>
        <p:nvSpPr>
          <p:cNvPr id="5676" name="Forma libre 163">
            <a:extLst>
              <a:ext uri="{FF2B5EF4-FFF2-40B4-BE49-F238E27FC236}">
                <a16:creationId xmlns:a16="http://schemas.microsoft.com/office/drawing/2014/main" id="{DC4E2DD3-F8A9-D34D-7FDB-10CB54A75423}"/>
              </a:ext>
            </a:extLst>
          </p:cNvPr>
          <p:cNvSpPr>
            <a:spLocks/>
          </p:cNvSpPr>
          <p:nvPr/>
        </p:nvSpPr>
        <p:spPr>
          <a:xfrm>
            <a:off x="4991389" y="1863722"/>
            <a:ext cx="162047" cy="16560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5688" name="Forma libre 163">
            <a:extLst>
              <a:ext uri="{FF2B5EF4-FFF2-40B4-BE49-F238E27FC236}">
                <a16:creationId xmlns:a16="http://schemas.microsoft.com/office/drawing/2014/main" id="{3B2D43F3-7B3F-555D-33EE-EAA6F27D2E69}"/>
              </a:ext>
            </a:extLst>
          </p:cNvPr>
          <p:cNvSpPr>
            <a:spLocks/>
          </p:cNvSpPr>
          <p:nvPr/>
        </p:nvSpPr>
        <p:spPr>
          <a:xfrm>
            <a:off x="3959795" y="1863722"/>
            <a:ext cx="162047" cy="16560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grpSp>
        <p:nvGrpSpPr>
          <p:cNvPr id="5721" name="Grupo 5720">
            <a:extLst>
              <a:ext uri="{FF2B5EF4-FFF2-40B4-BE49-F238E27FC236}">
                <a16:creationId xmlns:a16="http://schemas.microsoft.com/office/drawing/2014/main" id="{0D0DB559-B7D6-2AF3-448B-8710861BD919}"/>
              </a:ext>
            </a:extLst>
          </p:cNvPr>
          <p:cNvGrpSpPr/>
          <p:nvPr/>
        </p:nvGrpSpPr>
        <p:grpSpPr>
          <a:xfrm>
            <a:off x="380366" y="2149718"/>
            <a:ext cx="8495620" cy="245428"/>
            <a:chOff x="380366" y="2178050"/>
            <a:chExt cx="8495620" cy="245428"/>
          </a:xfrm>
        </p:grpSpPr>
        <p:sp>
          <p:nvSpPr>
            <p:cNvPr id="5703" name="Redondear rectángulo de esquina del mismo lado 53">
              <a:extLst>
                <a:ext uri="{FF2B5EF4-FFF2-40B4-BE49-F238E27FC236}">
                  <a16:creationId xmlns:a16="http://schemas.microsoft.com/office/drawing/2014/main" id="{78287011-2709-12D0-D2EA-962F756A9265}"/>
                </a:ext>
              </a:extLst>
            </p:cNvPr>
            <p:cNvSpPr/>
            <p:nvPr/>
          </p:nvSpPr>
          <p:spPr>
            <a:xfrm>
              <a:off x="380366" y="2178050"/>
              <a:ext cx="8495620" cy="245428"/>
            </a:xfrm>
            <a:prstGeom prst="roundRect">
              <a:avLst>
                <a:gd name="adj" fmla="val 50000"/>
              </a:avLst>
            </a:prstGeom>
            <a:gradFill>
              <a:gsLst>
                <a:gs pos="6000">
                  <a:srgbClr val="FFFFFF">
                    <a:alpha val="0"/>
                  </a:srgbClr>
                </a:gs>
                <a:gs pos="28000">
                  <a:srgbClr val="FFFFFF"/>
                </a:gs>
              </a:gsLst>
              <a:lin ang="0" scaled="0"/>
            </a:gra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s-AR" sz="825" b="1">
                <a:solidFill>
                  <a:schemeClr val="tx1"/>
                </a:solidFill>
              </a:endParaRPr>
            </a:p>
          </p:txBody>
        </p:sp>
        <p:sp>
          <p:nvSpPr>
            <p:cNvPr id="5620" name="Forma libre 163">
              <a:extLst>
                <a:ext uri="{FF2B5EF4-FFF2-40B4-BE49-F238E27FC236}">
                  <a16:creationId xmlns:a16="http://schemas.microsoft.com/office/drawing/2014/main" id="{180C02A9-78F3-92EB-9469-69751874646F}"/>
                </a:ext>
              </a:extLst>
            </p:cNvPr>
            <p:cNvSpPr>
              <a:spLocks/>
            </p:cNvSpPr>
            <p:nvPr/>
          </p:nvSpPr>
          <p:spPr>
            <a:xfrm>
              <a:off x="7054577" y="2217961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639" name="Forma libre 163">
              <a:extLst>
                <a:ext uri="{FF2B5EF4-FFF2-40B4-BE49-F238E27FC236}">
                  <a16:creationId xmlns:a16="http://schemas.microsoft.com/office/drawing/2014/main" id="{34E138F3-75E8-A6C3-50B1-6EAFF4F1BF9D}"/>
                </a:ext>
              </a:extLst>
            </p:cNvPr>
            <p:cNvSpPr>
              <a:spLocks/>
            </p:cNvSpPr>
            <p:nvPr/>
          </p:nvSpPr>
          <p:spPr>
            <a:xfrm>
              <a:off x="6022983" y="2217961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667" name="Forma libre 163">
              <a:extLst>
                <a:ext uri="{FF2B5EF4-FFF2-40B4-BE49-F238E27FC236}">
                  <a16:creationId xmlns:a16="http://schemas.microsoft.com/office/drawing/2014/main" id="{957A883D-0A50-64F9-DFF4-408C79E5160B}"/>
                </a:ext>
              </a:extLst>
            </p:cNvPr>
            <p:cNvSpPr>
              <a:spLocks/>
            </p:cNvSpPr>
            <p:nvPr/>
          </p:nvSpPr>
          <p:spPr>
            <a:xfrm>
              <a:off x="4991389" y="2217961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692" name="Forma libre 163">
              <a:extLst>
                <a:ext uri="{FF2B5EF4-FFF2-40B4-BE49-F238E27FC236}">
                  <a16:creationId xmlns:a16="http://schemas.microsoft.com/office/drawing/2014/main" id="{62629753-D183-505A-B860-A066731C99FC}"/>
                </a:ext>
              </a:extLst>
            </p:cNvPr>
            <p:cNvSpPr>
              <a:spLocks/>
            </p:cNvSpPr>
            <p:nvPr/>
          </p:nvSpPr>
          <p:spPr>
            <a:xfrm>
              <a:off x="2928201" y="2217961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</p:grpSp>
      <p:grpSp>
        <p:nvGrpSpPr>
          <p:cNvPr id="5722" name="Grupo 5721">
            <a:extLst>
              <a:ext uri="{FF2B5EF4-FFF2-40B4-BE49-F238E27FC236}">
                <a16:creationId xmlns:a16="http://schemas.microsoft.com/office/drawing/2014/main" id="{0D38732B-D561-A0AA-AE7E-EA64C1AAA2F5}"/>
              </a:ext>
            </a:extLst>
          </p:cNvPr>
          <p:cNvGrpSpPr/>
          <p:nvPr/>
        </p:nvGrpSpPr>
        <p:grpSpPr>
          <a:xfrm>
            <a:off x="380366" y="2426055"/>
            <a:ext cx="8495620" cy="245428"/>
            <a:chOff x="380366" y="2450845"/>
            <a:chExt cx="8495620" cy="245428"/>
          </a:xfrm>
        </p:grpSpPr>
        <p:sp>
          <p:nvSpPr>
            <p:cNvPr id="5704" name="Redondear rectángulo de esquina del mismo lado 53">
              <a:extLst>
                <a:ext uri="{FF2B5EF4-FFF2-40B4-BE49-F238E27FC236}">
                  <a16:creationId xmlns:a16="http://schemas.microsoft.com/office/drawing/2014/main" id="{3567C31C-FD39-3C79-0EF3-A2F60EDF2413}"/>
                </a:ext>
              </a:extLst>
            </p:cNvPr>
            <p:cNvSpPr/>
            <p:nvPr/>
          </p:nvSpPr>
          <p:spPr>
            <a:xfrm>
              <a:off x="380366" y="2450845"/>
              <a:ext cx="8495620" cy="245428"/>
            </a:xfrm>
            <a:prstGeom prst="roundRect">
              <a:avLst>
                <a:gd name="adj" fmla="val 50000"/>
              </a:avLst>
            </a:prstGeom>
            <a:gradFill>
              <a:gsLst>
                <a:gs pos="6000">
                  <a:srgbClr val="FFFFFF">
                    <a:alpha val="0"/>
                  </a:srgbClr>
                </a:gs>
                <a:gs pos="28000">
                  <a:srgbClr val="FFFFFF"/>
                </a:gs>
              </a:gsLst>
              <a:lin ang="0" scaled="0"/>
            </a:gra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s-AR" sz="825" b="1">
                <a:solidFill>
                  <a:schemeClr val="tx1"/>
                </a:solidFill>
              </a:endParaRPr>
            </a:p>
          </p:txBody>
        </p:sp>
        <p:sp>
          <p:nvSpPr>
            <p:cNvPr id="5621" name="Forma libre 163">
              <a:extLst>
                <a:ext uri="{FF2B5EF4-FFF2-40B4-BE49-F238E27FC236}">
                  <a16:creationId xmlns:a16="http://schemas.microsoft.com/office/drawing/2014/main" id="{E18BF8E3-EDC6-46F6-64D7-7232DD174FD0}"/>
                </a:ext>
              </a:extLst>
            </p:cNvPr>
            <p:cNvSpPr>
              <a:spLocks/>
            </p:cNvSpPr>
            <p:nvPr/>
          </p:nvSpPr>
          <p:spPr>
            <a:xfrm>
              <a:off x="7054577" y="2490756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640" name="Forma libre 163">
              <a:extLst>
                <a:ext uri="{FF2B5EF4-FFF2-40B4-BE49-F238E27FC236}">
                  <a16:creationId xmlns:a16="http://schemas.microsoft.com/office/drawing/2014/main" id="{46544A0B-1C5A-3C8E-7368-27736B848A26}"/>
                </a:ext>
              </a:extLst>
            </p:cNvPr>
            <p:cNvSpPr>
              <a:spLocks/>
            </p:cNvSpPr>
            <p:nvPr/>
          </p:nvSpPr>
          <p:spPr>
            <a:xfrm>
              <a:off x="6022983" y="2490756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668" name="Forma libre 163">
              <a:extLst>
                <a:ext uri="{FF2B5EF4-FFF2-40B4-BE49-F238E27FC236}">
                  <a16:creationId xmlns:a16="http://schemas.microsoft.com/office/drawing/2014/main" id="{90B95B63-7DFC-370E-5F0C-A000841D6F63}"/>
                </a:ext>
              </a:extLst>
            </p:cNvPr>
            <p:cNvSpPr>
              <a:spLocks/>
            </p:cNvSpPr>
            <p:nvPr/>
          </p:nvSpPr>
          <p:spPr>
            <a:xfrm>
              <a:off x="4991389" y="2490756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693" name="Forma libre 163">
              <a:extLst>
                <a:ext uri="{FF2B5EF4-FFF2-40B4-BE49-F238E27FC236}">
                  <a16:creationId xmlns:a16="http://schemas.microsoft.com/office/drawing/2014/main" id="{3A20E234-5C79-3D38-F1C2-5CB44A717E41}"/>
                </a:ext>
              </a:extLst>
            </p:cNvPr>
            <p:cNvSpPr>
              <a:spLocks/>
            </p:cNvSpPr>
            <p:nvPr/>
          </p:nvSpPr>
          <p:spPr>
            <a:xfrm>
              <a:off x="2928201" y="2490756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</p:grpSp>
      <p:grpSp>
        <p:nvGrpSpPr>
          <p:cNvPr id="5724" name="Grupo 5723">
            <a:extLst>
              <a:ext uri="{FF2B5EF4-FFF2-40B4-BE49-F238E27FC236}">
                <a16:creationId xmlns:a16="http://schemas.microsoft.com/office/drawing/2014/main" id="{E6FB8C57-C0F6-577B-FA1F-DCB44EB488AD}"/>
              </a:ext>
            </a:extLst>
          </p:cNvPr>
          <p:cNvGrpSpPr/>
          <p:nvPr/>
        </p:nvGrpSpPr>
        <p:grpSpPr>
          <a:xfrm>
            <a:off x="380366" y="2978729"/>
            <a:ext cx="8495620" cy="245428"/>
            <a:chOff x="380366" y="2996435"/>
            <a:chExt cx="8495620" cy="245428"/>
          </a:xfrm>
        </p:grpSpPr>
        <p:sp>
          <p:nvSpPr>
            <p:cNvPr id="5706" name="Redondear rectángulo de esquina del mismo lado 53">
              <a:extLst>
                <a:ext uri="{FF2B5EF4-FFF2-40B4-BE49-F238E27FC236}">
                  <a16:creationId xmlns:a16="http://schemas.microsoft.com/office/drawing/2014/main" id="{311CF588-0757-78CC-3CAF-093F306D8B1C}"/>
                </a:ext>
              </a:extLst>
            </p:cNvPr>
            <p:cNvSpPr/>
            <p:nvPr/>
          </p:nvSpPr>
          <p:spPr>
            <a:xfrm>
              <a:off x="380366" y="2996435"/>
              <a:ext cx="8495620" cy="245428"/>
            </a:xfrm>
            <a:prstGeom prst="roundRect">
              <a:avLst>
                <a:gd name="adj" fmla="val 50000"/>
              </a:avLst>
            </a:prstGeom>
            <a:gradFill>
              <a:gsLst>
                <a:gs pos="6000">
                  <a:srgbClr val="FFFFFF">
                    <a:alpha val="0"/>
                  </a:srgbClr>
                </a:gs>
                <a:gs pos="28000">
                  <a:srgbClr val="FFFFFF"/>
                </a:gs>
              </a:gsLst>
              <a:lin ang="0" scaled="0"/>
            </a:gra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s-AR" sz="825" b="1">
                <a:solidFill>
                  <a:schemeClr val="tx1"/>
                </a:solidFill>
              </a:endParaRPr>
            </a:p>
          </p:txBody>
        </p:sp>
        <p:sp>
          <p:nvSpPr>
            <p:cNvPr id="5628" name="Forma libre 163">
              <a:extLst>
                <a:ext uri="{FF2B5EF4-FFF2-40B4-BE49-F238E27FC236}">
                  <a16:creationId xmlns:a16="http://schemas.microsoft.com/office/drawing/2014/main" id="{8C2F1A18-C822-CCA4-AA6C-3470271A3AB3}"/>
                </a:ext>
              </a:extLst>
            </p:cNvPr>
            <p:cNvSpPr>
              <a:spLocks/>
            </p:cNvSpPr>
            <p:nvPr/>
          </p:nvSpPr>
          <p:spPr>
            <a:xfrm>
              <a:off x="7054577" y="3036346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641" name="Forma libre 163">
              <a:extLst>
                <a:ext uri="{FF2B5EF4-FFF2-40B4-BE49-F238E27FC236}">
                  <a16:creationId xmlns:a16="http://schemas.microsoft.com/office/drawing/2014/main" id="{00C5F6EE-9915-FEE6-C6B4-69D1D56FA0D6}"/>
                </a:ext>
              </a:extLst>
            </p:cNvPr>
            <p:cNvSpPr>
              <a:spLocks/>
            </p:cNvSpPr>
            <p:nvPr/>
          </p:nvSpPr>
          <p:spPr>
            <a:xfrm>
              <a:off x="6022983" y="3036346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669" name="Forma libre 163">
              <a:extLst>
                <a:ext uri="{FF2B5EF4-FFF2-40B4-BE49-F238E27FC236}">
                  <a16:creationId xmlns:a16="http://schemas.microsoft.com/office/drawing/2014/main" id="{7A397BD2-2E5C-CBE5-02AF-15E9239454A7}"/>
                </a:ext>
              </a:extLst>
            </p:cNvPr>
            <p:cNvSpPr>
              <a:spLocks/>
            </p:cNvSpPr>
            <p:nvPr/>
          </p:nvSpPr>
          <p:spPr>
            <a:xfrm>
              <a:off x="4991389" y="3036346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694" name="Forma libre 163">
              <a:extLst>
                <a:ext uri="{FF2B5EF4-FFF2-40B4-BE49-F238E27FC236}">
                  <a16:creationId xmlns:a16="http://schemas.microsoft.com/office/drawing/2014/main" id="{88A54FE0-FAEE-AB8A-219C-3C96B0581883}"/>
                </a:ext>
              </a:extLst>
            </p:cNvPr>
            <p:cNvSpPr>
              <a:spLocks/>
            </p:cNvSpPr>
            <p:nvPr/>
          </p:nvSpPr>
          <p:spPr>
            <a:xfrm>
              <a:off x="2928201" y="3036346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</p:grpSp>
      <p:grpSp>
        <p:nvGrpSpPr>
          <p:cNvPr id="5725" name="Grupo 5724">
            <a:extLst>
              <a:ext uri="{FF2B5EF4-FFF2-40B4-BE49-F238E27FC236}">
                <a16:creationId xmlns:a16="http://schemas.microsoft.com/office/drawing/2014/main" id="{F61133EB-A8E9-BFAF-2675-139D1BC1E745}"/>
              </a:ext>
            </a:extLst>
          </p:cNvPr>
          <p:cNvGrpSpPr/>
          <p:nvPr/>
        </p:nvGrpSpPr>
        <p:grpSpPr>
          <a:xfrm>
            <a:off x="380366" y="3255066"/>
            <a:ext cx="8495620" cy="245428"/>
            <a:chOff x="380366" y="3269230"/>
            <a:chExt cx="8495620" cy="245428"/>
          </a:xfrm>
        </p:grpSpPr>
        <p:sp>
          <p:nvSpPr>
            <p:cNvPr id="5707" name="Redondear rectángulo de esquina del mismo lado 53">
              <a:extLst>
                <a:ext uri="{FF2B5EF4-FFF2-40B4-BE49-F238E27FC236}">
                  <a16:creationId xmlns:a16="http://schemas.microsoft.com/office/drawing/2014/main" id="{286BEBEB-E4EC-2B37-4D18-C1831C34CD26}"/>
                </a:ext>
              </a:extLst>
            </p:cNvPr>
            <p:cNvSpPr/>
            <p:nvPr/>
          </p:nvSpPr>
          <p:spPr>
            <a:xfrm>
              <a:off x="380366" y="3269230"/>
              <a:ext cx="8495620" cy="245428"/>
            </a:xfrm>
            <a:prstGeom prst="roundRect">
              <a:avLst>
                <a:gd name="adj" fmla="val 50000"/>
              </a:avLst>
            </a:prstGeom>
            <a:gradFill>
              <a:gsLst>
                <a:gs pos="6000">
                  <a:srgbClr val="FFFFFF">
                    <a:alpha val="0"/>
                  </a:srgbClr>
                </a:gs>
                <a:gs pos="28000">
                  <a:srgbClr val="FFFFFF"/>
                </a:gs>
              </a:gsLst>
              <a:lin ang="0" scaled="0"/>
            </a:gra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s-AR" sz="825" b="1">
                <a:solidFill>
                  <a:schemeClr val="tx1"/>
                </a:solidFill>
              </a:endParaRPr>
            </a:p>
          </p:txBody>
        </p:sp>
        <p:sp>
          <p:nvSpPr>
            <p:cNvPr id="4218" name="Forma libre 163">
              <a:extLst>
                <a:ext uri="{FF2B5EF4-FFF2-40B4-BE49-F238E27FC236}">
                  <a16:creationId xmlns:a16="http://schemas.microsoft.com/office/drawing/2014/main" id="{1154B5DF-C5D4-D5FD-7CBC-1D1493146071}"/>
                </a:ext>
              </a:extLst>
            </p:cNvPr>
            <p:cNvSpPr>
              <a:spLocks/>
            </p:cNvSpPr>
            <p:nvPr/>
          </p:nvSpPr>
          <p:spPr>
            <a:xfrm>
              <a:off x="1896607" y="3309141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4203" name="Forma libre 163">
              <a:extLst>
                <a:ext uri="{FF2B5EF4-FFF2-40B4-BE49-F238E27FC236}">
                  <a16:creationId xmlns:a16="http://schemas.microsoft.com/office/drawing/2014/main" id="{74A93562-BF4E-CBBC-3F04-A0C08416DA47}"/>
                </a:ext>
              </a:extLst>
            </p:cNvPr>
            <p:cNvSpPr>
              <a:spLocks/>
            </p:cNvSpPr>
            <p:nvPr/>
          </p:nvSpPr>
          <p:spPr>
            <a:xfrm>
              <a:off x="8086172" y="3309141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670" name="Forma libre 163">
              <a:extLst>
                <a:ext uri="{FF2B5EF4-FFF2-40B4-BE49-F238E27FC236}">
                  <a16:creationId xmlns:a16="http://schemas.microsoft.com/office/drawing/2014/main" id="{403005D8-EBBF-DAED-7150-CB4CBFD18A5D}"/>
                </a:ext>
              </a:extLst>
            </p:cNvPr>
            <p:cNvSpPr>
              <a:spLocks/>
            </p:cNvSpPr>
            <p:nvPr/>
          </p:nvSpPr>
          <p:spPr>
            <a:xfrm>
              <a:off x="4991389" y="3309141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684" name="Forma libre 163">
              <a:extLst>
                <a:ext uri="{FF2B5EF4-FFF2-40B4-BE49-F238E27FC236}">
                  <a16:creationId xmlns:a16="http://schemas.microsoft.com/office/drawing/2014/main" id="{2E894C02-7356-571F-96FE-0944B5EFE90E}"/>
                </a:ext>
              </a:extLst>
            </p:cNvPr>
            <p:cNvSpPr>
              <a:spLocks/>
            </p:cNvSpPr>
            <p:nvPr/>
          </p:nvSpPr>
          <p:spPr>
            <a:xfrm>
              <a:off x="3959795" y="3309141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695" name="Forma libre 163">
              <a:extLst>
                <a:ext uri="{FF2B5EF4-FFF2-40B4-BE49-F238E27FC236}">
                  <a16:creationId xmlns:a16="http://schemas.microsoft.com/office/drawing/2014/main" id="{59432D5E-D358-08E3-118C-78E9D60E7C7B}"/>
                </a:ext>
              </a:extLst>
            </p:cNvPr>
            <p:cNvSpPr>
              <a:spLocks/>
            </p:cNvSpPr>
            <p:nvPr/>
          </p:nvSpPr>
          <p:spPr>
            <a:xfrm>
              <a:off x="2928201" y="3309141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</p:grpSp>
      <p:grpSp>
        <p:nvGrpSpPr>
          <p:cNvPr id="5726" name="Grupo 5725">
            <a:extLst>
              <a:ext uri="{FF2B5EF4-FFF2-40B4-BE49-F238E27FC236}">
                <a16:creationId xmlns:a16="http://schemas.microsoft.com/office/drawing/2014/main" id="{16602079-7D03-15EA-1596-1DFC01FF8E6F}"/>
              </a:ext>
            </a:extLst>
          </p:cNvPr>
          <p:cNvGrpSpPr/>
          <p:nvPr/>
        </p:nvGrpSpPr>
        <p:grpSpPr>
          <a:xfrm>
            <a:off x="380366" y="3531403"/>
            <a:ext cx="8495620" cy="245428"/>
            <a:chOff x="380366" y="3542025"/>
            <a:chExt cx="8495620" cy="245428"/>
          </a:xfrm>
        </p:grpSpPr>
        <p:sp>
          <p:nvSpPr>
            <p:cNvPr id="5708" name="Redondear rectángulo de esquina del mismo lado 53">
              <a:extLst>
                <a:ext uri="{FF2B5EF4-FFF2-40B4-BE49-F238E27FC236}">
                  <a16:creationId xmlns:a16="http://schemas.microsoft.com/office/drawing/2014/main" id="{0DDB96CD-BE84-804D-DEA4-A1310F3CF2A4}"/>
                </a:ext>
              </a:extLst>
            </p:cNvPr>
            <p:cNvSpPr/>
            <p:nvPr/>
          </p:nvSpPr>
          <p:spPr>
            <a:xfrm>
              <a:off x="380366" y="3542025"/>
              <a:ext cx="8495620" cy="245428"/>
            </a:xfrm>
            <a:prstGeom prst="roundRect">
              <a:avLst>
                <a:gd name="adj" fmla="val 50000"/>
              </a:avLst>
            </a:prstGeom>
            <a:gradFill>
              <a:gsLst>
                <a:gs pos="6000">
                  <a:srgbClr val="FFFFFF">
                    <a:alpha val="0"/>
                  </a:srgbClr>
                </a:gs>
                <a:gs pos="28000">
                  <a:srgbClr val="FFFFFF"/>
                </a:gs>
              </a:gsLst>
              <a:lin ang="0" scaled="0"/>
            </a:gra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s-AR" sz="825" b="1">
                <a:solidFill>
                  <a:schemeClr val="tx1"/>
                </a:solidFill>
              </a:endParaRPr>
            </a:p>
          </p:txBody>
        </p:sp>
        <p:sp>
          <p:nvSpPr>
            <p:cNvPr id="4219" name="Forma libre 163">
              <a:extLst>
                <a:ext uri="{FF2B5EF4-FFF2-40B4-BE49-F238E27FC236}">
                  <a16:creationId xmlns:a16="http://schemas.microsoft.com/office/drawing/2014/main" id="{A37F8F8E-4888-E6F9-1169-8CD7C6CB2EAC}"/>
                </a:ext>
              </a:extLst>
            </p:cNvPr>
            <p:cNvSpPr>
              <a:spLocks/>
            </p:cNvSpPr>
            <p:nvPr/>
          </p:nvSpPr>
          <p:spPr>
            <a:xfrm>
              <a:off x="1896607" y="3581936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660" name="Forma libre 163">
              <a:extLst>
                <a:ext uri="{FF2B5EF4-FFF2-40B4-BE49-F238E27FC236}">
                  <a16:creationId xmlns:a16="http://schemas.microsoft.com/office/drawing/2014/main" id="{F44CDE72-B2BB-400D-A54B-ABBA2ACA0508}"/>
                </a:ext>
              </a:extLst>
            </p:cNvPr>
            <p:cNvSpPr>
              <a:spLocks/>
            </p:cNvSpPr>
            <p:nvPr/>
          </p:nvSpPr>
          <p:spPr>
            <a:xfrm>
              <a:off x="6022983" y="3581936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671" name="Forma libre 163">
              <a:extLst>
                <a:ext uri="{FF2B5EF4-FFF2-40B4-BE49-F238E27FC236}">
                  <a16:creationId xmlns:a16="http://schemas.microsoft.com/office/drawing/2014/main" id="{0F6D20A2-8340-E1CD-7295-0BD2E4E0C73D}"/>
                </a:ext>
              </a:extLst>
            </p:cNvPr>
            <p:cNvSpPr>
              <a:spLocks/>
            </p:cNvSpPr>
            <p:nvPr/>
          </p:nvSpPr>
          <p:spPr>
            <a:xfrm>
              <a:off x="4991389" y="3581936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696" name="Forma libre 163">
              <a:extLst>
                <a:ext uri="{FF2B5EF4-FFF2-40B4-BE49-F238E27FC236}">
                  <a16:creationId xmlns:a16="http://schemas.microsoft.com/office/drawing/2014/main" id="{F1B93B8C-EDA1-2810-6E41-BB59FADAB95E}"/>
                </a:ext>
              </a:extLst>
            </p:cNvPr>
            <p:cNvSpPr>
              <a:spLocks/>
            </p:cNvSpPr>
            <p:nvPr/>
          </p:nvSpPr>
          <p:spPr>
            <a:xfrm>
              <a:off x="2928201" y="3581936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</p:grpSp>
      <p:grpSp>
        <p:nvGrpSpPr>
          <p:cNvPr id="5727" name="Grupo 5726">
            <a:extLst>
              <a:ext uri="{FF2B5EF4-FFF2-40B4-BE49-F238E27FC236}">
                <a16:creationId xmlns:a16="http://schemas.microsoft.com/office/drawing/2014/main" id="{288AA432-97D5-4A96-8488-FF25EFCC1474}"/>
              </a:ext>
            </a:extLst>
          </p:cNvPr>
          <p:cNvGrpSpPr/>
          <p:nvPr/>
        </p:nvGrpSpPr>
        <p:grpSpPr>
          <a:xfrm>
            <a:off x="380366" y="4084077"/>
            <a:ext cx="8495620" cy="245428"/>
            <a:chOff x="380366" y="4087615"/>
            <a:chExt cx="8495620" cy="245428"/>
          </a:xfrm>
        </p:grpSpPr>
        <p:sp>
          <p:nvSpPr>
            <p:cNvPr id="5710" name="Redondear rectángulo de esquina del mismo lado 53">
              <a:extLst>
                <a:ext uri="{FF2B5EF4-FFF2-40B4-BE49-F238E27FC236}">
                  <a16:creationId xmlns:a16="http://schemas.microsoft.com/office/drawing/2014/main" id="{7171FC17-0F40-1585-51A1-AE3F2548B2F6}"/>
                </a:ext>
              </a:extLst>
            </p:cNvPr>
            <p:cNvSpPr/>
            <p:nvPr/>
          </p:nvSpPr>
          <p:spPr>
            <a:xfrm>
              <a:off x="380366" y="4087615"/>
              <a:ext cx="8495620" cy="245428"/>
            </a:xfrm>
            <a:prstGeom prst="roundRect">
              <a:avLst>
                <a:gd name="adj" fmla="val 50000"/>
              </a:avLst>
            </a:prstGeom>
            <a:gradFill>
              <a:gsLst>
                <a:gs pos="6000">
                  <a:srgbClr val="FFFFFF">
                    <a:alpha val="0"/>
                  </a:srgbClr>
                </a:gs>
                <a:gs pos="28000">
                  <a:srgbClr val="FFFFFF"/>
                </a:gs>
              </a:gsLst>
              <a:lin ang="0" scaled="0"/>
            </a:gra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s-AR" sz="825" b="1">
                <a:solidFill>
                  <a:schemeClr val="tx1"/>
                </a:solidFill>
              </a:endParaRPr>
            </a:p>
          </p:txBody>
        </p:sp>
        <p:sp>
          <p:nvSpPr>
            <p:cNvPr id="4205" name="Forma libre 163">
              <a:extLst>
                <a:ext uri="{FF2B5EF4-FFF2-40B4-BE49-F238E27FC236}">
                  <a16:creationId xmlns:a16="http://schemas.microsoft.com/office/drawing/2014/main" id="{670FD484-81E2-409E-4139-57D9F0DC70C0}"/>
                </a:ext>
              </a:extLst>
            </p:cNvPr>
            <p:cNvSpPr>
              <a:spLocks/>
            </p:cNvSpPr>
            <p:nvPr/>
          </p:nvSpPr>
          <p:spPr>
            <a:xfrm>
              <a:off x="8086172" y="4127526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661" name="Forma libre 163">
              <a:extLst>
                <a:ext uri="{FF2B5EF4-FFF2-40B4-BE49-F238E27FC236}">
                  <a16:creationId xmlns:a16="http://schemas.microsoft.com/office/drawing/2014/main" id="{F54622E3-77D4-C822-DE54-5DD22B84EABA}"/>
                </a:ext>
              </a:extLst>
            </p:cNvPr>
            <p:cNvSpPr>
              <a:spLocks/>
            </p:cNvSpPr>
            <p:nvPr/>
          </p:nvSpPr>
          <p:spPr>
            <a:xfrm>
              <a:off x="6022983" y="4127526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673" name="Forma libre 163">
              <a:extLst>
                <a:ext uri="{FF2B5EF4-FFF2-40B4-BE49-F238E27FC236}">
                  <a16:creationId xmlns:a16="http://schemas.microsoft.com/office/drawing/2014/main" id="{BF0FC095-5D1A-C496-02F0-D193268F308F}"/>
                </a:ext>
              </a:extLst>
            </p:cNvPr>
            <p:cNvSpPr>
              <a:spLocks/>
            </p:cNvSpPr>
            <p:nvPr/>
          </p:nvSpPr>
          <p:spPr>
            <a:xfrm>
              <a:off x="4991389" y="4127526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686" name="Forma libre 163">
              <a:extLst>
                <a:ext uri="{FF2B5EF4-FFF2-40B4-BE49-F238E27FC236}">
                  <a16:creationId xmlns:a16="http://schemas.microsoft.com/office/drawing/2014/main" id="{56BF3AAC-E596-EAE8-CE83-4DEBBC5F38BF}"/>
                </a:ext>
              </a:extLst>
            </p:cNvPr>
            <p:cNvSpPr>
              <a:spLocks/>
            </p:cNvSpPr>
            <p:nvPr/>
          </p:nvSpPr>
          <p:spPr>
            <a:xfrm>
              <a:off x="3959795" y="4127526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697" name="Forma libre 163">
              <a:extLst>
                <a:ext uri="{FF2B5EF4-FFF2-40B4-BE49-F238E27FC236}">
                  <a16:creationId xmlns:a16="http://schemas.microsoft.com/office/drawing/2014/main" id="{B92DB407-0DE6-A546-9D26-2EA5AD3F03AF}"/>
                </a:ext>
              </a:extLst>
            </p:cNvPr>
            <p:cNvSpPr>
              <a:spLocks/>
            </p:cNvSpPr>
            <p:nvPr/>
          </p:nvSpPr>
          <p:spPr>
            <a:xfrm>
              <a:off x="2928201" y="4127526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</p:grpSp>
      <p:sp>
        <p:nvSpPr>
          <p:cNvPr id="5699" name="Forma libre 163">
            <a:extLst>
              <a:ext uri="{FF2B5EF4-FFF2-40B4-BE49-F238E27FC236}">
                <a16:creationId xmlns:a16="http://schemas.microsoft.com/office/drawing/2014/main" id="{1C540B7C-4B26-7670-3A10-5C9E63AE165B}"/>
              </a:ext>
            </a:extLst>
          </p:cNvPr>
          <p:cNvSpPr>
            <a:spLocks/>
          </p:cNvSpPr>
          <p:nvPr/>
        </p:nvSpPr>
        <p:spPr>
          <a:xfrm>
            <a:off x="2928201" y="1863722"/>
            <a:ext cx="162047" cy="16560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grpSp>
        <p:nvGrpSpPr>
          <p:cNvPr id="5723" name="Grupo 5722">
            <a:extLst>
              <a:ext uri="{FF2B5EF4-FFF2-40B4-BE49-F238E27FC236}">
                <a16:creationId xmlns:a16="http://schemas.microsoft.com/office/drawing/2014/main" id="{BDD783BF-55AB-EB2C-1ADF-B5A765A01C11}"/>
              </a:ext>
            </a:extLst>
          </p:cNvPr>
          <p:cNvGrpSpPr/>
          <p:nvPr/>
        </p:nvGrpSpPr>
        <p:grpSpPr>
          <a:xfrm>
            <a:off x="380366" y="2702392"/>
            <a:ext cx="8495620" cy="245428"/>
            <a:chOff x="380366" y="2723640"/>
            <a:chExt cx="8495620" cy="245428"/>
          </a:xfrm>
        </p:grpSpPr>
        <p:sp>
          <p:nvSpPr>
            <p:cNvPr id="5705" name="Redondear rectángulo de esquina del mismo lado 53">
              <a:extLst>
                <a:ext uri="{FF2B5EF4-FFF2-40B4-BE49-F238E27FC236}">
                  <a16:creationId xmlns:a16="http://schemas.microsoft.com/office/drawing/2014/main" id="{973690C8-F658-E65A-5C47-2497E68C34C0}"/>
                </a:ext>
              </a:extLst>
            </p:cNvPr>
            <p:cNvSpPr/>
            <p:nvPr/>
          </p:nvSpPr>
          <p:spPr>
            <a:xfrm>
              <a:off x="380366" y="2723640"/>
              <a:ext cx="8495620" cy="245428"/>
            </a:xfrm>
            <a:prstGeom prst="roundRect">
              <a:avLst>
                <a:gd name="adj" fmla="val 50000"/>
              </a:avLst>
            </a:prstGeom>
            <a:gradFill>
              <a:gsLst>
                <a:gs pos="6000">
                  <a:srgbClr val="FFFFFF">
                    <a:alpha val="0"/>
                  </a:srgbClr>
                </a:gs>
                <a:gs pos="28000">
                  <a:srgbClr val="FFFFFF"/>
                </a:gs>
              </a:gsLst>
              <a:lin ang="0" scaled="0"/>
            </a:gra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s-AR" sz="825" b="1">
                <a:solidFill>
                  <a:schemeClr val="tx1"/>
                </a:solidFill>
              </a:endParaRPr>
            </a:p>
          </p:txBody>
        </p:sp>
        <p:sp>
          <p:nvSpPr>
            <p:cNvPr id="5636" name="Forma libre 163">
              <a:extLst>
                <a:ext uri="{FF2B5EF4-FFF2-40B4-BE49-F238E27FC236}">
                  <a16:creationId xmlns:a16="http://schemas.microsoft.com/office/drawing/2014/main" id="{7FE74D3A-F63D-F42E-FAF2-78914537C036}"/>
                </a:ext>
              </a:extLst>
            </p:cNvPr>
            <p:cNvSpPr>
              <a:spLocks/>
            </p:cNvSpPr>
            <p:nvPr/>
          </p:nvSpPr>
          <p:spPr>
            <a:xfrm>
              <a:off x="7054577" y="2763551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664" name="Forma libre 163">
              <a:extLst>
                <a:ext uri="{FF2B5EF4-FFF2-40B4-BE49-F238E27FC236}">
                  <a16:creationId xmlns:a16="http://schemas.microsoft.com/office/drawing/2014/main" id="{2C80C238-1420-4943-31D8-5B00CE021224}"/>
                </a:ext>
              </a:extLst>
            </p:cNvPr>
            <p:cNvSpPr>
              <a:spLocks/>
            </p:cNvSpPr>
            <p:nvPr/>
          </p:nvSpPr>
          <p:spPr>
            <a:xfrm>
              <a:off x="6022983" y="2763551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700" name="Forma libre 163">
              <a:extLst>
                <a:ext uri="{FF2B5EF4-FFF2-40B4-BE49-F238E27FC236}">
                  <a16:creationId xmlns:a16="http://schemas.microsoft.com/office/drawing/2014/main" id="{D58C2713-DE13-974D-DBAD-7C6497A7FE2D}"/>
                </a:ext>
              </a:extLst>
            </p:cNvPr>
            <p:cNvSpPr>
              <a:spLocks/>
            </p:cNvSpPr>
            <p:nvPr/>
          </p:nvSpPr>
          <p:spPr>
            <a:xfrm>
              <a:off x="2928201" y="2763551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</p:grpSp>
      <p:grpSp>
        <p:nvGrpSpPr>
          <p:cNvPr id="5712" name="Grupo 5711">
            <a:extLst>
              <a:ext uri="{FF2B5EF4-FFF2-40B4-BE49-F238E27FC236}">
                <a16:creationId xmlns:a16="http://schemas.microsoft.com/office/drawing/2014/main" id="{077288FC-30A9-86EB-EE9C-C9084C6616BA}"/>
              </a:ext>
            </a:extLst>
          </p:cNvPr>
          <p:cNvGrpSpPr/>
          <p:nvPr/>
        </p:nvGrpSpPr>
        <p:grpSpPr>
          <a:xfrm>
            <a:off x="1457613" y="1779462"/>
            <a:ext cx="7225892" cy="2855600"/>
            <a:chOff x="1457613" y="1490413"/>
            <a:chExt cx="7225892" cy="3120314"/>
          </a:xfrm>
        </p:grpSpPr>
        <p:cxnSp>
          <p:nvCxnSpPr>
            <p:cNvPr id="5713" name="Conector recto 5712">
              <a:extLst>
                <a:ext uri="{FF2B5EF4-FFF2-40B4-BE49-F238E27FC236}">
                  <a16:creationId xmlns:a16="http://schemas.microsoft.com/office/drawing/2014/main" id="{C3A658B3-4F99-CDE8-4D88-F86AFADCD6D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487901" y="1490413"/>
              <a:ext cx="1437" cy="3120314"/>
            </a:xfrm>
            <a:prstGeom prst="line">
              <a:avLst/>
            </a:prstGeom>
            <a:ln w="3175">
              <a:solidFill>
                <a:schemeClr val="bg1">
                  <a:lumMod val="9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14" name="Conector recto 5713">
              <a:extLst>
                <a:ext uri="{FF2B5EF4-FFF2-40B4-BE49-F238E27FC236}">
                  <a16:creationId xmlns:a16="http://schemas.microsoft.com/office/drawing/2014/main" id="{18852691-D944-6A0D-33F7-CA50ACB499B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522056" y="1490413"/>
              <a:ext cx="1437" cy="3120314"/>
            </a:xfrm>
            <a:prstGeom prst="line">
              <a:avLst/>
            </a:prstGeom>
            <a:ln w="3175">
              <a:solidFill>
                <a:schemeClr val="bg1">
                  <a:lumMod val="9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15" name="Conector recto 5714">
              <a:extLst>
                <a:ext uri="{FF2B5EF4-FFF2-40B4-BE49-F238E27FC236}">
                  <a16:creationId xmlns:a16="http://schemas.microsoft.com/office/drawing/2014/main" id="{70865011-49C5-91DE-F6D1-0CADB3FD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56211" y="1490413"/>
              <a:ext cx="1437" cy="3120314"/>
            </a:xfrm>
            <a:prstGeom prst="line">
              <a:avLst/>
            </a:prstGeom>
            <a:ln w="3175">
              <a:solidFill>
                <a:schemeClr val="bg1">
                  <a:lumMod val="9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16" name="Conector recto 5715">
              <a:extLst>
                <a:ext uri="{FF2B5EF4-FFF2-40B4-BE49-F238E27FC236}">
                  <a16:creationId xmlns:a16="http://schemas.microsoft.com/office/drawing/2014/main" id="{661F5B9D-D662-732C-6945-84582AE8FB6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90366" y="1490413"/>
              <a:ext cx="1437" cy="3120314"/>
            </a:xfrm>
            <a:prstGeom prst="line">
              <a:avLst/>
            </a:prstGeom>
            <a:ln w="3175">
              <a:solidFill>
                <a:schemeClr val="bg1">
                  <a:lumMod val="9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17" name="Conector recto 5716">
              <a:extLst>
                <a:ext uri="{FF2B5EF4-FFF2-40B4-BE49-F238E27FC236}">
                  <a16:creationId xmlns:a16="http://schemas.microsoft.com/office/drawing/2014/main" id="{E73885D2-8D84-FFE0-9CB7-DA62D0F0D99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24521" y="1490413"/>
              <a:ext cx="1437" cy="3120314"/>
            </a:xfrm>
            <a:prstGeom prst="line">
              <a:avLst/>
            </a:prstGeom>
            <a:ln w="3175">
              <a:solidFill>
                <a:schemeClr val="bg1">
                  <a:lumMod val="9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18" name="Conector recto 5717">
              <a:extLst>
                <a:ext uri="{FF2B5EF4-FFF2-40B4-BE49-F238E27FC236}">
                  <a16:creationId xmlns:a16="http://schemas.microsoft.com/office/drawing/2014/main" id="{40CA095F-F36D-A194-5C6B-DC8F78265A3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49350" y="1490413"/>
              <a:ext cx="1437" cy="3120314"/>
            </a:xfrm>
            <a:prstGeom prst="line">
              <a:avLst/>
            </a:prstGeom>
            <a:ln w="3175">
              <a:solidFill>
                <a:schemeClr val="bg1">
                  <a:lumMod val="9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19" name="Conector recto 5718">
              <a:extLst>
                <a:ext uri="{FF2B5EF4-FFF2-40B4-BE49-F238E27FC236}">
                  <a16:creationId xmlns:a16="http://schemas.microsoft.com/office/drawing/2014/main" id="{B51DFCC8-B16F-A5D8-0720-C28AAC364E6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457613" y="1490413"/>
              <a:ext cx="1437" cy="3120314"/>
            </a:xfrm>
            <a:prstGeom prst="line">
              <a:avLst/>
            </a:prstGeom>
            <a:ln w="3175">
              <a:solidFill>
                <a:schemeClr val="bg1">
                  <a:lumMod val="9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20" name="Conector recto 5719">
              <a:extLst>
                <a:ext uri="{FF2B5EF4-FFF2-40B4-BE49-F238E27FC236}">
                  <a16:creationId xmlns:a16="http://schemas.microsoft.com/office/drawing/2014/main" id="{ACEFEDE3-F9FA-EF44-8F84-7DFD4531312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682068" y="1490413"/>
              <a:ext cx="1437" cy="3120314"/>
            </a:xfrm>
            <a:prstGeom prst="line">
              <a:avLst/>
            </a:prstGeom>
            <a:ln w="3175">
              <a:solidFill>
                <a:schemeClr val="bg1">
                  <a:lumMod val="9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39" name="Grupo 5738">
            <a:extLst>
              <a:ext uri="{FF2B5EF4-FFF2-40B4-BE49-F238E27FC236}">
                <a16:creationId xmlns:a16="http://schemas.microsoft.com/office/drawing/2014/main" id="{9AA24AE2-B354-D821-072A-D46E038AC612}"/>
              </a:ext>
            </a:extLst>
          </p:cNvPr>
          <p:cNvGrpSpPr/>
          <p:nvPr/>
        </p:nvGrpSpPr>
        <p:grpSpPr>
          <a:xfrm>
            <a:off x="380366" y="3807740"/>
            <a:ext cx="8495620" cy="245428"/>
            <a:chOff x="380366" y="3807740"/>
            <a:chExt cx="8495620" cy="245428"/>
          </a:xfrm>
        </p:grpSpPr>
        <p:sp>
          <p:nvSpPr>
            <p:cNvPr id="5709" name="Redondear rectángulo de esquina del mismo lado 53">
              <a:extLst>
                <a:ext uri="{FF2B5EF4-FFF2-40B4-BE49-F238E27FC236}">
                  <a16:creationId xmlns:a16="http://schemas.microsoft.com/office/drawing/2014/main" id="{5509C2D3-FB50-58C9-939B-45BD8F137635}"/>
                </a:ext>
              </a:extLst>
            </p:cNvPr>
            <p:cNvSpPr/>
            <p:nvPr/>
          </p:nvSpPr>
          <p:spPr>
            <a:xfrm>
              <a:off x="380366" y="3807740"/>
              <a:ext cx="8495620" cy="245428"/>
            </a:xfrm>
            <a:prstGeom prst="roundRect">
              <a:avLst>
                <a:gd name="adj" fmla="val 50000"/>
              </a:avLst>
            </a:prstGeom>
            <a:gradFill>
              <a:gsLst>
                <a:gs pos="6000">
                  <a:srgbClr val="FFFFFF">
                    <a:alpha val="0"/>
                  </a:srgbClr>
                </a:gs>
                <a:gs pos="28000">
                  <a:srgbClr val="FFFFFF"/>
                </a:gs>
              </a:gsLst>
              <a:lin ang="0" scaled="0"/>
            </a:gra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563"/>
                </a:spcBef>
              </a:pPr>
              <a:endParaRPr lang="es-AR" sz="825" b="1">
                <a:solidFill>
                  <a:schemeClr val="tx1"/>
                </a:solidFill>
              </a:endParaRPr>
            </a:p>
          </p:txBody>
        </p:sp>
        <p:sp>
          <p:nvSpPr>
            <p:cNvPr id="5572" name="Forma libre 163">
              <a:extLst>
                <a:ext uri="{FF2B5EF4-FFF2-40B4-BE49-F238E27FC236}">
                  <a16:creationId xmlns:a16="http://schemas.microsoft.com/office/drawing/2014/main" id="{1F766135-7732-C1D7-9C7D-5163DD42ADF1}"/>
                </a:ext>
              </a:extLst>
            </p:cNvPr>
            <p:cNvSpPr>
              <a:spLocks/>
            </p:cNvSpPr>
            <p:nvPr/>
          </p:nvSpPr>
          <p:spPr>
            <a:xfrm>
              <a:off x="8086172" y="3847651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701" name="Forma libre 163">
              <a:extLst>
                <a:ext uri="{FF2B5EF4-FFF2-40B4-BE49-F238E27FC236}">
                  <a16:creationId xmlns:a16="http://schemas.microsoft.com/office/drawing/2014/main" id="{5004AC8B-7AC7-3A33-B8B3-88A4378A4D48}"/>
                </a:ext>
              </a:extLst>
            </p:cNvPr>
            <p:cNvSpPr>
              <a:spLocks/>
            </p:cNvSpPr>
            <p:nvPr/>
          </p:nvSpPr>
          <p:spPr>
            <a:xfrm>
              <a:off x="2928201" y="3847651"/>
              <a:ext cx="162047" cy="165607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rgbClr val="92D050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14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5735" name="Gráfico 5731">
              <a:extLst>
                <a:ext uri="{FF2B5EF4-FFF2-40B4-BE49-F238E27FC236}">
                  <a16:creationId xmlns:a16="http://schemas.microsoft.com/office/drawing/2014/main" id="{5097649E-CCC2-43C2-E3C3-AC167A3604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56953" y="3847654"/>
              <a:ext cx="165600" cy="165600"/>
            </a:xfrm>
            <a:custGeom>
              <a:avLst/>
              <a:gdLst>
                <a:gd name="connsiteX0" fmla="*/ 2057400 w 4114800"/>
                <a:gd name="connsiteY0" fmla="*/ 4114800 h 4114800"/>
                <a:gd name="connsiteX1" fmla="*/ 4114800 w 4114800"/>
                <a:gd name="connsiteY1" fmla="*/ 2057400 h 4114800"/>
                <a:gd name="connsiteX2" fmla="*/ 2057400 w 4114800"/>
                <a:gd name="connsiteY2" fmla="*/ 0 h 4114800"/>
                <a:gd name="connsiteX3" fmla="*/ 0 w 4114800"/>
                <a:gd name="connsiteY3" fmla="*/ 2057400 h 4114800"/>
                <a:gd name="connsiteX4" fmla="*/ 2057400 w 4114800"/>
                <a:gd name="connsiteY4" fmla="*/ 4114800 h 4114800"/>
                <a:gd name="connsiteX5" fmla="*/ 2057400 w 4114800"/>
                <a:gd name="connsiteY5" fmla="*/ 1414463 h 4114800"/>
                <a:gd name="connsiteX6" fmla="*/ 1800225 w 4114800"/>
                <a:gd name="connsiteY6" fmla="*/ 1671638 h 4114800"/>
                <a:gd name="connsiteX7" fmla="*/ 1607344 w 4114800"/>
                <a:gd name="connsiteY7" fmla="*/ 1864519 h 4114800"/>
                <a:gd name="connsiteX8" fmla="*/ 1414463 w 4114800"/>
                <a:gd name="connsiteY8" fmla="*/ 1671638 h 4114800"/>
                <a:gd name="connsiteX9" fmla="*/ 2057400 w 4114800"/>
                <a:gd name="connsiteY9" fmla="*/ 1028700 h 4114800"/>
                <a:gd name="connsiteX10" fmla="*/ 2700338 w 4114800"/>
                <a:gd name="connsiteY10" fmla="*/ 1671638 h 4114800"/>
                <a:gd name="connsiteX11" fmla="*/ 2250281 w 4114800"/>
                <a:gd name="connsiteY11" fmla="*/ 2270373 h 4114800"/>
                <a:gd name="connsiteX12" fmla="*/ 2250281 w 4114800"/>
                <a:gd name="connsiteY12" fmla="*/ 2300913 h 4114800"/>
                <a:gd name="connsiteX13" fmla="*/ 2057400 w 4114800"/>
                <a:gd name="connsiteY13" fmla="*/ 2493794 h 4114800"/>
                <a:gd name="connsiteX14" fmla="*/ 1864519 w 4114800"/>
                <a:gd name="connsiteY14" fmla="*/ 2300913 h 4114800"/>
                <a:gd name="connsiteX15" fmla="*/ 1864519 w 4114800"/>
                <a:gd name="connsiteY15" fmla="*/ 2235815 h 4114800"/>
                <a:gd name="connsiteX16" fmla="*/ 2106424 w 4114800"/>
                <a:gd name="connsiteY16" fmla="*/ 1912739 h 4114800"/>
                <a:gd name="connsiteX17" fmla="*/ 2252692 w 4114800"/>
                <a:gd name="connsiteY17" fmla="*/ 1829961 h 4114800"/>
                <a:gd name="connsiteX18" fmla="*/ 2314575 w 4114800"/>
                <a:gd name="connsiteY18" fmla="*/ 1672441 h 4114800"/>
                <a:gd name="connsiteX19" fmla="*/ 2057400 w 4114800"/>
                <a:gd name="connsiteY19" fmla="*/ 1415266 h 4114800"/>
                <a:gd name="connsiteX20" fmla="*/ 1800225 w 4114800"/>
                <a:gd name="connsiteY20" fmla="*/ 2957513 h 4114800"/>
                <a:gd name="connsiteX21" fmla="*/ 2057400 w 4114800"/>
                <a:gd name="connsiteY21" fmla="*/ 2700338 h 4114800"/>
                <a:gd name="connsiteX22" fmla="*/ 2314575 w 4114800"/>
                <a:gd name="connsiteY22" fmla="*/ 2957513 h 4114800"/>
                <a:gd name="connsiteX23" fmla="*/ 2057400 w 4114800"/>
                <a:gd name="connsiteY23" fmla="*/ 3214688 h 4114800"/>
                <a:gd name="connsiteX24" fmla="*/ 1800225 w 4114800"/>
                <a:gd name="connsiteY24" fmla="*/ 2957513 h 411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114800" h="4114800">
                  <a:moveTo>
                    <a:pt x="2057400" y="4114800"/>
                  </a:moveTo>
                  <a:cubicBezTo>
                    <a:pt x="3193792" y="4114800"/>
                    <a:pt x="4114800" y="3193792"/>
                    <a:pt x="4114800" y="2057400"/>
                  </a:cubicBezTo>
                  <a:cubicBezTo>
                    <a:pt x="4114800" y="921008"/>
                    <a:pt x="3193792" y="0"/>
                    <a:pt x="2057400" y="0"/>
                  </a:cubicBezTo>
                  <a:cubicBezTo>
                    <a:pt x="921008" y="0"/>
                    <a:pt x="0" y="921008"/>
                    <a:pt x="0" y="2057400"/>
                  </a:cubicBezTo>
                  <a:cubicBezTo>
                    <a:pt x="0" y="3193792"/>
                    <a:pt x="921008" y="4114800"/>
                    <a:pt x="2057400" y="4114800"/>
                  </a:cubicBezTo>
                  <a:close/>
                  <a:moveTo>
                    <a:pt x="2057400" y="1414463"/>
                  </a:moveTo>
                  <a:cubicBezTo>
                    <a:pt x="1915150" y="1414463"/>
                    <a:pt x="1800225" y="1529388"/>
                    <a:pt x="1800225" y="1671638"/>
                  </a:cubicBezTo>
                  <a:cubicBezTo>
                    <a:pt x="1800225" y="1778526"/>
                    <a:pt x="1714232" y="1864519"/>
                    <a:pt x="1607344" y="1864519"/>
                  </a:cubicBezTo>
                  <a:cubicBezTo>
                    <a:pt x="1500455" y="1864519"/>
                    <a:pt x="1414463" y="1778526"/>
                    <a:pt x="1414463" y="1671638"/>
                  </a:cubicBezTo>
                  <a:cubicBezTo>
                    <a:pt x="1414463" y="1316415"/>
                    <a:pt x="1702177" y="1028700"/>
                    <a:pt x="2057400" y="1028700"/>
                  </a:cubicBezTo>
                  <a:cubicBezTo>
                    <a:pt x="2412623" y="1028700"/>
                    <a:pt x="2700338" y="1316415"/>
                    <a:pt x="2700338" y="1671638"/>
                  </a:cubicBezTo>
                  <a:cubicBezTo>
                    <a:pt x="2700338" y="2050971"/>
                    <a:pt x="2411016" y="2211705"/>
                    <a:pt x="2250281" y="2270373"/>
                  </a:cubicBezTo>
                  <a:lnTo>
                    <a:pt x="2250281" y="2300913"/>
                  </a:lnTo>
                  <a:cubicBezTo>
                    <a:pt x="2250281" y="2407801"/>
                    <a:pt x="2164288" y="2493794"/>
                    <a:pt x="2057400" y="2493794"/>
                  </a:cubicBezTo>
                  <a:cubicBezTo>
                    <a:pt x="1950512" y="2493794"/>
                    <a:pt x="1864519" y="2407801"/>
                    <a:pt x="1864519" y="2300913"/>
                  </a:cubicBezTo>
                  <a:lnTo>
                    <a:pt x="1864519" y="2235815"/>
                  </a:lnTo>
                  <a:cubicBezTo>
                    <a:pt x="1864519" y="2071063"/>
                    <a:pt x="1983462" y="1952923"/>
                    <a:pt x="2106424" y="1912739"/>
                  </a:cubicBezTo>
                  <a:cubicBezTo>
                    <a:pt x="2157859" y="1895862"/>
                    <a:pt x="2212509" y="1868537"/>
                    <a:pt x="2252692" y="1829961"/>
                  </a:cubicBezTo>
                  <a:cubicBezTo>
                    <a:pt x="2287250" y="1796207"/>
                    <a:pt x="2314575" y="1749594"/>
                    <a:pt x="2314575" y="1672441"/>
                  </a:cubicBezTo>
                  <a:cubicBezTo>
                    <a:pt x="2314575" y="1530191"/>
                    <a:pt x="2199650" y="1415266"/>
                    <a:pt x="2057400" y="1415266"/>
                  </a:cubicBezTo>
                  <a:close/>
                  <a:moveTo>
                    <a:pt x="1800225" y="2957513"/>
                  </a:moveTo>
                  <a:cubicBezTo>
                    <a:pt x="1800225" y="2815263"/>
                    <a:pt x="1915150" y="2700338"/>
                    <a:pt x="2057400" y="2700338"/>
                  </a:cubicBezTo>
                  <a:cubicBezTo>
                    <a:pt x="2199650" y="2700338"/>
                    <a:pt x="2314575" y="2815263"/>
                    <a:pt x="2314575" y="2957513"/>
                  </a:cubicBezTo>
                  <a:cubicBezTo>
                    <a:pt x="2314575" y="3099763"/>
                    <a:pt x="2199650" y="3214688"/>
                    <a:pt x="2057400" y="3214688"/>
                  </a:cubicBezTo>
                  <a:cubicBezTo>
                    <a:pt x="1915150" y="3214688"/>
                    <a:pt x="1800225" y="3099763"/>
                    <a:pt x="1800225" y="295751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80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AR"/>
            </a:p>
          </p:txBody>
        </p:sp>
        <p:sp>
          <p:nvSpPr>
            <p:cNvPr id="5736" name="Gráfico 5731">
              <a:extLst>
                <a:ext uri="{FF2B5EF4-FFF2-40B4-BE49-F238E27FC236}">
                  <a16:creationId xmlns:a16="http://schemas.microsoft.com/office/drawing/2014/main" id="{6A520F78-EEBF-51D0-9F3B-F2D0DBA633C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89258" y="3847654"/>
              <a:ext cx="165600" cy="165600"/>
            </a:xfrm>
            <a:custGeom>
              <a:avLst/>
              <a:gdLst>
                <a:gd name="connsiteX0" fmla="*/ 2057400 w 4114800"/>
                <a:gd name="connsiteY0" fmla="*/ 4114800 h 4114800"/>
                <a:gd name="connsiteX1" fmla="*/ 4114800 w 4114800"/>
                <a:gd name="connsiteY1" fmla="*/ 2057400 h 4114800"/>
                <a:gd name="connsiteX2" fmla="*/ 2057400 w 4114800"/>
                <a:gd name="connsiteY2" fmla="*/ 0 h 4114800"/>
                <a:gd name="connsiteX3" fmla="*/ 0 w 4114800"/>
                <a:gd name="connsiteY3" fmla="*/ 2057400 h 4114800"/>
                <a:gd name="connsiteX4" fmla="*/ 2057400 w 4114800"/>
                <a:gd name="connsiteY4" fmla="*/ 4114800 h 4114800"/>
                <a:gd name="connsiteX5" fmla="*/ 2057400 w 4114800"/>
                <a:gd name="connsiteY5" fmla="*/ 1414463 h 4114800"/>
                <a:gd name="connsiteX6" fmla="*/ 1800225 w 4114800"/>
                <a:gd name="connsiteY6" fmla="*/ 1671638 h 4114800"/>
                <a:gd name="connsiteX7" fmla="*/ 1607344 w 4114800"/>
                <a:gd name="connsiteY7" fmla="*/ 1864519 h 4114800"/>
                <a:gd name="connsiteX8" fmla="*/ 1414463 w 4114800"/>
                <a:gd name="connsiteY8" fmla="*/ 1671638 h 4114800"/>
                <a:gd name="connsiteX9" fmla="*/ 2057400 w 4114800"/>
                <a:gd name="connsiteY9" fmla="*/ 1028700 h 4114800"/>
                <a:gd name="connsiteX10" fmla="*/ 2700338 w 4114800"/>
                <a:gd name="connsiteY10" fmla="*/ 1671638 h 4114800"/>
                <a:gd name="connsiteX11" fmla="*/ 2250281 w 4114800"/>
                <a:gd name="connsiteY11" fmla="*/ 2270373 h 4114800"/>
                <a:gd name="connsiteX12" fmla="*/ 2250281 w 4114800"/>
                <a:gd name="connsiteY12" fmla="*/ 2300913 h 4114800"/>
                <a:gd name="connsiteX13" fmla="*/ 2057400 w 4114800"/>
                <a:gd name="connsiteY13" fmla="*/ 2493794 h 4114800"/>
                <a:gd name="connsiteX14" fmla="*/ 1864519 w 4114800"/>
                <a:gd name="connsiteY14" fmla="*/ 2300913 h 4114800"/>
                <a:gd name="connsiteX15" fmla="*/ 1864519 w 4114800"/>
                <a:gd name="connsiteY15" fmla="*/ 2235815 h 4114800"/>
                <a:gd name="connsiteX16" fmla="*/ 2106424 w 4114800"/>
                <a:gd name="connsiteY16" fmla="*/ 1912739 h 4114800"/>
                <a:gd name="connsiteX17" fmla="*/ 2252692 w 4114800"/>
                <a:gd name="connsiteY17" fmla="*/ 1829961 h 4114800"/>
                <a:gd name="connsiteX18" fmla="*/ 2314575 w 4114800"/>
                <a:gd name="connsiteY18" fmla="*/ 1672441 h 4114800"/>
                <a:gd name="connsiteX19" fmla="*/ 2057400 w 4114800"/>
                <a:gd name="connsiteY19" fmla="*/ 1415266 h 4114800"/>
                <a:gd name="connsiteX20" fmla="*/ 1800225 w 4114800"/>
                <a:gd name="connsiteY20" fmla="*/ 2957513 h 4114800"/>
                <a:gd name="connsiteX21" fmla="*/ 2057400 w 4114800"/>
                <a:gd name="connsiteY21" fmla="*/ 2700338 h 4114800"/>
                <a:gd name="connsiteX22" fmla="*/ 2314575 w 4114800"/>
                <a:gd name="connsiteY22" fmla="*/ 2957513 h 4114800"/>
                <a:gd name="connsiteX23" fmla="*/ 2057400 w 4114800"/>
                <a:gd name="connsiteY23" fmla="*/ 3214688 h 4114800"/>
                <a:gd name="connsiteX24" fmla="*/ 1800225 w 4114800"/>
                <a:gd name="connsiteY24" fmla="*/ 2957513 h 411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114800" h="4114800">
                  <a:moveTo>
                    <a:pt x="2057400" y="4114800"/>
                  </a:moveTo>
                  <a:cubicBezTo>
                    <a:pt x="3193792" y="4114800"/>
                    <a:pt x="4114800" y="3193792"/>
                    <a:pt x="4114800" y="2057400"/>
                  </a:cubicBezTo>
                  <a:cubicBezTo>
                    <a:pt x="4114800" y="921008"/>
                    <a:pt x="3193792" y="0"/>
                    <a:pt x="2057400" y="0"/>
                  </a:cubicBezTo>
                  <a:cubicBezTo>
                    <a:pt x="921008" y="0"/>
                    <a:pt x="0" y="921008"/>
                    <a:pt x="0" y="2057400"/>
                  </a:cubicBezTo>
                  <a:cubicBezTo>
                    <a:pt x="0" y="3193792"/>
                    <a:pt x="921008" y="4114800"/>
                    <a:pt x="2057400" y="4114800"/>
                  </a:cubicBezTo>
                  <a:close/>
                  <a:moveTo>
                    <a:pt x="2057400" y="1414463"/>
                  </a:moveTo>
                  <a:cubicBezTo>
                    <a:pt x="1915150" y="1414463"/>
                    <a:pt x="1800225" y="1529388"/>
                    <a:pt x="1800225" y="1671638"/>
                  </a:cubicBezTo>
                  <a:cubicBezTo>
                    <a:pt x="1800225" y="1778526"/>
                    <a:pt x="1714232" y="1864519"/>
                    <a:pt x="1607344" y="1864519"/>
                  </a:cubicBezTo>
                  <a:cubicBezTo>
                    <a:pt x="1500455" y="1864519"/>
                    <a:pt x="1414463" y="1778526"/>
                    <a:pt x="1414463" y="1671638"/>
                  </a:cubicBezTo>
                  <a:cubicBezTo>
                    <a:pt x="1414463" y="1316415"/>
                    <a:pt x="1702177" y="1028700"/>
                    <a:pt x="2057400" y="1028700"/>
                  </a:cubicBezTo>
                  <a:cubicBezTo>
                    <a:pt x="2412623" y="1028700"/>
                    <a:pt x="2700338" y="1316415"/>
                    <a:pt x="2700338" y="1671638"/>
                  </a:cubicBezTo>
                  <a:cubicBezTo>
                    <a:pt x="2700338" y="2050971"/>
                    <a:pt x="2411016" y="2211705"/>
                    <a:pt x="2250281" y="2270373"/>
                  </a:cubicBezTo>
                  <a:lnTo>
                    <a:pt x="2250281" y="2300913"/>
                  </a:lnTo>
                  <a:cubicBezTo>
                    <a:pt x="2250281" y="2407801"/>
                    <a:pt x="2164288" y="2493794"/>
                    <a:pt x="2057400" y="2493794"/>
                  </a:cubicBezTo>
                  <a:cubicBezTo>
                    <a:pt x="1950512" y="2493794"/>
                    <a:pt x="1864519" y="2407801"/>
                    <a:pt x="1864519" y="2300913"/>
                  </a:cubicBezTo>
                  <a:lnTo>
                    <a:pt x="1864519" y="2235815"/>
                  </a:lnTo>
                  <a:cubicBezTo>
                    <a:pt x="1864519" y="2071063"/>
                    <a:pt x="1983462" y="1952923"/>
                    <a:pt x="2106424" y="1912739"/>
                  </a:cubicBezTo>
                  <a:cubicBezTo>
                    <a:pt x="2157859" y="1895862"/>
                    <a:pt x="2212509" y="1868537"/>
                    <a:pt x="2252692" y="1829961"/>
                  </a:cubicBezTo>
                  <a:cubicBezTo>
                    <a:pt x="2287250" y="1796207"/>
                    <a:pt x="2314575" y="1749594"/>
                    <a:pt x="2314575" y="1672441"/>
                  </a:cubicBezTo>
                  <a:cubicBezTo>
                    <a:pt x="2314575" y="1530191"/>
                    <a:pt x="2199650" y="1415266"/>
                    <a:pt x="2057400" y="1415266"/>
                  </a:cubicBezTo>
                  <a:close/>
                  <a:moveTo>
                    <a:pt x="1800225" y="2957513"/>
                  </a:moveTo>
                  <a:cubicBezTo>
                    <a:pt x="1800225" y="2815263"/>
                    <a:pt x="1915150" y="2700338"/>
                    <a:pt x="2057400" y="2700338"/>
                  </a:cubicBezTo>
                  <a:cubicBezTo>
                    <a:pt x="2199650" y="2700338"/>
                    <a:pt x="2314575" y="2815263"/>
                    <a:pt x="2314575" y="2957513"/>
                  </a:cubicBezTo>
                  <a:cubicBezTo>
                    <a:pt x="2314575" y="3099763"/>
                    <a:pt x="2199650" y="3214688"/>
                    <a:pt x="2057400" y="3214688"/>
                  </a:cubicBezTo>
                  <a:cubicBezTo>
                    <a:pt x="1915150" y="3214688"/>
                    <a:pt x="1800225" y="3099763"/>
                    <a:pt x="1800225" y="295751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80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AR"/>
            </a:p>
          </p:txBody>
        </p:sp>
        <p:sp>
          <p:nvSpPr>
            <p:cNvPr id="5737" name="Gráfico 5731">
              <a:extLst>
                <a:ext uri="{FF2B5EF4-FFF2-40B4-BE49-F238E27FC236}">
                  <a16:creationId xmlns:a16="http://schemas.microsoft.com/office/drawing/2014/main" id="{789C2921-3DC1-19A3-A8EB-2AC2DDBA0F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21563" y="3847654"/>
              <a:ext cx="165600" cy="165600"/>
            </a:xfrm>
            <a:custGeom>
              <a:avLst/>
              <a:gdLst>
                <a:gd name="connsiteX0" fmla="*/ 2057400 w 4114800"/>
                <a:gd name="connsiteY0" fmla="*/ 4114800 h 4114800"/>
                <a:gd name="connsiteX1" fmla="*/ 4114800 w 4114800"/>
                <a:gd name="connsiteY1" fmla="*/ 2057400 h 4114800"/>
                <a:gd name="connsiteX2" fmla="*/ 2057400 w 4114800"/>
                <a:gd name="connsiteY2" fmla="*/ 0 h 4114800"/>
                <a:gd name="connsiteX3" fmla="*/ 0 w 4114800"/>
                <a:gd name="connsiteY3" fmla="*/ 2057400 h 4114800"/>
                <a:gd name="connsiteX4" fmla="*/ 2057400 w 4114800"/>
                <a:gd name="connsiteY4" fmla="*/ 4114800 h 4114800"/>
                <a:gd name="connsiteX5" fmla="*/ 2057400 w 4114800"/>
                <a:gd name="connsiteY5" fmla="*/ 1414463 h 4114800"/>
                <a:gd name="connsiteX6" fmla="*/ 1800225 w 4114800"/>
                <a:gd name="connsiteY6" fmla="*/ 1671638 h 4114800"/>
                <a:gd name="connsiteX7" fmla="*/ 1607344 w 4114800"/>
                <a:gd name="connsiteY7" fmla="*/ 1864519 h 4114800"/>
                <a:gd name="connsiteX8" fmla="*/ 1414463 w 4114800"/>
                <a:gd name="connsiteY8" fmla="*/ 1671638 h 4114800"/>
                <a:gd name="connsiteX9" fmla="*/ 2057400 w 4114800"/>
                <a:gd name="connsiteY9" fmla="*/ 1028700 h 4114800"/>
                <a:gd name="connsiteX10" fmla="*/ 2700338 w 4114800"/>
                <a:gd name="connsiteY10" fmla="*/ 1671638 h 4114800"/>
                <a:gd name="connsiteX11" fmla="*/ 2250281 w 4114800"/>
                <a:gd name="connsiteY11" fmla="*/ 2270373 h 4114800"/>
                <a:gd name="connsiteX12" fmla="*/ 2250281 w 4114800"/>
                <a:gd name="connsiteY12" fmla="*/ 2300913 h 4114800"/>
                <a:gd name="connsiteX13" fmla="*/ 2057400 w 4114800"/>
                <a:gd name="connsiteY13" fmla="*/ 2493794 h 4114800"/>
                <a:gd name="connsiteX14" fmla="*/ 1864519 w 4114800"/>
                <a:gd name="connsiteY14" fmla="*/ 2300913 h 4114800"/>
                <a:gd name="connsiteX15" fmla="*/ 1864519 w 4114800"/>
                <a:gd name="connsiteY15" fmla="*/ 2235815 h 4114800"/>
                <a:gd name="connsiteX16" fmla="*/ 2106424 w 4114800"/>
                <a:gd name="connsiteY16" fmla="*/ 1912739 h 4114800"/>
                <a:gd name="connsiteX17" fmla="*/ 2252692 w 4114800"/>
                <a:gd name="connsiteY17" fmla="*/ 1829961 h 4114800"/>
                <a:gd name="connsiteX18" fmla="*/ 2314575 w 4114800"/>
                <a:gd name="connsiteY18" fmla="*/ 1672441 h 4114800"/>
                <a:gd name="connsiteX19" fmla="*/ 2057400 w 4114800"/>
                <a:gd name="connsiteY19" fmla="*/ 1415266 h 4114800"/>
                <a:gd name="connsiteX20" fmla="*/ 1800225 w 4114800"/>
                <a:gd name="connsiteY20" fmla="*/ 2957513 h 4114800"/>
                <a:gd name="connsiteX21" fmla="*/ 2057400 w 4114800"/>
                <a:gd name="connsiteY21" fmla="*/ 2700338 h 4114800"/>
                <a:gd name="connsiteX22" fmla="*/ 2314575 w 4114800"/>
                <a:gd name="connsiteY22" fmla="*/ 2957513 h 4114800"/>
                <a:gd name="connsiteX23" fmla="*/ 2057400 w 4114800"/>
                <a:gd name="connsiteY23" fmla="*/ 3214688 h 4114800"/>
                <a:gd name="connsiteX24" fmla="*/ 1800225 w 4114800"/>
                <a:gd name="connsiteY24" fmla="*/ 2957513 h 411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114800" h="4114800">
                  <a:moveTo>
                    <a:pt x="2057400" y="4114800"/>
                  </a:moveTo>
                  <a:cubicBezTo>
                    <a:pt x="3193792" y="4114800"/>
                    <a:pt x="4114800" y="3193792"/>
                    <a:pt x="4114800" y="2057400"/>
                  </a:cubicBezTo>
                  <a:cubicBezTo>
                    <a:pt x="4114800" y="921008"/>
                    <a:pt x="3193792" y="0"/>
                    <a:pt x="2057400" y="0"/>
                  </a:cubicBezTo>
                  <a:cubicBezTo>
                    <a:pt x="921008" y="0"/>
                    <a:pt x="0" y="921008"/>
                    <a:pt x="0" y="2057400"/>
                  </a:cubicBezTo>
                  <a:cubicBezTo>
                    <a:pt x="0" y="3193792"/>
                    <a:pt x="921008" y="4114800"/>
                    <a:pt x="2057400" y="4114800"/>
                  </a:cubicBezTo>
                  <a:close/>
                  <a:moveTo>
                    <a:pt x="2057400" y="1414463"/>
                  </a:moveTo>
                  <a:cubicBezTo>
                    <a:pt x="1915150" y="1414463"/>
                    <a:pt x="1800225" y="1529388"/>
                    <a:pt x="1800225" y="1671638"/>
                  </a:cubicBezTo>
                  <a:cubicBezTo>
                    <a:pt x="1800225" y="1778526"/>
                    <a:pt x="1714232" y="1864519"/>
                    <a:pt x="1607344" y="1864519"/>
                  </a:cubicBezTo>
                  <a:cubicBezTo>
                    <a:pt x="1500455" y="1864519"/>
                    <a:pt x="1414463" y="1778526"/>
                    <a:pt x="1414463" y="1671638"/>
                  </a:cubicBezTo>
                  <a:cubicBezTo>
                    <a:pt x="1414463" y="1316415"/>
                    <a:pt x="1702177" y="1028700"/>
                    <a:pt x="2057400" y="1028700"/>
                  </a:cubicBezTo>
                  <a:cubicBezTo>
                    <a:pt x="2412623" y="1028700"/>
                    <a:pt x="2700338" y="1316415"/>
                    <a:pt x="2700338" y="1671638"/>
                  </a:cubicBezTo>
                  <a:cubicBezTo>
                    <a:pt x="2700338" y="2050971"/>
                    <a:pt x="2411016" y="2211705"/>
                    <a:pt x="2250281" y="2270373"/>
                  </a:cubicBezTo>
                  <a:lnTo>
                    <a:pt x="2250281" y="2300913"/>
                  </a:lnTo>
                  <a:cubicBezTo>
                    <a:pt x="2250281" y="2407801"/>
                    <a:pt x="2164288" y="2493794"/>
                    <a:pt x="2057400" y="2493794"/>
                  </a:cubicBezTo>
                  <a:cubicBezTo>
                    <a:pt x="1950512" y="2493794"/>
                    <a:pt x="1864519" y="2407801"/>
                    <a:pt x="1864519" y="2300913"/>
                  </a:cubicBezTo>
                  <a:lnTo>
                    <a:pt x="1864519" y="2235815"/>
                  </a:lnTo>
                  <a:cubicBezTo>
                    <a:pt x="1864519" y="2071063"/>
                    <a:pt x="1983462" y="1952923"/>
                    <a:pt x="2106424" y="1912739"/>
                  </a:cubicBezTo>
                  <a:cubicBezTo>
                    <a:pt x="2157859" y="1895862"/>
                    <a:pt x="2212509" y="1868537"/>
                    <a:pt x="2252692" y="1829961"/>
                  </a:cubicBezTo>
                  <a:cubicBezTo>
                    <a:pt x="2287250" y="1796207"/>
                    <a:pt x="2314575" y="1749594"/>
                    <a:pt x="2314575" y="1672441"/>
                  </a:cubicBezTo>
                  <a:cubicBezTo>
                    <a:pt x="2314575" y="1530191"/>
                    <a:pt x="2199650" y="1415266"/>
                    <a:pt x="2057400" y="1415266"/>
                  </a:cubicBezTo>
                  <a:close/>
                  <a:moveTo>
                    <a:pt x="1800225" y="2957513"/>
                  </a:moveTo>
                  <a:cubicBezTo>
                    <a:pt x="1800225" y="2815263"/>
                    <a:pt x="1915150" y="2700338"/>
                    <a:pt x="2057400" y="2700338"/>
                  </a:cubicBezTo>
                  <a:cubicBezTo>
                    <a:pt x="2199650" y="2700338"/>
                    <a:pt x="2314575" y="2815263"/>
                    <a:pt x="2314575" y="2957513"/>
                  </a:cubicBezTo>
                  <a:cubicBezTo>
                    <a:pt x="2314575" y="3099763"/>
                    <a:pt x="2199650" y="3214688"/>
                    <a:pt x="2057400" y="3214688"/>
                  </a:cubicBezTo>
                  <a:cubicBezTo>
                    <a:pt x="1915150" y="3214688"/>
                    <a:pt x="1800225" y="3099763"/>
                    <a:pt x="1800225" y="295751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80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AR"/>
            </a:p>
          </p:txBody>
        </p:sp>
        <p:sp>
          <p:nvSpPr>
            <p:cNvPr id="5738" name="Gráfico 5731">
              <a:extLst>
                <a:ext uri="{FF2B5EF4-FFF2-40B4-BE49-F238E27FC236}">
                  <a16:creationId xmlns:a16="http://schemas.microsoft.com/office/drawing/2014/main" id="{E37AE094-AD52-A704-7B2E-A8784BA22B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53868" y="3847654"/>
              <a:ext cx="165600" cy="165600"/>
            </a:xfrm>
            <a:custGeom>
              <a:avLst/>
              <a:gdLst>
                <a:gd name="connsiteX0" fmla="*/ 2057400 w 4114800"/>
                <a:gd name="connsiteY0" fmla="*/ 4114800 h 4114800"/>
                <a:gd name="connsiteX1" fmla="*/ 4114800 w 4114800"/>
                <a:gd name="connsiteY1" fmla="*/ 2057400 h 4114800"/>
                <a:gd name="connsiteX2" fmla="*/ 2057400 w 4114800"/>
                <a:gd name="connsiteY2" fmla="*/ 0 h 4114800"/>
                <a:gd name="connsiteX3" fmla="*/ 0 w 4114800"/>
                <a:gd name="connsiteY3" fmla="*/ 2057400 h 4114800"/>
                <a:gd name="connsiteX4" fmla="*/ 2057400 w 4114800"/>
                <a:gd name="connsiteY4" fmla="*/ 4114800 h 4114800"/>
                <a:gd name="connsiteX5" fmla="*/ 2057400 w 4114800"/>
                <a:gd name="connsiteY5" fmla="*/ 1414463 h 4114800"/>
                <a:gd name="connsiteX6" fmla="*/ 1800225 w 4114800"/>
                <a:gd name="connsiteY6" fmla="*/ 1671638 h 4114800"/>
                <a:gd name="connsiteX7" fmla="*/ 1607344 w 4114800"/>
                <a:gd name="connsiteY7" fmla="*/ 1864519 h 4114800"/>
                <a:gd name="connsiteX8" fmla="*/ 1414463 w 4114800"/>
                <a:gd name="connsiteY8" fmla="*/ 1671638 h 4114800"/>
                <a:gd name="connsiteX9" fmla="*/ 2057400 w 4114800"/>
                <a:gd name="connsiteY9" fmla="*/ 1028700 h 4114800"/>
                <a:gd name="connsiteX10" fmla="*/ 2700338 w 4114800"/>
                <a:gd name="connsiteY10" fmla="*/ 1671638 h 4114800"/>
                <a:gd name="connsiteX11" fmla="*/ 2250281 w 4114800"/>
                <a:gd name="connsiteY11" fmla="*/ 2270373 h 4114800"/>
                <a:gd name="connsiteX12" fmla="*/ 2250281 w 4114800"/>
                <a:gd name="connsiteY12" fmla="*/ 2300913 h 4114800"/>
                <a:gd name="connsiteX13" fmla="*/ 2057400 w 4114800"/>
                <a:gd name="connsiteY13" fmla="*/ 2493794 h 4114800"/>
                <a:gd name="connsiteX14" fmla="*/ 1864519 w 4114800"/>
                <a:gd name="connsiteY14" fmla="*/ 2300913 h 4114800"/>
                <a:gd name="connsiteX15" fmla="*/ 1864519 w 4114800"/>
                <a:gd name="connsiteY15" fmla="*/ 2235815 h 4114800"/>
                <a:gd name="connsiteX16" fmla="*/ 2106424 w 4114800"/>
                <a:gd name="connsiteY16" fmla="*/ 1912739 h 4114800"/>
                <a:gd name="connsiteX17" fmla="*/ 2252692 w 4114800"/>
                <a:gd name="connsiteY17" fmla="*/ 1829961 h 4114800"/>
                <a:gd name="connsiteX18" fmla="*/ 2314575 w 4114800"/>
                <a:gd name="connsiteY18" fmla="*/ 1672441 h 4114800"/>
                <a:gd name="connsiteX19" fmla="*/ 2057400 w 4114800"/>
                <a:gd name="connsiteY19" fmla="*/ 1415266 h 4114800"/>
                <a:gd name="connsiteX20" fmla="*/ 1800225 w 4114800"/>
                <a:gd name="connsiteY20" fmla="*/ 2957513 h 4114800"/>
                <a:gd name="connsiteX21" fmla="*/ 2057400 w 4114800"/>
                <a:gd name="connsiteY21" fmla="*/ 2700338 h 4114800"/>
                <a:gd name="connsiteX22" fmla="*/ 2314575 w 4114800"/>
                <a:gd name="connsiteY22" fmla="*/ 2957513 h 4114800"/>
                <a:gd name="connsiteX23" fmla="*/ 2057400 w 4114800"/>
                <a:gd name="connsiteY23" fmla="*/ 3214688 h 4114800"/>
                <a:gd name="connsiteX24" fmla="*/ 1800225 w 4114800"/>
                <a:gd name="connsiteY24" fmla="*/ 2957513 h 411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114800" h="4114800">
                  <a:moveTo>
                    <a:pt x="2057400" y="4114800"/>
                  </a:moveTo>
                  <a:cubicBezTo>
                    <a:pt x="3193792" y="4114800"/>
                    <a:pt x="4114800" y="3193792"/>
                    <a:pt x="4114800" y="2057400"/>
                  </a:cubicBezTo>
                  <a:cubicBezTo>
                    <a:pt x="4114800" y="921008"/>
                    <a:pt x="3193792" y="0"/>
                    <a:pt x="2057400" y="0"/>
                  </a:cubicBezTo>
                  <a:cubicBezTo>
                    <a:pt x="921008" y="0"/>
                    <a:pt x="0" y="921008"/>
                    <a:pt x="0" y="2057400"/>
                  </a:cubicBezTo>
                  <a:cubicBezTo>
                    <a:pt x="0" y="3193792"/>
                    <a:pt x="921008" y="4114800"/>
                    <a:pt x="2057400" y="4114800"/>
                  </a:cubicBezTo>
                  <a:close/>
                  <a:moveTo>
                    <a:pt x="2057400" y="1414463"/>
                  </a:moveTo>
                  <a:cubicBezTo>
                    <a:pt x="1915150" y="1414463"/>
                    <a:pt x="1800225" y="1529388"/>
                    <a:pt x="1800225" y="1671638"/>
                  </a:cubicBezTo>
                  <a:cubicBezTo>
                    <a:pt x="1800225" y="1778526"/>
                    <a:pt x="1714232" y="1864519"/>
                    <a:pt x="1607344" y="1864519"/>
                  </a:cubicBezTo>
                  <a:cubicBezTo>
                    <a:pt x="1500455" y="1864519"/>
                    <a:pt x="1414463" y="1778526"/>
                    <a:pt x="1414463" y="1671638"/>
                  </a:cubicBezTo>
                  <a:cubicBezTo>
                    <a:pt x="1414463" y="1316415"/>
                    <a:pt x="1702177" y="1028700"/>
                    <a:pt x="2057400" y="1028700"/>
                  </a:cubicBezTo>
                  <a:cubicBezTo>
                    <a:pt x="2412623" y="1028700"/>
                    <a:pt x="2700338" y="1316415"/>
                    <a:pt x="2700338" y="1671638"/>
                  </a:cubicBezTo>
                  <a:cubicBezTo>
                    <a:pt x="2700338" y="2050971"/>
                    <a:pt x="2411016" y="2211705"/>
                    <a:pt x="2250281" y="2270373"/>
                  </a:cubicBezTo>
                  <a:lnTo>
                    <a:pt x="2250281" y="2300913"/>
                  </a:lnTo>
                  <a:cubicBezTo>
                    <a:pt x="2250281" y="2407801"/>
                    <a:pt x="2164288" y="2493794"/>
                    <a:pt x="2057400" y="2493794"/>
                  </a:cubicBezTo>
                  <a:cubicBezTo>
                    <a:pt x="1950512" y="2493794"/>
                    <a:pt x="1864519" y="2407801"/>
                    <a:pt x="1864519" y="2300913"/>
                  </a:cubicBezTo>
                  <a:lnTo>
                    <a:pt x="1864519" y="2235815"/>
                  </a:lnTo>
                  <a:cubicBezTo>
                    <a:pt x="1864519" y="2071063"/>
                    <a:pt x="1983462" y="1952923"/>
                    <a:pt x="2106424" y="1912739"/>
                  </a:cubicBezTo>
                  <a:cubicBezTo>
                    <a:pt x="2157859" y="1895862"/>
                    <a:pt x="2212509" y="1868537"/>
                    <a:pt x="2252692" y="1829961"/>
                  </a:cubicBezTo>
                  <a:cubicBezTo>
                    <a:pt x="2287250" y="1796207"/>
                    <a:pt x="2314575" y="1749594"/>
                    <a:pt x="2314575" y="1672441"/>
                  </a:cubicBezTo>
                  <a:cubicBezTo>
                    <a:pt x="2314575" y="1530191"/>
                    <a:pt x="2199650" y="1415266"/>
                    <a:pt x="2057400" y="1415266"/>
                  </a:cubicBezTo>
                  <a:close/>
                  <a:moveTo>
                    <a:pt x="1800225" y="2957513"/>
                  </a:moveTo>
                  <a:cubicBezTo>
                    <a:pt x="1800225" y="2815263"/>
                    <a:pt x="1915150" y="2700338"/>
                    <a:pt x="2057400" y="2700338"/>
                  </a:cubicBezTo>
                  <a:cubicBezTo>
                    <a:pt x="2199650" y="2700338"/>
                    <a:pt x="2314575" y="2815263"/>
                    <a:pt x="2314575" y="2957513"/>
                  </a:cubicBezTo>
                  <a:cubicBezTo>
                    <a:pt x="2314575" y="3099763"/>
                    <a:pt x="2199650" y="3214688"/>
                    <a:pt x="2057400" y="3214688"/>
                  </a:cubicBezTo>
                  <a:cubicBezTo>
                    <a:pt x="1915150" y="3214688"/>
                    <a:pt x="1800225" y="3099763"/>
                    <a:pt x="1800225" y="295751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80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AR"/>
            </a:p>
          </p:txBody>
        </p:sp>
      </p:grpSp>
      <p:grpSp>
        <p:nvGrpSpPr>
          <p:cNvPr id="5740" name="Gráfico 5599">
            <a:extLst>
              <a:ext uri="{FF2B5EF4-FFF2-40B4-BE49-F238E27FC236}">
                <a16:creationId xmlns:a16="http://schemas.microsoft.com/office/drawing/2014/main" id="{F1D2BAB6-DA56-807C-DADB-A914C3A55B07}"/>
              </a:ext>
            </a:extLst>
          </p:cNvPr>
          <p:cNvGrpSpPr>
            <a:grpSpLocks noChangeAspect="1"/>
          </p:cNvGrpSpPr>
          <p:nvPr/>
        </p:nvGrpSpPr>
        <p:grpSpPr>
          <a:xfrm>
            <a:off x="573582" y="4426061"/>
            <a:ext cx="514252" cy="114132"/>
            <a:chOff x="6032077" y="4662447"/>
            <a:chExt cx="4876801" cy="1082348"/>
          </a:xfrm>
        </p:grpSpPr>
        <p:grpSp>
          <p:nvGrpSpPr>
            <p:cNvPr id="5741" name="Gráfico 5599">
              <a:extLst>
                <a:ext uri="{FF2B5EF4-FFF2-40B4-BE49-F238E27FC236}">
                  <a16:creationId xmlns:a16="http://schemas.microsoft.com/office/drawing/2014/main" id="{57D77D72-D39B-A3BA-D5DD-0B6618289A9F}"/>
                </a:ext>
              </a:extLst>
            </p:cNvPr>
            <p:cNvGrpSpPr/>
            <p:nvPr/>
          </p:nvGrpSpPr>
          <p:grpSpPr>
            <a:xfrm>
              <a:off x="6032077" y="4662447"/>
              <a:ext cx="1555235" cy="1082348"/>
              <a:chOff x="6032077" y="4662447"/>
              <a:chExt cx="1555235" cy="1082348"/>
            </a:xfrm>
          </p:grpSpPr>
          <p:sp>
            <p:nvSpPr>
              <p:cNvPr id="5750" name="Forma libre 5749">
                <a:extLst>
                  <a:ext uri="{FF2B5EF4-FFF2-40B4-BE49-F238E27FC236}">
                    <a16:creationId xmlns:a16="http://schemas.microsoft.com/office/drawing/2014/main" id="{6A74F179-C292-87CC-5FF2-03C82F2BE96A}"/>
                  </a:ext>
                </a:extLst>
              </p:cNvPr>
              <p:cNvSpPr/>
              <p:nvPr/>
            </p:nvSpPr>
            <p:spPr>
              <a:xfrm>
                <a:off x="6032077" y="4662447"/>
                <a:ext cx="1555235" cy="1082348"/>
              </a:xfrm>
              <a:custGeom>
                <a:avLst/>
                <a:gdLst>
                  <a:gd name="connsiteX0" fmla="*/ 1523192 w 1555235"/>
                  <a:gd name="connsiteY0" fmla="*/ 169347 h 1082348"/>
                  <a:gd name="connsiteX1" fmla="*/ 1385693 w 1555235"/>
                  <a:gd name="connsiteY1" fmla="*/ 32653 h 1082348"/>
                  <a:gd name="connsiteX2" fmla="*/ 778091 w 1555235"/>
                  <a:gd name="connsiteY2" fmla="*/ 325 h 1082348"/>
                  <a:gd name="connsiteX3" fmla="*/ 170492 w 1555235"/>
                  <a:gd name="connsiteY3" fmla="*/ 32653 h 1082348"/>
                  <a:gd name="connsiteX4" fmla="*/ 32995 w 1555235"/>
                  <a:gd name="connsiteY4" fmla="*/ 169347 h 1082348"/>
                  <a:gd name="connsiteX5" fmla="*/ 477 w 1555235"/>
                  <a:gd name="connsiteY5" fmla="*/ 541499 h 1082348"/>
                  <a:gd name="connsiteX6" fmla="*/ 32995 w 1555235"/>
                  <a:gd name="connsiteY6" fmla="*/ 913654 h 1082348"/>
                  <a:gd name="connsiteX7" fmla="*/ 170492 w 1555235"/>
                  <a:gd name="connsiteY7" fmla="*/ 1050344 h 1082348"/>
                  <a:gd name="connsiteX8" fmla="*/ 778091 w 1555235"/>
                  <a:gd name="connsiteY8" fmla="*/ 1082673 h 1082348"/>
                  <a:gd name="connsiteX9" fmla="*/ 1385693 w 1555235"/>
                  <a:gd name="connsiteY9" fmla="*/ 1050344 h 1082348"/>
                  <a:gd name="connsiteX10" fmla="*/ 1523192 w 1555235"/>
                  <a:gd name="connsiteY10" fmla="*/ 913654 h 1082348"/>
                  <a:gd name="connsiteX11" fmla="*/ 1555712 w 1555235"/>
                  <a:gd name="connsiteY11" fmla="*/ 541499 h 1082348"/>
                  <a:gd name="connsiteX12" fmla="*/ 1523192 w 1555235"/>
                  <a:gd name="connsiteY12" fmla="*/ 169347 h 1082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55235" h="1082348">
                    <a:moveTo>
                      <a:pt x="1523192" y="169347"/>
                    </a:moveTo>
                    <a:cubicBezTo>
                      <a:pt x="1505271" y="102782"/>
                      <a:pt x="1452648" y="50471"/>
                      <a:pt x="1385693" y="32653"/>
                    </a:cubicBezTo>
                    <a:cubicBezTo>
                      <a:pt x="1264459" y="325"/>
                      <a:pt x="778091" y="325"/>
                      <a:pt x="778091" y="325"/>
                    </a:cubicBezTo>
                    <a:cubicBezTo>
                      <a:pt x="778091" y="325"/>
                      <a:pt x="291731" y="325"/>
                      <a:pt x="170492" y="32653"/>
                    </a:cubicBezTo>
                    <a:cubicBezTo>
                      <a:pt x="103536" y="50471"/>
                      <a:pt x="50918" y="102782"/>
                      <a:pt x="32995" y="169347"/>
                    </a:cubicBezTo>
                    <a:cubicBezTo>
                      <a:pt x="477" y="289876"/>
                      <a:pt x="477" y="541499"/>
                      <a:pt x="477" y="541499"/>
                    </a:cubicBezTo>
                    <a:cubicBezTo>
                      <a:pt x="477" y="541499"/>
                      <a:pt x="477" y="793124"/>
                      <a:pt x="32995" y="913654"/>
                    </a:cubicBezTo>
                    <a:cubicBezTo>
                      <a:pt x="50918" y="980218"/>
                      <a:pt x="103536" y="1032528"/>
                      <a:pt x="170492" y="1050344"/>
                    </a:cubicBezTo>
                    <a:cubicBezTo>
                      <a:pt x="291731" y="1082673"/>
                      <a:pt x="778091" y="1082673"/>
                      <a:pt x="778091" y="1082673"/>
                    </a:cubicBezTo>
                    <a:cubicBezTo>
                      <a:pt x="778091" y="1082673"/>
                      <a:pt x="1264459" y="1082673"/>
                      <a:pt x="1385693" y="1050344"/>
                    </a:cubicBezTo>
                    <a:cubicBezTo>
                      <a:pt x="1452648" y="1032528"/>
                      <a:pt x="1505271" y="980218"/>
                      <a:pt x="1523192" y="913654"/>
                    </a:cubicBezTo>
                    <a:cubicBezTo>
                      <a:pt x="1555712" y="793124"/>
                      <a:pt x="1555712" y="541499"/>
                      <a:pt x="1555712" y="541499"/>
                    </a:cubicBezTo>
                    <a:cubicBezTo>
                      <a:pt x="1555712" y="541499"/>
                      <a:pt x="1555581" y="289876"/>
                      <a:pt x="1523192" y="169347"/>
                    </a:cubicBezTo>
                    <a:close/>
                  </a:path>
                </a:pathLst>
              </a:custGeom>
              <a:solidFill>
                <a:srgbClr val="FF0000"/>
              </a:solidFill>
              <a:ln w="544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751" name="Forma libre 5750">
                <a:extLst>
                  <a:ext uri="{FF2B5EF4-FFF2-40B4-BE49-F238E27FC236}">
                    <a16:creationId xmlns:a16="http://schemas.microsoft.com/office/drawing/2014/main" id="{1B046189-EDC6-11FC-471F-25E31B916DFA}"/>
                  </a:ext>
                </a:extLst>
              </p:cNvPr>
              <p:cNvSpPr/>
              <p:nvPr/>
            </p:nvSpPr>
            <p:spPr>
              <a:xfrm>
                <a:off x="6654022" y="4971746"/>
                <a:ext cx="404043" cy="463790"/>
              </a:xfrm>
              <a:custGeom>
                <a:avLst/>
                <a:gdLst>
                  <a:gd name="connsiteX0" fmla="*/ 481 w 404043"/>
                  <a:gd name="connsiteY0" fmla="*/ 464115 h 463790"/>
                  <a:gd name="connsiteX1" fmla="*/ 404525 w 404043"/>
                  <a:gd name="connsiteY1" fmla="*/ 232222 h 463790"/>
                  <a:gd name="connsiteX2" fmla="*/ 481 w 404043"/>
                  <a:gd name="connsiteY2" fmla="*/ 325 h 463790"/>
                  <a:gd name="connsiteX3" fmla="*/ 481 w 404043"/>
                  <a:gd name="connsiteY3" fmla="*/ 464115 h 463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4043" h="463790">
                    <a:moveTo>
                      <a:pt x="481" y="464115"/>
                    </a:moveTo>
                    <a:lnTo>
                      <a:pt x="404525" y="232222"/>
                    </a:lnTo>
                    <a:lnTo>
                      <a:pt x="481" y="325"/>
                    </a:lnTo>
                    <a:lnTo>
                      <a:pt x="481" y="464115"/>
                    </a:lnTo>
                    <a:close/>
                  </a:path>
                </a:pathLst>
              </a:custGeom>
              <a:solidFill>
                <a:srgbClr val="FFFFFF"/>
              </a:solidFill>
              <a:ln w="544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grpSp>
          <p:nvGrpSpPr>
            <p:cNvPr id="5742" name="Gráfico 5599">
              <a:extLst>
                <a:ext uri="{FF2B5EF4-FFF2-40B4-BE49-F238E27FC236}">
                  <a16:creationId xmlns:a16="http://schemas.microsoft.com/office/drawing/2014/main" id="{1D581B16-5D8E-CA98-066B-C82782C761C7}"/>
                </a:ext>
              </a:extLst>
            </p:cNvPr>
            <p:cNvGrpSpPr/>
            <p:nvPr/>
          </p:nvGrpSpPr>
          <p:grpSpPr>
            <a:xfrm>
              <a:off x="7741061" y="4704965"/>
              <a:ext cx="3167817" cy="973028"/>
              <a:chOff x="7741061" y="4704965"/>
              <a:chExt cx="3167817" cy="973028"/>
            </a:xfrm>
            <a:solidFill>
              <a:srgbClr val="282828"/>
            </a:solidFill>
          </p:grpSpPr>
          <p:sp>
            <p:nvSpPr>
              <p:cNvPr id="5743" name="Forma libre 5742">
                <a:extLst>
                  <a:ext uri="{FF2B5EF4-FFF2-40B4-BE49-F238E27FC236}">
                    <a16:creationId xmlns:a16="http://schemas.microsoft.com/office/drawing/2014/main" id="{665382B5-E034-B8A0-88F2-F11FA00E6763}"/>
                  </a:ext>
                </a:extLst>
              </p:cNvPr>
              <p:cNvSpPr/>
              <p:nvPr/>
            </p:nvSpPr>
            <p:spPr>
              <a:xfrm>
                <a:off x="7741061" y="4739211"/>
                <a:ext cx="502621" cy="927710"/>
              </a:xfrm>
              <a:custGeom>
                <a:avLst/>
                <a:gdLst>
                  <a:gd name="connsiteX0" fmla="*/ 175204 w 502621"/>
                  <a:gd name="connsiteY0" fmla="*/ 627283 h 927710"/>
                  <a:gd name="connsiteX1" fmla="*/ 579 w 502621"/>
                  <a:gd name="connsiteY1" fmla="*/ 325 h 927710"/>
                  <a:gd name="connsiteX2" fmla="*/ 152928 w 502621"/>
                  <a:gd name="connsiteY2" fmla="*/ 325 h 927710"/>
                  <a:gd name="connsiteX3" fmla="*/ 214125 w 502621"/>
                  <a:gd name="connsiteY3" fmla="*/ 284530 h 927710"/>
                  <a:gd name="connsiteX4" fmla="*/ 248561 w 502621"/>
                  <a:gd name="connsiteY4" fmla="*/ 463606 h 927710"/>
                  <a:gd name="connsiteX5" fmla="*/ 253041 w 502621"/>
                  <a:gd name="connsiteY5" fmla="*/ 463606 h 927710"/>
                  <a:gd name="connsiteX6" fmla="*/ 287483 w 502621"/>
                  <a:gd name="connsiteY6" fmla="*/ 285549 h 927710"/>
                  <a:gd name="connsiteX7" fmla="*/ 350851 w 502621"/>
                  <a:gd name="connsiteY7" fmla="*/ 325 h 927710"/>
                  <a:gd name="connsiteX8" fmla="*/ 503201 w 502621"/>
                  <a:gd name="connsiteY8" fmla="*/ 325 h 927710"/>
                  <a:gd name="connsiteX9" fmla="*/ 326399 w 502621"/>
                  <a:gd name="connsiteY9" fmla="*/ 627283 h 927710"/>
                  <a:gd name="connsiteX10" fmla="*/ 326399 w 502621"/>
                  <a:gd name="connsiteY10" fmla="*/ 928035 h 927710"/>
                  <a:gd name="connsiteX11" fmla="*/ 175078 w 502621"/>
                  <a:gd name="connsiteY11" fmla="*/ 928035 h 927710"/>
                  <a:gd name="connsiteX12" fmla="*/ 175078 w 502621"/>
                  <a:gd name="connsiteY12" fmla="*/ 627283 h 927710"/>
                  <a:gd name="connsiteX13" fmla="*/ 175204 w 502621"/>
                  <a:gd name="connsiteY13" fmla="*/ 627283 h 927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02621" h="927710">
                    <a:moveTo>
                      <a:pt x="175204" y="627283"/>
                    </a:moveTo>
                    <a:lnTo>
                      <a:pt x="579" y="325"/>
                    </a:lnTo>
                    <a:lnTo>
                      <a:pt x="152928" y="325"/>
                    </a:lnTo>
                    <a:lnTo>
                      <a:pt x="214125" y="284530"/>
                    </a:lnTo>
                    <a:cubicBezTo>
                      <a:pt x="229743" y="354532"/>
                      <a:pt x="241136" y="414224"/>
                      <a:pt x="248561" y="463606"/>
                    </a:cubicBezTo>
                    <a:lnTo>
                      <a:pt x="253041" y="463606"/>
                    </a:lnTo>
                    <a:cubicBezTo>
                      <a:pt x="258164" y="428224"/>
                      <a:pt x="269688" y="368914"/>
                      <a:pt x="287483" y="285549"/>
                    </a:cubicBezTo>
                    <a:lnTo>
                      <a:pt x="350851" y="325"/>
                    </a:lnTo>
                    <a:lnTo>
                      <a:pt x="503201" y="325"/>
                    </a:lnTo>
                    <a:lnTo>
                      <a:pt x="326399" y="627283"/>
                    </a:lnTo>
                    <a:lnTo>
                      <a:pt x="326399" y="928035"/>
                    </a:lnTo>
                    <a:lnTo>
                      <a:pt x="175078" y="928035"/>
                    </a:lnTo>
                    <a:lnTo>
                      <a:pt x="175078" y="627283"/>
                    </a:lnTo>
                    <a:lnTo>
                      <a:pt x="175204" y="627283"/>
                    </a:lnTo>
                    <a:close/>
                  </a:path>
                </a:pathLst>
              </a:custGeom>
              <a:solidFill>
                <a:srgbClr val="282828"/>
              </a:solidFill>
              <a:ln w="544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744" name="Forma libre 5743">
                <a:extLst>
                  <a:ext uri="{FF2B5EF4-FFF2-40B4-BE49-F238E27FC236}">
                    <a16:creationId xmlns:a16="http://schemas.microsoft.com/office/drawing/2014/main" id="{07767F18-00ED-0495-4F9D-3B03F75B0705}"/>
                  </a:ext>
                </a:extLst>
              </p:cNvPr>
              <p:cNvSpPr/>
              <p:nvPr/>
            </p:nvSpPr>
            <p:spPr>
              <a:xfrm>
                <a:off x="8204380" y="4975922"/>
                <a:ext cx="424909" cy="702051"/>
              </a:xfrm>
              <a:custGeom>
                <a:avLst/>
                <a:gdLst>
                  <a:gd name="connsiteX0" fmla="*/ 85748 w 424909"/>
                  <a:gd name="connsiteY0" fmla="*/ 671458 h 702051"/>
                  <a:gd name="connsiteX1" fmla="*/ 20071 w 424909"/>
                  <a:gd name="connsiteY1" fmla="*/ 575237 h 702051"/>
                  <a:gd name="connsiteX2" fmla="*/ 616 w 424909"/>
                  <a:gd name="connsiteY2" fmla="*/ 401634 h 702051"/>
                  <a:gd name="connsiteX3" fmla="*/ 616 w 424909"/>
                  <a:gd name="connsiteY3" fmla="*/ 303248 h 702051"/>
                  <a:gd name="connsiteX4" fmla="*/ 22891 w 424909"/>
                  <a:gd name="connsiteY4" fmla="*/ 127483 h 702051"/>
                  <a:gd name="connsiteX5" fmla="*/ 92405 w 424909"/>
                  <a:gd name="connsiteY5" fmla="*/ 30755 h 702051"/>
                  <a:gd name="connsiteX6" fmla="*/ 216464 w 424909"/>
                  <a:gd name="connsiteY6" fmla="*/ 336 h 702051"/>
                  <a:gd name="connsiteX7" fmla="*/ 337698 w 424909"/>
                  <a:gd name="connsiteY7" fmla="*/ 31264 h 702051"/>
                  <a:gd name="connsiteX8" fmla="*/ 404398 w 424909"/>
                  <a:gd name="connsiteY8" fmla="*/ 127993 h 702051"/>
                  <a:gd name="connsiteX9" fmla="*/ 425525 w 424909"/>
                  <a:gd name="connsiteY9" fmla="*/ 303248 h 702051"/>
                  <a:gd name="connsiteX10" fmla="*/ 425525 w 424909"/>
                  <a:gd name="connsiteY10" fmla="*/ 401634 h 702051"/>
                  <a:gd name="connsiteX11" fmla="*/ 404916 w 424909"/>
                  <a:gd name="connsiteY11" fmla="*/ 575746 h 702051"/>
                  <a:gd name="connsiteX12" fmla="*/ 338210 w 424909"/>
                  <a:gd name="connsiteY12" fmla="*/ 671966 h 702051"/>
                  <a:gd name="connsiteX13" fmla="*/ 213133 w 424909"/>
                  <a:gd name="connsiteY13" fmla="*/ 702386 h 702051"/>
                  <a:gd name="connsiteX14" fmla="*/ 85748 w 424909"/>
                  <a:gd name="connsiteY14" fmla="*/ 671458 h 702051"/>
                  <a:gd name="connsiteX15" fmla="*/ 258070 w 424909"/>
                  <a:gd name="connsiteY15" fmla="*/ 565312 h 702051"/>
                  <a:gd name="connsiteX16" fmla="*/ 270873 w 424909"/>
                  <a:gd name="connsiteY16" fmla="*/ 457001 h 702051"/>
                  <a:gd name="connsiteX17" fmla="*/ 270873 w 424909"/>
                  <a:gd name="connsiteY17" fmla="*/ 245851 h 702051"/>
                  <a:gd name="connsiteX18" fmla="*/ 258070 w 424909"/>
                  <a:gd name="connsiteY18" fmla="*/ 139193 h 702051"/>
                  <a:gd name="connsiteX19" fmla="*/ 213002 w 424909"/>
                  <a:gd name="connsiteY19" fmla="*/ 105465 h 702051"/>
                  <a:gd name="connsiteX20" fmla="*/ 169095 w 424909"/>
                  <a:gd name="connsiteY20" fmla="*/ 139193 h 702051"/>
                  <a:gd name="connsiteX21" fmla="*/ 156291 w 424909"/>
                  <a:gd name="connsiteY21" fmla="*/ 245851 h 702051"/>
                  <a:gd name="connsiteX22" fmla="*/ 156291 w 424909"/>
                  <a:gd name="connsiteY22" fmla="*/ 457001 h 702051"/>
                  <a:gd name="connsiteX23" fmla="*/ 168583 w 424909"/>
                  <a:gd name="connsiteY23" fmla="*/ 565312 h 702051"/>
                  <a:gd name="connsiteX24" fmla="*/ 213002 w 424909"/>
                  <a:gd name="connsiteY24" fmla="*/ 598529 h 702051"/>
                  <a:gd name="connsiteX25" fmla="*/ 258070 w 424909"/>
                  <a:gd name="connsiteY25" fmla="*/ 565312 h 702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24909" h="702051">
                    <a:moveTo>
                      <a:pt x="85748" y="671458"/>
                    </a:moveTo>
                    <a:cubicBezTo>
                      <a:pt x="55024" y="650839"/>
                      <a:pt x="33130" y="618764"/>
                      <a:pt x="20071" y="575237"/>
                    </a:cubicBezTo>
                    <a:cubicBezTo>
                      <a:pt x="7143" y="531710"/>
                      <a:pt x="616" y="473929"/>
                      <a:pt x="616" y="401634"/>
                    </a:cubicBezTo>
                    <a:lnTo>
                      <a:pt x="616" y="303248"/>
                    </a:lnTo>
                    <a:cubicBezTo>
                      <a:pt x="616" y="230320"/>
                      <a:pt x="8041" y="171648"/>
                      <a:pt x="22891" y="127483"/>
                    </a:cubicBezTo>
                    <a:cubicBezTo>
                      <a:pt x="37741" y="83319"/>
                      <a:pt x="60914" y="50991"/>
                      <a:pt x="92405" y="30755"/>
                    </a:cubicBezTo>
                    <a:cubicBezTo>
                      <a:pt x="123902" y="10518"/>
                      <a:pt x="165251" y="336"/>
                      <a:pt x="216464" y="336"/>
                    </a:cubicBezTo>
                    <a:cubicBezTo>
                      <a:pt x="266905" y="336"/>
                      <a:pt x="307231" y="10645"/>
                      <a:pt x="337698" y="31264"/>
                    </a:cubicBezTo>
                    <a:cubicBezTo>
                      <a:pt x="368041" y="51882"/>
                      <a:pt x="390316" y="84210"/>
                      <a:pt x="404398" y="127993"/>
                    </a:cubicBezTo>
                    <a:cubicBezTo>
                      <a:pt x="418481" y="171903"/>
                      <a:pt x="425525" y="230320"/>
                      <a:pt x="425525" y="303248"/>
                    </a:cubicBezTo>
                    <a:lnTo>
                      <a:pt x="425525" y="401634"/>
                    </a:lnTo>
                    <a:cubicBezTo>
                      <a:pt x="425525" y="473929"/>
                      <a:pt x="418612" y="531965"/>
                      <a:pt x="404916" y="575746"/>
                    </a:cubicBezTo>
                    <a:cubicBezTo>
                      <a:pt x="391214" y="619657"/>
                      <a:pt x="368939" y="651732"/>
                      <a:pt x="338210" y="671966"/>
                    </a:cubicBezTo>
                    <a:cubicBezTo>
                      <a:pt x="307486" y="692206"/>
                      <a:pt x="265751" y="702386"/>
                      <a:pt x="213133" y="702386"/>
                    </a:cubicBezTo>
                    <a:cubicBezTo>
                      <a:pt x="158850" y="702510"/>
                      <a:pt x="116477" y="692076"/>
                      <a:pt x="85748" y="671458"/>
                    </a:cubicBezTo>
                    <a:close/>
                    <a:moveTo>
                      <a:pt x="258070" y="565312"/>
                    </a:moveTo>
                    <a:cubicBezTo>
                      <a:pt x="266518" y="543167"/>
                      <a:pt x="270873" y="507146"/>
                      <a:pt x="270873" y="457001"/>
                    </a:cubicBezTo>
                    <a:lnTo>
                      <a:pt x="270873" y="245851"/>
                    </a:lnTo>
                    <a:cubicBezTo>
                      <a:pt x="270873" y="197231"/>
                      <a:pt x="266649" y="161593"/>
                      <a:pt x="258070" y="139193"/>
                    </a:cubicBezTo>
                    <a:cubicBezTo>
                      <a:pt x="249491" y="116665"/>
                      <a:pt x="234515" y="105465"/>
                      <a:pt x="213002" y="105465"/>
                    </a:cubicBezTo>
                    <a:cubicBezTo>
                      <a:pt x="192268" y="105465"/>
                      <a:pt x="177543" y="116665"/>
                      <a:pt x="169095" y="139193"/>
                    </a:cubicBezTo>
                    <a:cubicBezTo>
                      <a:pt x="160515" y="161721"/>
                      <a:pt x="156291" y="197231"/>
                      <a:pt x="156291" y="245851"/>
                    </a:cubicBezTo>
                    <a:lnTo>
                      <a:pt x="156291" y="457001"/>
                    </a:lnTo>
                    <a:cubicBezTo>
                      <a:pt x="156291" y="507146"/>
                      <a:pt x="160385" y="543291"/>
                      <a:pt x="168583" y="565312"/>
                    </a:cubicBezTo>
                    <a:cubicBezTo>
                      <a:pt x="176775" y="587457"/>
                      <a:pt x="191495" y="598529"/>
                      <a:pt x="213002" y="598529"/>
                    </a:cubicBezTo>
                    <a:cubicBezTo>
                      <a:pt x="234515" y="598529"/>
                      <a:pt x="249491" y="587457"/>
                      <a:pt x="258070" y="565312"/>
                    </a:cubicBezTo>
                    <a:close/>
                  </a:path>
                </a:pathLst>
              </a:custGeom>
              <a:solidFill>
                <a:srgbClr val="282828"/>
              </a:solidFill>
              <a:ln w="544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745" name="Forma libre 5744">
                <a:extLst>
                  <a:ext uri="{FF2B5EF4-FFF2-40B4-BE49-F238E27FC236}">
                    <a16:creationId xmlns:a16="http://schemas.microsoft.com/office/drawing/2014/main" id="{B0EE758E-69A0-EA34-7FAE-D012E2E8D50C}"/>
                  </a:ext>
                </a:extLst>
              </p:cNvPr>
              <p:cNvSpPr/>
              <p:nvPr/>
            </p:nvSpPr>
            <p:spPr>
              <a:xfrm>
                <a:off x="8708917" y="4989055"/>
                <a:ext cx="415948" cy="688938"/>
              </a:xfrm>
              <a:custGeom>
                <a:avLst/>
                <a:gdLst>
                  <a:gd name="connsiteX0" fmla="*/ 416608 w 415948"/>
                  <a:gd name="connsiteY0" fmla="*/ 678332 h 688938"/>
                  <a:gd name="connsiteX1" fmla="*/ 296523 w 415948"/>
                  <a:gd name="connsiteY1" fmla="*/ 678332 h 688938"/>
                  <a:gd name="connsiteX2" fmla="*/ 283208 w 415948"/>
                  <a:gd name="connsiteY2" fmla="*/ 595349 h 688938"/>
                  <a:gd name="connsiteX3" fmla="*/ 279882 w 415948"/>
                  <a:gd name="connsiteY3" fmla="*/ 595349 h 688938"/>
                  <a:gd name="connsiteX4" fmla="*/ 133036 w 415948"/>
                  <a:gd name="connsiteY4" fmla="*/ 689275 h 688938"/>
                  <a:gd name="connsiteX5" fmla="*/ 32923 w 415948"/>
                  <a:gd name="connsiteY5" fmla="*/ 645115 h 688938"/>
                  <a:gd name="connsiteX6" fmla="*/ 659 w 415948"/>
                  <a:gd name="connsiteY6" fmla="*/ 506894 h 688938"/>
                  <a:gd name="connsiteX7" fmla="*/ 659 w 415948"/>
                  <a:gd name="connsiteY7" fmla="*/ 463 h 688938"/>
                  <a:gd name="connsiteX8" fmla="*/ 154163 w 415948"/>
                  <a:gd name="connsiteY8" fmla="*/ 463 h 688938"/>
                  <a:gd name="connsiteX9" fmla="*/ 154163 w 415948"/>
                  <a:gd name="connsiteY9" fmla="*/ 497981 h 688938"/>
                  <a:gd name="connsiteX10" fmla="*/ 164146 w 415948"/>
                  <a:gd name="connsiteY10" fmla="*/ 562640 h 688938"/>
                  <a:gd name="connsiteX11" fmla="*/ 197559 w 415948"/>
                  <a:gd name="connsiteY11" fmla="*/ 581982 h 688938"/>
                  <a:gd name="connsiteX12" fmla="*/ 235969 w 415948"/>
                  <a:gd name="connsiteY12" fmla="*/ 569767 h 688938"/>
                  <a:gd name="connsiteX13" fmla="*/ 263235 w 415948"/>
                  <a:gd name="connsiteY13" fmla="*/ 538839 h 688938"/>
                  <a:gd name="connsiteX14" fmla="*/ 263235 w 415948"/>
                  <a:gd name="connsiteY14" fmla="*/ 336 h 688938"/>
                  <a:gd name="connsiteX15" fmla="*/ 416608 w 415948"/>
                  <a:gd name="connsiteY15" fmla="*/ 336 h 688938"/>
                  <a:gd name="connsiteX16" fmla="*/ 416608 w 415948"/>
                  <a:gd name="connsiteY16" fmla="*/ 678332 h 688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15948" h="688938">
                    <a:moveTo>
                      <a:pt x="416608" y="678332"/>
                    </a:moveTo>
                    <a:lnTo>
                      <a:pt x="296523" y="678332"/>
                    </a:lnTo>
                    <a:lnTo>
                      <a:pt x="283208" y="595349"/>
                    </a:lnTo>
                    <a:lnTo>
                      <a:pt x="279882" y="595349"/>
                    </a:lnTo>
                    <a:cubicBezTo>
                      <a:pt x="247231" y="657968"/>
                      <a:pt x="198326" y="689275"/>
                      <a:pt x="133036" y="689275"/>
                    </a:cubicBezTo>
                    <a:cubicBezTo>
                      <a:pt x="87844" y="689275"/>
                      <a:pt x="54431" y="674512"/>
                      <a:pt x="32923" y="645115"/>
                    </a:cubicBezTo>
                    <a:cubicBezTo>
                      <a:pt x="11416" y="615583"/>
                      <a:pt x="659" y="569513"/>
                      <a:pt x="659" y="506894"/>
                    </a:cubicBezTo>
                    <a:lnTo>
                      <a:pt x="659" y="463"/>
                    </a:lnTo>
                    <a:lnTo>
                      <a:pt x="154163" y="463"/>
                    </a:lnTo>
                    <a:lnTo>
                      <a:pt x="154163" y="497981"/>
                    </a:lnTo>
                    <a:cubicBezTo>
                      <a:pt x="154163" y="528276"/>
                      <a:pt x="157489" y="549782"/>
                      <a:pt x="164146" y="562640"/>
                    </a:cubicBezTo>
                    <a:cubicBezTo>
                      <a:pt x="170804" y="575493"/>
                      <a:pt x="181941" y="581982"/>
                      <a:pt x="197559" y="581982"/>
                    </a:cubicBezTo>
                    <a:cubicBezTo>
                      <a:pt x="210874" y="581982"/>
                      <a:pt x="223677" y="577912"/>
                      <a:pt x="235969" y="569767"/>
                    </a:cubicBezTo>
                    <a:cubicBezTo>
                      <a:pt x="248260" y="561617"/>
                      <a:pt x="257220" y="551308"/>
                      <a:pt x="263235" y="538839"/>
                    </a:cubicBezTo>
                    <a:lnTo>
                      <a:pt x="263235" y="336"/>
                    </a:lnTo>
                    <a:lnTo>
                      <a:pt x="416608" y="336"/>
                    </a:lnTo>
                    <a:lnTo>
                      <a:pt x="416608" y="678332"/>
                    </a:lnTo>
                    <a:close/>
                  </a:path>
                </a:pathLst>
              </a:custGeom>
              <a:solidFill>
                <a:srgbClr val="282828"/>
              </a:solidFill>
              <a:ln w="544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746" name="Forma libre 5745">
                <a:extLst>
                  <a:ext uri="{FF2B5EF4-FFF2-40B4-BE49-F238E27FC236}">
                    <a16:creationId xmlns:a16="http://schemas.microsoft.com/office/drawing/2014/main" id="{653BAC08-8F5C-0A27-0C48-DE23EC2CB770}"/>
                  </a:ext>
                </a:extLst>
              </p:cNvPr>
              <p:cNvSpPr/>
              <p:nvPr/>
            </p:nvSpPr>
            <p:spPr>
              <a:xfrm>
                <a:off x="9086979" y="4739316"/>
                <a:ext cx="454870" cy="927707"/>
              </a:xfrm>
              <a:custGeom>
                <a:avLst/>
                <a:gdLst>
                  <a:gd name="connsiteX0" fmla="*/ 455564 w 454870"/>
                  <a:gd name="connsiteY0" fmla="*/ 123018 h 927707"/>
                  <a:gd name="connsiteX1" fmla="*/ 303215 w 454870"/>
                  <a:gd name="connsiteY1" fmla="*/ 123018 h 927707"/>
                  <a:gd name="connsiteX2" fmla="*/ 303215 w 454870"/>
                  <a:gd name="connsiteY2" fmla="*/ 928032 h 927707"/>
                  <a:gd name="connsiteX3" fmla="*/ 153043 w 454870"/>
                  <a:gd name="connsiteY3" fmla="*/ 928032 h 927707"/>
                  <a:gd name="connsiteX4" fmla="*/ 153043 w 454870"/>
                  <a:gd name="connsiteY4" fmla="*/ 123018 h 927707"/>
                  <a:gd name="connsiteX5" fmla="*/ 694 w 454870"/>
                  <a:gd name="connsiteY5" fmla="*/ 123018 h 927707"/>
                  <a:gd name="connsiteX6" fmla="*/ 694 w 454870"/>
                  <a:gd name="connsiteY6" fmla="*/ 325 h 927707"/>
                  <a:gd name="connsiteX7" fmla="*/ 455564 w 454870"/>
                  <a:gd name="connsiteY7" fmla="*/ 325 h 927707"/>
                  <a:gd name="connsiteX8" fmla="*/ 455564 w 454870"/>
                  <a:gd name="connsiteY8" fmla="*/ 123018 h 927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4870" h="927707">
                    <a:moveTo>
                      <a:pt x="455564" y="123018"/>
                    </a:moveTo>
                    <a:lnTo>
                      <a:pt x="303215" y="123018"/>
                    </a:lnTo>
                    <a:lnTo>
                      <a:pt x="303215" y="928032"/>
                    </a:lnTo>
                    <a:lnTo>
                      <a:pt x="153043" y="928032"/>
                    </a:lnTo>
                    <a:lnTo>
                      <a:pt x="153043" y="123018"/>
                    </a:lnTo>
                    <a:lnTo>
                      <a:pt x="694" y="123018"/>
                    </a:lnTo>
                    <a:lnTo>
                      <a:pt x="694" y="325"/>
                    </a:lnTo>
                    <a:lnTo>
                      <a:pt x="455564" y="325"/>
                    </a:lnTo>
                    <a:lnTo>
                      <a:pt x="455564" y="123018"/>
                    </a:lnTo>
                    <a:close/>
                  </a:path>
                </a:pathLst>
              </a:custGeom>
              <a:solidFill>
                <a:srgbClr val="282828"/>
              </a:solidFill>
              <a:ln w="544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747" name="Forma libre 5746">
                <a:extLst>
                  <a:ext uri="{FF2B5EF4-FFF2-40B4-BE49-F238E27FC236}">
                    <a16:creationId xmlns:a16="http://schemas.microsoft.com/office/drawing/2014/main" id="{D210A459-59D2-ABED-867F-C673709379AE}"/>
                  </a:ext>
                </a:extLst>
              </p:cNvPr>
              <p:cNvSpPr/>
              <p:nvPr/>
            </p:nvSpPr>
            <p:spPr>
              <a:xfrm>
                <a:off x="9496135" y="4989055"/>
                <a:ext cx="415949" cy="688938"/>
              </a:xfrm>
              <a:custGeom>
                <a:avLst/>
                <a:gdLst>
                  <a:gd name="connsiteX0" fmla="*/ 416677 w 415949"/>
                  <a:gd name="connsiteY0" fmla="*/ 678332 h 688938"/>
                  <a:gd name="connsiteX1" fmla="*/ 296591 w 415949"/>
                  <a:gd name="connsiteY1" fmla="*/ 678332 h 688938"/>
                  <a:gd name="connsiteX2" fmla="*/ 283276 w 415949"/>
                  <a:gd name="connsiteY2" fmla="*/ 595349 h 688938"/>
                  <a:gd name="connsiteX3" fmla="*/ 279950 w 415949"/>
                  <a:gd name="connsiteY3" fmla="*/ 595349 h 688938"/>
                  <a:gd name="connsiteX4" fmla="*/ 133104 w 415949"/>
                  <a:gd name="connsiteY4" fmla="*/ 689275 h 688938"/>
                  <a:gd name="connsiteX5" fmla="*/ 32991 w 415949"/>
                  <a:gd name="connsiteY5" fmla="*/ 645115 h 688938"/>
                  <a:gd name="connsiteX6" fmla="*/ 727 w 415949"/>
                  <a:gd name="connsiteY6" fmla="*/ 506894 h 688938"/>
                  <a:gd name="connsiteX7" fmla="*/ 727 w 415949"/>
                  <a:gd name="connsiteY7" fmla="*/ 463 h 688938"/>
                  <a:gd name="connsiteX8" fmla="*/ 154231 w 415949"/>
                  <a:gd name="connsiteY8" fmla="*/ 463 h 688938"/>
                  <a:gd name="connsiteX9" fmla="*/ 154231 w 415949"/>
                  <a:gd name="connsiteY9" fmla="*/ 497981 h 688938"/>
                  <a:gd name="connsiteX10" fmla="*/ 164214 w 415949"/>
                  <a:gd name="connsiteY10" fmla="*/ 562640 h 688938"/>
                  <a:gd name="connsiteX11" fmla="*/ 197632 w 415949"/>
                  <a:gd name="connsiteY11" fmla="*/ 581982 h 688938"/>
                  <a:gd name="connsiteX12" fmla="*/ 236037 w 415949"/>
                  <a:gd name="connsiteY12" fmla="*/ 569767 h 688938"/>
                  <a:gd name="connsiteX13" fmla="*/ 263304 w 415949"/>
                  <a:gd name="connsiteY13" fmla="*/ 538839 h 688938"/>
                  <a:gd name="connsiteX14" fmla="*/ 263304 w 415949"/>
                  <a:gd name="connsiteY14" fmla="*/ 336 h 688938"/>
                  <a:gd name="connsiteX15" fmla="*/ 416677 w 415949"/>
                  <a:gd name="connsiteY15" fmla="*/ 336 h 688938"/>
                  <a:gd name="connsiteX16" fmla="*/ 416677 w 415949"/>
                  <a:gd name="connsiteY16" fmla="*/ 678332 h 688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15949" h="688938">
                    <a:moveTo>
                      <a:pt x="416677" y="678332"/>
                    </a:moveTo>
                    <a:lnTo>
                      <a:pt x="296591" y="678332"/>
                    </a:lnTo>
                    <a:lnTo>
                      <a:pt x="283276" y="595349"/>
                    </a:lnTo>
                    <a:lnTo>
                      <a:pt x="279950" y="595349"/>
                    </a:lnTo>
                    <a:cubicBezTo>
                      <a:pt x="247305" y="657968"/>
                      <a:pt x="198400" y="689275"/>
                      <a:pt x="133104" y="689275"/>
                    </a:cubicBezTo>
                    <a:cubicBezTo>
                      <a:pt x="87911" y="689275"/>
                      <a:pt x="54499" y="674512"/>
                      <a:pt x="32991" y="645115"/>
                    </a:cubicBezTo>
                    <a:cubicBezTo>
                      <a:pt x="11484" y="615583"/>
                      <a:pt x="727" y="569513"/>
                      <a:pt x="727" y="506894"/>
                    </a:cubicBezTo>
                    <a:lnTo>
                      <a:pt x="727" y="463"/>
                    </a:lnTo>
                    <a:lnTo>
                      <a:pt x="154231" y="463"/>
                    </a:lnTo>
                    <a:lnTo>
                      <a:pt x="154231" y="497981"/>
                    </a:lnTo>
                    <a:cubicBezTo>
                      <a:pt x="154231" y="528276"/>
                      <a:pt x="157557" y="549782"/>
                      <a:pt x="164214" y="562640"/>
                    </a:cubicBezTo>
                    <a:cubicBezTo>
                      <a:pt x="170872" y="575493"/>
                      <a:pt x="182009" y="581982"/>
                      <a:pt x="197632" y="581982"/>
                    </a:cubicBezTo>
                    <a:cubicBezTo>
                      <a:pt x="210942" y="581982"/>
                      <a:pt x="223745" y="577912"/>
                      <a:pt x="236037" y="569767"/>
                    </a:cubicBezTo>
                    <a:cubicBezTo>
                      <a:pt x="248328" y="561617"/>
                      <a:pt x="257289" y="551308"/>
                      <a:pt x="263304" y="538839"/>
                    </a:cubicBezTo>
                    <a:lnTo>
                      <a:pt x="263304" y="336"/>
                    </a:lnTo>
                    <a:lnTo>
                      <a:pt x="416677" y="336"/>
                    </a:lnTo>
                    <a:lnTo>
                      <a:pt x="416677" y="678332"/>
                    </a:lnTo>
                    <a:close/>
                  </a:path>
                </a:pathLst>
              </a:custGeom>
              <a:solidFill>
                <a:srgbClr val="282828"/>
              </a:solidFill>
              <a:ln w="544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748" name="Forma libre 5747">
                <a:extLst>
                  <a:ext uri="{FF2B5EF4-FFF2-40B4-BE49-F238E27FC236}">
                    <a16:creationId xmlns:a16="http://schemas.microsoft.com/office/drawing/2014/main" id="{95C3C015-F619-F87F-8072-35C55288867D}"/>
                  </a:ext>
                </a:extLst>
              </p:cNvPr>
              <p:cNvSpPr/>
              <p:nvPr/>
            </p:nvSpPr>
            <p:spPr>
              <a:xfrm>
                <a:off x="10004652" y="4704965"/>
                <a:ext cx="429389" cy="971876"/>
              </a:xfrm>
              <a:custGeom>
                <a:avLst/>
                <a:gdLst>
                  <a:gd name="connsiteX0" fmla="*/ 416209 w 429389"/>
                  <a:gd name="connsiteY0" fmla="*/ 392840 h 971876"/>
                  <a:gd name="connsiteX1" fmla="*/ 371147 w 429389"/>
                  <a:gd name="connsiteY1" fmla="*/ 299929 h 971876"/>
                  <a:gd name="connsiteX2" fmla="*/ 285498 w 429389"/>
                  <a:gd name="connsiteY2" fmla="*/ 271166 h 971876"/>
                  <a:gd name="connsiteX3" fmla="*/ 206506 w 429389"/>
                  <a:gd name="connsiteY3" fmla="*/ 294966 h 971876"/>
                  <a:gd name="connsiteX4" fmla="*/ 149790 w 429389"/>
                  <a:gd name="connsiteY4" fmla="*/ 357458 h 971876"/>
                  <a:gd name="connsiteX5" fmla="*/ 148641 w 429389"/>
                  <a:gd name="connsiteY5" fmla="*/ 357458 h 971876"/>
                  <a:gd name="connsiteX6" fmla="*/ 148641 w 429389"/>
                  <a:gd name="connsiteY6" fmla="*/ 324 h 971876"/>
                  <a:gd name="connsiteX7" fmla="*/ 772 w 429389"/>
                  <a:gd name="connsiteY7" fmla="*/ 324 h 971876"/>
                  <a:gd name="connsiteX8" fmla="*/ 772 w 429389"/>
                  <a:gd name="connsiteY8" fmla="*/ 962269 h 971876"/>
                  <a:gd name="connsiteX9" fmla="*/ 127515 w 429389"/>
                  <a:gd name="connsiteY9" fmla="*/ 962269 h 971876"/>
                  <a:gd name="connsiteX10" fmla="*/ 143132 w 429389"/>
                  <a:gd name="connsiteY10" fmla="*/ 898124 h 971876"/>
                  <a:gd name="connsiteX11" fmla="*/ 146464 w 429389"/>
                  <a:gd name="connsiteY11" fmla="*/ 898124 h 971876"/>
                  <a:gd name="connsiteX12" fmla="*/ 199849 w 429389"/>
                  <a:gd name="connsiteY12" fmla="*/ 952344 h 971876"/>
                  <a:gd name="connsiteX13" fmla="*/ 278841 w 429389"/>
                  <a:gd name="connsiteY13" fmla="*/ 972200 h 971876"/>
                  <a:gd name="connsiteX14" fmla="*/ 393422 w 429389"/>
                  <a:gd name="connsiteY14" fmla="*/ 900922 h 971876"/>
                  <a:gd name="connsiteX15" fmla="*/ 430161 w 429389"/>
                  <a:gd name="connsiteY15" fmla="*/ 678066 h 971876"/>
                  <a:gd name="connsiteX16" fmla="*/ 430161 w 429389"/>
                  <a:gd name="connsiteY16" fmla="*/ 570773 h 971876"/>
                  <a:gd name="connsiteX17" fmla="*/ 416209 w 429389"/>
                  <a:gd name="connsiteY17" fmla="*/ 392840 h 971876"/>
                  <a:gd name="connsiteX18" fmla="*/ 275509 w 429389"/>
                  <a:gd name="connsiteY18" fmla="*/ 669408 h 971876"/>
                  <a:gd name="connsiteX19" fmla="*/ 269363 w 429389"/>
                  <a:gd name="connsiteY19" fmla="*/ 785484 h 971876"/>
                  <a:gd name="connsiteX20" fmla="*/ 248754 w 429389"/>
                  <a:gd name="connsiteY20" fmla="*/ 845176 h 971876"/>
                  <a:gd name="connsiteX21" fmla="*/ 209832 w 429389"/>
                  <a:gd name="connsiteY21" fmla="*/ 862867 h 971876"/>
                  <a:gd name="connsiteX22" fmla="*/ 174754 w 429389"/>
                  <a:gd name="connsiteY22" fmla="*/ 853959 h 971876"/>
                  <a:gd name="connsiteX23" fmla="*/ 148641 w 429389"/>
                  <a:gd name="connsiteY23" fmla="*/ 827485 h 971876"/>
                  <a:gd name="connsiteX24" fmla="*/ 148641 w 429389"/>
                  <a:gd name="connsiteY24" fmla="*/ 442732 h 971876"/>
                  <a:gd name="connsiteX25" fmla="*/ 175396 w 429389"/>
                  <a:gd name="connsiteY25" fmla="*/ 397423 h 971876"/>
                  <a:gd name="connsiteX26" fmla="*/ 216490 w 429389"/>
                  <a:gd name="connsiteY26" fmla="*/ 379731 h 971876"/>
                  <a:gd name="connsiteX27" fmla="*/ 252597 w 429389"/>
                  <a:gd name="connsiteY27" fmla="*/ 397932 h 971876"/>
                  <a:gd name="connsiteX28" fmla="*/ 270392 w 429389"/>
                  <a:gd name="connsiteY28" fmla="*/ 459278 h 971876"/>
                  <a:gd name="connsiteX29" fmla="*/ 275384 w 429389"/>
                  <a:gd name="connsiteY29" fmla="*/ 581970 h 971876"/>
                  <a:gd name="connsiteX30" fmla="*/ 275384 w 429389"/>
                  <a:gd name="connsiteY30" fmla="*/ 669408 h 971876"/>
                  <a:gd name="connsiteX31" fmla="*/ 275509 w 429389"/>
                  <a:gd name="connsiteY31" fmla="*/ 669408 h 971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429389" h="971876">
                    <a:moveTo>
                      <a:pt x="416209" y="392840"/>
                    </a:moveTo>
                    <a:cubicBezTo>
                      <a:pt x="406863" y="350076"/>
                      <a:pt x="391882" y="319148"/>
                      <a:pt x="371147" y="299929"/>
                    </a:cubicBezTo>
                    <a:cubicBezTo>
                      <a:pt x="350407" y="280711"/>
                      <a:pt x="321856" y="271166"/>
                      <a:pt x="285498" y="271166"/>
                    </a:cubicBezTo>
                    <a:cubicBezTo>
                      <a:pt x="257333" y="271166"/>
                      <a:pt x="230959" y="279056"/>
                      <a:pt x="206506" y="294966"/>
                    </a:cubicBezTo>
                    <a:cubicBezTo>
                      <a:pt x="182054" y="310875"/>
                      <a:pt x="163105" y="331621"/>
                      <a:pt x="149790" y="357458"/>
                    </a:cubicBezTo>
                    <a:lnTo>
                      <a:pt x="148641" y="357458"/>
                    </a:lnTo>
                    <a:lnTo>
                      <a:pt x="148641" y="324"/>
                    </a:lnTo>
                    <a:lnTo>
                      <a:pt x="772" y="324"/>
                    </a:lnTo>
                    <a:lnTo>
                      <a:pt x="772" y="962269"/>
                    </a:lnTo>
                    <a:lnTo>
                      <a:pt x="127515" y="962269"/>
                    </a:lnTo>
                    <a:lnTo>
                      <a:pt x="143132" y="898124"/>
                    </a:lnTo>
                    <a:lnTo>
                      <a:pt x="146464" y="898124"/>
                    </a:lnTo>
                    <a:cubicBezTo>
                      <a:pt x="158369" y="921032"/>
                      <a:pt x="176164" y="938977"/>
                      <a:pt x="199849" y="952344"/>
                    </a:cubicBezTo>
                    <a:cubicBezTo>
                      <a:pt x="223534" y="965581"/>
                      <a:pt x="249908" y="972200"/>
                      <a:pt x="278841" y="972200"/>
                    </a:cubicBezTo>
                    <a:cubicBezTo>
                      <a:pt x="330691" y="972200"/>
                      <a:pt x="368970" y="948399"/>
                      <a:pt x="393422" y="900922"/>
                    </a:cubicBezTo>
                    <a:cubicBezTo>
                      <a:pt x="417875" y="853320"/>
                      <a:pt x="430161" y="779120"/>
                      <a:pt x="430161" y="678066"/>
                    </a:cubicBezTo>
                    <a:lnTo>
                      <a:pt x="430161" y="570773"/>
                    </a:lnTo>
                    <a:cubicBezTo>
                      <a:pt x="430161" y="495042"/>
                      <a:pt x="425425" y="435605"/>
                      <a:pt x="416209" y="392840"/>
                    </a:cubicBezTo>
                    <a:close/>
                    <a:moveTo>
                      <a:pt x="275509" y="669408"/>
                    </a:moveTo>
                    <a:cubicBezTo>
                      <a:pt x="275509" y="718790"/>
                      <a:pt x="273462" y="757484"/>
                      <a:pt x="269363" y="785484"/>
                    </a:cubicBezTo>
                    <a:cubicBezTo>
                      <a:pt x="265270" y="813484"/>
                      <a:pt x="258482" y="833470"/>
                      <a:pt x="248754" y="845176"/>
                    </a:cubicBezTo>
                    <a:cubicBezTo>
                      <a:pt x="239151" y="857011"/>
                      <a:pt x="226092" y="862867"/>
                      <a:pt x="209832" y="862867"/>
                    </a:cubicBezTo>
                    <a:cubicBezTo>
                      <a:pt x="197160" y="862867"/>
                      <a:pt x="185511" y="859939"/>
                      <a:pt x="174754" y="853959"/>
                    </a:cubicBezTo>
                    <a:cubicBezTo>
                      <a:pt x="164003" y="848103"/>
                      <a:pt x="155299" y="839196"/>
                      <a:pt x="148641" y="827485"/>
                    </a:cubicBezTo>
                    <a:lnTo>
                      <a:pt x="148641" y="442732"/>
                    </a:lnTo>
                    <a:cubicBezTo>
                      <a:pt x="153758" y="424277"/>
                      <a:pt x="162724" y="409259"/>
                      <a:pt x="175396" y="397423"/>
                    </a:cubicBezTo>
                    <a:cubicBezTo>
                      <a:pt x="187944" y="385586"/>
                      <a:pt x="201770" y="379731"/>
                      <a:pt x="216490" y="379731"/>
                    </a:cubicBezTo>
                    <a:cubicBezTo>
                      <a:pt x="232113" y="379731"/>
                      <a:pt x="244143" y="385840"/>
                      <a:pt x="252597" y="397932"/>
                    </a:cubicBezTo>
                    <a:cubicBezTo>
                      <a:pt x="261171" y="410150"/>
                      <a:pt x="267061" y="430514"/>
                      <a:pt x="270392" y="459278"/>
                    </a:cubicBezTo>
                    <a:cubicBezTo>
                      <a:pt x="273718" y="488042"/>
                      <a:pt x="275384" y="528897"/>
                      <a:pt x="275384" y="581970"/>
                    </a:cubicBezTo>
                    <a:lnTo>
                      <a:pt x="275384" y="669408"/>
                    </a:lnTo>
                    <a:lnTo>
                      <a:pt x="275509" y="669408"/>
                    </a:lnTo>
                    <a:close/>
                  </a:path>
                </a:pathLst>
              </a:custGeom>
              <a:solidFill>
                <a:srgbClr val="282828"/>
              </a:solidFill>
              <a:ln w="544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749" name="Forma libre 5748">
                <a:extLst>
                  <a:ext uri="{FF2B5EF4-FFF2-40B4-BE49-F238E27FC236}">
                    <a16:creationId xmlns:a16="http://schemas.microsoft.com/office/drawing/2014/main" id="{D2496883-DDCB-A08D-BE38-6E89D2E679A6}"/>
                  </a:ext>
                </a:extLst>
              </p:cNvPr>
              <p:cNvSpPr/>
              <p:nvPr/>
            </p:nvSpPr>
            <p:spPr>
              <a:xfrm>
                <a:off x="10501764" y="4976186"/>
                <a:ext cx="407114" cy="701158"/>
              </a:xfrm>
              <a:custGeom>
                <a:avLst/>
                <a:gdLst>
                  <a:gd name="connsiteX0" fmla="*/ 150855 w 407114"/>
                  <a:gd name="connsiteY0" fmla="*/ 437271 h 701158"/>
                  <a:gd name="connsiteX1" fmla="*/ 154699 w 407114"/>
                  <a:gd name="connsiteY1" fmla="*/ 535148 h 701158"/>
                  <a:gd name="connsiteX2" fmla="*/ 170828 w 407114"/>
                  <a:gd name="connsiteY2" fmla="*/ 582750 h 701158"/>
                  <a:gd name="connsiteX3" fmla="*/ 208595 w 407114"/>
                  <a:gd name="connsiteY3" fmla="*/ 597637 h 701158"/>
                  <a:gd name="connsiteX4" fmla="*/ 255835 w 407114"/>
                  <a:gd name="connsiteY4" fmla="*/ 571039 h 701158"/>
                  <a:gd name="connsiteX5" fmla="*/ 269792 w 407114"/>
                  <a:gd name="connsiteY5" fmla="*/ 482584 h 701158"/>
                  <a:gd name="connsiteX6" fmla="*/ 402169 w 407114"/>
                  <a:gd name="connsiteY6" fmla="*/ 490344 h 701158"/>
                  <a:gd name="connsiteX7" fmla="*/ 403318 w 407114"/>
                  <a:gd name="connsiteY7" fmla="*/ 514654 h 701158"/>
                  <a:gd name="connsiteX8" fmla="*/ 351598 w 407114"/>
                  <a:gd name="connsiteY8" fmla="*/ 655040 h 701158"/>
                  <a:gd name="connsiteX9" fmla="*/ 205395 w 407114"/>
                  <a:gd name="connsiteY9" fmla="*/ 701494 h 701158"/>
                  <a:gd name="connsiteX10" fmla="*/ 46388 w 407114"/>
                  <a:gd name="connsiteY10" fmla="*/ 630730 h 701158"/>
                  <a:gd name="connsiteX11" fmla="*/ 814 w 407114"/>
                  <a:gd name="connsiteY11" fmla="*/ 411814 h 701158"/>
                  <a:gd name="connsiteX12" fmla="*/ 814 w 407114"/>
                  <a:gd name="connsiteY12" fmla="*/ 293449 h 701158"/>
                  <a:gd name="connsiteX13" fmla="*/ 48054 w 407114"/>
                  <a:gd name="connsiteY13" fmla="*/ 70592 h 701158"/>
                  <a:gd name="connsiteX14" fmla="*/ 209875 w 407114"/>
                  <a:gd name="connsiteY14" fmla="*/ 336 h 701158"/>
                  <a:gd name="connsiteX15" fmla="*/ 331114 w 407114"/>
                  <a:gd name="connsiteY15" fmla="*/ 29100 h 701158"/>
                  <a:gd name="connsiteX16" fmla="*/ 390645 w 407114"/>
                  <a:gd name="connsiteY16" fmla="*/ 118702 h 701158"/>
                  <a:gd name="connsiteX17" fmla="*/ 407929 w 407114"/>
                  <a:gd name="connsiteY17" fmla="*/ 286830 h 701158"/>
                  <a:gd name="connsiteX18" fmla="*/ 407929 w 407114"/>
                  <a:gd name="connsiteY18" fmla="*/ 402907 h 701158"/>
                  <a:gd name="connsiteX19" fmla="*/ 150855 w 407114"/>
                  <a:gd name="connsiteY19" fmla="*/ 402907 h 701158"/>
                  <a:gd name="connsiteX20" fmla="*/ 150855 w 407114"/>
                  <a:gd name="connsiteY20" fmla="*/ 437271 h 701158"/>
                  <a:gd name="connsiteX21" fmla="*/ 170316 w 407114"/>
                  <a:gd name="connsiteY21" fmla="*/ 117811 h 701158"/>
                  <a:gd name="connsiteX22" fmla="*/ 154699 w 407114"/>
                  <a:gd name="connsiteY22" fmla="*/ 164775 h 701158"/>
                  <a:gd name="connsiteX23" fmla="*/ 150855 w 407114"/>
                  <a:gd name="connsiteY23" fmla="*/ 263798 h 701158"/>
                  <a:gd name="connsiteX24" fmla="*/ 150855 w 407114"/>
                  <a:gd name="connsiteY24" fmla="*/ 312417 h 701158"/>
                  <a:gd name="connsiteX25" fmla="*/ 263135 w 407114"/>
                  <a:gd name="connsiteY25" fmla="*/ 312417 h 701158"/>
                  <a:gd name="connsiteX26" fmla="*/ 263135 w 407114"/>
                  <a:gd name="connsiteY26" fmla="*/ 263798 h 701158"/>
                  <a:gd name="connsiteX27" fmla="*/ 258655 w 407114"/>
                  <a:gd name="connsiteY27" fmla="*/ 164775 h 701158"/>
                  <a:gd name="connsiteX28" fmla="*/ 242520 w 407114"/>
                  <a:gd name="connsiteY28" fmla="*/ 117175 h 701158"/>
                  <a:gd name="connsiteX29" fmla="*/ 206418 w 407114"/>
                  <a:gd name="connsiteY29" fmla="*/ 103302 h 701158"/>
                  <a:gd name="connsiteX30" fmla="*/ 170316 w 407114"/>
                  <a:gd name="connsiteY30" fmla="*/ 117811 h 701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407114" h="701158">
                    <a:moveTo>
                      <a:pt x="150855" y="437271"/>
                    </a:moveTo>
                    <a:cubicBezTo>
                      <a:pt x="150855" y="480798"/>
                      <a:pt x="152135" y="513382"/>
                      <a:pt x="154699" y="535148"/>
                    </a:cubicBezTo>
                    <a:cubicBezTo>
                      <a:pt x="157257" y="556908"/>
                      <a:pt x="162635" y="572695"/>
                      <a:pt x="170828" y="582750"/>
                    </a:cubicBezTo>
                    <a:cubicBezTo>
                      <a:pt x="179021" y="592675"/>
                      <a:pt x="191568" y="597637"/>
                      <a:pt x="208595" y="597637"/>
                    </a:cubicBezTo>
                    <a:cubicBezTo>
                      <a:pt x="231513" y="597637"/>
                      <a:pt x="247386" y="588730"/>
                      <a:pt x="255835" y="571039"/>
                    </a:cubicBezTo>
                    <a:cubicBezTo>
                      <a:pt x="264414" y="553348"/>
                      <a:pt x="269025" y="523821"/>
                      <a:pt x="269792" y="482584"/>
                    </a:cubicBezTo>
                    <a:lnTo>
                      <a:pt x="402169" y="490344"/>
                    </a:lnTo>
                    <a:cubicBezTo>
                      <a:pt x="402936" y="496200"/>
                      <a:pt x="403318" y="504344"/>
                      <a:pt x="403318" y="514654"/>
                    </a:cubicBezTo>
                    <a:cubicBezTo>
                      <a:pt x="403318" y="577273"/>
                      <a:pt x="386034" y="624111"/>
                      <a:pt x="351598" y="655040"/>
                    </a:cubicBezTo>
                    <a:cubicBezTo>
                      <a:pt x="317162" y="685968"/>
                      <a:pt x="268382" y="701494"/>
                      <a:pt x="205395" y="701494"/>
                    </a:cubicBezTo>
                    <a:cubicBezTo>
                      <a:pt x="129734" y="701494"/>
                      <a:pt x="76730" y="677947"/>
                      <a:pt x="46388" y="630730"/>
                    </a:cubicBezTo>
                    <a:cubicBezTo>
                      <a:pt x="15920" y="583513"/>
                      <a:pt x="814" y="510584"/>
                      <a:pt x="814" y="411814"/>
                    </a:cubicBezTo>
                    <a:lnTo>
                      <a:pt x="814" y="293449"/>
                    </a:lnTo>
                    <a:cubicBezTo>
                      <a:pt x="814" y="191758"/>
                      <a:pt x="16562" y="117429"/>
                      <a:pt x="48054" y="70592"/>
                    </a:cubicBezTo>
                    <a:cubicBezTo>
                      <a:pt x="79550" y="23754"/>
                      <a:pt x="133447" y="336"/>
                      <a:pt x="209875" y="336"/>
                    </a:cubicBezTo>
                    <a:cubicBezTo>
                      <a:pt x="262492" y="336"/>
                      <a:pt x="302949" y="9881"/>
                      <a:pt x="331114" y="29100"/>
                    </a:cubicBezTo>
                    <a:cubicBezTo>
                      <a:pt x="359279" y="48318"/>
                      <a:pt x="379121" y="78101"/>
                      <a:pt x="390645" y="118702"/>
                    </a:cubicBezTo>
                    <a:cubicBezTo>
                      <a:pt x="402169" y="159302"/>
                      <a:pt x="407929" y="215304"/>
                      <a:pt x="407929" y="286830"/>
                    </a:cubicBezTo>
                    <a:lnTo>
                      <a:pt x="407929" y="402907"/>
                    </a:lnTo>
                    <a:lnTo>
                      <a:pt x="150855" y="402907"/>
                    </a:lnTo>
                    <a:lnTo>
                      <a:pt x="150855" y="437271"/>
                    </a:lnTo>
                    <a:close/>
                    <a:moveTo>
                      <a:pt x="170316" y="117811"/>
                    </a:moveTo>
                    <a:cubicBezTo>
                      <a:pt x="162505" y="127356"/>
                      <a:pt x="157388" y="143011"/>
                      <a:pt x="154699" y="164775"/>
                    </a:cubicBezTo>
                    <a:cubicBezTo>
                      <a:pt x="152135" y="186540"/>
                      <a:pt x="150855" y="219504"/>
                      <a:pt x="150855" y="263798"/>
                    </a:cubicBezTo>
                    <a:lnTo>
                      <a:pt x="150855" y="312417"/>
                    </a:lnTo>
                    <a:lnTo>
                      <a:pt x="263135" y="312417"/>
                    </a:lnTo>
                    <a:lnTo>
                      <a:pt x="263135" y="263798"/>
                    </a:lnTo>
                    <a:cubicBezTo>
                      <a:pt x="263135" y="220267"/>
                      <a:pt x="261600" y="187303"/>
                      <a:pt x="258655" y="164775"/>
                    </a:cubicBezTo>
                    <a:cubicBezTo>
                      <a:pt x="255710" y="142248"/>
                      <a:pt x="250331" y="126466"/>
                      <a:pt x="242520" y="117175"/>
                    </a:cubicBezTo>
                    <a:cubicBezTo>
                      <a:pt x="234714" y="108011"/>
                      <a:pt x="222678" y="103302"/>
                      <a:pt x="206418" y="103302"/>
                    </a:cubicBezTo>
                    <a:cubicBezTo>
                      <a:pt x="190033" y="103429"/>
                      <a:pt x="177997" y="108265"/>
                      <a:pt x="170316" y="117811"/>
                    </a:cubicBezTo>
                    <a:close/>
                  </a:path>
                </a:pathLst>
              </a:custGeom>
              <a:solidFill>
                <a:srgbClr val="282828"/>
              </a:solidFill>
              <a:ln w="544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</p:grpSp>
      <p:sp>
        <p:nvSpPr>
          <p:cNvPr id="5752" name="Gráfico 5617">
            <a:extLst>
              <a:ext uri="{FF2B5EF4-FFF2-40B4-BE49-F238E27FC236}">
                <a16:creationId xmlns:a16="http://schemas.microsoft.com/office/drawing/2014/main" id="{5DA1B77E-4F8E-2087-7BA7-2D4422D9FFAB}"/>
              </a:ext>
            </a:extLst>
          </p:cNvPr>
          <p:cNvSpPr/>
          <p:nvPr/>
        </p:nvSpPr>
        <p:spPr>
          <a:xfrm>
            <a:off x="647399" y="3051393"/>
            <a:ext cx="366624" cy="100100"/>
          </a:xfrm>
          <a:custGeom>
            <a:avLst/>
            <a:gdLst>
              <a:gd name="connsiteX0" fmla="*/ 1225319 w 7772400"/>
              <a:gd name="connsiteY0" fmla="*/ 0 h 2122137"/>
              <a:gd name="connsiteX1" fmla="*/ 521799 w 7772400"/>
              <a:gd name="connsiteY1" fmla="*/ 305612 h 2122137"/>
              <a:gd name="connsiteX2" fmla="*/ 521799 w 7772400"/>
              <a:gd name="connsiteY2" fmla="*/ 53760 h 2122137"/>
              <a:gd name="connsiteX3" fmla="*/ 0 w 7772400"/>
              <a:gd name="connsiteY3" fmla="*/ 53760 h 2122137"/>
              <a:gd name="connsiteX4" fmla="*/ 0 w 7772400"/>
              <a:gd name="connsiteY4" fmla="*/ 2068383 h 2122137"/>
              <a:gd name="connsiteX5" fmla="*/ 555469 w 7772400"/>
              <a:gd name="connsiteY5" fmla="*/ 2068383 h 2122137"/>
              <a:gd name="connsiteX6" fmla="*/ 555469 w 7772400"/>
              <a:gd name="connsiteY6" fmla="*/ 815931 h 2122137"/>
              <a:gd name="connsiteX7" fmla="*/ 999787 w 7772400"/>
              <a:gd name="connsiteY7" fmla="*/ 564066 h 2122137"/>
              <a:gd name="connsiteX8" fmla="*/ 1178172 w 7772400"/>
              <a:gd name="connsiteY8" fmla="*/ 799121 h 2122137"/>
              <a:gd name="connsiteX9" fmla="*/ 1178172 w 7772400"/>
              <a:gd name="connsiteY9" fmla="*/ 2068383 h 2122137"/>
              <a:gd name="connsiteX10" fmla="*/ 1733502 w 7772400"/>
              <a:gd name="connsiteY10" fmla="*/ 2068383 h 2122137"/>
              <a:gd name="connsiteX11" fmla="*/ 1733502 w 7772400"/>
              <a:gd name="connsiteY11" fmla="*/ 812573 h 2122137"/>
              <a:gd name="connsiteX12" fmla="*/ 2177834 w 7772400"/>
              <a:gd name="connsiteY12" fmla="*/ 564066 h 2122137"/>
              <a:gd name="connsiteX13" fmla="*/ 2356203 w 7772400"/>
              <a:gd name="connsiteY13" fmla="*/ 799121 h 2122137"/>
              <a:gd name="connsiteX14" fmla="*/ 2356203 w 7772400"/>
              <a:gd name="connsiteY14" fmla="*/ 2068383 h 2122137"/>
              <a:gd name="connsiteX15" fmla="*/ 2911557 w 7772400"/>
              <a:gd name="connsiteY15" fmla="*/ 2068383 h 2122137"/>
              <a:gd name="connsiteX16" fmla="*/ 2911557 w 7772400"/>
              <a:gd name="connsiteY16" fmla="*/ 604394 h 2122137"/>
              <a:gd name="connsiteX17" fmla="*/ 2403234 w 7772400"/>
              <a:gd name="connsiteY17" fmla="*/ 0 h 2122137"/>
              <a:gd name="connsiteX18" fmla="*/ 1692953 w 7772400"/>
              <a:gd name="connsiteY18" fmla="*/ 302250 h 2122137"/>
              <a:gd name="connsiteX19" fmla="*/ 1225319 w 7772400"/>
              <a:gd name="connsiteY19" fmla="*/ 0 h 2122137"/>
              <a:gd name="connsiteX20" fmla="*/ 4039340 w 7772400"/>
              <a:gd name="connsiteY20" fmla="*/ 0 h 2122137"/>
              <a:gd name="connsiteX21" fmla="*/ 3029565 w 7772400"/>
              <a:gd name="connsiteY21" fmla="*/ 1061065 h 2122137"/>
              <a:gd name="connsiteX22" fmla="*/ 4039340 w 7772400"/>
              <a:gd name="connsiteY22" fmla="*/ 2122138 h 2122137"/>
              <a:gd name="connsiteX23" fmla="*/ 4729537 w 7772400"/>
              <a:gd name="connsiteY23" fmla="*/ 1803097 h 2122137"/>
              <a:gd name="connsiteX24" fmla="*/ 4729537 w 7772400"/>
              <a:gd name="connsiteY24" fmla="*/ 2068383 h 2122137"/>
              <a:gd name="connsiteX25" fmla="*/ 5258045 w 7772400"/>
              <a:gd name="connsiteY25" fmla="*/ 2068383 h 2122137"/>
              <a:gd name="connsiteX26" fmla="*/ 5258045 w 7772400"/>
              <a:gd name="connsiteY26" fmla="*/ 53760 h 2122137"/>
              <a:gd name="connsiteX27" fmla="*/ 4729537 w 7772400"/>
              <a:gd name="connsiteY27" fmla="*/ 53760 h 2122137"/>
              <a:gd name="connsiteX28" fmla="*/ 4729537 w 7772400"/>
              <a:gd name="connsiteY28" fmla="*/ 319044 h 2122137"/>
              <a:gd name="connsiteX29" fmla="*/ 4039340 w 7772400"/>
              <a:gd name="connsiteY29" fmla="*/ 0 h 2122137"/>
              <a:gd name="connsiteX30" fmla="*/ 5355596 w 7772400"/>
              <a:gd name="connsiteY30" fmla="*/ 53760 h 2122137"/>
              <a:gd name="connsiteX31" fmla="*/ 6146647 w 7772400"/>
              <a:gd name="connsiteY31" fmla="*/ 1047690 h 2122137"/>
              <a:gd name="connsiteX32" fmla="*/ 5355596 w 7772400"/>
              <a:gd name="connsiteY32" fmla="*/ 2068383 h 2122137"/>
              <a:gd name="connsiteX33" fmla="*/ 6025398 w 7772400"/>
              <a:gd name="connsiteY33" fmla="*/ 2068383 h 2122137"/>
              <a:gd name="connsiteX34" fmla="*/ 6567375 w 7772400"/>
              <a:gd name="connsiteY34" fmla="*/ 1363234 h 2122137"/>
              <a:gd name="connsiteX35" fmla="*/ 7095852 w 7772400"/>
              <a:gd name="connsiteY35" fmla="*/ 2068383 h 2122137"/>
              <a:gd name="connsiteX36" fmla="*/ 7772400 w 7772400"/>
              <a:gd name="connsiteY36" fmla="*/ 2068383 h 2122137"/>
              <a:gd name="connsiteX37" fmla="*/ 6984714 w 7772400"/>
              <a:gd name="connsiteY37" fmla="*/ 1047690 h 2122137"/>
              <a:gd name="connsiteX38" fmla="*/ 7772400 w 7772400"/>
              <a:gd name="connsiteY38" fmla="*/ 53760 h 2122137"/>
              <a:gd name="connsiteX39" fmla="*/ 7109329 w 7772400"/>
              <a:gd name="connsiteY39" fmla="*/ 53760 h 2122137"/>
              <a:gd name="connsiteX40" fmla="*/ 6567375 w 7772400"/>
              <a:gd name="connsiteY40" fmla="*/ 735370 h 2122137"/>
              <a:gd name="connsiteX41" fmla="*/ 6025398 w 7772400"/>
              <a:gd name="connsiteY41" fmla="*/ 53760 h 2122137"/>
              <a:gd name="connsiteX42" fmla="*/ 5355596 w 7772400"/>
              <a:gd name="connsiteY42" fmla="*/ 53760 h 2122137"/>
              <a:gd name="connsiteX43" fmla="*/ 4123414 w 7772400"/>
              <a:gd name="connsiteY43" fmla="*/ 466769 h 2122137"/>
              <a:gd name="connsiteX44" fmla="*/ 4719168 w 7772400"/>
              <a:gd name="connsiteY44" fmla="*/ 1061065 h 2122137"/>
              <a:gd name="connsiteX45" fmla="*/ 4123414 w 7772400"/>
              <a:gd name="connsiteY45" fmla="*/ 1655370 h 2122137"/>
              <a:gd name="connsiteX46" fmla="*/ 3527651 w 7772400"/>
              <a:gd name="connsiteY46" fmla="*/ 1061065 h 2122137"/>
              <a:gd name="connsiteX47" fmla="*/ 4123414 w 7772400"/>
              <a:gd name="connsiteY47" fmla="*/ 466769 h 2122137"/>
              <a:gd name="connsiteX48" fmla="*/ 4123414 w 7772400"/>
              <a:gd name="connsiteY48" fmla="*/ 601032 h 2122137"/>
              <a:gd name="connsiteX49" fmla="*/ 3665612 w 7772400"/>
              <a:gd name="connsiteY49" fmla="*/ 1061065 h 2122137"/>
              <a:gd name="connsiteX50" fmla="*/ 4123414 w 7772400"/>
              <a:gd name="connsiteY50" fmla="*/ 1521111 h 2122137"/>
              <a:gd name="connsiteX51" fmla="*/ 4581193 w 7772400"/>
              <a:gd name="connsiteY51" fmla="*/ 1061065 h 2122137"/>
              <a:gd name="connsiteX52" fmla="*/ 4123414 w 7772400"/>
              <a:gd name="connsiteY52" fmla="*/ 601032 h 2122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772400" h="2122137">
                <a:moveTo>
                  <a:pt x="1225319" y="0"/>
                </a:moveTo>
                <a:cubicBezTo>
                  <a:pt x="1013265" y="0"/>
                  <a:pt x="797845" y="94071"/>
                  <a:pt x="521799" y="305612"/>
                </a:cubicBezTo>
                <a:lnTo>
                  <a:pt x="521799" y="53760"/>
                </a:lnTo>
                <a:lnTo>
                  <a:pt x="0" y="53760"/>
                </a:lnTo>
                <a:lnTo>
                  <a:pt x="0" y="2068383"/>
                </a:lnTo>
                <a:lnTo>
                  <a:pt x="555469" y="2068383"/>
                </a:lnTo>
                <a:lnTo>
                  <a:pt x="555469" y="815931"/>
                </a:lnTo>
                <a:cubicBezTo>
                  <a:pt x="797837" y="624552"/>
                  <a:pt x="908850" y="564066"/>
                  <a:pt x="999787" y="564066"/>
                </a:cubicBezTo>
                <a:cubicBezTo>
                  <a:pt x="1107435" y="564066"/>
                  <a:pt x="1178172" y="631261"/>
                  <a:pt x="1178172" y="799121"/>
                </a:cubicBezTo>
                <a:lnTo>
                  <a:pt x="1178172" y="2068383"/>
                </a:lnTo>
                <a:lnTo>
                  <a:pt x="1733502" y="2068383"/>
                </a:lnTo>
                <a:lnTo>
                  <a:pt x="1733502" y="812573"/>
                </a:lnTo>
                <a:cubicBezTo>
                  <a:pt x="1975876" y="624550"/>
                  <a:pt x="2083664" y="564066"/>
                  <a:pt x="2177834" y="564066"/>
                </a:cubicBezTo>
                <a:cubicBezTo>
                  <a:pt x="2285614" y="564066"/>
                  <a:pt x="2356203" y="631261"/>
                  <a:pt x="2356203" y="799121"/>
                </a:cubicBezTo>
                <a:lnTo>
                  <a:pt x="2356203" y="2068383"/>
                </a:lnTo>
                <a:lnTo>
                  <a:pt x="2911557" y="2068383"/>
                </a:lnTo>
                <a:lnTo>
                  <a:pt x="2911557" y="604394"/>
                </a:lnTo>
                <a:cubicBezTo>
                  <a:pt x="2911557" y="151073"/>
                  <a:pt x="2652339" y="0"/>
                  <a:pt x="2403234" y="0"/>
                </a:cubicBezTo>
                <a:cubicBezTo>
                  <a:pt x="2191180" y="0"/>
                  <a:pt x="1975744" y="87349"/>
                  <a:pt x="1692953" y="302250"/>
                </a:cubicBezTo>
                <a:cubicBezTo>
                  <a:pt x="1602280" y="77140"/>
                  <a:pt x="1403696" y="0"/>
                  <a:pt x="1225319" y="0"/>
                </a:cubicBezTo>
                <a:close/>
                <a:moveTo>
                  <a:pt x="4039340" y="0"/>
                </a:moveTo>
                <a:cubicBezTo>
                  <a:pt x="3487375" y="0"/>
                  <a:pt x="3029565" y="473478"/>
                  <a:pt x="3029565" y="1061065"/>
                </a:cubicBezTo>
                <a:cubicBezTo>
                  <a:pt x="3029565" y="1648648"/>
                  <a:pt x="3487375" y="2122138"/>
                  <a:pt x="4039340" y="2122138"/>
                </a:cubicBezTo>
                <a:cubicBezTo>
                  <a:pt x="4312019" y="2122138"/>
                  <a:pt x="4547663" y="2021482"/>
                  <a:pt x="4729537" y="1803097"/>
                </a:cubicBezTo>
                <a:lnTo>
                  <a:pt x="4729537" y="2068383"/>
                </a:lnTo>
                <a:lnTo>
                  <a:pt x="5258045" y="2068383"/>
                </a:lnTo>
                <a:lnTo>
                  <a:pt x="5258045" y="53760"/>
                </a:lnTo>
                <a:lnTo>
                  <a:pt x="4729537" y="53760"/>
                </a:lnTo>
                <a:lnTo>
                  <a:pt x="4729537" y="319044"/>
                </a:lnTo>
                <a:cubicBezTo>
                  <a:pt x="4547663" y="100654"/>
                  <a:pt x="4312019" y="0"/>
                  <a:pt x="4039340" y="0"/>
                </a:cubicBezTo>
                <a:close/>
                <a:moveTo>
                  <a:pt x="5355596" y="53760"/>
                </a:moveTo>
                <a:cubicBezTo>
                  <a:pt x="5584477" y="409621"/>
                  <a:pt x="5843671" y="728656"/>
                  <a:pt x="6146647" y="1047690"/>
                </a:cubicBezTo>
                <a:cubicBezTo>
                  <a:pt x="5843671" y="1380036"/>
                  <a:pt x="5584477" y="1725958"/>
                  <a:pt x="5355596" y="2068383"/>
                </a:cubicBezTo>
                <a:lnTo>
                  <a:pt x="6025398" y="2068383"/>
                </a:lnTo>
                <a:cubicBezTo>
                  <a:pt x="6183558" y="1813177"/>
                  <a:pt x="6361935" y="1581479"/>
                  <a:pt x="6567375" y="1363234"/>
                </a:cubicBezTo>
                <a:cubicBezTo>
                  <a:pt x="6769318" y="1581479"/>
                  <a:pt x="6937567" y="1813177"/>
                  <a:pt x="7095852" y="2068383"/>
                </a:cubicBezTo>
                <a:lnTo>
                  <a:pt x="7772400" y="2068383"/>
                </a:lnTo>
                <a:cubicBezTo>
                  <a:pt x="7540153" y="1715878"/>
                  <a:pt x="7287690" y="1380036"/>
                  <a:pt x="6984714" y="1047690"/>
                </a:cubicBezTo>
                <a:cubicBezTo>
                  <a:pt x="7284324" y="728656"/>
                  <a:pt x="7540153" y="399671"/>
                  <a:pt x="7772400" y="53760"/>
                </a:cubicBezTo>
                <a:lnTo>
                  <a:pt x="7109329" y="53760"/>
                </a:lnTo>
                <a:cubicBezTo>
                  <a:pt x="6944438" y="308962"/>
                  <a:pt x="6766077" y="523843"/>
                  <a:pt x="6567375" y="735370"/>
                </a:cubicBezTo>
                <a:cubicBezTo>
                  <a:pt x="6365433" y="523843"/>
                  <a:pt x="6187056" y="308962"/>
                  <a:pt x="6025398" y="53760"/>
                </a:cubicBezTo>
                <a:lnTo>
                  <a:pt x="5355596" y="53760"/>
                </a:lnTo>
                <a:close/>
                <a:moveTo>
                  <a:pt x="4123414" y="466769"/>
                </a:moveTo>
                <a:cubicBezTo>
                  <a:pt x="4453220" y="466769"/>
                  <a:pt x="4719168" y="732057"/>
                  <a:pt x="4719168" y="1061065"/>
                </a:cubicBezTo>
                <a:cubicBezTo>
                  <a:pt x="4719168" y="1390069"/>
                  <a:pt x="4453220" y="1655370"/>
                  <a:pt x="4123414" y="1655370"/>
                </a:cubicBezTo>
                <a:cubicBezTo>
                  <a:pt x="3793600" y="1655370"/>
                  <a:pt x="3527651" y="1390201"/>
                  <a:pt x="3527651" y="1061065"/>
                </a:cubicBezTo>
                <a:cubicBezTo>
                  <a:pt x="3527651" y="731927"/>
                  <a:pt x="3793600" y="466769"/>
                  <a:pt x="4123414" y="466769"/>
                </a:cubicBezTo>
                <a:close/>
                <a:moveTo>
                  <a:pt x="4123414" y="601032"/>
                </a:moveTo>
                <a:cubicBezTo>
                  <a:pt x="3870935" y="601032"/>
                  <a:pt x="3665612" y="805843"/>
                  <a:pt x="3665612" y="1061065"/>
                </a:cubicBezTo>
                <a:cubicBezTo>
                  <a:pt x="3665612" y="1316279"/>
                  <a:pt x="3870935" y="1521111"/>
                  <a:pt x="4123414" y="1521111"/>
                </a:cubicBezTo>
                <a:cubicBezTo>
                  <a:pt x="4375885" y="1521111"/>
                  <a:pt x="4581193" y="1316279"/>
                  <a:pt x="4581193" y="1061065"/>
                </a:cubicBezTo>
                <a:cubicBezTo>
                  <a:pt x="4581193" y="805843"/>
                  <a:pt x="4375885" y="601032"/>
                  <a:pt x="4123414" y="601032"/>
                </a:cubicBezTo>
                <a:close/>
              </a:path>
            </a:pathLst>
          </a:custGeom>
          <a:solidFill>
            <a:srgbClr val="002BE7"/>
          </a:solidFill>
          <a:ln w="12954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grpSp>
        <p:nvGrpSpPr>
          <p:cNvPr id="5753" name="Gráfico 5620">
            <a:extLst>
              <a:ext uri="{FF2B5EF4-FFF2-40B4-BE49-F238E27FC236}">
                <a16:creationId xmlns:a16="http://schemas.microsoft.com/office/drawing/2014/main" id="{824A2D32-B90F-57C5-8B98-34E8E3C05834}"/>
              </a:ext>
            </a:extLst>
          </p:cNvPr>
          <p:cNvGrpSpPr/>
          <p:nvPr/>
        </p:nvGrpSpPr>
        <p:grpSpPr>
          <a:xfrm>
            <a:off x="602400" y="2428491"/>
            <a:ext cx="456619" cy="247509"/>
            <a:chOff x="3471" y="94557"/>
            <a:chExt cx="7768182" cy="4210711"/>
          </a:xfrm>
        </p:grpSpPr>
        <p:sp>
          <p:nvSpPr>
            <p:cNvPr id="5754" name="Forma libre 5753">
              <a:extLst>
                <a:ext uri="{FF2B5EF4-FFF2-40B4-BE49-F238E27FC236}">
                  <a16:creationId xmlns:a16="http://schemas.microsoft.com/office/drawing/2014/main" id="{34F113CE-476C-A4DE-5AB3-28ACC8101890}"/>
                </a:ext>
              </a:extLst>
            </p:cNvPr>
            <p:cNvSpPr/>
            <p:nvPr/>
          </p:nvSpPr>
          <p:spPr>
            <a:xfrm>
              <a:off x="3471" y="1669667"/>
              <a:ext cx="6352574" cy="2635601"/>
            </a:xfrm>
            <a:custGeom>
              <a:avLst/>
              <a:gdLst>
                <a:gd name="connsiteX0" fmla="*/ 5490219 w 6352574"/>
                <a:gd name="connsiteY0" fmla="*/ 1150859 h 2635601"/>
                <a:gd name="connsiteX1" fmla="*/ 5099733 w 6352574"/>
                <a:gd name="connsiteY1" fmla="*/ 1189652 h 2635601"/>
                <a:gd name="connsiteX2" fmla="*/ 5063895 w 6352574"/>
                <a:gd name="connsiteY2" fmla="*/ 1301556 h 2635601"/>
                <a:gd name="connsiteX3" fmla="*/ 5308042 w 6352574"/>
                <a:gd name="connsiteY3" fmla="*/ 1300064 h 2635601"/>
                <a:gd name="connsiteX4" fmla="*/ 5345374 w 6352574"/>
                <a:gd name="connsiteY4" fmla="*/ 1338111 h 2635601"/>
                <a:gd name="connsiteX5" fmla="*/ 5342387 w 6352574"/>
                <a:gd name="connsiteY5" fmla="*/ 1418681 h 2635601"/>
                <a:gd name="connsiteX6" fmla="*/ 5304309 w 6352574"/>
                <a:gd name="connsiteY6" fmla="*/ 1450014 h 2635601"/>
                <a:gd name="connsiteX7" fmla="*/ 4999684 w 6352574"/>
                <a:gd name="connsiteY7" fmla="*/ 1466427 h 2635601"/>
                <a:gd name="connsiteX8" fmla="*/ 4956380 w 6352574"/>
                <a:gd name="connsiteY8" fmla="*/ 1611901 h 2635601"/>
                <a:gd name="connsiteX9" fmla="*/ 4976539 w 6352574"/>
                <a:gd name="connsiteY9" fmla="*/ 1635774 h 2635601"/>
                <a:gd name="connsiteX10" fmla="*/ 5325215 w 6352574"/>
                <a:gd name="connsiteY10" fmla="*/ 1582060 h 2635601"/>
                <a:gd name="connsiteX11" fmla="*/ 5394651 w 6352574"/>
                <a:gd name="connsiteY11" fmla="*/ 1690980 h 2635601"/>
                <a:gd name="connsiteX12" fmla="*/ 4932488 w 6352574"/>
                <a:gd name="connsiteY12" fmla="*/ 1914041 h 2635601"/>
                <a:gd name="connsiteX13" fmla="*/ 4768230 w 6352574"/>
                <a:gd name="connsiteY13" fmla="*/ 1799899 h 2635601"/>
                <a:gd name="connsiteX14" fmla="*/ 4795108 w 6352574"/>
                <a:gd name="connsiteY14" fmla="*/ 1468665 h 2635601"/>
                <a:gd name="connsiteX15" fmla="*/ 4783162 w 6352574"/>
                <a:gd name="connsiteY15" fmla="*/ 1333635 h 2635601"/>
                <a:gd name="connsiteX16" fmla="*/ 4857825 w 6352574"/>
                <a:gd name="connsiteY16" fmla="*/ 1312000 h 2635601"/>
                <a:gd name="connsiteX17" fmla="*/ 4925768 w 6352574"/>
                <a:gd name="connsiteY17" fmla="*/ 1171002 h 2635601"/>
                <a:gd name="connsiteX18" fmla="*/ 4801828 w 6352574"/>
                <a:gd name="connsiteY18" fmla="*/ 1119526 h 2635601"/>
                <a:gd name="connsiteX19" fmla="*/ 4788389 w 6352574"/>
                <a:gd name="connsiteY19" fmla="*/ 1025527 h 2635601"/>
                <a:gd name="connsiteX20" fmla="*/ 5369265 w 6352574"/>
                <a:gd name="connsiteY20" fmla="*/ 956893 h 2635601"/>
                <a:gd name="connsiteX21" fmla="*/ 5513365 w 6352574"/>
                <a:gd name="connsiteY21" fmla="*/ 1083717 h 2635601"/>
                <a:gd name="connsiteX22" fmla="*/ 5490219 w 6352574"/>
                <a:gd name="connsiteY22" fmla="*/ 1150859 h 2635601"/>
                <a:gd name="connsiteX23" fmla="*/ 4653249 w 6352574"/>
                <a:gd name="connsiteY23" fmla="*/ 1692472 h 2635601"/>
                <a:gd name="connsiteX24" fmla="*/ 4456139 w 6352574"/>
                <a:gd name="connsiteY24" fmla="*/ 1786471 h 2635601"/>
                <a:gd name="connsiteX25" fmla="*/ 4216472 w 6352574"/>
                <a:gd name="connsiteY25" fmla="*/ 1441062 h 2635601"/>
                <a:gd name="connsiteX26" fmla="*/ 4150021 w 6352574"/>
                <a:gd name="connsiteY26" fmla="*/ 1331397 h 2635601"/>
                <a:gd name="connsiteX27" fmla="*/ 4130609 w 6352574"/>
                <a:gd name="connsiteY27" fmla="*/ 1432110 h 2635601"/>
                <a:gd name="connsiteX28" fmla="*/ 4083572 w 6352574"/>
                <a:gd name="connsiteY28" fmla="*/ 1829740 h 2635601"/>
                <a:gd name="connsiteX29" fmla="*/ 3952165 w 6352574"/>
                <a:gd name="connsiteY29" fmla="*/ 1808105 h 2635601"/>
                <a:gd name="connsiteX30" fmla="*/ 3929020 w 6352574"/>
                <a:gd name="connsiteY30" fmla="*/ 1481347 h 2635601"/>
                <a:gd name="connsiteX31" fmla="*/ 4041760 w 6352574"/>
                <a:gd name="connsiteY31" fmla="*/ 1047908 h 2635601"/>
                <a:gd name="connsiteX32" fmla="*/ 4155248 w 6352574"/>
                <a:gd name="connsiteY32" fmla="*/ 1047162 h 2635601"/>
                <a:gd name="connsiteX33" fmla="*/ 4345638 w 6352574"/>
                <a:gd name="connsiteY33" fmla="*/ 1303048 h 2635601"/>
                <a:gd name="connsiteX34" fmla="*/ 4366544 w 6352574"/>
                <a:gd name="connsiteY34" fmla="*/ 1338111 h 2635601"/>
                <a:gd name="connsiteX35" fmla="*/ 4485258 w 6352574"/>
                <a:gd name="connsiteY35" fmla="*/ 1517902 h 2635601"/>
                <a:gd name="connsiteX36" fmla="*/ 4501684 w 6352574"/>
                <a:gd name="connsiteY36" fmla="*/ 1520141 h 2635601"/>
                <a:gd name="connsiteX37" fmla="*/ 4508403 w 6352574"/>
                <a:gd name="connsiteY37" fmla="*/ 1458967 h 2635601"/>
                <a:gd name="connsiteX38" fmla="*/ 4388196 w 6352574"/>
                <a:gd name="connsiteY38" fmla="*/ 930036 h 2635601"/>
                <a:gd name="connsiteX39" fmla="*/ 4383716 w 6352574"/>
                <a:gd name="connsiteY39" fmla="*/ 849465 h 2635601"/>
                <a:gd name="connsiteX40" fmla="*/ 4432994 w 6352574"/>
                <a:gd name="connsiteY40" fmla="*/ 828577 h 2635601"/>
                <a:gd name="connsiteX41" fmla="*/ 4658476 w 6352574"/>
                <a:gd name="connsiteY41" fmla="*/ 1152351 h 2635601"/>
                <a:gd name="connsiteX42" fmla="*/ 4653249 w 6352574"/>
                <a:gd name="connsiteY42" fmla="*/ 1692472 h 2635601"/>
                <a:gd name="connsiteX43" fmla="*/ 3905127 w 6352574"/>
                <a:gd name="connsiteY43" fmla="*/ 1056114 h 2635601"/>
                <a:gd name="connsiteX44" fmla="*/ 3820759 w 6352574"/>
                <a:gd name="connsiteY44" fmla="*/ 1127732 h 2635601"/>
                <a:gd name="connsiteX45" fmla="*/ 3177165 w 6352574"/>
                <a:gd name="connsiteY45" fmla="*/ 1212779 h 2635601"/>
                <a:gd name="connsiteX46" fmla="*/ 3189111 w 6352574"/>
                <a:gd name="connsiteY46" fmla="*/ 1245604 h 2635601"/>
                <a:gd name="connsiteX47" fmla="*/ 3428779 w 6352574"/>
                <a:gd name="connsiteY47" fmla="*/ 1274699 h 2635601"/>
                <a:gd name="connsiteX48" fmla="*/ 3828971 w 6352574"/>
                <a:gd name="connsiteY48" fmla="*/ 1385856 h 2635601"/>
                <a:gd name="connsiteX49" fmla="*/ 3878249 w 6352574"/>
                <a:gd name="connsiteY49" fmla="*/ 1553712 h 2635601"/>
                <a:gd name="connsiteX50" fmla="*/ 3808812 w 6352574"/>
                <a:gd name="connsiteY50" fmla="*/ 1758122 h 2635601"/>
                <a:gd name="connsiteX51" fmla="*/ 3074877 w 6352574"/>
                <a:gd name="connsiteY51" fmla="*/ 1698440 h 2635601"/>
                <a:gd name="connsiteX52" fmla="*/ 3117435 w 6352574"/>
                <a:gd name="connsiteY52" fmla="*/ 1455983 h 2635601"/>
                <a:gd name="connsiteX53" fmla="*/ 3543013 w 6352574"/>
                <a:gd name="connsiteY53" fmla="*/ 1468665 h 2635601"/>
                <a:gd name="connsiteX54" fmla="*/ 3631115 w 6352574"/>
                <a:gd name="connsiteY54" fmla="*/ 1535807 h 2635601"/>
                <a:gd name="connsiteX55" fmla="*/ 3451924 w 6352574"/>
                <a:gd name="connsiteY55" fmla="*/ 1607425 h 2635601"/>
                <a:gd name="connsiteX56" fmla="*/ 3292892 w 6352574"/>
                <a:gd name="connsiteY56" fmla="*/ 1564156 h 2635601"/>
                <a:gd name="connsiteX57" fmla="*/ 3148046 w 6352574"/>
                <a:gd name="connsiteY57" fmla="*/ 1549235 h 2635601"/>
                <a:gd name="connsiteX58" fmla="*/ 3156259 w 6352574"/>
                <a:gd name="connsiteY58" fmla="*/ 1638012 h 2635601"/>
                <a:gd name="connsiteX59" fmla="*/ 3717724 w 6352574"/>
                <a:gd name="connsiteY59" fmla="*/ 1552966 h 2635601"/>
                <a:gd name="connsiteX60" fmla="*/ 3695325 w 6352574"/>
                <a:gd name="connsiteY60" fmla="*/ 1464935 h 2635601"/>
                <a:gd name="connsiteX61" fmla="*/ 3372035 w 6352574"/>
                <a:gd name="connsiteY61" fmla="*/ 1401523 h 2635601"/>
                <a:gd name="connsiteX62" fmla="*/ 3006934 w 6352574"/>
                <a:gd name="connsiteY62" fmla="*/ 1333635 h 2635601"/>
                <a:gd name="connsiteX63" fmla="*/ 3010667 w 6352574"/>
                <a:gd name="connsiteY63" fmla="*/ 1156081 h 2635601"/>
                <a:gd name="connsiteX64" fmla="*/ 3484776 w 6352574"/>
                <a:gd name="connsiteY64" fmla="*/ 953909 h 2635601"/>
                <a:gd name="connsiteX65" fmla="*/ 3908114 w 6352574"/>
                <a:gd name="connsiteY65" fmla="*/ 1014337 h 2635601"/>
                <a:gd name="connsiteX66" fmla="*/ 3905127 w 6352574"/>
                <a:gd name="connsiteY66" fmla="*/ 1056114 h 2635601"/>
                <a:gd name="connsiteX67" fmla="*/ 2889713 w 6352574"/>
                <a:gd name="connsiteY67" fmla="*/ 1861073 h 2635601"/>
                <a:gd name="connsiteX68" fmla="*/ 2728441 w 6352574"/>
                <a:gd name="connsiteY68" fmla="*/ 1843169 h 2635601"/>
                <a:gd name="connsiteX69" fmla="*/ 2698576 w 6352574"/>
                <a:gd name="connsiteY69" fmla="*/ 1483585 h 2635601"/>
                <a:gd name="connsiteX70" fmla="*/ 2751587 w 6352574"/>
                <a:gd name="connsiteY70" fmla="*/ 991210 h 2635601"/>
                <a:gd name="connsiteX71" fmla="*/ 2844169 w 6352574"/>
                <a:gd name="connsiteY71" fmla="*/ 1013591 h 2635601"/>
                <a:gd name="connsiteX72" fmla="*/ 2891953 w 6352574"/>
                <a:gd name="connsiteY72" fmla="*/ 1133700 h 2635601"/>
                <a:gd name="connsiteX73" fmla="*/ 2911365 w 6352574"/>
                <a:gd name="connsiteY73" fmla="*/ 1529839 h 2635601"/>
                <a:gd name="connsiteX74" fmla="*/ 2889713 w 6352574"/>
                <a:gd name="connsiteY74" fmla="*/ 1861073 h 2635601"/>
                <a:gd name="connsiteX75" fmla="*/ 2983042 w 6352574"/>
                <a:gd name="connsiteY75" fmla="*/ 788292 h 2635601"/>
                <a:gd name="connsiteX76" fmla="*/ 2697083 w 6352574"/>
                <a:gd name="connsiteY76" fmla="*/ 784561 h 2635601"/>
                <a:gd name="connsiteX77" fmla="*/ 2621674 w 6352574"/>
                <a:gd name="connsiteY77" fmla="*/ 861402 h 2635601"/>
                <a:gd name="connsiteX78" fmla="*/ 2547757 w 6352574"/>
                <a:gd name="connsiteY78" fmla="*/ 789038 h 2635601"/>
                <a:gd name="connsiteX79" fmla="*/ 2545517 w 6352574"/>
                <a:gd name="connsiteY79" fmla="*/ 694293 h 2635601"/>
                <a:gd name="connsiteX80" fmla="*/ 2480561 w 6352574"/>
                <a:gd name="connsiteY80" fmla="*/ 485406 h 2635601"/>
                <a:gd name="connsiteX81" fmla="*/ 2987521 w 6352574"/>
                <a:gd name="connsiteY81" fmla="*/ 133283 h 2635601"/>
                <a:gd name="connsiteX82" fmla="*/ 3198070 w 6352574"/>
                <a:gd name="connsiteY82" fmla="*/ 216092 h 2635601"/>
                <a:gd name="connsiteX83" fmla="*/ 3203297 w 6352574"/>
                <a:gd name="connsiteY83" fmla="*/ 216092 h 2635601"/>
                <a:gd name="connsiteX84" fmla="*/ 3374275 w 6352574"/>
                <a:gd name="connsiteY84" fmla="*/ 372010 h 2635601"/>
                <a:gd name="connsiteX85" fmla="*/ 2983042 w 6352574"/>
                <a:gd name="connsiteY85" fmla="*/ 788292 h 2635601"/>
                <a:gd name="connsiteX86" fmla="*/ 2639593 w 6352574"/>
                <a:gd name="connsiteY86" fmla="*/ 442883 h 2635601"/>
                <a:gd name="connsiteX87" fmla="*/ 2617940 w 6352574"/>
                <a:gd name="connsiteY87" fmla="*/ 562992 h 2635601"/>
                <a:gd name="connsiteX88" fmla="*/ 2852382 w 6352574"/>
                <a:gd name="connsiteY88" fmla="*/ 318297 h 2635601"/>
                <a:gd name="connsiteX89" fmla="*/ 2639593 w 6352574"/>
                <a:gd name="connsiteY89" fmla="*/ 442883 h 2635601"/>
                <a:gd name="connsiteX90" fmla="*/ 3148046 w 6352574"/>
                <a:gd name="connsiteY90" fmla="*/ 342916 h 2635601"/>
                <a:gd name="connsiteX91" fmla="*/ 2768013 w 6352574"/>
                <a:gd name="connsiteY91" fmla="*/ 642071 h 2635601"/>
                <a:gd name="connsiteX92" fmla="*/ 3231669 w 6352574"/>
                <a:gd name="connsiteY92" fmla="*/ 448851 h 2635601"/>
                <a:gd name="connsiteX93" fmla="*/ 3148046 w 6352574"/>
                <a:gd name="connsiteY93" fmla="*/ 342916 h 2635601"/>
                <a:gd name="connsiteX94" fmla="*/ 6289858 w 6352574"/>
                <a:gd name="connsiteY94" fmla="*/ 1544759 h 2635601"/>
                <a:gd name="connsiteX95" fmla="*/ 5765725 w 6352574"/>
                <a:gd name="connsiteY95" fmla="*/ 1858835 h 2635601"/>
                <a:gd name="connsiteX96" fmla="*/ 5567122 w 6352574"/>
                <a:gd name="connsiteY96" fmla="*/ 2591430 h 2635601"/>
                <a:gd name="connsiteX97" fmla="*/ 5507392 w 6352574"/>
                <a:gd name="connsiteY97" fmla="*/ 2630969 h 2635601"/>
                <a:gd name="connsiteX98" fmla="*/ 5357319 w 6352574"/>
                <a:gd name="connsiteY98" fmla="*/ 2413877 h 2635601"/>
                <a:gd name="connsiteX99" fmla="*/ 5545470 w 6352574"/>
                <a:gd name="connsiteY99" fmla="*/ 1709630 h 2635601"/>
                <a:gd name="connsiteX100" fmla="*/ 5501419 w 6352574"/>
                <a:gd name="connsiteY100" fmla="*/ 1416443 h 2635601"/>
                <a:gd name="connsiteX101" fmla="*/ 5785137 w 6352574"/>
                <a:gd name="connsiteY101" fmla="*/ 944957 h 2635601"/>
                <a:gd name="connsiteX102" fmla="*/ 5832175 w 6352574"/>
                <a:gd name="connsiteY102" fmla="*/ 927052 h 2635601"/>
                <a:gd name="connsiteX103" fmla="*/ 5826949 w 6352574"/>
                <a:gd name="connsiteY103" fmla="*/ 1054622 h 2635601"/>
                <a:gd name="connsiteX104" fmla="*/ 5700022 w 6352574"/>
                <a:gd name="connsiteY104" fmla="*/ 1285889 h 2635601"/>
                <a:gd name="connsiteX105" fmla="*/ 5649998 w 6352574"/>
                <a:gd name="connsiteY105" fmla="*/ 1517902 h 2635601"/>
                <a:gd name="connsiteX106" fmla="*/ 6262233 w 6352574"/>
                <a:gd name="connsiteY106" fmla="*/ 1039701 h 2635601"/>
                <a:gd name="connsiteX107" fmla="*/ 6352575 w 6352574"/>
                <a:gd name="connsiteY107" fmla="*/ 1283651 h 2635601"/>
                <a:gd name="connsiteX108" fmla="*/ 6289858 w 6352574"/>
                <a:gd name="connsiteY108" fmla="*/ 1544759 h 2635601"/>
                <a:gd name="connsiteX109" fmla="*/ 6236101 w 6352574"/>
                <a:gd name="connsiteY109" fmla="*/ 1226953 h 2635601"/>
                <a:gd name="connsiteX110" fmla="*/ 6147999 w 6352574"/>
                <a:gd name="connsiteY110" fmla="*/ 1235160 h 2635601"/>
                <a:gd name="connsiteX111" fmla="*/ 5862040 w 6352574"/>
                <a:gd name="connsiteY111" fmla="*/ 1637266 h 2635601"/>
                <a:gd name="connsiteX112" fmla="*/ 6092748 w 6352574"/>
                <a:gd name="connsiteY112" fmla="*/ 1541775 h 2635601"/>
                <a:gd name="connsiteX113" fmla="*/ 6236101 w 6352574"/>
                <a:gd name="connsiteY113" fmla="*/ 1226953 h 2635601"/>
                <a:gd name="connsiteX114" fmla="*/ 2611221 w 6352574"/>
                <a:gd name="connsiteY114" fmla="*/ 1328412 h 2635601"/>
                <a:gd name="connsiteX115" fmla="*/ 2035570 w 6352574"/>
                <a:gd name="connsiteY115" fmla="*/ 1962532 h 2635601"/>
                <a:gd name="connsiteX116" fmla="*/ 1236678 w 6352574"/>
                <a:gd name="connsiteY116" fmla="*/ 1970739 h 2635601"/>
                <a:gd name="connsiteX117" fmla="*/ 1215026 w 6352574"/>
                <a:gd name="connsiteY117" fmla="*/ 2076674 h 2635601"/>
                <a:gd name="connsiteX118" fmla="*/ 1036582 w 6352574"/>
                <a:gd name="connsiteY118" fmla="*/ 2065483 h 2635601"/>
                <a:gd name="connsiteX119" fmla="*/ 989544 w 6352574"/>
                <a:gd name="connsiteY119" fmla="*/ 1883454 h 2635601"/>
                <a:gd name="connsiteX120" fmla="*/ 433306 w 6352574"/>
                <a:gd name="connsiteY120" fmla="*/ 1450014 h 2635601"/>
                <a:gd name="connsiteX121" fmla="*/ 425093 w 6352574"/>
                <a:gd name="connsiteY121" fmla="*/ 1242620 h 2635601"/>
                <a:gd name="connsiteX122" fmla="*/ 1006717 w 6352574"/>
                <a:gd name="connsiteY122" fmla="*/ 1003892 h 2635601"/>
                <a:gd name="connsiteX123" fmla="*/ 1067193 w 6352574"/>
                <a:gd name="connsiteY123" fmla="*/ 577913 h 2635601"/>
                <a:gd name="connsiteX124" fmla="*/ 1182174 w 6352574"/>
                <a:gd name="connsiteY124" fmla="*/ 624913 h 2635601"/>
                <a:gd name="connsiteX125" fmla="*/ 1233691 w 6352574"/>
                <a:gd name="connsiteY125" fmla="*/ 983750 h 2635601"/>
                <a:gd name="connsiteX126" fmla="*/ 1654043 w 6352574"/>
                <a:gd name="connsiteY126" fmla="*/ 1018813 h 2635601"/>
                <a:gd name="connsiteX127" fmla="*/ 2016905 w 6352574"/>
                <a:gd name="connsiteY127" fmla="*/ 1305286 h 2635601"/>
                <a:gd name="connsiteX128" fmla="*/ 1844433 w 6352574"/>
                <a:gd name="connsiteY128" fmla="*/ 1490300 h 2635601"/>
                <a:gd name="connsiteX129" fmla="*/ 1724226 w 6352574"/>
                <a:gd name="connsiteY129" fmla="*/ 1460459 h 2635601"/>
                <a:gd name="connsiteX130" fmla="*/ 1780970 w 6352574"/>
                <a:gd name="connsiteY130" fmla="*/ 1389587 h 2635601"/>
                <a:gd name="connsiteX131" fmla="*/ 1831741 w 6352574"/>
                <a:gd name="connsiteY131" fmla="*/ 1324682 h 2635601"/>
                <a:gd name="connsiteX132" fmla="*/ 1223239 w 6352574"/>
                <a:gd name="connsiteY132" fmla="*/ 1203081 h 2635601"/>
                <a:gd name="connsiteX133" fmla="*/ 1233691 w 6352574"/>
                <a:gd name="connsiteY133" fmla="*/ 1784979 h 2635601"/>
                <a:gd name="connsiteX134" fmla="*/ 1589833 w 6352574"/>
                <a:gd name="connsiteY134" fmla="*/ 1816312 h 2635601"/>
                <a:gd name="connsiteX135" fmla="*/ 2355874 w 6352574"/>
                <a:gd name="connsiteY135" fmla="*/ 1320952 h 2635601"/>
                <a:gd name="connsiteX136" fmla="*/ 1049274 w 6352574"/>
                <a:gd name="connsiteY136" fmla="*/ 245187 h 2635601"/>
                <a:gd name="connsiteX137" fmla="*/ 137641 w 6352574"/>
                <a:gd name="connsiteY137" fmla="*/ 214600 h 2635601"/>
                <a:gd name="connsiteX138" fmla="*/ 135401 w 6352574"/>
                <a:gd name="connsiteY138" fmla="*/ 233996 h 2635601"/>
                <a:gd name="connsiteX139" fmla="*/ 219024 w 6352574"/>
                <a:gd name="connsiteY139" fmla="*/ 256377 h 2635601"/>
                <a:gd name="connsiteX140" fmla="*/ 231716 w 6352574"/>
                <a:gd name="connsiteY140" fmla="*/ 303376 h 2635601"/>
                <a:gd name="connsiteX141" fmla="*/ 6235 w 6352574"/>
                <a:gd name="connsiteY141" fmla="*/ 270551 h 2635601"/>
                <a:gd name="connsiteX142" fmla="*/ 60738 w 6352574"/>
                <a:gd name="connsiteY142" fmla="*/ 130299 h 2635601"/>
                <a:gd name="connsiteX143" fmla="*/ 145107 w 6352574"/>
                <a:gd name="connsiteY143" fmla="*/ 72855 h 2635601"/>
                <a:gd name="connsiteX144" fmla="*/ 1693615 w 6352574"/>
                <a:gd name="connsiteY144" fmla="*/ 268313 h 2635601"/>
                <a:gd name="connsiteX145" fmla="*/ 2611221 w 6352574"/>
                <a:gd name="connsiteY145" fmla="*/ 1328412 h 2635601"/>
                <a:gd name="connsiteX146" fmla="*/ 504236 w 6352574"/>
                <a:gd name="connsiteY146" fmla="*/ 1303794 h 2635601"/>
                <a:gd name="connsiteX147" fmla="*/ 479597 w 6352574"/>
                <a:gd name="connsiteY147" fmla="*/ 1398539 h 2635601"/>
                <a:gd name="connsiteX148" fmla="*/ 985064 w 6352574"/>
                <a:gd name="connsiteY148" fmla="*/ 1720075 h 2635601"/>
                <a:gd name="connsiteX149" fmla="*/ 1004477 w 6352574"/>
                <a:gd name="connsiteY149" fmla="*/ 1209049 h 2635601"/>
                <a:gd name="connsiteX150" fmla="*/ 504236 w 6352574"/>
                <a:gd name="connsiteY150" fmla="*/ 1303794 h 263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</a:cxnLst>
              <a:rect l="l" t="t" r="r" b="b"/>
              <a:pathLst>
                <a:path w="6352574" h="2635601">
                  <a:moveTo>
                    <a:pt x="5490219" y="1150859"/>
                  </a:moveTo>
                  <a:cubicBezTo>
                    <a:pt x="5382705" y="1175478"/>
                    <a:pt x="5099733" y="1189652"/>
                    <a:pt x="5099733" y="1189652"/>
                  </a:cubicBezTo>
                  <a:lnTo>
                    <a:pt x="5063895" y="1301556"/>
                  </a:lnTo>
                  <a:cubicBezTo>
                    <a:pt x="5063895" y="1301556"/>
                    <a:pt x="5205007" y="1289619"/>
                    <a:pt x="5308042" y="1300064"/>
                  </a:cubicBezTo>
                  <a:cubicBezTo>
                    <a:pt x="5308042" y="1300064"/>
                    <a:pt x="5341640" y="1296334"/>
                    <a:pt x="5345374" y="1338111"/>
                  </a:cubicBezTo>
                  <a:cubicBezTo>
                    <a:pt x="5346866" y="1376904"/>
                    <a:pt x="5342387" y="1418681"/>
                    <a:pt x="5342387" y="1418681"/>
                  </a:cubicBezTo>
                  <a:cubicBezTo>
                    <a:pt x="5342387" y="1418681"/>
                    <a:pt x="5340147" y="1444046"/>
                    <a:pt x="5304309" y="1450014"/>
                  </a:cubicBezTo>
                  <a:cubicBezTo>
                    <a:pt x="5265484" y="1456729"/>
                    <a:pt x="4999684" y="1466427"/>
                    <a:pt x="4999684" y="1466427"/>
                  </a:cubicBezTo>
                  <a:lnTo>
                    <a:pt x="4956380" y="1611901"/>
                  </a:lnTo>
                  <a:cubicBezTo>
                    <a:pt x="4956380" y="1611901"/>
                    <a:pt x="4940701" y="1645472"/>
                    <a:pt x="4976539" y="1635774"/>
                  </a:cubicBezTo>
                  <a:cubicBezTo>
                    <a:pt x="5010137" y="1626822"/>
                    <a:pt x="5288630" y="1574600"/>
                    <a:pt x="5325215" y="1582060"/>
                  </a:cubicBezTo>
                  <a:cubicBezTo>
                    <a:pt x="5364039" y="1591759"/>
                    <a:pt x="5407344" y="1643234"/>
                    <a:pt x="5394651" y="1690980"/>
                  </a:cubicBezTo>
                  <a:cubicBezTo>
                    <a:pt x="5379718" y="1749170"/>
                    <a:pt x="5101973" y="1926723"/>
                    <a:pt x="4932488" y="1914041"/>
                  </a:cubicBezTo>
                  <a:cubicBezTo>
                    <a:pt x="4932488" y="1914041"/>
                    <a:pt x="4843639" y="1920009"/>
                    <a:pt x="4768230" y="1799899"/>
                  </a:cubicBezTo>
                  <a:cubicBezTo>
                    <a:pt x="4698047" y="1685758"/>
                    <a:pt x="4795108" y="1468665"/>
                    <a:pt x="4795108" y="1468665"/>
                  </a:cubicBezTo>
                  <a:cubicBezTo>
                    <a:pt x="4795108" y="1468665"/>
                    <a:pt x="4751057" y="1367206"/>
                    <a:pt x="4783162" y="1333635"/>
                  </a:cubicBezTo>
                  <a:cubicBezTo>
                    <a:pt x="4783162" y="1333635"/>
                    <a:pt x="4802575" y="1316476"/>
                    <a:pt x="4857825" y="1312000"/>
                  </a:cubicBezTo>
                  <a:lnTo>
                    <a:pt x="4925768" y="1171002"/>
                  </a:lnTo>
                  <a:cubicBezTo>
                    <a:pt x="4925768" y="1171002"/>
                    <a:pt x="4848119" y="1176224"/>
                    <a:pt x="4801828" y="1119526"/>
                  </a:cubicBezTo>
                  <a:cubicBezTo>
                    <a:pt x="4758524" y="1065066"/>
                    <a:pt x="4755537" y="1040447"/>
                    <a:pt x="4788389" y="1025527"/>
                  </a:cubicBezTo>
                  <a:cubicBezTo>
                    <a:pt x="4823480" y="1008368"/>
                    <a:pt x="5146770" y="949433"/>
                    <a:pt x="5369265" y="956893"/>
                  </a:cubicBezTo>
                  <a:cubicBezTo>
                    <a:pt x="5369265" y="956893"/>
                    <a:pt x="5446915" y="949433"/>
                    <a:pt x="5513365" y="1083717"/>
                  </a:cubicBezTo>
                  <a:cubicBezTo>
                    <a:pt x="5512618" y="1083717"/>
                    <a:pt x="5545470" y="1138177"/>
                    <a:pt x="5490219" y="1150859"/>
                  </a:cubicBezTo>
                  <a:close/>
                  <a:moveTo>
                    <a:pt x="4653249" y="1692472"/>
                  </a:moveTo>
                  <a:cubicBezTo>
                    <a:pt x="4624877" y="1759614"/>
                    <a:pt x="4549468" y="1831232"/>
                    <a:pt x="4456139" y="1786471"/>
                  </a:cubicBezTo>
                  <a:cubicBezTo>
                    <a:pt x="4363557" y="1741709"/>
                    <a:pt x="4216472" y="1441062"/>
                    <a:pt x="4216472" y="1441062"/>
                  </a:cubicBezTo>
                  <a:cubicBezTo>
                    <a:pt x="4216472" y="1441062"/>
                    <a:pt x="4160474" y="1329159"/>
                    <a:pt x="4150021" y="1331397"/>
                  </a:cubicBezTo>
                  <a:cubicBezTo>
                    <a:pt x="4150021" y="1331397"/>
                    <a:pt x="4138076" y="1309762"/>
                    <a:pt x="4130609" y="1432110"/>
                  </a:cubicBezTo>
                  <a:cubicBezTo>
                    <a:pt x="4123143" y="1554457"/>
                    <a:pt x="4132103" y="1792439"/>
                    <a:pt x="4083572" y="1829740"/>
                  </a:cubicBezTo>
                  <a:cubicBezTo>
                    <a:pt x="4037281" y="1867041"/>
                    <a:pt x="3981284" y="1852121"/>
                    <a:pt x="3952165" y="1808105"/>
                  </a:cubicBezTo>
                  <a:cubicBezTo>
                    <a:pt x="3926033" y="1764836"/>
                    <a:pt x="3914833" y="1661885"/>
                    <a:pt x="3929020" y="1481347"/>
                  </a:cubicBezTo>
                  <a:cubicBezTo>
                    <a:pt x="3946192" y="1300810"/>
                    <a:pt x="3988003" y="1108336"/>
                    <a:pt x="4041760" y="1047908"/>
                  </a:cubicBezTo>
                  <a:cubicBezTo>
                    <a:pt x="4095518" y="988226"/>
                    <a:pt x="4138822" y="1031495"/>
                    <a:pt x="4155248" y="1047162"/>
                  </a:cubicBezTo>
                  <a:cubicBezTo>
                    <a:pt x="4155248" y="1047162"/>
                    <a:pt x="4226924" y="1112066"/>
                    <a:pt x="4345638" y="1303048"/>
                  </a:cubicBezTo>
                  <a:lnTo>
                    <a:pt x="4366544" y="1338111"/>
                  </a:lnTo>
                  <a:cubicBezTo>
                    <a:pt x="4366544" y="1338111"/>
                    <a:pt x="4474058" y="1518648"/>
                    <a:pt x="4485258" y="1517902"/>
                  </a:cubicBezTo>
                  <a:cubicBezTo>
                    <a:pt x="4485258" y="1517902"/>
                    <a:pt x="4494217" y="1526109"/>
                    <a:pt x="4501684" y="1520141"/>
                  </a:cubicBezTo>
                  <a:cubicBezTo>
                    <a:pt x="4512883" y="1517156"/>
                    <a:pt x="4508403" y="1458967"/>
                    <a:pt x="4508403" y="1458967"/>
                  </a:cubicBezTo>
                  <a:cubicBezTo>
                    <a:pt x="4508403" y="1458967"/>
                    <a:pt x="4486004" y="1262763"/>
                    <a:pt x="4388196" y="930036"/>
                  </a:cubicBezTo>
                  <a:cubicBezTo>
                    <a:pt x="4388196" y="930036"/>
                    <a:pt x="4373264" y="888259"/>
                    <a:pt x="4383716" y="849465"/>
                  </a:cubicBezTo>
                  <a:cubicBezTo>
                    <a:pt x="4393423" y="809926"/>
                    <a:pt x="4432994" y="828577"/>
                    <a:pt x="4432994" y="828577"/>
                  </a:cubicBezTo>
                  <a:cubicBezTo>
                    <a:pt x="4432994" y="828577"/>
                    <a:pt x="4585306" y="904671"/>
                    <a:pt x="4658476" y="1152351"/>
                  </a:cubicBezTo>
                  <a:cubicBezTo>
                    <a:pt x="4730898" y="1402269"/>
                    <a:pt x="4681621" y="1625330"/>
                    <a:pt x="4653249" y="1692472"/>
                  </a:cubicBezTo>
                  <a:close/>
                  <a:moveTo>
                    <a:pt x="3905127" y="1056114"/>
                  </a:moveTo>
                  <a:cubicBezTo>
                    <a:pt x="3892435" y="1081479"/>
                    <a:pt x="3884968" y="1118034"/>
                    <a:pt x="3820759" y="1127732"/>
                  </a:cubicBezTo>
                  <a:cubicBezTo>
                    <a:pt x="3820759" y="1127732"/>
                    <a:pt x="3206283" y="1169510"/>
                    <a:pt x="3177165" y="1212779"/>
                  </a:cubicBezTo>
                  <a:cubicBezTo>
                    <a:pt x="3177165" y="1212779"/>
                    <a:pt x="3155513" y="1238144"/>
                    <a:pt x="3189111" y="1245604"/>
                  </a:cubicBezTo>
                  <a:cubicBezTo>
                    <a:pt x="3222709" y="1252318"/>
                    <a:pt x="3361582" y="1270969"/>
                    <a:pt x="3428779" y="1274699"/>
                  </a:cubicBezTo>
                  <a:cubicBezTo>
                    <a:pt x="3500455" y="1275445"/>
                    <a:pt x="3742363" y="1277683"/>
                    <a:pt x="3828971" y="1385856"/>
                  </a:cubicBezTo>
                  <a:cubicBezTo>
                    <a:pt x="3828971" y="1385856"/>
                    <a:pt x="3880489" y="1437332"/>
                    <a:pt x="3878249" y="1553712"/>
                  </a:cubicBezTo>
                  <a:cubicBezTo>
                    <a:pt x="3876009" y="1673075"/>
                    <a:pt x="3855103" y="1714853"/>
                    <a:pt x="3808812" y="1758122"/>
                  </a:cubicBezTo>
                  <a:cubicBezTo>
                    <a:pt x="3760282" y="1798407"/>
                    <a:pt x="3343663" y="1984913"/>
                    <a:pt x="3074877" y="1698440"/>
                  </a:cubicBezTo>
                  <a:cubicBezTo>
                    <a:pt x="3074877" y="1698440"/>
                    <a:pt x="2950937" y="1560426"/>
                    <a:pt x="3117435" y="1455983"/>
                  </a:cubicBezTo>
                  <a:cubicBezTo>
                    <a:pt x="3117435" y="1455983"/>
                    <a:pt x="3237642" y="1383618"/>
                    <a:pt x="3543013" y="1468665"/>
                  </a:cubicBezTo>
                  <a:cubicBezTo>
                    <a:pt x="3543013" y="1468665"/>
                    <a:pt x="3635595" y="1502236"/>
                    <a:pt x="3631115" y="1535807"/>
                  </a:cubicBezTo>
                  <a:cubicBezTo>
                    <a:pt x="3625888" y="1571616"/>
                    <a:pt x="3554959" y="1609663"/>
                    <a:pt x="3451924" y="1607425"/>
                  </a:cubicBezTo>
                  <a:cubicBezTo>
                    <a:pt x="3351876" y="1604441"/>
                    <a:pt x="3278706" y="1556696"/>
                    <a:pt x="3292892" y="1564156"/>
                  </a:cubicBezTo>
                  <a:cubicBezTo>
                    <a:pt x="3306331" y="1569378"/>
                    <a:pt x="3185378" y="1505966"/>
                    <a:pt x="3148046" y="1549235"/>
                  </a:cubicBezTo>
                  <a:cubicBezTo>
                    <a:pt x="3110715" y="1588775"/>
                    <a:pt x="3119674" y="1613394"/>
                    <a:pt x="3156259" y="1638012"/>
                  </a:cubicBezTo>
                  <a:cubicBezTo>
                    <a:pt x="3249588" y="1690980"/>
                    <a:pt x="3610209" y="1672329"/>
                    <a:pt x="3717724" y="1552966"/>
                  </a:cubicBezTo>
                  <a:cubicBezTo>
                    <a:pt x="3717724" y="1552966"/>
                    <a:pt x="3760282" y="1504474"/>
                    <a:pt x="3695325" y="1464935"/>
                  </a:cubicBezTo>
                  <a:cubicBezTo>
                    <a:pt x="3630368" y="1427634"/>
                    <a:pt x="3444458" y="1405253"/>
                    <a:pt x="3372035" y="1401523"/>
                  </a:cubicBezTo>
                  <a:cubicBezTo>
                    <a:pt x="3302598" y="1397793"/>
                    <a:pt x="3044265" y="1402269"/>
                    <a:pt x="3006934" y="1333635"/>
                  </a:cubicBezTo>
                  <a:cubicBezTo>
                    <a:pt x="3006934" y="1333635"/>
                    <a:pt x="2969602" y="1287381"/>
                    <a:pt x="3010667" y="1156081"/>
                  </a:cubicBezTo>
                  <a:cubicBezTo>
                    <a:pt x="3053971" y="1018813"/>
                    <a:pt x="3354862" y="965845"/>
                    <a:pt x="3484776" y="953909"/>
                  </a:cubicBezTo>
                  <a:cubicBezTo>
                    <a:pt x="3484776" y="953909"/>
                    <a:pt x="3842410" y="941226"/>
                    <a:pt x="3908114" y="1014337"/>
                  </a:cubicBezTo>
                  <a:cubicBezTo>
                    <a:pt x="3907367" y="1014337"/>
                    <a:pt x="3916327" y="1031495"/>
                    <a:pt x="3905127" y="1056114"/>
                  </a:cubicBezTo>
                  <a:close/>
                  <a:moveTo>
                    <a:pt x="2889713" y="1861073"/>
                  </a:moveTo>
                  <a:cubicBezTo>
                    <a:pt x="2846409" y="1893152"/>
                    <a:pt x="2754573" y="1878978"/>
                    <a:pt x="2728441" y="1843169"/>
                  </a:cubicBezTo>
                  <a:cubicBezTo>
                    <a:pt x="2702309" y="1811090"/>
                    <a:pt x="2693350" y="1683520"/>
                    <a:pt x="2698576" y="1483585"/>
                  </a:cubicBezTo>
                  <a:cubicBezTo>
                    <a:pt x="2703803" y="1281413"/>
                    <a:pt x="2708282" y="1030749"/>
                    <a:pt x="2751587" y="991210"/>
                  </a:cubicBezTo>
                  <a:cubicBezTo>
                    <a:pt x="2797878" y="950925"/>
                    <a:pt x="2826250" y="985988"/>
                    <a:pt x="2844169" y="1013591"/>
                  </a:cubicBezTo>
                  <a:cubicBezTo>
                    <a:pt x="2863581" y="1040447"/>
                    <a:pt x="2886727" y="1070288"/>
                    <a:pt x="2891953" y="1133700"/>
                  </a:cubicBezTo>
                  <a:cubicBezTo>
                    <a:pt x="2896433" y="1197112"/>
                    <a:pt x="2911365" y="1529839"/>
                    <a:pt x="2911365" y="1529839"/>
                  </a:cubicBezTo>
                  <a:cubicBezTo>
                    <a:pt x="2911365" y="1529839"/>
                    <a:pt x="2930778" y="1829740"/>
                    <a:pt x="2889713" y="1861073"/>
                  </a:cubicBezTo>
                  <a:close/>
                  <a:moveTo>
                    <a:pt x="2983042" y="788292"/>
                  </a:moveTo>
                  <a:cubicBezTo>
                    <a:pt x="2856861" y="830069"/>
                    <a:pt x="2770252" y="815894"/>
                    <a:pt x="2697083" y="784561"/>
                  </a:cubicBezTo>
                  <a:cubicBezTo>
                    <a:pt x="2664978" y="840513"/>
                    <a:pt x="2646312" y="857672"/>
                    <a:pt x="2621674" y="861402"/>
                  </a:cubicBezTo>
                  <a:cubicBezTo>
                    <a:pt x="2585835" y="865132"/>
                    <a:pt x="2553730" y="807688"/>
                    <a:pt x="2547757" y="789038"/>
                  </a:cubicBezTo>
                  <a:cubicBezTo>
                    <a:pt x="2541784" y="774863"/>
                    <a:pt x="2524612" y="750990"/>
                    <a:pt x="2545517" y="694293"/>
                  </a:cubicBezTo>
                  <a:cubicBezTo>
                    <a:pt x="2473841" y="630135"/>
                    <a:pt x="2468615" y="543596"/>
                    <a:pt x="2480561" y="485406"/>
                  </a:cubicBezTo>
                  <a:cubicBezTo>
                    <a:pt x="2498480" y="418264"/>
                    <a:pt x="2619433" y="163124"/>
                    <a:pt x="2987521" y="133283"/>
                  </a:cubicBezTo>
                  <a:cubicBezTo>
                    <a:pt x="2987521" y="133283"/>
                    <a:pt x="3167459" y="119855"/>
                    <a:pt x="3198070" y="216092"/>
                  </a:cubicBezTo>
                  <a:lnTo>
                    <a:pt x="3203297" y="216092"/>
                  </a:lnTo>
                  <a:cubicBezTo>
                    <a:pt x="3203297" y="216092"/>
                    <a:pt x="3378008" y="216838"/>
                    <a:pt x="3374275" y="372010"/>
                  </a:cubicBezTo>
                  <a:cubicBezTo>
                    <a:pt x="3372035" y="527929"/>
                    <a:pt x="3180151" y="721896"/>
                    <a:pt x="2983042" y="788292"/>
                  </a:cubicBezTo>
                  <a:close/>
                  <a:moveTo>
                    <a:pt x="2639593" y="442883"/>
                  </a:moveTo>
                  <a:cubicBezTo>
                    <a:pt x="2602261" y="502564"/>
                    <a:pt x="2600768" y="538374"/>
                    <a:pt x="2617940" y="562992"/>
                  </a:cubicBezTo>
                  <a:cubicBezTo>
                    <a:pt x="2660498" y="498089"/>
                    <a:pt x="2738148" y="395883"/>
                    <a:pt x="2852382" y="318297"/>
                  </a:cubicBezTo>
                  <a:cubicBezTo>
                    <a:pt x="2764280" y="325757"/>
                    <a:pt x="2690363" y="363804"/>
                    <a:pt x="2639593" y="442883"/>
                  </a:cubicBezTo>
                  <a:close/>
                  <a:moveTo>
                    <a:pt x="3148046" y="342916"/>
                  </a:moveTo>
                  <a:cubicBezTo>
                    <a:pt x="3032319" y="360074"/>
                    <a:pt x="2853128" y="515247"/>
                    <a:pt x="2768013" y="642071"/>
                  </a:cubicBezTo>
                  <a:cubicBezTo>
                    <a:pt x="2898673" y="665944"/>
                    <a:pt x="3129381" y="656991"/>
                    <a:pt x="3231669" y="448851"/>
                  </a:cubicBezTo>
                  <a:cubicBezTo>
                    <a:pt x="3230922" y="448851"/>
                    <a:pt x="3280199" y="319789"/>
                    <a:pt x="3148046" y="342916"/>
                  </a:cubicBezTo>
                  <a:close/>
                  <a:moveTo>
                    <a:pt x="6289858" y="1544759"/>
                  </a:moveTo>
                  <a:cubicBezTo>
                    <a:pt x="6220422" y="1665615"/>
                    <a:pt x="6025552" y="1917771"/>
                    <a:pt x="5765725" y="1858835"/>
                  </a:cubicBezTo>
                  <a:cubicBezTo>
                    <a:pt x="5679863" y="2066976"/>
                    <a:pt x="5608186" y="2276608"/>
                    <a:pt x="5567122" y="2591430"/>
                  </a:cubicBezTo>
                  <a:cubicBezTo>
                    <a:pt x="5567122" y="2591430"/>
                    <a:pt x="5558163" y="2652604"/>
                    <a:pt x="5507392" y="2630969"/>
                  </a:cubicBezTo>
                  <a:cubicBezTo>
                    <a:pt x="5457368" y="2613065"/>
                    <a:pt x="5373745" y="2529510"/>
                    <a:pt x="5357319" y="2413877"/>
                  </a:cubicBezTo>
                  <a:cubicBezTo>
                    <a:pt x="5339400" y="2261688"/>
                    <a:pt x="5407344" y="2004310"/>
                    <a:pt x="5545470" y="1709630"/>
                  </a:cubicBezTo>
                  <a:cubicBezTo>
                    <a:pt x="5505152" y="1643980"/>
                    <a:pt x="5477526" y="1549982"/>
                    <a:pt x="5501419" y="1416443"/>
                  </a:cubicBezTo>
                  <a:cubicBezTo>
                    <a:pt x="5501419" y="1416443"/>
                    <a:pt x="5536510" y="1168764"/>
                    <a:pt x="5785137" y="944957"/>
                  </a:cubicBezTo>
                  <a:cubicBezTo>
                    <a:pt x="5785137" y="944957"/>
                    <a:pt x="5815002" y="918846"/>
                    <a:pt x="5832175" y="927052"/>
                  </a:cubicBezTo>
                  <a:cubicBezTo>
                    <a:pt x="5851587" y="935258"/>
                    <a:pt x="5842628" y="1015829"/>
                    <a:pt x="5826949" y="1054622"/>
                  </a:cubicBezTo>
                  <a:cubicBezTo>
                    <a:pt x="5811269" y="1093415"/>
                    <a:pt x="5700022" y="1285889"/>
                    <a:pt x="5700022" y="1285889"/>
                  </a:cubicBezTo>
                  <a:cubicBezTo>
                    <a:pt x="5700022" y="1285889"/>
                    <a:pt x="5630585" y="1415697"/>
                    <a:pt x="5649998" y="1517902"/>
                  </a:cubicBezTo>
                  <a:cubicBezTo>
                    <a:pt x="5780658" y="1317222"/>
                    <a:pt x="6077816" y="912132"/>
                    <a:pt x="6262233" y="1039701"/>
                  </a:cubicBezTo>
                  <a:cubicBezTo>
                    <a:pt x="6324203" y="1083717"/>
                    <a:pt x="6352575" y="1179954"/>
                    <a:pt x="6352575" y="1283651"/>
                  </a:cubicBezTo>
                  <a:cubicBezTo>
                    <a:pt x="6351828" y="1375412"/>
                    <a:pt x="6330176" y="1472395"/>
                    <a:pt x="6289858" y="1544759"/>
                  </a:cubicBezTo>
                  <a:close/>
                  <a:moveTo>
                    <a:pt x="6236101" y="1226953"/>
                  </a:moveTo>
                  <a:cubicBezTo>
                    <a:pt x="6236101" y="1226953"/>
                    <a:pt x="6225648" y="1147129"/>
                    <a:pt x="6147999" y="1235160"/>
                  </a:cubicBezTo>
                  <a:cubicBezTo>
                    <a:pt x="6080802" y="1309016"/>
                    <a:pt x="5959849" y="1448522"/>
                    <a:pt x="5862040" y="1637266"/>
                  </a:cubicBezTo>
                  <a:cubicBezTo>
                    <a:pt x="5964328" y="1626076"/>
                    <a:pt x="6062883" y="1570124"/>
                    <a:pt x="6092748" y="1541775"/>
                  </a:cubicBezTo>
                  <a:cubicBezTo>
                    <a:pt x="6141279" y="1498506"/>
                    <a:pt x="6254020" y="1382126"/>
                    <a:pt x="6236101" y="1226953"/>
                  </a:cubicBezTo>
                  <a:close/>
                  <a:moveTo>
                    <a:pt x="2611221" y="1328412"/>
                  </a:moveTo>
                  <a:cubicBezTo>
                    <a:pt x="2597035" y="1508950"/>
                    <a:pt x="2527598" y="1812582"/>
                    <a:pt x="2035570" y="1962532"/>
                  </a:cubicBezTo>
                  <a:cubicBezTo>
                    <a:pt x="1710787" y="2060261"/>
                    <a:pt x="1403923" y="2013262"/>
                    <a:pt x="1236678" y="1970739"/>
                  </a:cubicBezTo>
                  <a:cubicBezTo>
                    <a:pt x="1232945" y="2037135"/>
                    <a:pt x="1225479" y="2065483"/>
                    <a:pt x="1215026" y="2076674"/>
                  </a:cubicBezTo>
                  <a:cubicBezTo>
                    <a:pt x="1200840" y="2090848"/>
                    <a:pt x="1094819" y="2152022"/>
                    <a:pt x="1036582" y="2065483"/>
                  </a:cubicBezTo>
                  <a:cubicBezTo>
                    <a:pt x="1010450" y="2024452"/>
                    <a:pt x="997010" y="1949850"/>
                    <a:pt x="989544" y="1883454"/>
                  </a:cubicBezTo>
                  <a:cubicBezTo>
                    <a:pt x="613243" y="1710377"/>
                    <a:pt x="440026" y="1461205"/>
                    <a:pt x="433306" y="1450014"/>
                  </a:cubicBezTo>
                  <a:cubicBezTo>
                    <a:pt x="425093" y="1441808"/>
                    <a:pt x="339231" y="1352285"/>
                    <a:pt x="425093" y="1242620"/>
                  </a:cubicBezTo>
                  <a:cubicBezTo>
                    <a:pt x="505729" y="1143399"/>
                    <a:pt x="769289" y="1044178"/>
                    <a:pt x="1006717" y="1003892"/>
                  </a:cubicBezTo>
                  <a:cubicBezTo>
                    <a:pt x="1014929" y="800974"/>
                    <a:pt x="1038822" y="648039"/>
                    <a:pt x="1067193" y="577913"/>
                  </a:cubicBezTo>
                  <a:cubicBezTo>
                    <a:pt x="1101538" y="496596"/>
                    <a:pt x="1144843" y="569707"/>
                    <a:pt x="1182174" y="624913"/>
                  </a:cubicBezTo>
                  <a:cubicBezTo>
                    <a:pt x="1213533" y="665944"/>
                    <a:pt x="1232198" y="842751"/>
                    <a:pt x="1233691" y="983750"/>
                  </a:cubicBezTo>
                  <a:cubicBezTo>
                    <a:pt x="1388990" y="976289"/>
                    <a:pt x="1480825" y="987480"/>
                    <a:pt x="1654043" y="1018813"/>
                  </a:cubicBezTo>
                  <a:cubicBezTo>
                    <a:pt x="1879525" y="1059844"/>
                    <a:pt x="2030344" y="1174732"/>
                    <a:pt x="2016905" y="1305286"/>
                  </a:cubicBezTo>
                  <a:cubicBezTo>
                    <a:pt x="2007198" y="1433602"/>
                    <a:pt x="1889231" y="1486570"/>
                    <a:pt x="1844433" y="1490300"/>
                  </a:cubicBezTo>
                  <a:cubicBezTo>
                    <a:pt x="1797396" y="1494030"/>
                    <a:pt x="1724226" y="1460459"/>
                    <a:pt x="1724226" y="1460459"/>
                  </a:cubicBezTo>
                  <a:cubicBezTo>
                    <a:pt x="1674202" y="1436586"/>
                    <a:pt x="1720493" y="1415697"/>
                    <a:pt x="1780970" y="1389587"/>
                  </a:cubicBezTo>
                  <a:cubicBezTo>
                    <a:pt x="1846673" y="1357507"/>
                    <a:pt x="1831741" y="1324682"/>
                    <a:pt x="1831741" y="1324682"/>
                  </a:cubicBezTo>
                  <a:cubicBezTo>
                    <a:pt x="1807102" y="1253064"/>
                    <a:pt x="1514424" y="1203081"/>
                    <a:pt x="1223239" y="1203081"/>
                  </a:cubicBezTo>
                  <a:cubicBezTo>
                    <a:pt x="1221745" y="1363476"/>
                    <a:pt x="1229958" y="1629806"/>
                    <a:pt x="1233691" y="1784979"/>
                  </a:cubicBezTo>
                  <a:cubicBezTo>
                    <a:pt x="1437521" y="1823772"/>
                    <a:pt x="1589833" y="1816312"/>
                    <a:pt x="1589833" y="1816312"/>
                  </a:cubicBezTo>
                  <a:cubicBezTo>
                    <a:pt x="1589833" y="1816312"/>
                    <a:pt x="2333475" y="1795423"/>
                    <a:pt x="2355874" y="1320952"/>
                  </a:cubicBezTo>
                  <a:cubicBezTo>
                    <a:pt x="2379019" y="845735"/>
                    <a:pt x="1614472" y="389915"/>
                    <a:pt x="1049274" y="245187"/>
                  </a:cubicBezTo>
                  <a:cubicBezTo>
                    <a:pt x="484823" y="97474"/>
                    <a:pt x="165266" y="200425"/>
                    <a:pt x="137641" y="214600"/>
                  </a:cubicBezTo>
                  <a:cubicBezTo>
                    <a:pt x="107776" y="229520"/>
                    <a:pt x="135401" y="233996"/>
                    <a:pt x="135401" y="233996"/>
                  </a:cubicBezTo>
                  <a:cubicBezTo>
                    <a:pt x="135401" y="233996"/>
                    <a:pt x="166013" y="238472"/>
                    <a:pt x="219024" y="256377"/>
                  </a:cubicBezTo>
                  <a:cubicBezTo>
                    <a:pt x="275021" y="274281"/>
                    <a:pt x="231716" y="303376"/>
                    <a:pt x="231716" y="303376"/>
                  </a:cubicBezTo>
                  <a:cubicBezTo>
                    <a:pt x="135401" y="333963"/>
                    <a:pt x="27140" y="314567"/>
                    <a:pt x="6235" y="270551"/>
                  </a:cubicBezTo>
                  <a:cubicBezTo>
                    <a:pt x="-14671" y="226536"/>
                    <a:pt x="20421" y="186997"/>
                    <a:pt x="60738" y="130299"/>
                  </a:cubicBezTo>
                  <a:cubicBezTo>
                    <a:pt x="101056" y="70617"/>
                    <a:pt x="145107" y="72855"/>
                    <a:pt x="145107" y="72855"/>
                  </a:cubicBezTo>
                  <a:cubicBezTo>
                    <a:pt x="843205" y="-168856"/>
                    <a:pt x="1693615" y="268313"/>
                    <a:pt x="1693615" y="268313"/>
                  </a:cubicBezTo>
                  <a:cubicBezTo>
                    <a:pt x="2490267" y="671912"/>
                    <a:pt x="2626153" y="1144891"/>
                    <a:pt x="2611221" y="1328412"/>
                  </a:cubicBezTo>
                  <a:close/>
                  <a:moveTo>
                    <a:pt x="504236" y="1303794"/>
                  </a:moveTo>
                  <a:cubicBezTo>
                    <a:pt x="425093" y="1342587"/>
                    <a:pt x="479597" y="1398539"/>
                    <a:pt x="479597" y="1398539"/>
                  </a:cubicBezTo>
                  <a:cubicBezTo>
                    <a:pt x="628176" y="1558188"/>
                    <a:pt x="811100" y="1658155"/>
                    <a:pt x="985064" y="1720075"/>
                  </a:cubicBezTo>
                  <a:cubicBezTo>
                    <a:pt x="1005223" y="1444792"/>
                    <a:pt x="1002237" y="1347809"/>
                    <a:pt x="1004477" y="1209049"/>
                  </a:cubicBezTo>
                  <a:cubicBezTo>
                    <a:pt x="732704" y="1227699"/>
                    <a:pt x="575912" y="1270969"/>
                    <a:pt x="504236" y="1303794"/>
                  </a:cubicBezTo>
                  <a:close/>
                </a:path>
              </a:pathLst>
            </a:custGeom>
            <a:solidFill>
              <a:srgbClr val="01147C"/>
            </a:solidFill>
            <a:ln w="74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755" name="Forma libre 5754">
              <a:extLst>
                <a:ext uri="{FF2B5EF4-FFF2-40B4-BE49-F238E27FC236}">
                  <a16:creationId xmlns:a16="http://schemas.microsoft.com/office/drawing/2014/main" id="{1CB3FEFB-C3BD-A389-478B-36D713736EB3}"/>
                </a:ext>
              </a:extLst>
            </p:cNvPr>
            <p:cNvSpPr/>
            <p:nvPr/>
          </p:nvSpPr>
          <p:spPr>
            <a:xfrm>
              <a:off x="6585261" y="2367690"/>
              <a:ext cx="1186392" cy="1185431"/>
            </a:xfrm>
            <a:custGeom>
              <a:avLst/>
              <a:gdLst>
                <a:gd name="connsiteX0" fmla="*/ 1186393 w 1186392"/>
                <a:gd name="connsiteY0" fmla="*/ 549073 h 1185431"/>
                <a:gd name="connsiteX1" fmla="*/ 1186393 w 1186392"/>
                <a:gd name="connsiteY1" fmla="*/ 647548 h 1185431"/>
                <a:gd name="connsiteX2" fmla="*/ 1147567 w 1186392"/>
                <a:gd name="connsiteY2" fmla="*/ 686342 h 1185431"/>
                <a:gd name="connsiteX3" fmla="*/ 677938 w 1186392"/>
                <a:gd name="connsiteY3" fmla="*/ 686342 h 1185431"/>
                <a:gd name="connsiteX4" fmla="*/ 678685 w 1186392"/>
                <a:gd name="connsiteY4" fmla="*/ 752738 h 1185431"/>
                <a:gd name="connsiteX5" fmla="*/ 658526 w 1186392"/>
                <a:gd name="connsiteY5" fmla="*/ 1150368 h 1185431"/>
                <a:gd name="connsiteX6" fmla="*/ 620448 w 1186392"/>
                <a:gd name="connsiteY6" fmla="*/ 1185431 h 1185431"/>
                <a:gd name="connsiteX7" fmla="*/ 518907 w 1186392"/>
                <a:gd name="connsiteY7" fmla="*/ 1185431 h 1185431"/>
                <a:gd name="connsiteX8" fmla="*/ 492028 w 1186392"/>
                <a:gd name="connsiteY8" fmla="*/ 1173495 h 1185431"/>
                <a:gd name="connsiteX9" fmla="*/ 483069 w 1186392"/>
                <a:gd name="connsiteY9" fmla="*/ 1145146 h 1185431"/>
                <a:gd name="connsiteX10" fmla="*/ 503974 w 1186392"/>
                <a:gd name="connsiteY10" fmla="*/ 752738 h 1185431"/>
                <a:gd name="connsiteX11" fmla="*/ 503228 w 1186392"/>
                <a:gd name="connsiteY11" fmla="*/ 686342 h 1185431"/>
                <a:gd name="connsiteX12" fmla="*/ 38825 w 1186392"/>
                <a:gd name="connsiteY12" fmla="*/ 686342 h 1185431"/>
                <a:gd name="connsiteX13" fmla="*/ 0 w 1186392"/>
                <a:gd name="connsiteY13" fmla="*/ 647548 h 1185431"/>
                <a:gd name="connsiteX14" fmla="*/ 0 w 1186392"/>
                <a:gd name="connsiteY14" fmla="*/ 549073 h 1185431"/>
                <a:gd name="connsiteX15" fmla="*/ 38825 w 1186392"/>
                <a:gd name="connsiteY15" fmla="*/ 510280 h 1185431"/>
                <a:gd name="connsiteX16" fmla="*/ 496508 w 1186392"/>
                <a:gd name="connsiteY16" fmla="*/ 510280 h 1185431"/>
                <a:gd name="connsiteX17" fmla="*/ 436031 w 1186392"/>
                <a:gd name="connsiteY17" fmla="*/ 38793 h 1185431"/>
                <a:gd name="connsiteX18" fmla="*/ 442750 w 1186392"/>
                <a:gd name="connsiteY18" fmla="*/ 11936 h 1185431"/>
                <a:gd name="connsiteX19" fmla="*/ 467389 w 1186392"/>
                <a:gd name="connsiteY19" fmla="*/ 0 h 1185431"/>
                <a:gd name="connsiteX20" fmla="*/ 577144 w 1186392"/>
                <a:gd name="connsiteY20" fmla="*/ 0 h 1185431"/>
                <a:gd name="connsiteX21" fmla="*/ 612235 w 1186392"/>
                <a:gd name="connsiteY21" fmla="*/ 29095 h 1185431"/>
                <a:gd name="connsiteX22" fmla="*/ 671965 w 1186392"/>
                <a:gd name="connsiteY22" fmla="*/ 510280 h 1185431"/>
                <a:gd name="connsiteX23" fmla="*/ 1147567 w 1186392"/>
                <a:gd name="connsiteY23" fmla="*/ 510280 h 1185431"/>
                <a:gd name="connsiteX24" fmla="*/ 1186393 w 1186392"/>
                <a:gd name="connsiteY24" fmla="*/ 549073 h 1185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86392" h="1185431">
                  <a:moveTo>
                    <a:pt x="1186393" y="549073"/>
                  </a:moveTo>
                  <a:lnTo>
                    <a:pt x="1186393" y="647548"/>
                  </a:lnTo>
                  <a:cubicBezTo>
                    <a:pt x="1186393" y="669183"/>
                    <a:pt x="1169220" y="686342"/>
                    <a:pt x="1147567" y="686342"/>
                  </a:cubicBezTo>
                  <a:lnTo>
                    <a:pt x="677938" y="686342"/>
                  </a:lnTo>
                  <a:cubicBezTo>
                    <a:pt x="677938" y="710960"/>
                    <a:pt x="678685" y="732595"/>
                    <a:pt x="678685" y="752738"/>
                  </a:cubicBezTo>
                  <a:cubicBezTo>
                    <a:pt x="678685" y="898212"/>
                    <a:pt x="672712" y="1016830"/>
                    <a:pt x="658526" y="1150368"/>
                  </a:cubicBezTo>
                  <a:cubicBezTo>
                    <a:pt x="656286" y="1170511"/>
                    <a:pt x="639861" y="1185431"/>
                    <a:pt x="620448" y="1185431"/>
                  </a:cubicBezTo>
                  <a:lnTo>
                    <a:pt x="518907" y="1185431"/>
                  </a:lnTo>
                  <a:cubicBezTo>
                    <a:pt x="508454" y="1185431"/>
                    <a:pt x="498748" y="1180955"/>
                    <a:pt x="492028" y="1173495"/>
                  </a:cubicBezTo>
                  <a:cubicBezTo>
                    <a:pt x="485308" y="1166034"/>
                    <a:pt x="481575" y="1155590"/>
                    <a:pt x="483069" y="1145146"/>
                  </a:cubicBezTo>
                  <a:cubicBezTo>
                    <a:pt x="497254" y="1012354"/>
                    <a:pt x="503974" y="895228"/>
                    <a:pt x="503974" y="752738"/>
                  </a:cubicBezTo>
                  <a:cubicBezTo>
                    <a:pt x="503974" y="731849"/>
                    <a:pt x="503974" y="710214"/>
                    <a:pt x="503228" y="686342"/>
                  </a:cubicBezTo>
                  <a:lnTo>
                    <a:pt x="38825" y="686342"/>
                  </a:lnTo>
                  <a:cubicBezTo>
                    <a:pt x="17172" y="686342"/>
                    <a:pt x="0" y="669183"/>
                    <a:pt x="0" y="647548"/>
                  </a:cubicBezTo>
                  <a:lnTo>
                    <a:pt x="0" y="549073"/>
                  </a:lnTo>
                  <a:cubicBezTo>
                    <a:pt x="0" y="527439"/>
                    <a:pt x="17172" y="510280"/>
                    <a:pt x="38825" y="510280"/>
                  </a:cubicBezTo>
                  <a:lnTo>
                    <a:pt x="496508" y="510280"/>
                  </a:lnTo>
                  <a:cubicBezTo>
                    <a:pt x="486802" y="349885"/>
                    <a:pt x="467389" y="195458"/>
                    <a:pt x="436031" y="38793"/>
                  </a:cubicBezTo>
                  <a:cubicBezTo>
                    <a:pt x="434538" y="29095"/>
                    <a:pt x="436778" y="19397"/>
                    <a:pt x="442750" y="11936"/>
                  </a:cubicBezTo>
                  <a:cubicBezTo>
                    <a:pt x="448723" y="4476"/>
                    <a:pt x="457683" y="0"/>
                    <a:pt x="467389" y="0"/>
                  </a:cubicBezTo>
                  <a:lnTo>
                    <a:pt x="577144" y="0"/>
                  </a:lnTo>
                  <a:cubicBezTo>
                    <a:pt x="594316" y="0"/>
                    <a:pt x="608502" y="11936"/>
                    <a:pt x="612235" y="29095"/>
                  </a:cubicBezTo>
                  <a:cubicBezTo>
                    <a:pt x="642847" y="190982"/>
                    <a:pt x="662259" y="348393"/>
                    <a:pt x="671965" y="510280"/>
                  </a:cubicBezTo>
                  <a:lnTo>
                    <a:pt x="1147567" y="510280"/>
                  </a:lnTo>
                  <a:cubicBezTo>
                    <a:pt x="1168473" y="510280"/>
                    <a:pt x="1186393" y="528184"/>
                    <a:pt x="1186393" y="549073"/>
                  </a:cubicBezTo>
                  <a:close/>
                </a:path>
              </a:pathLst>
            </a:custGeom>
            <a:solidFill>
              <a:srgbClr val="01147C"/>
            </a:solidFill>
            <a:ln w="74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grpSp>
          <p:nvGrpSpPr>
            <p:cNvPr id="5756" name="Gráfico 5620">
              <a:extLst>
                <a:ext uri="{FF2B5EF4-FFF2-40B4-BE49-F238E27FC236}">
                  <a16:creationId xmlns:a16="http://schemas.microsoft.com/office/drawing/2014/main" id="{E86EFF23-C682-0F50-0082-D9D1A99863ED}"/>
                </a:ext>
              </a:extLst>
            </p:cNvPr>
            <p:cNvGrpSpPr/>
            <p:nvPr/>
          </p:nvGrpSpPr>
          <p:grpSpPr>
            <a:xfrm>
              <a:off x="1362836" y="94557"/>
              <a:ext cx="5772223" cy="2089611"/>
              <a:chOff x="1362836" y="94557"/>
              <a:chExt cx="5772223" cy="2089611"/>
            </a:xfrm>
          </p:grpSpPr>
          <p:sp>
            <p:nvSpPr>
              <p:cNvPr id="5757" name="Forma libre 5756">
                <a:extLst>
                  <a:ext uri="{FF2B5EF4-FFF2-40B4-BE49-F238E27FC236}">
                    <a16:creationId xmlns:a16="http://schemas.microsoft.com/office/drawing/2014/main" id="{FFC69EBD-D30E-B0DF-0D5B-2B9164E9ED0C}"/>
                  </a:ext>
                </a:extLst>
              </p:cNvPr>
              <p:cNvSpPr/>
              <p:nvPr/>
            </p:nvSpPr>
            <p:spPr>
              <a:xfrm>
                <a:off x="1482057" y="1616444"/>
                <a:ext cx="12692" cy="745"/>
              </a:xfrm>
              <a:custGeom>
                <a:avLst/>
                <a:gdLst>
                  <a:gd name="connsiteX0" fmla="*/ 12693 w 12692"/>
                  <a:gd name="connsiteY0" fmla="*/ 0 h 745"/>
                  <a:gd name="connsiteX1" fmla="*/ 11946 w 12692"/>
                  <a:gd name="connsiteY1" fmla="*/ 0 h 745"/>
                  <a:gd name="connsiteX2" fmla="*/ 6720 w 12692"/>
                  <a:gd name="connsiteY2" fmla="*/ 746 h 745"/>
                  <a:gd name="connsiteX3" fmla="*/ 0 w 12692"/>
                  <a:gd name="connsiteY3" fmla="*/ 0 h 745"/>
                  <a:gd name="connsiteX4" fmla="*/ 6720 w 12692"/>
                  <a:gd name="connsiteY4" fmla="*/ 746 h 745"/>
                  <a:gd name="connsiteX5" fmla="*/ 8960 w 12692"/>
                  <a:gd name="connsiteY5" fmla="*/ 746 h 745"/>
                  <a:gd name="connsiteX6" fmla="*/ 6720 w 12692"/>
                  <a:gd name="connsiteY6" fmla="*/ 746 h 745"/>
                  <a:gd name="connsiteX7" fmla="*/ 6720 w 12692"/>
                  <a:gd name="connsiteY7" fmla="*/ 746 h 745"/>
                  <a:gd name="connsiteX8" fmla="*/ 0 w 12692"/>
                  <a:gd name="connsiteY8" fmla="*/ 0 h 745"/>
                  <a:gd name="connsiteX9" fmla="*/ 6720 w 12692"/>
                  <a:gd name="connsiteY9" fmla="*/ 746 h 745"/>
                  <a:gd name="connsiteX10" fmla="*/ 8960 w 12692"/>
                  <a:gd name="connsiteY10" fmla="*/ 746 h 745"/>
                  <a:gd name="connsiteX11" fmla="*/ 6720 w 12692"/>
                  <a:gd name="connsiteY11" fmla="*/ 746 h 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692" h="745">
                    <a:moveTo>
                      <a:pt x="12693" y="0"/>
                    </a:moveTo>
                    <a:lnTo>
                      <a:pt x="11946" y="0"/>
                    </a:lnTo>
                    <a:moveTo>
                      <a:pt x="6720" y="746"/>
                    </a:moveTo>
                    <a:cubicBezTo>
                      <a:pt x="4480" y="746"/>
                      <a:pt x="2240" y="0"/>
                      <a:pt x="0" y="0"/>
                    </a:cubicBezTo>
                    <a:cubicBezTo>
                      <a:pt x="2240" y="746"/>
                      <a:pt x="4480" y="746"/>
                      <a:pt x="6720" y="746"/>
                    </a:cubicBezTo>
                    <a:lnTo>
                      <a:pt x="8960" y="746"/>
                    </a:lnTo>
                    <a:cubicBezTo>
                      <a:pt x="8213" y="746"/>
                      <a:pt x="7466" y="746"/>
                      <a:pt x="6720" y="746"/>
                    </a:cubicBezTo>
                    <a:close/>
                    <a:moveTo>
                      <a:pt x="6720" y="746"/>
                    </a:moveTo>
                    <a:cubicBezTo>
                      <a:pt x="4480" y="746"/>
                      <a:pt x="2240" y="0"/>
                      <a:pt x="0" y="0"/>
                    </a:cubicBezTo>
                    <a:cubicBezTo>
                      <a:pt x="2240" y="746"/>
                      <a:pt x="4480" y="746"/>
                      <a:pt x="6720" y="746"/>
                    </a:cubicBezTo>
                    <a:lnTo>
                      <a:pt x="8960" y="746"/>
                    </a:lnTo>
                    <a:cubicBezTo>
                      <a:pt x="8213" y="746"/>
                      <a:pt x="7466" y="746"/>
                      <a:pt x="6720" y="746"/>
                    </a:cubicBezTo>
                    <a:close/>
                  </a:path>
                </a:pathLst>
              </a:custGeom>
              <a:noFill/>
              <a:ln w="7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758" name="Forma libre 5757">
                <a:extLst>
                  <a:ext uri="{FF2B5EF4-FFF2-40B4-BE49-F238E27FC236}">
                    <a16:creationId xmlns:a16="http://schemas.microsoft.com/office/drawing/2014/main" id="{C5744EEA-1814-512E-8E0A-C6172CAA4DEC}"/>
                  </a:ext>
                </a:extLst>
              </p:cNvPr>
              <p:cNvSpPr/>
              <p:nvPr/>
            </p:nvSpPr>
            <p:spPr>
              <a:xfrm>
                <a:off x="1362836" y="94557"/>
                <a:ext cx="5772223" cy="2089611"/>
              </a:xfrm>
              <a:custGeom>
                <a:avLst/>
                <a:gdLst>
                  <a:gd name="connsiteX0" fmla="*/ 5769703 w 5772223"/>
                  <a:gd name="connsiteY0" fmla="*/ 2041120 h 2089611"/>
                  <a:gd name="connsiteX1" fmla="*/ 4584058 w 5772223"/>
                  <a:gd name="connsiteY1" fmla="*/ 571454 h 2089611"/>
                  <a:gd name="connsiteX2" fmla="*/ 2733913 w 5772223"/>
                  <a:gd name="connsiteY2" fmla="*/ 0 h 2089611"/>
                  <a:gd name="connsiteX3" fmla="*/ 6480 w 5772223"/>
                  <a:gd name="connsiteY3" fmla="*/ 1459222 h 2089611"/>
                  <a:gd name="connsiteX4" fmla="*/ 2000 w 5772223"/>
                  <a:gd name="connsiteY4" fmla="*/ 1492793 h 2089611"/>
                  <a:gd name="connsiteX5" fmla="*/ 25892 w 5772223"/>
                  <a:gd name="connsiteY5" fmla="*/ 1516666 h 2089611"/>
                  <a:gd name="connsiteX6" fmla="*/ 111008 w 5772223"/>
                  <a:gd name="connsiteY6" fmla="*/ 1545760 h 2089611"/>
                  <a:gd name="connsiteX7" fmla="*/ 125940 w 5772223"/>
                  <a:gd name="connsiteY7" fmla="*/ 1547999 h 2089611"/>
                  <a:gd name="connsiteX8" fmla="*/ 165511 w 5772223"/>
                  <a:gd name="connsiteY8" fmla="*/ 1527110 h 2089611"/>
                  <a:gd name="connsiteX9" fmla="*/ 1258575 w 5772223"/>
                  <a:gd name="connsiteY9" fmla="*/ 540121 h 2089611"/>
                  <a:gd name="connsiteX10" fmla="*/ 2733166 w 5772223"/>
                  <a:gd name="connsiteY10" fmla="*/ 167855 h 2089611"/>
                  <a:gd name="connsiteX11" fmla="*/ 4468330 w 5772223"/>
                  <a:gd name="connsiteY11" fmla="*/ 697532 h 2089611"/>
                  <a:gd name="connsiteX12" fmla="*/ 5593499 w 5772223"/>
                  <a:gd name="connsiteY12" fmla="*/ 2062009 h 2089611"/>
                  <a:gd name="connsiteX13" fmla="*/ 5634564 w 5772223"/>
                  <a:gd name="connsiteY13" fmla="*/ 2089611 h 2089611"/>
                  <a:gd name="connsiteX14" fmla="*/ 5736105 w 5772223"/>
                  <a:gd name="connsiteY14" fmla="*/ 2089611 h 2089611"/>
                  <a:gd name="connsiteX15" fmla="*/ 5765224 w 5772223"/>
                  <a:gd name="connsiteY15" fmla="*/ 2073945 h 2089611"/>
                  <a:gd name="connsiteX16" fmla="*/ 5769703 w 5772223"/>
                  <a:gd name="connsiteY16" fmla="*/ 2041120 h 2089611"/>
                  <a:gd name="connsiteX17" fmla="*/ 125940 w 5772223"/>
                  <a:gd name="connsiteY17" fmla="*/ 1522634 h 2089611"/>
                  <a:gd name="connsiteX18" fmla="*/ 119221 w 5772223"/>
                  <a:gd name="connsiteY18" fmla="*/ 1521142 h 2089611"/>
                  <a:gd name="connsiteX19" fmla="*/ 125940 w 5772223"/>
                  <a:gd name="connsiteY19" fmla="*/ 1522634 h 2089611"/>
                  <a:gd name="connsiteX20" fmla="*/ 127433 w 5772223"/>
                  <a:gd name="connsiteY20" fmla="*/ 1522634 h 2089611"/>
                  <a:gd name="connsiteX21" fmla="*/ 125940 w 5772223"/>
                  <a:gd name="connsiteY21" fmla="*/ 1522634 h 2089611"/>
                  <a:gd name="connsiteX22" fmla="*/ 5613658 w 5772223"/>
                  <a:gd name="connsiteY22" fmla="*/ 2076183 h 2089611"/>
                  <a:gd name="connsiteX23" fmla="*/ 5620378 w 5772223"/>
                  <a:gd name="connsiteY23" fmla="*/ 2079913 h 2089611"/>
                  <a:gd name="connsiteX24" fmla="*/ 5613658 w 5772223"/>
                  <a:gd name="connsiteY24" fmla="*/ 2076183 h 2089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772223" h="2089611">
                    <a:moveTo>
                      <a:pt x="5769703" y="2041120"/>
                    </a:moveTo>
                    <a:cubicBezTo>
                      <a:pt x="5527049" y="1445047"/>
                      <a:pt x="5117150" y="937005"/>
                      <a:pt x="4584058" y="571454"/>
                    </a:cubicBezTo>
                    <a:cubicBezTo>
                      <a:pt x="4038272" y="197696"/>
                      <a:pt x="3398412" y="0"/>
                      <a:pt x="2733913" y="0"/>
                    </a:cubicBezTo>
                    <a:cubicBezTo>
                      <a:pt x="1634876" y="0"/>
                      <a:pt x="614982" y="545343"/>
                      <a:pt x="6480" y="1459222"/>
                    </a:cubicBezTo>
                    <a:cubicBezTo>
                      <a:pt x="-240" y="1468920"/>
                      <a:pt x="-1733" y="1481602"/>
                      <a:pt x="2000" y="1492793"/>
                    </a:cubicBezTo>
                    <a:cubicBezTo>
                      <a:pt x="5733" y="1504729"/>
                      <a:pt x="14693" y="1512935"/>
                      <a:pt x="25892" y="1516666"/>
                    </a:cubicBezTo>
                    <a:lnTo>
                      <a:pt x="111008" y="1545760"/>
                    </a:lnTo>
                    <a:cubicBezTo>
                      <a:pt x="116234" y="1547252"/>
                      <a:pt x="121460" y="1547999"/>
                      <a:pt x="125940" y="1547999"/>
                    </a:cubicBezTo>
                    <a:cubicBezTo>
                      <a:pt x="141619" y="1547999"/>
                      <a:pt x="156552" y="1539792"/>
                      <a:pt x="165511" y="1527110"/>
                    </a:cubicBezTo>
                    <a:cubicBezTo>
                      <a:pt x="444750" y="1116797"/>
                      <a:pt x="822544" y="775864"/>
                      <a:pt x="1258575" y="540121"/>
                    </a:cubicBezTo>
                    <a:cubicBezTo>
                      <a:pt x="1708792" y="296917"/>
                      <a:pt x="2218739" y="167855"/>
                      <a:pt x="2733166" y="167855"/>
                    </a:cubicBezTo>
                    <a:cubicBezTo>
                      <a:pt x="3355108" y="167855"/>
                      <a:pt x="3954650" y="351377"/>
                      <a:pt x="4468330" y="697532"/>
                    </a:cubicBezTo>
                    <a:cubicBezTo>
                      <a:pt x="4969318" y="1035481"/>
                      <a:pt x="5358311" y="1507713"/>
                      <a:pt x="5593499" y="2062009"/>
                    </a:cubicBezTo>
                    <a:cubicBezTo>
                      <a:pt x="5600219" y="2078421"/>
                      <a:pt x="5616644" y="2089611"/>
                      <a:pt x="5634564" y="2089611"/>
                    </a:cubicBezTo>
                    <a:lnTo>
                      <a:pt x="5736105" y="2089611"/>
                    </a:lnTo>
                    <a:cubicBezTo>
                      <a:pt x="5748051" y="2089611"/>
                      <a:pt x="5759251" y="2083643"/>
                      <a:pt x="5765224" y="2073945"/>
                    </a:cubicBezTo>
                    <a:cubicBezTo>
                      <a:pt x="5772690" y="2064247"/>
                      <a:pt x="5774183" y="2052310"/>
                      <a:pt x="5769703" y="2041120"/>
                    </a:cubicBezTo>
                    <a:close/>
                    <a:moveTo>
                      <a:pt x="125940" y="1522634"/>
                    </a:moveTo>
                    <a:cubicBezTo>
                      <a:pt x="123700" y="1522634"/>
                      <a:pt x="121460" y="1521888"/>
                      <a:pt x="119221" y="1521142"/>
                    </a:cubicBezTo>
                    <a:cubicBezTo>
                      <a:pt x="121460" y="1521888"/>
                      <a:pt x="123700" y="1522634"/>
                      <a:pt x="125940" y="1522634"/>
                    </a:cubicBezTo>
                    <a:lnTo>
                      <a:pt x="127433" y="1522634"/>
                    </a:lnTo>
                    <a:cubicBezTo>
                      <a:pt x="127433" y="1522634"/>
                      <a:pt x="126687" y="1522634"/>
                      <a:pt x="125940" y="1522634"/>
                    </a:cubicBezTo>
                    <a:close/>
                    <a:moveTo>
                      <a:pt x="5613658" y="2076183"/>
                    </a:moveTo>
                    <a:cubicBezTo>
                      <a:pt x="5615898" y="2077675"/>
                      <a:pt x="5618138" y="2079167"/>
                      <a:pt x="5620378" y="2079913"/>
                    </a:cubicBezTo>
                    <a:cubicBezTo>
                      <a:pt x="5618138" y="2078421"/>
                      <a:pt x="5615898" y="2077675"/>
                      <a:pt x="5613658" y="2076183"/>
                    </a:cubicBezTo>
                    <a:close/>
                  </a:path>
                </a:pathLst>
              </a:custGeom>
              <a:solidFill>
                <a:srgbClr val="021192"/>
              </a:solidFill>
              <a:ln w="7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</p:grpSp>
      <p:sp>
        <p:nvSpPr>
          <p:cNvPr id="5759" name="Gráfico 5628">
            <a:extLst>
              <a:ext uri="{FF2B5EF4-FFF2-40B4-BE49-F238E27FC236}">
                <a16:creationId xmlns:a16="http://schemas.microsoft.com/office/drawing/2014/main" id="{036D8D91-8A54-B2A6-5B1B-A4D8866EFB78}"/>
              </a:ext>
            </a:extLst>
          </p:cNvPr>
          <p:cNvSpPr/>
          <p:nvPr/>
        </p:nvSpPr>
        <p:spPr>
          <a:xfrm>
            <a:off x="611208" y="3334694"/>
            <a:ext cx="439004" cy="86172"/>
          </a:xfrm>
          <a:custGeom>
            <a:avLst/>
            <a:gdLst>
              <a:gd name="connsiteX0" fmla="*/ 34507 w 956142"/>
              <a:gd name="connsiteY0" fmla="*/ 93683 h 187680"/>
              <a:gd name="connsiteX1" fmla="*/ 63287 w 956142"/>
              <a:gd name="connsiteY1" fmla="*/ 63737 h 187680"/>
              <a:gd name="connsiteX2" fmla="*/ 63302 w 956142"/>
              <a:gd name="connsiteY2" fmla="*/ 63737 h 187680"/>
              <a:gd name="connsiteX3" fmla="*/ 92100 w 956142"/>
              <a:gd name="connsiteY3" fmla="*/ 93683 h 187680"/>
              <a:gd name="connsiteX4" fmla="*/ 63302 w 956142"/>
              <a:gd name="connsiteY4" fmla="*/ 123629 h 187680"/>
              <a:gd name="connsiteX5" fmla="*/ 34507 w 956142"/>
              <a:gd name="connsiteY5" fmla="*/ 93683 h 187680"/>
              <a:gd name="connsiteX6" fmla="*/ 149704 w 956142"/>
              <a:gd name="connsiteY6" fmla="*/ 93416 h 187680"/>
              <a:gd name="connsiteX7" fmla="*/ 123481 w 956142"/>
              <a:gd name="connsiteY7" fmla="*/ 159939 h 187680"/>
              <a:gd name="connsiteX8" fmla="*/ 59924 w 956142"/>
              <a:gd name="connsiteY8" fmla="*/ 187523 h 187680"/>
              <a:gd name="connsiteX9" fmla="*/ 3957 w 956142"/>
              <a:gd name="connsiteY9" fmla="*/ 187523 h 187680"/>
              <a:gd name="connsiteX10" fmla="*/ 942 w 956142"/>
              <a:gd name="connsiteY10" fmla="*/ 186076 h 187680"/>
              <a:gd name="connsiteX11" fmla="*/ -18 w 956142"/>
              <a:gd name="connsiteY11" fmla="*/ 182723 h 187680"/>
              <a:gd name="connsiteX12" fmla="*/ 43860 w 956142"/>
              <a:gd name="connsiteY12" fmla="*/ 143632 h 187680"/>
              <a:gd name="connsiteX13" fmla="*/ 59917 w 956142"/>
              <a:gd name="connsiteY13" fmla="*/ 143632 h 187680"/>
              <a:gd name="connsiteX14" fmla="*/ 107472 w 956142"/>
              <a:gd name="connsiteY14" fmla="*/ 97759 h 187680"/>
              <a:gd name="connsiteX15" fmla="*/ 107641 w 956142"/>
              <a:gd name="connsiteY15" fmla="*/ 93188 h 187680"/>
              <a:gd name="connsiteX16" fmla="*/ 107509 w 956142"/>
              <a:gd name="connsiteY16" fmla="*/ 90216 h 187680"/>
              <a:gd name="connsiteX17" fmla="*/ 59338 w 956142"/>
              <a:gd name="connsiteY17" fmla="*/ 43772 h 187680"/>
              <a:gd name="connsiteX18" fmla="*/ 43915 w 956142"/>
              <a:gd name="connsiteY18" fmla="*/ 43772 h 187680"/>
              <a:gd name="connsiteX19" fmla="*/ 12501 w 956142"/>
              <a:gd name="connsiteY19" fmla="*/ 30247 h 187680"/>
              <a:gd name="connsiteX20" fmla="*/ 56 w 956142"/>
              <a:gd name="connsiteY20" fmla="*/ 4681 h 187680"/>
              <a:gd name="connsiteX21" fmla="*/ 935 w 956142"/>
              <a:gd name="connsiteY21" fmla="*/ 1290 h 187680"/>
              <a:gd name="connsiteX22" fmla="*/ 3994 w 956142"/>
              <a:gd name="connsiteY22" fmla="*/ -157 h 187680"/>
              <a:gd name="connsiteX23" fmla="*/ 59019 w 956142"/>
              <a:gd name="connsiteY23" fmla="*/ -157 h 187680"/>
              <a:gd name="connsiteX24" fmla="*/ 149704 w 956142"/>
              <a:gd name="connsiteY24" fmla="*/ 93416 h 187680"/>
              <a:gd name="connsiteX25" fmla="*/ 634219 w 956142"/>
              <a:gd name="connsiteY25" fmla="*/ 150338 h 187680"/>
              <a:gd name="connsiteX26" fmla="*/ 647682 w 956142"/>
              <a:gd name="connsiteY26" fmla="*/ 175179 h 187680"/>
              <a:gd name="connsiteX27" fmla="*/ 646880 w 956142"/>
              <a:gd name="connsiteY27" fmla="*/ 178189 h 187680"/>
              <a:gd name="connsiteX28" fmla="*/ 644195 w 956142"/>
              <a:gd name="connsiteY28" fmla="*/ 179523 h 187680"/>
              <a:gd name="connsiteX29" fmla="*/ 594207 w 956142"/>
              <a:gd name="connsiteY29" fmla="*/ 179523 h 187680"/>
              <a:gd name="connsiteX30" fmla="*/ 537482 w 956142"/>
              <a:gd name="connsiteY30" fmla="*/ 154909 h 187680"/>
              <a:gd name="connsiteX31" fmla="*/ 514058 w 956142"/>
              <a:gd name="connsiteY31" fmla="*/ 95702 h 187680"/>
              <a:gd name="connsiteX32" fmla="*/ 595013 w 956142"/>
              <a:gd name="connsiteY32" fmla="*/ 12340 h 187680"/>
              <a:gd name="connsiteX33" fmla="*/ 644191 w 956142"/>
              <a:gd name="connsiteY33" fmla="*/ 12340 h 187680"/>
              <a:gd name="connsiteX34" fmla="*/ 647705 w 956142"/>
              <a:gd name="connsiteY34" fmla="*/ 15997 h 187680"/>
              <a:gd name="connsiteX35" fmla="*/ 647660 w 956142"/>
              <a:gd name="connsiteY35" fmla="*/ 16569 h 187680"/>
              <a:gd name="connsiteX36" fmla="*/ 636568 w 956142"/>
              <a:gd name="connsiteY36" fmla="*/ 39276 h 187680"/>
              <a:gd name="connsiteX37" fmla="*/ 608520 w 956142"/>
              <a:gd name="connsiteY37" fmla="*/ 51392 h 187680"/>
              <a:gd name="connsiteX38" fmla="*/ 594753 w 956142"/>
              <a:gd name="connsiteY38" fmla="*/ 51392 h 187680"/>
              <a:gd name="connsiteX39" fmla="*/ 551707 w 956142"/>
              <a:gd name="connsiteY39" fmla="*/ 92769 h 187680"/>
              <a:gd name="connsiteX40" fmla="*/ 551605 w 956142"/>
              <a:gd name="connsiteY40" fmla="*/ 95474 h 187680"/>
              <a:gd name="connsiteX41" fmla="*/ 551736 w 956142"/>
              <a:gd name="connsiteY41" fmla="*/ 99551 h 187680"/>
              <a:gd name="connsiteX42" fmla="*/ 594229 w 956142"/>
              <a:gd name="connsiteY42" fmla="*/ 140394 h 187680"/>
              <a:gd name="connsiteX43" fmla="*/ 608509 w 956142"/>
              <a:gd name="connsiteY43" fmla="*/ 140394 h 187680"/>
              <a:gd name="connsiteX44" fmla="*/ 634223 w 956142"/>
              <a:gd name="connsiteY44" fmla="*/ 150338 h 187680"/>
              <a:gd name="connsiteX45" fmla="*/ 953849 w 956142"/>
              <a:gd name="connsiteY45" fmla="*/ 11997 h 187680"/>
              <a:gd name="connsiteX46" fmla="*/ 955966 w 956142"/>
              <a:gd name="connsiteY46" fmla="*/ 14168 h 187680"/>
              <a:gd name="connsiteX47" fmla="*/ 896970 w 956142"/>
              <a:gd name="connsiteY47" fmla="*/ 174302 h 187680"/>
              <a:gd name="connsiteX48" fmla="*/ 892336 w 956142"/>
              <a:gd name="connsiteY48" fmla="*/ 177617 h 187680"/>
              <a:gd name="connsiteX49" fmla="*/ 866600 w 956142"/>
              <a:gd name="connsiteY49" fmla="*/ 177617 h 187680"/>
              <a:gd name="connsiteX50" fmla="*/ 861962 w 956142"/>
              <a:gd name="connsiteY50" fmla="*/ 174265 h 187680"/>
              <a:gd name="connsiteX51" fmla="*/ 803288 w 956142"/>
              <a:gd name="connsiteY51" fmla="*/ 14130 h 187680"/>
              <a:gd name="connsiteX52" fmla="*/ 803896 w 956142"/>
              <a:gd name="connsiteY52" fmla="*/ 12149 h 187680"/>
              <a:gd name="connsiteX53" fmla="*/ 804654 w 956142"/>
              <a:gd name="connsiteY53" fmla="*/ 11997 h 187680"/>
              <a:gd name="connsiteX54" fmla="*/ 840146 w 956142"/>
              <a:gd name="connsiteY54" fmla="*/ 11997 h 187680"/>
              <a:gd name="connsiteX55" fmla="*/ 843601 w 956142"/>
              <a:gd name="connsiteY55" fmla="*/ 14626 h 187680"/>
              <a:gd name="connsiteX56" fmla="*/ 879389 w 956142"/>
              <a:gd name="connsiteY56" fmla="*/ 126030 h 187680"/>
              <a:gd name="connsiteX57" fmla="*/ 915331 w 956142"/>
              <a:gd name="connsiteY57" fmla="*/ 14702 h 187680"/>
              <a:gd name="connsiteX58" fmla="*/ 919127 w 956142"/>
              <a:gd name="connsiteY58" fmla="*/ 11997 h 187680"/>
              <a:gd name="connsiteX59" fmla="*/ 176587 w 956142"/>
              <a:gd name="connsiteY59" fmla="*/ 14587 h 187680"/>
              <a:gd name="connsiteX60" fmla="*/ 179063 w 956142"/>
              <a:gd name="connsiteY60" fmla="*/ 11997 h 187680"/>
              <a:gd name="connsiteX61" fmla="*/ 211881 w 956142"/>
              <a:gd name="connsiteY61" fmla="*/ 11997 h 187680"/>
              <a:gd name="connsiteX62" fmla="*/ 214361 w 956142"/>
              <a:gd name="connsiteY62" fmla="*/ 14587 h 187680"/>
              <a:gd name="connsiteX63" fmla="*/ 214361 w 956142"/>
              <a:gd name="connsiteY63" fmla="*/ 175026 h 187680"/>
              <a:gd name="connsiteX64" fmla="*/ 211932 w 956142"/>
              <a:gd name="connsiteY64" fmla="*/ 177617 h 187680"/>
              <a:gd name="connsiteX65" fmla="*/ 179063 w 956142"/>
              <a:gd name="connsiteY65" fmla="*/ 177617 h 187680"/>
              <a:gd name="connsiteX66" fmla="*/ 176587 w 956142"/>
              <a:gd name="connsiteY66" fmla="*/ 175026 h 187680"/>
              <a:gd name="connsiteX67" fmla="*/ 176587 w 956142"/>
              <a:gd name="connsiteY67" fmla="*/ 14587 h 187680"/>
              <a:gd name="connsiteX68" fmla="*/ 786414 w 956142"/>
              <a:gd name="connsiteY68" fmla="*/ 11882 h 187680"/>
              <a:gd name="connsiteX69" fmla="*/ 786414 w 956142"/>
              <a:gd name="connsiteY69" fmla="*/ 11844 h 187680"/>
              <a:gd name="connsiteX70" fmla="*/ 788891 w 956142"/>
              <a:gd name="connsiteY70" fmla="*/ 14435 h 187680"/>
              <a:gd name="connsiteX71" fmla="*/ 788891 w 956142"/>
              <a:gd name="connsiteY71" fmla="*/ 43696 h 187680"/>
              <a:gd name="connsiteX72" fmla="*/ 786476 w 956142"/>
              <a:gd name="connsiteY72" fmla="*/ 46286 h 187680"/>
              <a:gd name="connsiteX73" fmla="*/ 745651 w 956142"/>
              <a:gd name="connsiteY73" fmla="*/ 46286 h 187680"/>
              <a:gd name="connsiteX74" fmla="*/ 745651 w 956142"/>
              <a:gd name="connsiteY74" fmla="*/ 174950 h 187680"/>
              <a:gd name="connsiteX75" fmla="*/ 743181 w 956142"/>
              <a:gd name="connsiteY75" fmla="*/ 177541 h 187680"/>
              <a:gd name="connsiteX76" fmla="*/ 743167 w 956142"/>
              <a:gd name="connsiteY76" fmla="*/ 177541 h 187680"/>
              <a:gd name="connsiteX77" fmla="*/ 710302 w 956142"/>
              <a:gd name="connsiteY77" fmla="*/ 177541 h 187680"/>
              <a:gd name="connsiteX78" fmla="*/ 707822 w 956142"/>
              <a:gd name="connsiteY78" fmla="*/ 174950 h 187680"/>
              <a:gd name="connsiteX79" fmla="*/ 707822 w 956142"/>
              <a:gd name="connsiteY79" fmla="*/ 46286 h 187680"/>
              <a:gd name="connsiteX80" fmla="*/ 667147 w 956142"/>
              <a:gd name="connsiteY80" fmla="*/ 46286 h 187680"/>
              <a:gd name="connsiteX81" fmla="*/ 664663 w 956142"/>
              <a:gd name="connsiteY81" fmla="*/ 43696 h 187680"/>
              <a:gd name="connsiteX82" fmla="*/ 664663 w 956142"/>
              <a:gd name="connsiteY82" fmla="*/ 14473 h 187680"/>
              <a:gd name="connsiteX83" fmla="*/ 667147 w 956142"/>
              <a:gd name="connsiteY83" fmla="*/ 11882 h 187680"/>
              <a:gd name="connsiteX84" fmla="*/ 786410 w 956142"/>
              <a:gd name="connsiteY84" fmla="*/ 11882 h 187680"/>
              <a:gd name="connsiteX85" fmla="*/ 496151 w 956142"/>
              <a:gd name="connsiteY85" fmla="*/ 46401 h 187680"/>
              <a:gd name="connsiteX86" fmla="*/ 438781 w 956142"/>
              <a:gd name="connsiteY86" fmla="*/ 46401 h 187680"/>
              <a:gd name="connsiteX87" fmla="*/ 438781 w 956142"/>
              <a:gd name="connsiteY87" fmla="*/ 79815 h 187680"/>
              <a:gd name="connsiteX88" fmla="*/ 479555 w 956142"/>
              <a:gd name="connsiteY88" fmla="*/ 79815 h 187680"/>
              <a:gd name="connsiteX89" fmla="*/ 482035 w 956142"/>
              <a:gd name="connsiteY89" fmla="*/ 82405 h 187680"/>
              <a:gd name="connsiteX90" fmla="*/ 482035 w 956142"/>
              <a:gd name="connsiteY90" fmla="*/ 106104 h 187680"/>
              <a:gd name="connsiteX91" fmla="*/ 479555 w 956142"/>
              <a:gd name="connsiteY91" fmla="*/ 108694 h 187680"/>
              <a:gd name="connsiteX92" fmla="*/ 438781 w 956142"/>
              <a:gd name="connsiteY92" fmla="*/ 108694 h 187680"/>
              <a:gd name="connsiteX93" fmla="*/ 438781 w 956142"/>
              <a:gd name="connsiteY93" fmla="*/ 143061 h 187680"/>
              <a:gd name="connsiteX94" fmla="*/ 495920 w 956142"/>
              <a:gd name="connsiteY94" fmla="*/ 143061 h 187680"/>
              <a:gd name="connsiteX95" fmla="*/ 498671 w 956142"/>
              <a:gd name="connsiteY95" fmla="*/ 145918 h 187680"/>
              <a:gd name="connsiteX96" fmla="*/ 498671 w 956142"/>
              <a:gd name="connsiteY96" fmla="*/ 174569 h 187680"/>
              <a:gd name="connsiteX97" fmla="*/ 495920 w 956142"/>
              <a:gd name="connsiteY97" fmla="*/ 177427 h 187680"/>
              <a:gd name="connsiteX98" fmla="*/ 403531 w 956142"/>
              <a:gd name="connsiteY98" fmla="*/ 177427 h 187680"/>
              <a:gd name="connsiteX99" fmla="*/ 401051 w 956142"/>
              <a:gd name="connsiteY99" fmla="*/ 174836 h 187680"/>
              <a:gd name="connsiteX100" fmla="*/ 401051 w 956142"/>
              <a:gd name="connsiteY100" fmla="*/ 14778 h 187680"/>
              <a:gd name="connsiteX101" fmla="*/ 401703 w 956142"/>
              <a:gd name="connsiteY101" fmla="*/ 12644 h 187680"/>
              <a:gd name="connsiteX102" fmla="*/ 403454 w 956142"/>
              <a:gd name="connsiteY102" fmla="*/ 11997 h 187680"/>
              <a:gd name="connsiteX103" fmla="*/ 496147 w 956142"/>
              <a:gd name="connsiteY103" fmla="*/ 11997 h 187680"/>
              <a:gd name="connsiteX104" fmla="*/ 498627 w 956142"/>
              <a:gd name="connsiteY104" fmla="*/ 14587 h 187680"/>
              <a:gd name="connsiteX105" fmla="*/ 498627 w 956142"/>
              <a:gd name="connsiteY105" fmla="*/ 43810 h 187680"/>
              <a:gd name="connsiteX106" fmla="*/ 496147 w 956142"/>
              <a:gd name="connsiteY106" fmla="*/ 46401 h 187680"/>
              <a:gd name="connsiteX107" fmla="*/ 376425 w 956142"/>
              <a:gd name="connsiteY107" fmla="*/ 173846 h 187680"/>
              <a:gd name="connsiteX108" fmla="*/ 376465 w 956142"/>
              <a:gd name="connsiteY108" fmla="*/ 173807 h 187680"/>
              <a:gd name="connsiteX109" fmla="*/ 375429 w 956142"/>
              <a:gd name="connsiteY109" fmla="*/ 177312 h 187680"/>
              <a:gd name="connsiteX110" fmla="*/ 374308 w 956142"/>
              <a:gd name="connsiteY110" fmla="*/ 177617 h 187680"/>
              <a:gd name="connsiteX111" fmla="*/ 338428 w 956142"/>
              <a:gd name="connsiteY111" fmla="*/ 177617 h 187680"/>
              <a:gd name="connsiteX112" fmla="*/ 335127 w 956142"/>
              <a:gd name="connsiteY112" fmla="*/ 175560 h 187680"/>
              <a:gd name="connsiteX113" fmla="*/ 295027 w 956142"/>
              <a:gd name="connsiteY113" fmla="*/ 95778 h 187680"/>
              <a:gd name="connsiteX114" fmla="*/ 296767 w 956142"/>
              <a:gd name="connsiteY114" fmla="*/ 89873 h 187680"/>
              <a:gd name="connsiteX115" fmla="*/ 298767 w 956142"/>
              <a:gd name="connsiteY115" fmla="*/ 89340 h 187680"/>
              <a:gd name="connsiteX116" fmla="*/ 308091 w 956142"/>
              <a:gd name="connsiteY116" fmla="*/ 89340 h 187680"/>
              <a:gd name="connsiteX117" fmla="*/ 311794 w 956142"/>
              <a:gd name="connsiteY117" fmla="*/ 89225 h 187680"/>
              <a:gd name="connsiteX118" fmla="*/ 315282 w 956142"/>
              <a:gd name="connsiteY118" fmla="*/ 88920 h 187680"/>
              <a:gd name="connsiteX119" fmla="*/ 323184 w 956142"/>
              <a:gd name="connsiteY119" fmla="*/ 86215 h 187680"/>
              <a:gd name="connsiteX120" fmla="*/ 329038 w 956142"/>
              <a:gd name="connsiteY120" fmla="*/ 80881 h 187680"/>
              <a:gd name="connsiteX121" fmla="*/ 332610 w 956142"/>
              <a:gd name="connsiteY121" fmla="*/ 73795 h 187680"/>
              <a:gd name="connsiteX122" fmla="*/ 333826 w 956142"/>
              <a:gd name="connsiteY122" fmla="*/ 65832 h 187680"/>
              <a:gd name="connsiteX123" fmla="*/ 332530 w 956142"/>
              <a:gd name="connsiteY123" fmla="*/ 58060 h 187680"/>
              <a:gd name="connsiteX124" fmla="*/ 328749 w 956142"/>
              <a:gd name="connsiteY124" fmla="*/ 51087 h 187680"/>
              <a:gd name="connsiteX125" fmla="*/ 322843 w 956142"/>
              <a:gd name="connsiteY125" fmla="*/ 45639 h 187680"/>
              <a:gd name="connsiteX126" fmla="*/ 315132 w 956142"/>
              <a:gd name="connsiteY126" fmla="*/ 42781 h 187680"/>
              <a:gd name="connsiteX127" fmla="*/ 285469 w 956142"/>
              <a:gd name="connsiteY127" fmla="*/ 42629 h 187680"/>
              <a:gd name="connsiteX128" fmla="*/ 285469 w 956142"/>
              <a:gd name="connsiteY128" fmla="*/ 175102 h 187680"/>
              <a:gd name="connsiteX129" fmla="*/ 282988 w 956142"/>
              <a:gd name="connsiteY129" fmla="*/ 177694 h 187680"/>
              <a:gd name="connsiteX130" fmla="*/ 250124 w 956142"/>
              <a:gd name="connsiteY130" fmla="*/ 177694 h 187680"/>
              <a:gd name="connsiteX131" fmla="*/ 247640 w 956142"/>
              <a:gd name="connsiteY131" fmla="*/ 175102 h 187680"/>
              <a:gd name="connsiteX132" fmla="*/ 247640 w 956142"/>
              <a:gd name="connsiteY132" fmla="*/ 14663 h 187680"/>
              <a:gd name="connsiteX133" fmla="*/ 250124 w 956142"/>
              <a:gd name="connsiteY133" fmla="*/ 12073 h 187680"/>
              <a:gd name="connsiteX134" fmla="*/ 321297 w 956142"/>
              <a:gd name="connsiteY134" fmla="*/ 12073 h 187680"/>
              <a:gd name="connsiteX135" fmla="*/ 341619 w 956142"/>
              <a:gd name="connsiteY135" fmla="*/ 16302 h 187680"/>
              <a:gd name="connsiteX136" fmla="*/ 358141 w 956142"/>
              <a:gd name="connsiteY136" fmla="*/ 27770 h 187680"/>
              <a:gd name="connsiteX137" fmla="*/ 369241 w 956142"/>
              <a:gd name="connsiteY137" fmla="*/ 44763 h 187680"/>
              <a:gd name="connsiteX138" fmla="*/ 373278 w 956142"/>
              <a:gd name="connsiteY138" fmla="*/ 65413 h 187680"/>
              <a:gd name="connsiteX139" fmla="*/ 371348 w 956142"/>
              <a:gd name="connsiteY139" fmla="*/ 79548 h 187680"/>
              <a:gd name="connsiteX140" fmla="*/ 357646 w 956142"/>
              <a:gd name="connsiteY140" fmla="*/ 102827 h 187680"/>
              <a:gd name="connsiteX141" fmla="*/ 347169 w 956142"/>
              <a:gd name="connsiteY141" fmla="*/ 111019 h 187680"/>
              <a:gd name="connsiteX142" fmla="*/ 345139 w 956142"/>
              <a:gd name="connsiteY142" fmla="*/ 112199 h 187680"/>
              <a:gd name="connsiteX143" fmla="*/ 376421 w 956142"/>
              <a:gd name="connsiteY143" fmla="*/ 173922 h 187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</a:cxnLst>
            <a:rect l="l" t="t" r="r" b="b"/>
            <a:pathLst>
              <a:path w="956142" h="187680">
                <a:moveTo>
                  <a:pt x="34507" y="93683"/>
                </a:moveTo>
                <a:cubicBezTo>
                  <a:pt x="34503" y="77147"/>
                  <a:pt x="47388" y="63737"/>
                  <a:pt x="63287" y="63737"/>
                </a:cubicBezTo>
                <a:cubicBezTo>
                  <a:pt x="63291" y="63737"/>
                  <a:pt x="63298" y="63737"/>
                  <a:pt x="63302" y="63737"/>
                </a:cubicBezTo>
                <a:cubicBezTo>
                  <a:pt x="79208" y="63737"/>
                  <a:pt x="92100" y="77147"/>
                  <a:pt x="92100" y="93683"/>
                </a:cubicBezTo>
                <a:cubicBezTo>
                  <a:pt x="92100" y="110219"/>
                  <a:pt x="79208" y="123629"/>
                  <a:pt x="63302" y="123629"/>
                </a:cubicBezTo>
                <a:cubicBezTo>
                  <a:pt x="47399" y="123629"/>
                  <a:pt x="34507" y="110219"/>
                  <a:pt x="34507" y="93683"/>
                </a:cubicBezTo>
                <a:close/>
                <a:moveTo>
                  <a:pt x="149704" y="93416"/>
                </a:moveTo>
                <a:cubicBezTo>
                  <a:pt x="149763" y="118295"/>
                  <a:pt x="140337" y="142222"/>
                  <a:pt x="123481" y="159939"/>
                </a:cubicBezTo>
                <a:cubicBezTo>
                  <a:pt x="106677" y="177579"/>
                  <a:pt x="83799" y="187485"/>
                  <a:pt x="59924" y="187523"/>
                </a:cubicBezTo>
                <a:lnTo>
                  <a:pt x="3957" y="187523"/>
                </a:lnTo>
                <a:cubicBezTo>
                  <a:pt x="2796" y="187523"/>
                  <a:pt x="1690" y="187028"/>
                  <a:pt x="942" y="186076"/>
                </a:cubicBezTo>
                <a:cubicBezTo>
                  <a:pt x="169" y="185161"/>
                  <a:pt x="-182" y="183942"/>
                  <a:pt x="-18" y="182723"/>
                </a:cubicBezTo>
                <a:cubicBezTo>
                  <a:pt x="3474" y="160206"/>
                  <a:pt x="22047" y="143670"/>
                  <a:pt x="43860" y="143632"/>
                </a:cubicBezTo>
                <a:lnTo>
                  <a:pt x="59917" y="143632"/>
                </a:lnTo>
                <a:cubicBezTo>
                  <a:pt x="84729" y="143480"/>
                  <a:pt x="105344" y="123592"/>
                  <a:pt x="107472" y="97759"/>
                </a:cubicBezTo>
                <a:cubicBezTo>
                  <a:pt x="107589" y="96388"/>
                  <a:pt x="107641" y="95054"/>
                  <a:pt x="107641" y="93188"/>
                </a:cubicBezTo>
                <a:cubicBezTo>
                  <a:pt x="107641" y="92121"/>
                  <a:pt x="107641" y="91169"/>
                  <a:pt x="107509" y="90216"/>
                </a:cubicBezTo>
                <a:cubicBezTo>
                  <a:pt x="105823" y="64194"/>
                  <a:pt x="84652" y="43772"/>
                  <a:pt x="59338" y="43772"/>
                </a:cubicBezTo>
                <a:lnTo>
                  <a:pt x="43915" y="43772"/>
                </a:lnTo>
                <a:cubicBezTo>
                  <a:pt x="32126" y="43810"/>
                  <a:pt x="20813" y="38933"/>
                  <a:pt x="12501" y="30247"/>
                </a:cubicBezTo>
                <a:cubicBezTo>
                  <a:pt x="5895" y="23274"/>
                  <a:pt x="1547" y="14359"/>
                  <a:pt x="56" y="4681"/>
                </a:cubicBezTo>
                <a:cubicBezTo>
                  <a:pt x="-131" y="3500"/>
                  <a:pt x="191" y="2243"/>
                  <a:pt x="935" y="1290"/>
                </a:cubicBezTo>
                <a:cubicBezTo>
                  <a:pt x="1701" y="376"/>
                  <a:pt x="2822" y="-157"/>
                  <a:pt x="3994" y="-157"/>
                </a:cubicBezTo>
                <a:lnTo>
                  <a:pt x="59019" y="-157"/>
                </a:lnTo>
                <a:cubicBezTo>
                  <a:pt x="108890" y="-157"/>
                  <a:pt x="149565" y="41791"/>
                  <a:pt x="149704" y="93416"/>
                </a:cubicBezTo>
                <a:close/>
                <a:moveTo>
                  <a:pt x="634219" y="150338"/>
                </a:moveTo>
                <a:cubicBezTo>
                  <a:pt x="641410" y="156662"/>
                  <a:pt x="646188" y="165501"/>
                  <a:pt x="647682" y="175179"/>
                </a:cubicBezTo>
                <a:cubicBezTo>
                  <a:pt x="647855" y="176245"/>
                  <a:pt x="647561" y="177351"/>
                  <a:pt x="646880" y="178189"/>
                </a:cubicBezTo>
                <a:cubicBezTo>
                  <a:pt x="646217" y="179027"/>
                  <a:pt x="645235" y="179523"/>
                  <a:pt x="644195" y="179523"/>
                </a:cubicBezTo>
                <a:lnTo>
                  <a:pt x="594207" y="179523"/>
                </a:lnTo>
                <a:cubicBezTo>
                  <a:pt x="572904" y="179484"/>
                  <a:pt x="552495" y="170645"/>
                  <a:pt x="537482" y="154909"/>
                </a:cubicBezTo>
                <a:cubicBezTo>
                  <a:pt x="522443" y="139174"/>
                  <a:pt x="514021" y="117876"/>
                  <a:pt x="514058" y="95702"/>
                </a:cubicBezTo>
                <a:cubicBezTo>
                  <a:pt x="514178" y="49715"/>
                  <a:pt x="550498" y="12340"/>
                  <a:pt x="595013" y="12340"/>
                </a:cubicBezTo>
                <a:lnTo>
                  <a:pt x="644191" y="12340"/>
                </a:lnTo>
                <a:cubicBezTo>
                  <a:pt x="646140" y="12340"/>
                  <a:pt x="647712" y="13978"/>
                  <a:pt x="647705" y="15997"/>
                </a:cubicBezTo>
                <a:cubicBezTo>
                  <a:pt x="647705" y="16188"/>
                  <a:pt x="647690" y="16378"/>
                  <a:pt x="647660" y="16569"/>
                </a:cubicBezTo>
                <a:cubicBezTo>
                  <a:pt x="646327" y="25179"/>
                  <a:pt x="642447" y="33104"/>
                  <a:pt x="636568" y="39276"/>
                </a:cubicBezTo>
                <a:cubicBezTo>
                  <a:pt x="629149" y="47049"/>
                  <a:pt x="619049" y="51430"/>
                  <a:pt x="608520" y="51392"/>
                </a:cubicBezTo>
                <a:lnTo>
                  <a:pt x="594753" y="51392"/>
                </a:lnTo>
                <a:cubicBezTo>
                  <a:pt x="572233" y="51354"/>
                  <a:pt x="553458" y="69337"/>
                  <a:pt x="551707" y="92769"/>
                </a:cubicBezTo>
                <a:cubicBezTo>
                  <a:pt x="551605" y="93645"/>
                  <a:pt x="551605" y="94521"/>
                  <a:pt x="551605" y="95474"/>
                </a:cubicBezTo>
                <a:cubicBezTo>
                  <a:pt x="551579" y="96845"/>
                  <a:pt x="551623" y="98179"/>
                  <a:pt x="551736" y="99551"/>
                </a:cubicBezTo>
                <a:cubicBezTo>
                  <a:pt x="553634" y="122563"/>
                  <a:pt x="572058" y="140279"/>
                  <a:pt x="594229" y="140394"/>
                </a:cubicBezTo>
                <a:lnTo>
                  <a:pt x="608509" y="140394"/>
                </a:lnTo>
                <a:cubicBezTo>
                  <a:pt x="617943" y="140432"/>
                  <a:pt x="627061" y="143937"/>
                  <a:pt x="634223" y="150338"/>
                </a:cubicBezTo>
                <a:close/>
                <a:moveTo>
                  <a:pt x="953849" y="11997"/>
                </a:moveTo>
                <a:cubicBezTo>
                  <a:pt x="956838" y="11997"/>
                  <a:pt x="955966" y="14168"/>
                  <a:pt x="955966" y="14168"/>
                </a:cubicBezTo>
                <a:lnTo>
                  <a:pt x="896970" y="174302"/>
                </a:lnTo>
                <a:cubicBezTo>
                  <a:pt x="896234" y="176284"/>
                  <a:pt x="894391" y="177579"/>
                  <a:pt x="892336" y="177617"/>
                </a:cubicBezTo>
                <a:lnTo>
                  <a:pt x="866600" y="177617"/>
                </a:lnTo>
                <a:cubicBezTo>
                  <a:pt x="864541" y="177579"/>
                  <a:pt x="862695" y="176284"/>
                  <a:pt x="861962" y="174265"/>
                </a:cubicBezTo>
                <a:lnTo>
                  <a:pt x="803288" y="14130"/>
                </a:lnTo>
                <a:cubicBezTo>
                  <a:pt x="802933" y="13406"/>
                  <a:pt x="803204" y="12492"/>
                  <a:pt x="803896" y="12149"/>
                </a:cubicBezTo>
                <a:cubicBezTo>
                  <a:pt x="804131" y="11997"/>
                  <a:pt x="804391" y="11958"/>
                  <a:pt x="804654" y="11997"/>
                </a:cubicBezTo>
                <a:lnTo>
                  <a:pt x="840146" y="11997"/>
                </a:lnTo>
                <a:cubicBezTo>
                  <a:pt x="841769" y="11844"/>
                  <a:pt x="843231" y="12987"/>
                  <a:pt x="843601" y="14626"/>
                </a:cubicBezTo>
                <a:lnTo>
                  <a:pt x="879389" y="126030"/>
                </a:lnTo>
                <a:cubicBezTo>
                  <a:pt x="879389" y="126030"/>
                  <a:pt x="912338" y="23388"/>
                  <a:pt x="915331" y="14702"/>
                </a:cubicBezTo>
                <a:cubicBezTo>
                  <a:pt x="915775" y="12949"/>
                  <a:pt x="917394" y="11768"/>
                  <a:pt x="919127" y="11997"/>
                </a:cubicBezTo>
                <a:close/>
                <a:moveTo>
                  <a:pt x="176587" y="14587"/>
                </a:moveTo>
                <a:cubicBezTo>
                  <a:pt x="176583" y="13140"/>
                  <a:pt x="177693" y="11997"/>
                  <a:pt x="179063" y="11997"/>
                </a:cubicBezTo>
                <a:lnTo>
                  <a:pt x="211881" y="11997"/>
                </a:lnTo>
                <a:cubicBezTo>
                  <a:pt x="213247" y="11997"/>
                  <a:pt x="214354" y="13140"/>
                  <a:pt x="214361" y="14587"/>
                </a:cubicBezTo>
                <a:lnTo>
                  <a:pt x="214361" y="175026"/>
                </a:lnTo>
                <a:cubicBezTo>
                  <a:pt x="214357" y="176436"/>
                  <a:pt x="213280" y="177579"/>
                  <a:pt x="211932" y="177617"/>
                </a:cubicBezTo>
                <a:lnTo>
                  <a:pt x="179063" y="177617"/>
                </a:lnTo>
                <a:cubicBezTo>
                  <a:pt x="177693" y="177617"/>
                  <a:pt x="176587" y="176474"/>
                  <a:pt x="176587" y="175026"/>
                </a:cubicBezTo>
                <a:lnTo>
                  <a:pt x="176587" y="14587"/>
                </a:lnTo>
                <a:close/>
                <a:moveTo>
                  <a:pt x="786414" y="11882"/>
                </a:moveTo>
                <a:lnTo>
                  <a:pt x="786414" y="11844"/>
                </a:lnTo>
                <a:cubicBezTo>
                  <a:pt x="787777" y="11844"/>
                  <a:pt x="788883" y="12987"/>
                  <a:pt x="788891" y="14435"/>
                </a:cubicBezTo>
                <a:lnTo>
                  <a:pt x="788891" y="43696"/>
                </a:lnTo>
                <a:cubicBezTo>
                  <a:pt x="788887" y="45106"/>
                  <a:pt x="787821" y="46249"/>
                  <a:pt x="786476" y="46286"/>
                </a:cubicBezTo>
                <a:lnTo>
                  <a:pt x="745651" y="46286"/>
                </a:lnTo>
                <a:lnTo>
                  <a:pt x="745651" y="174950"/>
                </a:lnTo>
                <a:cubicBezTo>
                  <a:pt x="745654" y="176360"/>
                  <a:pt x="744548" y="177541"/>
                  <a:pt x="743181" y="177541"/>
                </a:cubicBezTo>
                <a:cubicBezTo>
                  <a:pt x="743174" y="177541"/>
                  <a:pt x="743171" y="177541"/>
                  <a:pt x="743167" y="177541"/>
                </a:cubicBezTo>
                <a:lnTo>
                  <a:pt x="710302" y="177541"/>
                </a:lnTo>
                <a:cubicBezTo>
                  <a:pt x="708928" y="177541"/>
                  <a:pt x="707822" y="176360"/>
                  <a:pt x="707822" y="174950"/>
                </a:cubicBezTo>
                <a:lnTo>
                  <a:pt x="707822" y="46286"/>
                </a:lnTo>
                <a:lnTo>
                  <a:pt x="667147" y="46286"/>
                </a:lnTo>
                <a:cubicBezTo>
                  <a:pt x="665776" y="46286"/>
                  <a:pt x="664670" y="45106"/>
                  <a:pt x="664663" y="43696"/>
                </a:cubicBezTo>
                <a:lnTo>
                  <a:pt x="664663" y="14473"/>
                </a:lnTo>
                <a:cubicBezTo>
                  <a:pt x="664670" y="13063"/>
                  <a:pt x="665776" y="11921"/>
                  <a:pt x="667147" y="11882"/>
                </a:cubicBezTo>
                <a:lnTo>
                  <a:pt x="786410" y="11882"/>
                </a:lnTo>
                <a:close/>
                <a:moveTo>
                  <a:pt x="496151" y="46401"/>
                </a:moveTo>
                <a:lnTo>
                  <a:pt x="438781" y="46401"/>
                </a:lnTo>
                <a:lnTo>
                  <a:pt x="438781" y="79815"/>
                </a:lnTo>
                <a:lnTo>
                  <a:pt x="479555" y="79815"/>
                </a:lnTo>
                <a:cubicBezTo>
                  <a:pt x="480922" y="79852"/>
                  <a:pt x="482032" y="80995"/>
                  <a:pt x="482035" y="82405"/>
                </a:cubicBezTo>
                <a:lnTo>
                  <a:pt x="482035" y="106104"/>
                </a:lnTo>
                <a:cubicBezTo>
                  <a:pt x="482028" y="107514"/>
                  <a:pt x="480925" y="108656"/>
                  <a:pt x="479555" y="108694"/>
                </a:cubicBezTo>
                <a:lnTo>
                  <a:pt x="438781" y="108694"/>
                </a:lnTo>
                <a:lnTo>
                  <a:pt x="438781" y="143061"/>
                </a:lnTo>
                <a:lnTo>
                  <a:pt x="495920" y="143061"/>
                </a:lnTo>
                <a:cubicBezTo>
                  <a:pt x="497440" y="143061"/>
                  <a:pt x="498671" y="144356"/>
                  <a:pt x="498671" y="145918"/>
                </a:cubicBezTo>
                <a:lnTo>
                  <a:pt x="498671" y="174569"/>
                </a:lnTo>
                <a:cubicBezTo>
                  <a:pt x="498671" y="176131"/>
                  <a:pt x="497440" y="177427"/>
                  <a:pt x="495920" y="177427"/>
                </a:cubicBezTo>
                <a:lnTo>
                  <a:pt x="403531" y="177427"/>
                </a:lnTo>
                <a:cubicBezTo>
                  <a:pt x="402161" y="177427"/>
                  <a:pt x="401051" y="176284"/>
                  <a:pt x="401051" y="174836"/>
                </a:cubicBezTo>
                <a:lnTo>
                  <a:pt x="401051" y="14778"/>
                </a:lnTo>
                <a:cubicBezTo>
                  <a:pt x="400963" y="13978"/>
                  <a:pt x="401197" y="13216"/>
                  <a:pt x="401703" y="12644"/>
                </a:cubicBezTo>
                <a:cubicBezTo>
                  <a:pt x="401820" y="12454"/>
                  <a:pt x="402223" y="11997"/>
                  <a:pt x="403454" y="11997"/>
                </a:cubicBezTo>
                <a:lnTo>
                  <a:pt x="496147" y="11997"/>
                </a:lnTo>
                <a:cubicBezTo>
                  <a:pt x="497510" y="11997"/>
                  <a:pt x="498620" y="13177"/>
                  <a:pt x="498627" y="14587"/>
                </a:cubicBezTo>
                <a:lnTo>
                  <a:pt x="498627" y="43810"/>
                </a:lnTo>
                <a:cubicBezTo>
                  <a:pt x="498620" y="45220"/>
                  <a:pt x="497514" y="46363"/>
                  <a:pt x="496147" y="46401"/>
                </a:cubicBezTo>
                <a:close/>
                <a:moveTo>
                  <a:pt x="376425" y="173846"/>
                </a:moveTo>
                <a:lnTo>
                  <a:pt x="376465" y="173807"/>
                </a:lnTo>
                <a:cubicBezTo>
                  <a:pt x="377110" y="175065"/>
                  <a:pt x="376649" y="176665"/>
                  <a:pt x="375429" y="177312"/>
                </a:cubicBezTo>
                <a:cubicBezTo>
                  <a:pt x="375084" y="177503"/>
                  <a:pt x="374700" y="177617"/>
                  <a:pt x="374308" y="177617"/>
                </a:cubicBezTo>
                <a:lnTo>
                  <a:pt x="338428" y="177617"/>
                </a:lnTo>
                <a:cubicBezTo>
                  <a:pt x="337043" y="177617"/>
                  <a:pt x="335775" y="176817"/>
                  <a:pt x="335127" y="175560"/>
                </a:cubicBezTo>
                <a:lnTo>
                  <a:pt x="295027" y="95778"/>
                </a:lnTo>
                <a:cubicBezTo>
                  <a:pt x="293931" y="93645"/>
                  <a:pt x="294711" y="90978"/>
                  <a:pt x="296767" y="89873"/>
                </a:cubicBezTo>
                <a:cubicBezTo>
                  <a:pt x="297382" y="89530"/>
                  <a:pt x="298071" y="89340"/>
                  <a:pt x="298767" y="89340"/>
                </a:cubicBezTo>
                <a:lnTo>
                  <a:pt x="308091" y="89340"/>
                </a:lnTo>
                <a:cubicBezTo>
                  <a:pt x="309560" y="89340"/>
                  <a:pt x="310728" y="89301"/>
                  <a:pt x="311794" y="89225"/>
                </a:cubicBezTo>
                <a:cubicBezTo>
                  <a:pt x="312857" y="89187"/>
                  <a:pt x="313989" y="89073"/>
                  <a:pt x="315282" y="88920"/>
                </a:cubicBezTo>
                <a:cubicBezTo>
                  <a:pt x="318066" y="88577"/>
                  <a:pt x="320759" y="87663"/>
                  <a:pt x="323184" y="86215"/>
                </a:cubicBezTo>
                <a:cubicBezTo>
                  <a:pt x="325444" y="84844"/>
                  <a:pt x="327430" y="83015"/>
                  <a:pt x="329038" y="80881"/>
                </a:cubicBezTo>
                <a:cubicBezTo>
                  <a:pt x="330603" y="78748"/>
                  <a:pt x="331815" y="76347"/>
                  <a:pt x="332610" y="73795"/>
                </a:cubicBezTo>
                <a:cubicBezTo>
                  <a:pt x="333420" y="71242"/>
                  <a:pt x="333830" y="68537"/>
                  <a:pt x="333826" y="65832"/>
                </a:cubicBezTo>
                <a:cubicBezTo>
                  <a:pt x="333837" y="63203"/>
                  <a:pt x="333398" y="60574"/>
                  <a:pt x="332530" y="58060"/>
                </a:cubicBezTo>
                <a:cubicBezTo>
                  <a:pt x="331639" y="55545"/>
                  <a:pt x="330364" y="53183"/>
                  <a:pt x="328749" y="51087"/>
                </a:cubicBezTo>
                <a:cubicBezTo>
                  <a:pt x="327104" y="48915"/>
                  <a:pt x="325104" y="47086"/>
                  <a:pt x="322843" y="45639"/>
                </a:cubicBezTo>
                <a:cubicBezTo>
                  <a:pt x="320484" y="44153"/>
                  <a:pt x="317861" y="43201"/>
                  <a:pt x="315132" y="42781"/>
                </a:cubicBezTo>
                <a:lnTo>
                  <a:pt x="285469" y="42629"/>
                </a:lnTo>
                <a:lnTo>
                  <a:pt x="285469" y="175102"/>
                </a:lnTo>
                <a:cubicBezTo>
                  <a:pt x="285461" y="176512"/>
                  <a:pt x="284359" y="177694"/>
                  <a:pt x="282988" y="177694"/>
                </a:cubicBezTo>
                <a:lnTo>
                  <a:pt x="250124" y="177694"/>
                </a:lnTo>
                <a:cubicBezTo>
                  <a:pt x="248754" y="177694"/>
                  <a:pt x="247647" y="176512"/>
                  <a:pt x="247640" y="175102"/>
                </a:cubicBezTo>
                <a:lnTo>
                  <a:pt x="247640" y="14663"/>
                </a:lnTo>
                <a:cubicBezTo>
                  <a:pt x="247647" y="13216"/>
                  <a:pt x="248754" y="12073"/>
                  <a:pt x="250124" y="12073"/>
                </a:cubicBezTo>
                <a:lnTo>
                  <a:pt x="321297" y="12073"/>
                </a:lnTo>
                <a:cubicBezTo>
                  <a:pt x="328276" y="12034"/>
                  <a:pt x="335196" y="13444"/>
                  <a:pt x="341619" y="16302"/>
                </a:cubicBezTo>
                <a:cubicBezTo>
                  <a:pt x="347766" y="19007"/>
                  <a:pt x="353367" y="22893"/>
                  <a:pt x="358141" y="27770"/>
                </a:cubicBezTo>
                <a:cubicBezTo>
                  <a:pt x="362837" y="32647"/>
                  <a:pt x="366603" y="38400"/>
                  <a:pt x="369241" y="44763"/>
                </a:cubicBezTo>
                <a:cubicBezTo>
                  <a:pt x="371941" y="51277"/>
                  <a:pt x="373315" y="58326"/>
                  <a:pt x="373278" y="65413"/>
                </a:cubicBezTo>
                <a:cubicBezTo>
                  <a:pt x="373297" y="70175"/>
                  <a:pt x="372644" y="74938"/>
                  <a:pt x="371348" y="79548"/>
                </a:cubicBezTo>
                <a:cubicBezTo>
                  <a:pt x="368809" y="88425"/>
                  <a:pt x="364086" y="96426"/>
                  <a:pt x="357646" y="102827"/>
                </a:cubicBezTo>
                <a:cubicBezTo>
                  <a:pt x="354477" y="105951"/>
                  <a:pt x="350960" y="108733"/>
                  <a:pt x="347169" y="111019"/>
                </a:cubicBezTo>
                <a:lnTo>
                  <a:pt x="345139" y="112199"/>
                </a:lnTo>
                <a:lnTo>
                  <a:pt x="376421" y="173922"/>
                </a:lnTo>
                <a:close/>
              </a:path>
            </a:pathLst>
          </a:custGeom>
          <a:solidFill>
            <a:srgbClr val="03A9F4"/>
          </a:solidFill>
          <a:ln w="4011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grpSp>
        <p:nvGrpSpPr>
          <p:cNvPr id="5760" name="Gráfico 5641">
            <a:extLst>
              <a:ext uri="{FF2B5EF4-FFF2-40B4-BE49-F238E27FC236}">
                <a16:creationId xmlns:a16="http://schemas.microsoft.com/office/drawing/2014/main" id="{91DFEF2C-5641-57AF-A40B-9A9AE0654739}"/>
              </a:ext>
            </a:extLst>
          </p:cNvPr>
          <p:cNvGrpSpPr/>
          <p:nvPr/>
        </p:nvGrpSpPr>
        <p:grpSpPr>
          <a:xfrm>
            <a:off x="586910" y="2750285"/>
            <a:ext cx="488070" cy="149643"/>
            <a:chOff x="762000" y="1403815"/>
            <a:chExt cx="7630477" cy="2339184"/>
          </a:xfrm>
        </p:grpSpPr>
        <p:sp>
          <p:nvSpPr>
            <p:cNvPr id="5761" name="Forma libre 5760">
              <a:extLst>
                <a:ext uri="{FF2B5EF4-FFF2-40B4-BE49-F238E27FC236}">
                  <a16:creationId xmlns:a16="http://schemas.microsoft.com/office/drawing/2014/main" id="{7B70938B-40D2-2138-18DD-5255A9491D10}"/>
                </a:ext>
              </a:extLst>
            </p:cNvPr>
            <p:cNvSpPr/>
            <p:nvPr/>
          </p:nvSpPr>
          <p:spPr>
            <a:xfrm>
              <a:off x="4538662" y="3731838"/>
              <a:ext cx="114300" cy="11161"/>
            </a:xfrm>
            <a:custGeom>
              <a:avLst/>
              <a:gdLst>
                <a:gd name="connsiteX0" fmla="*/ 0 w 114300"/>
                <a:gd name="connsiteY0" fmla="*/ 11162 h 11161"/>
                <a:gd name="connsiteX1" fmla="*/ 0 w 114300"/>
                <a:gd name="connsiteY1" fmla="*/ 7362 h 11161"/>
                <a:gd name="connsiteX2" fmla="*/ 16193 w 114300"/>
                <a:gd name="connsiteY2" fmla="*/ 712 h 11161"/>
                <a:gd name="connsiteX3" fmla="*/ 98107 w 114300"/>
                <a:gd name="connsiteY3" fmla="*/ 712 h 11161"/>
                <a:gd name="connsiteX4" fmla="*/ 114300 w 114300"/>
                <a:gd name="connsiteY4" fmla="*/ 7362 h 11161"/>
                <a:gd name="connsiteX5" fmla="*/ 114300 w 114300"/>
                <a:gd name="connsiteY5" fmla="*/ 11162 h 11161"/>
                <a:gd name="connsiteX6" fmla="*/ 0 w 114300"/>
                <a:gd name="connsiteY6" fmla="*/ 11162 h 1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300" h="11161">
                  <a:moveTo>
                    <a:pt x="0" y="11162"/>
                  </a:moveTo>
                  <a:lnTo>
                    <a:pt x="0" y="7362"/>
                  </a:lnTo>
                  <a:cubicBezTo>
                    <a:pt x="3810" y="2612"/>
                    <a:pt x="10478" y="-237"/>
                    <a:pt x="16193" y="712"/>
                  </a:cubicBezTo>
                  <a:cubicBezTo>
                    <a:pt x="43815" y="-237"/>
                    <a:pt x="70485" y="-237"/>
                    <a:pt x="98107" y="712"/>
                  </a:cubicBezTo>
                  <a:cubicBezTo>
                    <a:pt x="103822" y="712"/>
                    <a:pt x="110490" y="2612"/>
                    <a:pt x="114300" y="7362"/>
                  </a:cubicBezTo>
                  <a:lnTo>
                    <a:pt x="114300" y="11162"/>
                  </a:lnTo>
                  <a:lnTo>
                    <a:pt x="0" y="11162"/>
                  </a:lnTo>
                  <a:close/>
                </a:path>
              </a:pathLst>
            </a:custGeom>
            <a:solidFill>
              <a:srgbClr val="D1EFF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762" name="Forma libre 5761">
              <a:extLst>
                <a:ext uri="{FF2B5EF4-FFF2-40B4-BE49-F238E27FC236}">
                  <a16:creationId xmlns:a16="http://schemas.microsoft.com/office/drawing/2014/main" id="{167942CC-9CE5-7873-8DCF-5BA78CD895E3}"/>
                </a:ext>
              </a:extLst>
            </p:cNvPr>
            <p:cNvSpPr/>
            <p:nvPr/>
          </p:nvSpPr>
          <p:spPr>
            <a:xfrm>
              <a:off x="2614537" y="2860727"/>
              <a:ext cx="3626014" cy="878472"/>
            </a:xfrm>
            <a:custGeom>
              <a:avLst/>
              <a:gdLst>
                <a:gd name="connsiteX0" fmla="*/ 2038425 w 3626014"/>
                <a:gd name="connsiteY0" fmla="*/ 878472 h 878472"/>
                <a:gd name="connsiteX1" fmla="*/ 1924125 w 3626014"/>
                <a:gd name="connsiteY1" fmla="*/ 878472 h 878472"/>
                <a:gd name="connsiteX2" fmla="*/ 1766962 w 3626014"/>
                <a:gd name="connsiteY2" fmla="*/ 869923 h 878472"/>
                <a:gd name="connsiteX3" fmla="*/ 1354530 w 3626014"/>
                <a:gd name="connsiteY3" fmla="*/ 807229 h 878472"/>
                <a:gd name="connsiteX4" fmla="*/ 118185 w 3626014"/>
                <a:gd name="connsiteY4" fmla="*/ 165084 h 878472"/>
                <a:gd name="connsiteX5" fmla="*/ 21030 w 3626014"/>
                <a:gd name="connsiteY5" fmla="*/ 74841 h 878472"/>
                <a:gd name="connsiteX6" fmla="*/ 2932 w 3626014"/>
                <a:gd name="connsiteY6" fmla="*/ 49193 h 878472"/>
                <a:gd name="connsiteX7" fmla="*/ 9600 w 3626014"/>
                <a:gd name="connsiteY7" fmla="*/ 11197 h 878472"/>
                <a:gd name="connsiteX8" fmla="*/ 47700 w 3626014"/>
                <a:gd name="connsiteY8" fmla="*/ 2647 h 878472"/>
                <a:gd name="connsiteX9" fmla="*/ 72465 w 3626014"/>
                <a:gd name="connsiteY9" fmla="*/ 14996 h 878472"/>
                <a:gd name="connsiteX10" fmla="*/ 1179270 w 3626014"/>
                <a:gd name="connsiteY10" fmla="*/ 470957 h 878472"/>
                <a:gd name="connsiteX11" fmla="*/ 1576462 w 3626014"/>
                <a:gd name="connsiteY11" fmla="*/ 542201 h 878472"/>
                <a:gd name="connsiteX12" fmla="*/ 2153677 w 3626014"/>
                <a:gd name="connsiteY12" fmla="*/ 567849 h 878472"/>
                <a:gd name="connsiteX13" fmla="*/ 2463240 w 3626014"/>
                <a:gd name="connsiteY13" fmla="*/ 542201 h 878472"/>
                <a:gd name="connsiteX14" fmla="*/ 3169995 w 3626014"/>
                <a:gd name="connsiteY14" fmla="*/ 381665 h 878472"/>
                <a:gd name="connsiteX15" fmla="*/ 3524325 w 3626014"/>
                <a:gd name="connsiteY15" fmla="*/ 242977 h 878472"/>
                <a:gd name="connsiteX16" fmla="*/ 3581475 w 3626014"/>
                <a:gd name="connsiteY16" fmla="*/ 235377 h 878472"/>
                <a:gd name="connsiteX17" fmla="*/ 3624337 w 3626014"/>
                <a:gd name="connsiteY17" fmla="*/ 306621 h 878472"/>
                <a:gd name="connsiteX18" fmla="*/ 3619575 w 3626014"/>
                <a:gd name="connsiteY18" fmla="*/ 318970 h 878472"/>
                <a:gd name="connsiteX19" fmla="*/ 3588143 w 3626014"/>
                <a:gd name="connsiteY19" fmla="*/ 355067 h 878472"/>
                <a:gd name="connsiteX20" fmla="*/ 3235718 w 3626014"/>
                <a:gd name="connsiteY20" fmla="*/ 578298 h 878472"/>
                <a:gd name="connsiteX21" fmla="*/ 2489910 w 3626014"/>
                <a:gd name="connsiteY21" fmla="*/ 830027 h 878472"/>
                <a:gd name="connsiteX22" fmla="*/ 2038425 w 3626014"/>
                <a:gd name="connsiteY22" fmla="*/ 878472 h 878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26014" h="878472">
                  <a:moveTo>
                    <a:pt x="2038425" y="878472"/>
                  </a:moveTo>
                  <a:cubicBezTo>
                    <a:pt x="2000325" y="877523"/>
                    <a:pt x="1962225" y="877523"/>
                    <a:pt x="1924125" y="878472"/>
                  </a:cubicBezTo>
                  <a:cubicBezTo>
                    <a:pt x="1871737" y="875623"/>
                    <a:pt x="1819350" y="873723"/>
                    <a:pt x="1766962" y="869923"/>
                  </a:cubicBezTo>
                  <a:cubicBezTo>
                    <a:pt x="1627897" y="859474"/>
                    <a:pt x="1489785" y="838576"/>
                    <a:pt x="1354530" y="807229"/>
                  </a:cubicBezTo>
                  <a:cubicBezTo>
                    <a:pt x="886852" y="698938"/>
                    <a:pt x="476325" y="481407"/>
                    <a:pt x="118185" y="165084"/>
                  </a:cubicBezTo>
                  <a:cubicBezTo>
                    <a:pt x="84847" y="135636"/>
                    <a:pt x="53415" y="105239"/>
                    <a:pt x="21030" y="74841"/>
                  </a:cubicBezTo>
                  <a:cubicBezTo>
                    <a:pt x="13410" y="68192"/>
                    <a:pt x="6742" y="58693"/>
                    <a:pt x="2932" y="49193"/>
                  </a:cubicBezTo>
                  <a:cubicBezTo>
                    <a:pt x="-2783" y="35895"/>
                    <a:pt x="75" y="21646"/>
                    <a:pt x="9600" y="11197"/>
                  </a:cubicBezTo>
                  <a:cubicBezTo>
                    <a:pt x="19125" y="748"/>
                    <a:pt x="34365" y="-3052"/>
                    <a:pt x="47700" y="2647"/>
                  </a:cubicBezTo>
                  <a:cubicBezTo>
                    <a:pt x="56272" y="6447"/>
                    <a:pt x="64845" y="10247"/>
                    <a:pt x="72465" y="14996"/>
                  </a:cubicBezTo>
                  <a:cubicBezTo>
                    <a:pt x="414412" y="225878"/>
                    <a:pt x="787792" y="379765"/>
                    <a:pt x="1179270" y="470957"/>
                  </a:cubicBezTo>
                  <a:cubicBezTo>
                    <a:pt x="1310715" y="501355"/>
                    <a:pt x="1443112" y="525103"/>
                    <a:pt x="1576462" y="542201"/>
                  </a:cubicBezTo>
                  <a:cubicBezTo>
                    <a:pt x="1767915" y="565949"/>
                    <a:pt x="1961272" y="574498"/>
                    <a:pt x="2153677" y="567849"/>
                  </a:cubicBezTo>
                  <a:cubicBezTo>
                    <a:pt x="2257500" y="564999"/>
                    <a:pt x="2360370" y="555500"/>
                    <a:pt x="2463240" y="542201"/>
                  </a:cubicBezTo>
                  <a:cubicBezTo>
                    <a:pt x="2703270" y="511804"/>
                    <a:pt x="2940443" y="457659"/>
                    <a:pt x="3169995" y="381665"/>
                  </a:cubicBezTo>
                  <a:cubicBezTo>
                    <a:pt x="3290962" y="341768"/>
                    <a:pt x="3409073" y="296172"/>
                    <a:pt x="3524325" y="242977"/>
                  </a:cubicBezTo>
                  <a:cubicBezTo>
                    <a:pt x="3541470" y="233478"/>
                    <a:pt x="3562425" y="230628"/>
                    <a:pt x="3581475" y="235377"/>
                  </a:cubicBezTo>
                  <a:cubicBezTo>
                    <a:pt x="3612907" y="242977"/>
                    <a:pt x="3631957" y="275274"/>
                    <a:pt x="3624337" y="306621"/>
                  </a:cubicBezTo>
                  <a:cubicBezTo>
                    <a:pt x="3623385" y="310421"/>
                    <a:pt x="3621480" y="315171"/>
                    <a:pt x="3619575" y="318970"/>
                  </a:cubicBezTo>
                  <a:cubicBezTo>
                    <a:pt x="3611955" y="333219"/>
                    <a:pt x="3601477" y="345568"/>
                    <a:pt x="3588143" y="355067"/>
                  </a:cubicBezTo>
                  <a:cubicBezTo>
                    <a:pt x="3478605" y="440560"/>
                    <a:pt x="3360495" y="515604"/>
                    <a:pt x="3235718" y="578298"/>
                  </a:cubicBezTo>
                  <a:cubicBezTo>
                    <a:pt x="3000450" y="697038"/>
                    <a:pt x="2748990" y="781581"/>
                    <a:pt x="2489910" y="830027"/>
                  </a:cubicBezTo>
                  <a:cubicBezTo>
                    <a:pt x="2340368" y="856624"/>
                    <a:pt x="2189872" y="872773"/>
                    <a:pt x="2038425" y="878472"/>
                  </a:cubicBezTo>
                  <a:close/>
                </a:path>
              </a:pathLst>
            </a:custGeom>
            <a:solidFill>
              <a:srgbClr val="00A8E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763" name="Forma libre 5762">
              <a:extLst>
                <a:ext uri="{FF2B5EF4-FFF2-40B4-BE49-F238E27FC236}">
                  <a16:creationId xmlns:a16="http://schemas.microsoft.com/office/drawing/2014/main" id="{826FD493-3F71-BB62-E436-88586E086A1C}"/>
                </a:ext>
              </a:extLst>
            </p:cNvPr>
            <p:cNvSpPr/>
            <p:nvPr/>
          </p:nvSpPr>
          <p:spPr>
            <a:xfrm>
              <a:off x="2596515" y="1722951"/>
              <a:ext cx="1132522" cy="764255"/>
            </a:xfrm>
            <a:custGeom>
              <a:avLst/>
              <a:gdLst>
                <a:gd name="connsiteX0" fmla="*/ 645795 w 1132522"/>
                <a:gd name="connsiteY0" fmla="*/ 90763 h 764255"/>
                <a:gd name="connsiteX1" fmla="*/ 720090 w 1132522"/>
                <a:gd name="connsiteY1" fmla="*/ 48017 h 764255"/>
                <a:gd name="connsiteX2" fmla="*/ 936307 w 1132522"/>
                <a:gd name="connsiteY2" fmla="*/ 521 h 764255"/>
                <a:gd name="connsiteX3" fmla="*/ 1078230 w 1132522"/>
                <a:gd name="connsiteY3" fmla="*/ 58466 h 764255"/>
                <a:gd name="connsiteX4" fmla="*/ 1131570 w 1132522"/>
                <a:gd name="connsiteY4" fmla="*/ 190505 h 764255"/>
                <a:gd name="connsiteX5" fmla="*/ 1132523 w 1132522"/>
                <a:gd name="connsiteY5" fmla="*/ 222802 h 764255"/>
                <a:gd name="connsiteX6" fmla="*/ 1132523 w 1132522"/>
                <a:gd name="connsiteY6" fmla="*/ 714860 h 764255"/>
                <a:gd name="connsiteX7" fmla="*/ 1083945 w 1132522"/>
                <a:gd name="connsiteY7" fmla="*/ 763306 h 764255"/>
                <a:gd name="connsiteX8" fmla="*/ 967740 w 1132522"/>
                <a:gd name="connsiteY8" fmla="*/ 763306 h 764255"/>
                <a:gd name="connsiteX9" fmla="*/ 944880 w 1132522"/>
                <a:gd name="connsiteY9" fmla="*/ 762356 h 764255"/>
                <a:gd name="connsiteX10" fmla="*/ 922020 w 1132522"/>
                <a:gd name="connsiteY10" fmla="*/ 740508 h 764255"/>
                <a:gd name="connsiteX11" fmla="*/ 920115 w 1132522"/>
                <a:gd name="connsiteY11" fmla="*/ 709160 h 764255"/>
                <a:gd name="connsiteX12" fmla="*/ 920115 w 1132522"/>
                <a:gd name="connsiteY12" fmla="*/ 269348 h 764255"/>
                <a:gd name="connsiteX13" fmla="*/ 914400 w 1132522"/>
                <a:gd name="connsiteY13" fmla="*/ 217102 h 764255"/>
                <a:gd name="connsiteX14" fmla="*/ 849630 w 1132522"/>
                <a:gd name="connsiteY14" fmla="*/ 164857 h 764255"/>
                <a:gd name="connsiteX15" fmla="*/ 685800 w 1132522"/>
                <a:gd name="connsiteY15" fmla="*/ 196204 h 764255"/>
                <a:gd name="connsiteX16" fmla="*/ 674370 w 1132522"/>
                <a:gd name="connsiteY16" fmla="*/ 213303 h 764255"/>
                <a:gd name="connsiteX17" fmla="*/ 674370 w 1132522"/>
                <a:gd name="connsiteY17" fmla="*/ 712960 h 764255"/>
                <a:gd name="connsiteX18" fmla="*/ 672465 w 1132522"/>
                <a:gd name="connsiteY18" fmla="*/ 740508 h 764255"/>
                <a:gd name="connsiteX19" fmla="*/ 648653 w 1132522"/>
                <a:gd name="connsiteY19" fmla="*/ 763306 h 764255"/>
                <a:gd name="connsiteX20" fmla="*/ 648653 w 1132522"/>
                <a:gd name="connsiteY20" fmla="*/ 763306 h 764255"/>
                <a:gd name="connsiteX21" fmla="*/ 604838 w 1132522"/>
                <a:gd name="connsiteY21" fmla="*/ 764256 h 764255"/>
                <a:gd name="connsiteX22" fmla="*/ 503872 w 1132522"/>
                <a:gd name="connsiteY22" fmla="*/ 764256 h 764255"/>
                <a:gd name="connsiteX23" fmla="*/ 461010 w 1132522"/>
                <a:gd name="connsiteY23" fmla="*/ 720559 h 764255"/>
                <a:gd name="connsiteX24" fmla="*/ 461010 w 1132522"/>
                <a:gd name="connsiteY24" fmla="*/ 271248 h 764255"/>
                <a:gd name="connsiteX25" fmla="*/ 456247 w 1132522"/>
                <a:gd name="connsiteY25" fmla="*/ 221852 h 764255"/>
                <a:gd name="connsiteX26" fmla="*/ 389572 w 1132522"/>
                <a:gd name="connsiteY26" fmla="*/ 164857 h 764255"/>
                <a:gd name="connsiteX27" fmla="*/ 222885 w 1132522"/>
                <a:gd name="connsiteY27" fmla="*/ 197154 h 764255"/>
                <a:gd name="connsiteX28" fmla="*/ 212407 w 1132522"/>
                <a:gd name="connsiteY28" fmla="*/ 215203 h 764255"/>
                <a:gd name="connsiteX29" fmla="*/ 212407 w 1132522"/>
                <a:gd name="connsiteY29" fmla="*/ 721509 h 764255"/>
                <a:gd name="connsiteX30" fmla="*/ 169545 w 1132522"/>
                <a:gd name="connsiteY30" fmla="*/ 764256 h 764255"/>
                <a:gd name="connsiteX31" fmla="*/ 41910 w 1132522"/>
                <a:gd name="connsiteY31" fmla="*/ 764256 h 764255"/>
                <a:gd name="connsiteX32" fmla="*/ 0 w 1132522"/>
                <a:gd name="connsiteY32" fmla="*/ 722459 h 764255"/>
                <a:gd name="connsiteX33" fmla="*/ 0 w 1132522"/>
                <a:gd name="connsiteY33" fmla="*/ 63216 h 764255"/>
                <a:gd name="connsiteX34" fmla="*/ 2857 w 1132522"/>
                <a:gd name="connsiteY34" fmla="*/ 40418 h 764255"/>
                <a:gd name="connsiteX35" fmla="*/ 29527 w 1132522"/>
                <a:gd name="connsiteY35" fmla="*/ 22369 h 764255"/>
                <a:gd name="connsiteX36" fmla="*/ 148590 w 1132522"/>
                <a:gd name="connsiteY36" fmla="*/ 22369 h 764255"/>
                <a:gd name="connsiteX37" fmla="*/ 181927 w 1132522"/>
                <a:gd name="connsiteY37" fmla="*/ 48967 h 764255"/>
                <a:gd name="connsiteX38" fmla="*/ 194310 w 1132522"/>
                <a:gd name="connsiteY38" fmla="*/ 88863 h 764255"/>
                <a:gd name="connsiteX39" fmla="*/ 216217 w 1132522"/>
                <a:gd name="connsiteY39" fmla="*/ 78414 h 764255"/>
                <a:gd name="connsiteX40" fmla="*/ 385763 w 1132522"/>
                <a:gd name="connsiteY40" fmla="*/ 7170 h 764255"/>
                <a:gd name="connsiteX41" fmla="*/ 528638 w 1132522"/>
                <a:gd name="connsiteY41" fmla="*/ 7170 h 764255"/>
                <a:gd name="connsiteX42" fmla="*/ 639128 w 1132522"/>
                <a:gd name="connsiteY42" fmla="*/ 81264 h 764255"/>
                <a:gd name="connsiteX43" fmla="*/ 644842 w 1132522"/>
                <a:gd name="connsiteY43" fmla="*/ 87914 h 764255"/>
                <a:gd name="connsiteX44" fmla="*/ 645795 w 1132522"/>
                <a:gd name="connsiteY44" fmla="*/ 90763 h 764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32522" h="764255">
                  <a:moveTo>
                    <a:pt x="645795" y="90763"/>
                  </a:moveTo>
                  <a:cubicBezTo>
                    <a:pt x="669607" y="76515"/>
                    <a:pt x="694372" y="61316"/>
                    <a:pt x="720090" y="48017"/>
                  </a:cubicBezTo>
                  <a:cubicBezTo>
                    <a:pt x="786765" y="13820"/>
                    <a:pt x="861060" y="-3279"/>
                    <a:pt x="936307" y="521"/>
                  </a:cubicBezTo>
                  <a:cubicBezTo>
                    <a:pt x="990600" y="3371"/>
                    <a:pt x="1040130" y="18569"/>
                    <a:pt x="1078230" y="58466"/>
                  </a:cubicBezTo>
                  <a:cubicBezTo>
                    <a:pt x="1114425" y="95513"/>
                    <a:pt x="1127760" y="141109"/>
                    <a:pt x="1131570" y="190505"/>
                  </a:cubicBezTo>
                  <a:cubicBezTo>
                    <a:pt x="1132523" y="200954"/>
                    <a:pt x="1132523" y="211403"/>
                    <a:pt x="1132523" y="222802"/>
                  </a:cubicBezTo>
                  <a:lnTo>
                    <a:pt x="1132523" y="714860"/>
                  </a:lnTo>
                  <a:cubicBezTo>
                    <a:pt x="1132523" y="757606"/>
                    <a:pt x="1126807" y="763306"/>
                    <a:pt x="1083945" y="763306"/>
                  </a:cubicBezTo>
                  <a:lnTo>
                    <a:pt x="967740" y="763306"/>
                  </a:lnTo>
                  <a:cubicBezTo>
                    <a:pt x="960120" y="763306"/>
                    <a:pt x="952500" y="763306"/>
                    <a:pt x="944880" y="762356"/>
                  </a:cubicBezTo>
                  <a:cubicBezTo>
                    <a:pt x="933450" y="761406"/>
                    <a:pt x="923925" y="751907"/>
                    <a:pt x="922020" y="740508"/>
                  </a:cubicBezTo>
                  <a:cubicBezTo>
                    <a:pt x="920115" y="730059"/>
                    <a:pt x="920115" y="719610"/>
                    <a:pt x="920115" y="709160"/>
                  </a:cubicBezTo>
                  <a:lnTo>
                    <a:pt x="920115" y="269348"/>
                  </a:lnTo>
                  <a:cubicBezTo>
                    <a:pt x="921067" y="251300"/>
                    <a:pt x="919163" y="234201"/>
                    <a:pt x="914400" y="217102"/>
                  </a:cubicBezTo>
                  <a:cubicBezTo>
                    <a:pt x="906780" y="187655"/>
                    <a:pt x="880110" y="166757"/>
                    <a:pt x="849630" y="164857"/>
                  </a:cubicBezTo>
                  <a:cubicBezTo>
                    <a:pt x="793432" y="161057"/>
                    <a:pt x="737235" y="172456"/>
                    <a:pt x="685800" y="196204"/>
                  </a:cubicBezTo>
                  <a:cubicBezTo>
                    <a:pt x="678180" y="198104"/>
                    <a:pt x="673417" y="205703"/>
                    <a:pt x="674370" y="213303"/>
                  </a:cubicBezTo>
                  <a:lnTo>
                    <a:pt x="674370" y="712960"/>
                  </a:lnTo>
                  <a:cubicBezTo>
                    <a:pt x="674370" y="722459"/>
                    <a:pt x="674370" y="731009"/>
                    <a:pt x="672465" y="740508"/>
                  </a:cubicBezTo>
                  <a:cubicBezTo>
                    <a:pt x="672465" y="753807"/>
                    <a:pt x="661988" y="763306"/>
                    <a:pt x="648653" y="763306"/>
                  </a:cubicBezTo>
                  <a:cubicBezTo>
                    <a:pt x="648653" y="763306"/>
                    <a:pt x="648653" y="763306"/>
                    <a:pt x="648653" y="763306"/>
                  </a:cubicBezTo>
                  <a:cubicBezTo>
                    <a:pt x="634365" y="764256"/>
                    <a:pt x="620078" y="764256"/>
                    <a:pt x="604838" y="764256"/>
                  </a:cubicBezTo>
                  <a:lnTo>
                    <a:pt x="503872" y="764256"/>
                  </a:lnTo>
                  <a:cubicBezTo>
                    <a:pt x="468630" y="764256"/>
                    <a:pt x="461010" y="755706"/>
                    <a:pt x="461010" y="720559"/>
                  </a:cubicBezTo>
                  <a:lnTo>
                    <a:pt x="461010" y="271248"/>
                  </a:lnTo>
                  <a:cubicBezTo>
                    <a:pt x="461010" y="255099"/>
                    <a:pt x="460057" y="238001"/>
                    <a:pt x="456247" y="221852"/>
                  </a:cubicBezTo>
                  <a:cubicBezTo>
                    <a:pt x="449580" y="189555"/>
                    <a:pt x="421957" y="166757"/>
                    <a:pt x="389572" y="164857"/>
                  </a:cubicBezTo>
                  <a:cubicBezTo>
                    <a:pt x="332422" y="161057"/>
                    <a:pt x="274320" y="172456"/>
                    <a:pt x="222885" y="197154"/>
                  </a:cubicBezTo>
                  <a:cubicBezTo>
                    <a:pt x="215265" y="199054"/>
                    <a:pt x="210502" y="207603"/>
                    <a:pt x="212407" y="215203"/>
                  </a:cubicBezTo>
                  <a:lnTo>
                    <a:pt x="212407" y="721509"/>
                  </a:lnTo>
                  <a:cubicBezTo>
                    <a:pt x="212407" y="756656"/>
                    <a:pt x="204788" y="764256"/>
                    <a:pt x="169545" y="764256"/>
                  </a:cubicBezTo>
                  <a:lnTo>
                    <a:pt x="41910" y="764256"/>
                  </a:lnTo>
                  <a:cubicBezTo>
                    <a:pt x="8572" y="764256"/>
                    <a:pt x="0" y="754756"/>
                    <a:pt x="0" y="722459"/>
                  </a:cubicBezTo>
                  <a:lnTo>
                    <a:pt x="0" y="63216"/>
                  </a:lnTo>
                  <a:cubicBezTo>
                    <a:pt x="0" y="55616"/>
                    <a:pt x="952" y="48017"/>
                    <a:pt x="2857" y="40418"/>
                  </a:cubicBezTo>
                  <a:cubicBezTo>
                    <a:pt x="6667" y="29019"/>
                    <a:pt x="18097" y="22369"/>
                    <a:pt x="29527" y="22369"/>
                  </a:cubicBezTo>
                  <a:lnTo>
                    <a:pt x="148590" y="22369"/>
                  </a:lnTo>
                  <a:cubicBezTo>
                    <a:pt x="165735" y="22369"/>
                    <a:pt x="176213" y="32818"/>
                    <a:pt x="181927" y="48967"/>
                  </a:cubicBezTo>
                  <a:cubicBezTo>
                    <a:pt x="186690" y="62266"/>
                    <a:pt x="189547" y="74615"/>
                    <a:pt x="194310" y="88863"/>
                  </a:cubicBezTo>
                  <a:cubicBezTo>
                    <a:pt x="203835" y="88863"/>
                    <a:pt x="209550" y="82214"/>
                    <a:pt x="216217" y="78414"/>
                  </a:cubicBezTo>
                  <a:cubicBezTo>
                    <a:pt x="268605" y="46117"/>
                    <a:pt x="323850" y="18569"/>
                    <a:pt x="385763" y="7170"/>
                  </a:cubicBezTo>
                  <a:cubicBezTo>
                    <a:pt x="433388" y="-2329"/>
                    <a:pt x="481013" y="-2329"/>
                    <a:pt x="528638" y="7170"/>
                  </a:cubicBezTo>
                  <a:cubicBezTo>
                    <a:pt x="573405" y="16670"/>
                    <a:pt x="613410" y="43267"/>
                    <a:pt x="639128" y="81264"/>
                  </a:cubicBezTo>
                  <a:cubicBezTo>
                    <a:pt x="641032" y="84114"/>
                    <a:pt x="642938" y="86014"/>
                    <a:pt x="644842" y="87914"/>
                  </a:cubicBezTo>
                  <a:cubicBezTo>
                    <a:pt x="643890" y="88863"/>
                    <a:pt x="644842" y="88863"/>
                    <a:pt x="645795" y="90763"/>
                  </a:cubicBezTo>
                  <a:close/>
                </a:path>
              </a:pathLst>
            </a:custGeom>
            <a:solidFill>
              <a:srgbClr val="00A8E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764" name="Forma libre 5763">
              <a:extLst>
                <a:ext uri="{FF2B5EF4-FFF2-40B4-BE49-F238E27FC236}">
                  <a16:creationId xmlns:a16="http://schemas.microsoft.com/office/drawing/2014/main" id="{5294ACF1-5798-CFBB-41CD-35B7745A8186}"/>
                </a:ext>
              </a:extLst>
            </p:cNvPr>
            <p:cNvSpPr/>
            <p:nvPr/>
          </p:nvSpPr>
          <p:spPr>
            <a:xfrm>
              <a:off x="4841876" y="1743948"/>
              <a:ext cx="749100" cy="742488"/>
            </a:xfrm>
            <a:custGeom>
              <a:avLst/>
              <a:gdLst>
                <a:gd name="connsiteX0" fmla="*/ 374966 w 749100"/>
                <a:gd name="connsiteY0" fmla="*/ 542826 h 742488"/>
                <a:gd name="connsiteX1" fmla="*/ 392111 w 749100"/>
                <a:gd name="connsiteY1" fmla="*/ 486781 h 742488"/>
                <a:gd name="connsiteX2" fmla="*/ 523556 w 749100"/>
                <a:gd name="connsiteY2" fmla="*/ 46018 h 742488"/>
                <a:gd name="connsiteX3" fmla="*/ 529271 w 749100"/>
                <a:gd name="connsiteY3" fmla="*/ 28920 h 742488"/>
                <a:gd name="connsiteX4" fmla="*/ 567371 w 749100"/>
                <a:gd name="connsiteY4" fmla="*/ 1372 h 742488"/>
                <a:gd name="connsiteX5" fmla="*/ 712151 w 749100"/>
                <a:gd name="connsiteY5" fmla="*/ 1372 h 742488"/>
                <a:gd name="connsiteX6" fmla="*/ 743584 w 749100"/>
                <a:gd name="connsiteY6" fmla="*/ 46018 h 742488"/>
                <a:gd name="connsiteX7" fmla="*/ 686434 w 749100"/>
                <a:gd name="connsiteY7" fmla="*/ 197055 h 742488"/>
                <a:gd name="connsiteX8" fmla="*/ 494981 w 749100"/>
                <a:gd name="connsiteY8" fmla="*/ 693863 h 742488"/>
                <a:gd name="connsiteX9" fmla="*/ 488314 w 749100"/>
                <a:gd name="connsiteY9" fmla="*/ 710961 h 742488"/>
                <a:gd name="connsiteX10" fmla="*/ 440689 w 749100"/>
                <a:gd name="connsiteY10" fmla="*/ 742309 h 742488"/>
                <a:gd name="connsiteX11" fmla="*/ 314959 w 749100"/>
                <a:gd name="connsiteY11" fmla="*/ 742309 h 742488"/>
                <a:gd name="connsiteX12" fmla="*/ 257809 w 749100"/>
                <a:gd name="connsiteY12" fmla="*/ 703362 h 742488"/>
                <a:gd name="connsiteX13" fmla="*/ 185419 w 749100"/>
                <a:gd name="connsiteY13" fmla="*/ 514328 h 742488"/>
                <a:gd name="connsiteX14" fmla="*/ 13016 w 749100"/>
                <a:gd name="connsiteY14" fmla="*/ 65967 h 742488"/>
                <a:gd name="connsiteX15" fmla="*/ 634 w 749100"/>
                <a:gd name="connsiteY15" fmla="*/ 28920 h 742488"/>
                <a:gd name="connsiteX16" fmla="*/ 23494 w 749100"/>
                <a:gd name="connsiteY16" fmla="*/ 422 h 742488"/>
                <a:gd name="connsiteX17" fmla="*/ 185419 w 749100"/>
                <a:gd name="connsiteY17" fmla="*/ 422 h 742488"/>
                <a:gd name="connsiteX18" fmla="*/ 224471 w 749100"/>
                <a:gd name="connsiteY18" fmla="*/ 35569 h 742488"/>
                <a:gd name="connsiteX19" fmla="*/ 256856 w 749100"/>
                <a:gd name="connsiteY19" fmla="*/ 144810 h 742488"/>
                <a:gd name="connsiteX20" fmla="*/ 373061 w 749100"/>
                <a:gd name="connsiteY20" fmla="*/ 541876 h 742488"/>
                <a:gd name="connsiteX21" fmla="*/ 374966 w 749100"/>
                <a:gd name="connsiteY21" fmla="*/ 542826 h 742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49100" h="742488">
                  <a:moveTo>
                    <a:pt x="374966" y="542826"/>
                  </a:moveTo>
                  <a:cubicBezTo>
                    <a:pt x="380681" y="523827"/>
                    <a:pt x="386396" y="505779"/>
                    <a:pt x="392111" y="486781"/>
                  </a:cubicBezTo>
                  <a:cubicBezTo>
                    <a:pt x="435926" y="339543"/>
                    <a:pt x="479741" y="193256"/>
                    <a:pt x="523556" y="46018"/>
                  </a:cubicBezTo>
                  <a:lnTo>
                    <a:pt x="529271" y="28920"/>
                  </a:lnTo>
                  <a:cubicBezTo>
                    <a:pt x="534034" y="11821"/>
                    <a:pt x="550226" y="1372"/>
                    <a:pt x="567371" y="1372"/>
                  </a:cubicBezTo>
                  <a:lnTo>
                    <a:pt x="712151" y="1372"/>
                  </a:lnTo>
                  <a:cubicBezTo>
                    <a:pt x="748346" y="1372"/>
                    <a:pt x="755966" y="11821"/>
                    <a:pt x="743584" y="46018"/>
                  </a:cubicBezTo>
                  <a:lnTo>
                    <a:pt x="686434" y="197055"/>
                  </a:lnTo>
                  <a:cubicBezTo>
                    <a:pt x="622616" y="362341"/>
                    <a:pt x="558799" y="528577"/>
                    <a:pt x="494981" y="693863"/>
                  </a:cubicBezTo>
                  <a:cubicBezTo>
                    <a:pt x="493076" y="699562"/>
                    <a:pt x="490219" y="705262"/>
                    <a:pt x="488314" y="710961"/>
                  </a:cubicBezTo>
                  <a:cubicBezTo>
                    <a:pt x="481646" y="730910"/>
                    <a:pt x="461644" y="744209"/>
                    <a:pt x="440689" y="742309"/>
                  </a:cubicBezTo>
                  <a:cubicBezTo>
                    <a:pt x="398779" y="741359"/>
                    <a:pt x="356869" y="741359"/>
                    <a:pt x="314959" y="742309"/>
                  </a:cubicBezTo>
                  <a:cubicBezTo>
                    <a:pt x="285431" y="743259"/>
                    <a:pt x="268286" y="729960"/>
                    <a:pt x="257809" y="703362"/>
                  </a:cubicBezTo>
                  <a:cubicBezTo>
                    <a:pt x="233996" y="640667"/>
                    <a:pt x="209231" y="577023"/>
                    <a:pt x="185419" y="514328"/>
                  </a:cubicBezTo>
                  <a:cubicBezTo>
                    <a:pt x="128269" y="365191"/>
                    <a:pt x="70166" y="216054"/>
                    <a:pt x="13016" y="65967"/>
                  </a:cubicBezTo>
                  <a:cubicBezTo>
                    <a:pt x="7301" y="54568"/>
                    <a:pt x="3491" y="41269"/>
                    <a:pt x="634" y="28920"/>
                  </a:cubicBezTo>
                  <a:cubicBezTo>
                    <a:pt x="-2224" y="9921"/>
                    <a:pt x="4444" y="422"/>
                    <a:pt x="23494" y="422"/>
                  </a:cubicBezTo>
                  <a:cubicBezTo>
                    <a:pt x="77786" y="-528"/>
                    <a:pt x="132079" y="422"/>
                    <a:pt x="185419" y="422"/>
                  </a:cubicBezTo>
                  <a:cubicBezTo>
                    <a:pt x="208279" y="422"/>
                    <a:pt x="218756" y="15621"/>
                    <a:pt x="224471" y="35569"/>
                  </a:cubicBezTo>
                  <a:cubicBezTo>
                    <a:pt x="234949" y="71666"/>
                    <a:pt x="245426" y="108713"/>
                    <a:pt x="256856" y="144810"/>
                  </a:cubicBezTo>
                  <a:cubicBezTo>
                    <a:pt x="295909" y="276849"/>
                    <a:pt x="334009" y="409837"/>
                    <a:pt x="373061" y="541876"/>
                  </a:cubicBezTo>
                  <a:cubicBezTo>
                    <a:pt x="372109" y="542826"/>
                    <a:pt x="373061" y="542826"/>
                    <a:pt x="374966" y="542826"/>
                  </a:cubicBezTo>
                  <a:close/>
                </a:path>
              </a:pathLst>
            </a:custGeom>
            <a:solidFill>
              <a:srgbClr val="232F3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765" name="Forma libre 5764">
              <a:extLst>
                <a:ext uri="{FF2B5EF4-FFF2-40B4-BE49-F238E27FC236}">
                  <a16:creationId xmlns:a16="http://schemas.microsoft.com/office/drawing/2014/main" id="{679C306C-5B2A-034D-D550-33D40181297F}"/>
                </a:ext>
              </a:extLst>
            </p:cNvPr>
            <p:cNvSpPr/>
            <p:nvPr/>
          </p:nvSpPr>
          <p:spPr>
            <a:xfrm>
              <a:off x="1633537" y="1737004"/>
              <a:ext cx="481386" cy="749253"/>
            </a:xfrm>
            <a:custGeom>
              <a:avLst/>
              <a:gdLst>
                <a:gd name="connsiteX0" fmla="*/ 200977 w 481386"/>
                <a:gd name="connsiteY0" fmla="*/ 112808 h 749253"/>
                <a:gd name="connsiteX1" fmla="*/ 217170 w 481386"/>
                <a:gd name="connsiteY1" fmla="*/ 101409 h 749253"/>
                <a:gd name="connsiteX2" fmla="*/ 271463 w 481386"/>
                <a:gd name="connsiteY2" fmla="*/ 52963 h 749253"/>
                <a:gd name="connsiteX3" fmla="*/ 444817 w 481386"/>
                <a:gd name="connsiteY3" fmla="*/ 717 h 749253"/>
                <a:gd name="connsiteX4" fmla="*/ 480060 w 481386"/>
                <a:gd name="connsiteY4" fmla="*/ 33014 h 749253"/>
                <a:gd name="connsiteX5" fmla="*/ 481013 w 481386"/>
                <a:gd name="connsiteY5" fmla="*/ 130856 h 749253"/>
                <a:gd name="connsiteX6" fmla="*/ 479108 w 481386"/>
                <a:gd name="connsiteY6" fmla="*/ 169803 h 749253"/>
                <a:gd name="connsiteX7" fmla="*/ 451485 w 481386"/>
                <a:gd name="connsiteY7" fmla="*/ 195451 h 749253"/>
                <a:gd name="connsiteX8" fmla="*/ 412433 w 481386"/>
                <a:gd name="connsiteY8" fmla="*/ 194501 h 749253"/>
                <a:gd name="connsiteX9" fmla="*/ 226695 w 481386"/>
                <a:gd name="connsiteY9" fmla="*/ 221098 h 749253"/>
                <a:gd name="connsiteX10" fmla="*/ 213360 w 481386"/>
                <a:gd name="connsiteY10" fmla="*/ 245796 h 749253"/>
                <a:gd name="connsiteX11" fmla="*/ 213360 w 481386"/>
                <a:gd name="connsiteY11" fmla="*/ 701757 h 749253"/>
                <a:gd name="connsiteX12" fmla="*/ 212408 w 481386"/>
                <a:gd name="connsiteY12" fmla="*/ 726455 h 749253"/>
                <a:gd name="connsiteX13" fmla="*/ 189548 w 481386"/>
                <a:gd name="connsiteY13" fmla="*/ 748303 h 749253"/>
                <a:gd name="connsiteX14" fmla="*/ 168592 w 481386"/>
                <a:gd name="connsiteY14" fmla="*/ 749253 h 749253"/>
                <a:gd name="connsiteX15" fmla="*/ 44767 w 481386"/>
                <a:gd name="connsiteY15" fmla="*/ 749253 h 749253"/>
                <a:gd name="connsiteX16" fmla="*/ 23813 w 481386"/>
                <a:gd name="connsiteY16" fmla="*/ 748303 h 749253"/>
                <a:gd name="connsiteX17" fmla="*/ 952 w 481386"/>
                <a:gd name="connsiteY17" fmla="*/ 724555 h 749253"/>
                <a:gd name="connsiteX18" fmla="*/ 0 w 481386"/>
                <a:gd name="connsiteY18" fmla="*/ 701757 h 749253"/>
                <a:gd name="connsiteX19" fmla="*/ 0 w 481386"/>
                <a:gd name="connsiteY19" fmla="*/ 55813 h 749253"/>
                <a:gd name="connsiteX20" fmla="*/ 48577 w 481386"/>
                <a:gd name="connsiteY20" fmla="*/ 7367 h 749253"/>
                <a:gd name="connsiteX21" fmla="*/ 140017 w 481386"/>
                <a:gd name="connsiteY21" fmla="*/ 7367 h 749253"/>
                <a:gd name="connsiteX22" fmla="*/ 182880 w 481386"/>
                <a:gd name="connsiteY22" fmla="*/ 39664 h 749253"/>
                <a:gd name="connsiteX23" fmla="*/ 200977 w 481386"/>
                <a:gd name="connsiteY23" fmla="*/ 112808 h 749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81386" h="749253">
                  <a:moveTo>
                    <a:pt x="200977" y="112808"/>
                  </a:moveTo>
                  <a:cubicBezTo>
                    <a:pt x="207645" y="110908"/>
                    <a:pt x="213360" y="107108"/>
                    <a:pt x="217170" y="101409"/>
                  </a:cubicBezTo>
                  <a:cubicBezTo>
                    <a:pt x="234315" y="84310"/>
                    <a:pt x="252413" y="68161"/>
                    <a:pt x="271463" y="52963"/>
                  </a:cubicBezTo>
                  <a:cubicBezTo>
                    <a:pt x="320992" y="14966"/>
                    <a:pt x="382905" y="-4032"/>
                    <a:pt x="444817" y="717"/>
                  </a:cubicBezTo>
                  <a:cubicBezTo>
                    <a:pt x="469583" y="1667"/>
                    <a:pt x="478155" y="9267"/>
                    <a:pt x="480060" y="33014"/>
                  </a:cubicBezTo>
                  <a:cubicBezTo>
                    <a:pt x="481965" y="65312"/>
                    <a:pt x="481013" y="98559"/>
                    <a:pt x="481013" y="130856"/>
                  </a:cubicBezTo>
                  <a:cubicBezTo>
                    <a:pt x="481965" y="144155"/>
                    <a:pt x="481013" y="156504"/>
                    <a:pt x="479108" y="169803"/>
                  </a:cubicBezTo>
                  <a:cubicBezTo>
                    <a:pt x="475297" y="186901"/>
                    <a:pt x="468630" y="193551"/>
                    <a:pt x="451485" y="195451"/>
                  </a:cubicBezTo>
                  <a:cubicBezTo>
                    <a:pt x="438150" y="196401"/>
                    <a:pt x="425767" y="195451"/>
                    <a:pt x="412433" y="194501"/>
                  </a:cubicBezTo>
                  <a:cubicBezTo>
                    <a:pt x="348615" y="188801"/>
                    <a:pt x="286703" y="201150"/>
                    <a:pt x="226695" y="221098"/>
                  </a:cubicBezTo>
                  <a:cubicBezTo>
                    <a:pt x="213360" y="225848"/>
                    <a:pt x="213360" y="235347"/>
                    <a:pt x="213360" y="245796"/>
                  </a:cubicBezTo>
                  <a:lnTo>
                    <a:pt x="213360" y="701757"/>
                  </a:lnTo>
                  <a:cubicBezTo>
                    <a:pt x="213360" y="710307"/>
                    <a:pt x="213360" y="717906"/>
                    <a:pt x="212408" y="726455"/>
                  </a:cubicBezTo>
                  <a:cubicBezTo>
                    <a:pt x="211455" y="738804"/>
                    <a:pt x="201930" y="748303"/>
                    <a:pt x="189548" y="748303"/>
                  </a:cubicBezTo>
                  <a:cubicBezTo>
                    <a:pt x="182880" y="749253"/>
                    <a:pt x="175260" y="749253"/>
                    <a:pt x="168592" y="749253"/>
                  </a:cubicBezTo>
                  <a:lnTo>
                    <a:pt x="44767" y="749253"/>
                  </a:lnTo>
                  <a:cubicBezTo>
                    <a:pt x="38100" y="749253"/>
                    <a:pt x="30480" y="749253"/>
                    <a:pt x="23813" y="748303"/>
                  </a:cubicBezTo>
                  <a:cubicBezTo>
                    <a:pt x="11430" y="747353"/>
                    <a:pt x="1905" y="736904"/>
                    <a:pt x="952" y="724555"/>
                  </a:cubicBezTo>
                  <a:cubicBezTo>
                    <a:pt x="0" y="716956"/>
                    <a:pt x="0" y="709357"/>
                    <a:pt x="0" y="701757"/>
                  </a:cubicBezTo>
                  <a:lnTo>
                    <a:pt x="0" y="55813"/>
                  </a:lnTo>
                  <a:cubicBezTo>
                    <a:pt x="0" y="12116"/>
                    <a:pt x="4763" y="7367"/>
                    <a:pt x="48577" y="7367"/>
                  </a:cubicBezTo>
                  <a:lnTo>
                    <a:pt x="140017" y="7367"/>
                  </a:lnTo>
                  <a:cubicBezTo>
                    <a:pt x="164783" y="7367"/>
                    <a:pt x="176213" y="15916"/>
                    <a:pt x="182880" y="39664"/>
                  </a:cubicBezTo>
                  <a:cubicBezTo>
                    <a:pt x="189548" y="63412"/>
                    <a:pt x="195263" y="87160"/>
                    <a:pt x="200977" y="112808"/>
                  </a:cubicBezTo>
                  <a:close/>
                </a:path>
              </a:pathLst>
            </a:custGeom>
            <a:solidFill>
              <a:srgbClr val="00A8E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766" name="Forma libre 5765">
              <a:extLst>
                <a:ext uri="{FF2B5EF4-FFF2-40B4-BE49-F238E27FC236}">
                  <a16:creationId xmlns:a16="http://schemas.microsoft.com/office/drawing/2014/main" id="{CBFF64F2-604B-F4BA-40A5-6F5E87752048}"/>
                </a:ext>
              </a:extLst>
            </p:cNvPr>
            <p:cNvSpPr/>
            <p:nvPr/>
          </p:nvSpPr>
          <p:spPr>
            <a:xfrm>
              <a:off x="5824552" y="2813029"/>
              <a:ext cx="743887" cy="788697"/>
            </a:xfrm>
            <a:custGeom>
              <a:avLst/>
              <a:gdLst>
                <a:gd name="connsiteX0" fmla="*/ 465758 w 743887"/>
                <a:gd name="connsiteY0" fmla="*/ 0 h 788697"/>
                <a:gd name="connsiteX1" fmla="*/ 651495 w 743887"/>
                <a:gd name="connsiteY1" fmla="*/ 21848 h 788697"/>
                <a:gd name="connsiteX2" fmla="*/ 701025 w 743887"/>
                <a:gd name="connsiteY2" fmla="*/ 39897 h 788697"/>
                <a:gd name="connsiteX3" fmla="*/ 740077 w 743887"/>
                <a:gd name="connsiteY3" fmla="*/ 92142 h 788697"/>
                <a:gd name="connsiteX4" fmla="*/ 742935 w 743887"/>
                <a:gd name="connsiteY4" fmla="*/ 173835 h 788697"/>
                <a:gd name="connsiteX5" fmla="*/ 596250 w 743887"/>
                <a:gd name="connsiteY5" fmla="*/ 632646 h 788697"/>
                <a:gd name="connsiteX6" fmla="*/ 485760 w 743887"/>
                <a:gd name="connsiteY6" fmla="*/ 768484 h 788697"/>
                <a:gd name="connsiteX7" fmla="*/ 455280 w 743887"/>
                <a:gd name="connsiteY7" fmla="*/ 787483 h 788697"/>
                <a:gd name="connsiteX8" fmla="*/ 424800 w 743887"/>
                <a:gd name="connsiteY8" fmla="*/ 764685 h 788697"/>
                <a:gd name="connsiteX9" fmla="*/ 431467 w 743887"/>
                <a:gd name="connsiteY9" fmla="*/ 736187 h 788697"/>
                <a:gd name="connsiteX10" fmla="*/ 522908 w 743887"/>
                <a:gd name="connsiteY10" fmla="*/ 466410 h 788697"/>
                <a:gd name="connsiteX11" fmla="*/ 555292 w 743887"/>
                <a:gd name="connsiteY11" fmla="*/ 312523 h 788697"/>
                <a:gd name="connsiteX12" fmla="*/ 556245 w 743887"/>
                <a:gd name="connsiteY12" fmla="*/ 255528 h 788697"/>
                <a:gd name="connsiteX13" fmla="*/ 502905 w 743887"/>
                <a:gd name="connsiteY13" fmla="*/ 186184 h 788697"/>
                <a:gd name="connsiteX14" fmla="*/ 411465 w 743887"/>
                <a:gd name="connsiteY14" fmla="*/ 169086 h 788697"/>
                <a:gd name="connsiteX15" fmla="*/ 149527 w 743887"/>
                <a:gd name="connsiteY15" fmla="*/ 180485 h 788697"/>
                <a:gd name="connsiteX16" fmla="*/ 34275 w 743887"/>
                <a:gd name="connsiteY16" fmla="*/ 194733 h 788697"/>
                <a:gd name="connsiteX17" fmla="*/ 3795 w 743887"/>
                <a:gd name="connsiteY17" fmla="*/ 183334 h 788697"/>
                <a:gd name="connsiteX18" fmla="*/ 6652 w 743887"/>
                <a:gd name="connsiteY18" fmla="*/ 149137 h 788697"/>
                <a:gd name="connsiteX19" fmla="*/ 35227 w 743887"/>
                <a:gd name="connsiteY19" fmla="*/ 122540 h 788697"/>
                <a:gd name="connsiteX20" fmla="*/ 268590 w 743887"/>
                <a:gd name="connsiteY20" fmla="*/ 21848 h 788697"/>
                <a:gd name="connsiteX21" fmla="*/ 465758 w 743887"/>
                <a:gd name="connsiteY21" fmla="*/ 0 h 788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43887" h="788697">
                  <a:moveTo>
                    <a:pt x="465758" y="0"/>
                  </a:moveTo>
                  <a:cubicBezTo>
                    <a:pt x="528622" y="1900"/>
                    <a:pt x="590535" y="5700"/>
                    <a:pt x="651495" y="21848"/>
                  </a:cubicBezTo>
                  <a:cubicBezTo>
                    <a:pt x="668640" y="26598"/>
                    <a:pt x="684833" y="32297"/>
                    <a:pt x="701025" y="39897"/>
                  </a:cubicBezTo>
                  <a:cubicBezTo>
                    <a:pt x="722933" y="48446"/>
                    <a:pt x="737220" y="69344"/>
                    <a:pt x="740077" y="92142"/>
                  </a:cubicBezTo>
                  <a:cubicBezTo>
                    <a:pt x="743887" y="118740"/>
                    <a:pt x="744840" y="146288"/>
                    <a:pt x="742935" y="173835"/>
                  </a:cubicBezTo>
                  <a:cubicBezTo>
                    <a:pt x="730552" y="336271"/>
                    <a:pt x="680070" y="493008"/>
                    <a:pt x="596250" y="632646"/>
                  </a:cubicBezTo>
                  <a:cubicBezTo>
                    <a:pt x="565770" y="682992"/>
                    <a:pt x="528622" y="728588"/>
                    <a:pt x="485760" y="768484"/>
                  </a:cubicBezTo>
                  <a:cubicBezTo>
                    <a:pt x="477187" y="777034"/>
                    <a:pt x="466710" y="783683"/>
                    <a:pt x="455280" y="787483"/>
                  </a:cubicBezTo>
                  <a:cubicBezTo>
                    <a:pt x="437183" y="792232"/>
                    <a:pt x="425752" y="782733"/>
                    <a:pt x="424800" y="764685"/>
                  </a:cubicBezTo>
                  <a:cubicBezTo>
                    <a:pt x="425752" y="755185"/>
                    <a:pt x="427658" y="745686"/>
                    <a:pt x="431467" y="736187"/>
                  </a:cubicBezTo>
                  <a:cubicBezTo>
                    <a:pt x="464805" y="646895"/>
                    <a:pt x="497190" y="558552"/>
                    <a:pt x="522908" y="466410"/>
                  </a:cubicBezTo>
                  <a:cubicBezTo>
                    <a:pt x="538147" y="416064"/>
                    <a:pt x="548625" y="364769"/>
                    <a:pt x="555292" y="312523"/>
                  </a:cubicBezTo>
                  <a:cubicBezTo>
                    <a:pt x="557197" y="293525"/>
                    <a:pt x="558150" y="274527"/>
                    <a:pt x="556245" y="255528"/>
                  </a:cubicBezTo>
                  <a:cubicBezTo>
                    <a:pt x="555292" y="223231"/>
                    <a:pt x="534337" y="195683"/>
                    <a:pt x="502905" y="186184"/>
                  </a:cubicBezTo>
                  <a:cubicBezTo>
                    <a:pt x="473377" y="176685"/>
                    <a:pt x="442897" y="170985"/>
                    <a:pt x="411465" y="169086"/>
                  </a:cubicBezTo>
                  <a:cubicBezTo>
                    <a:pt x="323835" y="165286"/>
                    <a:pt x="236205" y="169086"/>
                    <a:pt x="149527" y="180485"/>
                  </a:cubicBezTo>
                  <a:lnTo>
                    <a:pt x="34275" y="194733"/>
                  </a:lnTo>
                  <a:cubicBezTo>
                    <a:pt x="21892" y="195683"/>
                    <a:pt x="10462" y="194733"/>
                    <a:pt x="3795" y="183334"/>
                  </a:cubicBezTo>
                  <a:cubicBezTo>
                    <a:pt x="-2873" y="171935"/>
                    <a:pt x="-15" y="160536"/>
                    <a:pt x="6652" y="149137"/>
                  </a:cubicBezTo>
                  <a:cubicBezTo>
                    <a:pt x="14272" y="138688"/>
                    <a:pt x="23797" y="129189"/>
                    <a:pt x="35227" y="122540"/>
                  </a:cubicBezTo>
                  <a:cubicBezTo>
                    <a:pt x="105712" y="72194"/>
                    <a:pt x="184770" y="41797"/>
                    <a:pt x="268590" y="21848"/>
                  </a:cubicBezTo>
                  <a:cubicBezTo>
                    <a:pt x="333360" y="8549"/>
                    <a:pt x="399083" y="1900"/>
                    <a:pt x="465758" y="0"/>
                  </a:cubicBezTo>
                  <a:close/>
                </a:path>
              </a:pathLst>
            </a:custGeom>
            <a:solidFill>
              <a:srgbClr val="00A8E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767" name="Forma libre 5766">
              <a:extLst>
                <a:ext uri="{FF2B5EF4-FFF2-40B4-BE49-F238E27FC236}">
                  <a16:creationId xmlns:a16="http://schemas.microsoft.com/office/drawing/2014/main" id="{98370355-D05D-853E-EFBC-824D391575E8}"/>
                </a:ext>
              </a:extLst>
            </p:cNvPr>
            <p:cNvSpPr/>
            <p:nvPr/>
          </p:nvSpPr>
          <p:spPr>
            <a:xfrm>
              <a:off x="5677852" y="1745320"/>
              <a:ext cx="213360" cy="741649"/>
            </a:xfrm>
            <a:custGeom>
              <a:avLst/>
              <a:gdLst>
                <a:gd name="connsiteX0" fmla="*/ 213360 w 213360"/>
                <a:gd name="connsiteY0" fmla="*/ 370468 h 741649"/>
                <a:gd name="connsiteX1" fmla="*/ 213360 w 213360"/>
                <a:gd name="connsiteY1" fmla="*/ 712439 h 741649"/>
                <a:gd name="connsiteX2" fmla="*/ 183833 w 213360"/>
                <a:gd name="connsiteY2" fmla="*/ 740937 h 741649"/>
                <a:gd name="connsiteX3" fmla="*/ 30480 w 213360"/>
                <a:gd name="connsiteY3" fmla="*/ 740937 h 741649"/>
                <a:gd name="connsiteX4" fmla="*/ 953 w 213360"/>
                <a:gd name="connsiteY4" fmla="*/ 713389 h 741649"/>
                <a:gd name="connsiteX5" fmla="*/ 0 w 213360"/>
                <a:gd name="connsiteY5" fmla="*/ 695340 h 741649"/>
                <a:gd name="connsiteX6" fmla="*/ 0 w 213360"/>
                <a:gd name="connsiteY6" fmla="*/ 37997 h 741649"/>
                <a:gd name="connsiteX7" fmla="*/ 38100 w 213360"/>
                <a:gd name="connsiteY7" fmla="*/ 0 h 741649"/>
                <a:gd name="connsiteX8" fmla="*/ 175260 w 213360"/>
                <a:gd name="connsiteY8" fmla="*/ 0 h 741649"/>
                <a:gd name="connsiteX9" fmla="*/ 213360 w 213360"/>
                <a:gd name="connsiteY9" fmla="*/ 37997 h 741649"/>
                <a:gd name="connsiteX10" fmla="*/ 213360 w 213360"/>
                <a:gd name="connsiteY10" fmla="*/ 370468 h 741649"/>
                <a:gd name="connsiteX11" fmla="*/ 213360 w 213360"/>
                <a:gd name="connsiteY11" fmla="*/ 370468 h 74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3360" h="741649">
                  <a:moveTo>
                    <a:pt x="213360" y="370468"/>
                  </a:moveTo>
                  <a:lnTo>
                    <a:pt x="213360" y="712439"/>
                  </a:lnTo>
                  <a:cubicBezTo>
                    <a:pt x="211455" y="731437"/>
                    <a:pt x="202883" y="739987"/>
                    <a:pt x="183833" y="740937"/>
                  </a:cubicBezTo>
                  <a:cubicBezTo>
                    <a:pt x="132398" y="741887"/>
                    <a:pt x="81915" y="741887"/>
                    <a:pt x="30480" y="740937"/>
                  </a:cubicBezTo>
                  <a:cubicBezTo>
                    <a:pt x="11430" y="740937"/>
                    <a:pt x="2858" y="731437"/>
                    <a:pt x="953" y="713389"/>
                  </a:cubicBezTo>
                  <a:cubicBezTo>
                    <a:pt x="0" y="707689"/>
                    <a:pt x="0" y="701040"/>
                    <a:pt x="0" y="695340"/>
                  </a:cubicBezTo>
                  <a:lnTo>
                    <a:pt x="0" y="37997"/>
                  </a:lnTo>
                  <a:cubicBezTo>
                    <a:pt x="953" y="8549"/>
                    <a:pt x="8573" y="0"/>
                    <a:pt x="38100" y="0"/>
                  </a:cubicBezTo>
                  <a:lnTo>
                    <a:pt x="175260" y="0"/>
                  </a:lnTo>
                  <a:cubicBezTo>
                    <a:pt x="204788" y="0"/>
                    <a:pt x="213360" y="8549"/>
                    <a:pt x="213360" y="37997"/>
                  </a:cubicBezTo>
                  <a:lnTo>
                    <a:pt x="213360" y="370468"/>
                  </a:lnTo>
                  <a:lnTo>
                    <a:pt x="213360" y="370468"/>
                  </a:lnTo>
                  <a:close/>
                </a:path>
              </a:pathLst>
            </a:custGeom>
            <a:solidFill>
              <a:srgbClr val="232F3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768" name="Forma libre 5767">
              <a:extLst>
                <a:ext uri="{FF2B5EF4-FFF2-40B4-BE49-F238E27FC236}">
                  <a16:creationId xmlns:a16="http://schemas.microsoft.com/office/drawing/2014/main" id="{D14CB53E-92E8-AA9B-E683-6EB3C63AF369}"/>
                </a:ext>
              </a:extLst>
            </p:cNvPr>
            <p:cNvSpPr/>
            <p:nvPr/>
          </p:nvSpPr>
          <p:spPr>
            <a:xfrm>
              <a:off x="2205037" y="1743658"/>
              <a:ext cx="213359" cy="740699"/>
            </a:xfrm>
            <a:custGeom>
              <a:avLst/>
              <a:gdLst>
                <a:gd name="connsiteX0" fmla="*/ 953 w 213359"/>
                <a:gd name="connsiteY0" fmla="*/ 370231 h 740699"/>
                <a:gd name="connsiteX1" fmla="*/ 953 w 213359"/>
                <a:gd name="connsiteY1" fmla="*/ 33010 h 740699"/>
                <a:gd name="connsiteX2" fmla="*/ 33338 w 213359"/>
                <a:gd name="connsiteY2" fmla="*/ 712 h 740699"/>
                <a:gd name="connsiteX3" fmla="*/ 181928 w 213359"/>
                <a:gd name="connsiteY3" fmla="*/ 712 h 740699"/>
                <a:gd name="connsiteX4" fmla="*/ 212408 w 213359"/>
                <a:gd name="connsiteY4" fmla="*/ 29210 h 740699"/>
                <a:gd name="connsiteX5" fmla="*/ 213360 w 213359"/>
                <a:gd name="connsiteY5" fmla="*/ 53908 h 740699"/>
                <a:gd name="connsiteX6" fmla="*/ 213360 w 213359"/>
                <a:gd name="connsiteY6" fmla="*/ 686554 h 740699"/>
                <a:gd name="connsiteX7" fmla="*/ 211455 w 213359"/>
                <a:gd name="connsiteY7" fmla="*/ 717901 h 740699"/>
                <a:gd name="connsiteX8" fmla="*/ 188595 w 213359"/>
                <a:gd name="connsiteY8" fmla="*/ 739749 h 740699"/>
                <a:gd name="connsiteX9" fmla="*/ 172403 w 213359"/>
                <a:gd name="connsiteY9" fmla="*/ 740699 h 740699"/>
                <a:gd name="connsiteX10" fmla="*/ 40005 w 213359"/>
                <a:gd name="connsiteY10" fmla="*/ 740699 h 740699"/>
                <a:gd name="connsiteX11" fmla="*/ 26670 w 213359"/>
                <a:gd name="connsiteY11" fmla="*/ 739749 h 740699"/>
                <a:gd name="connsiteX12" fmla="*/ 953 w 213359"/>
                <a:gd name="connsiteY12" fmla="*/ 715051 h 740699"/>
                <a:gd name="connsiteX13" fmla="*/ 0 w 213359"/>
                <a:gd name="connsiteY13" fmla="*/ 692253 h 740699"/>
                <a:gd name="connsiteX14" fmla="*/ 953 w 213359"/>
                <a:gd name="connsiteY14" fmla="*/ 370231 h 740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3359" h="740699">
                  <a:moveTo>
                    <a:pt x="953" y="370231"/>
                  </a:moveTo>
                  <a:lnTo>
                    <a:pt x="953" y="33010"/>
                  </a:lnTo>
                  <a:cubicBezTo>
                    <a:pt x="1905" y="10212"/>
                    <a:pt x="10478" y="1662"/>
                    <a:pt x="33338" y="712"/>
                  </a:cubicBezTo>
                  <a:cubicBezTo>
                    <a:pt x="82867" y="-237"/>
                    <a:pt x="132397" y="-237"/>
                    <a:pt x="181928" y="712"/>
                  </a:cubicBezTo>
                  <a:cubicBezTo>
                    <a:pt x="203835" y="712"/>
                    <a:pt x="210503" y="7362"/>
                    <a:pt x="212408" y="29210"/>
                  </a:cubicBezTo>
                  <a:cubicBezTo>
                    <a:pt x="213360" y="37759"/>
                    <a:pt x="213360" y="45359"/>
                    <a:pt x="213360" y="53908"/>
                  </a:cubicBezTo>
                  <a:lnTo>
                    <a:pt x="213360" y="686554"/>
                  </a:lnTo>
                  <a:cubicBezTo>
                    <a:pt x="213360" y="697003"/>
                    <a:pt x="212408" y="707452"/>
                    <a:pt x="211455" y="717901"/>
                  </a:cubicBezTo>
                  <a:cubicBezTo>
                    <a:pt x="210503" y="730250"/>
                    <a:pt x="200978" y="738799"/>
                    <a:pt x="188595" y="739749"/>
                  </a:cubicBezTo>
                  <a:cubicBezTo>
                    <a:pt x="182880" y="740699"/>
                    <a:pt x="178117" y="740699"/>
                    <a:pt x="172403" y="740699"/>
                  </a:cubicBezTo>
                  <a:lnTo>
                    <a:pt x="40005" y="740699"/>
                  </a:lnTo>
                  <a:cubicBezTo>
                    <a:pt x="35242" y="740699"/>
                    <a:pt x="31433" y="740699"/>
                    <a:pt x="26670" y="739749"/>
                  </a:cubicBezTo>
                  <a:cubicBezTo>
                    <a:pt x="13335" y="738799"/>
                    <a:pt x="1905" y="728350"/>
                    <a:pt x="953" y="715051"/>
                  </a:cubicBezTo>
                  <a:cubicBezTo>
                    <a:pt x="0" y="707452"/>
                    <a:pt x="0" y="699853"/>
                    <a:pt x="0" y="692253"/>
                  </a:cubicBezTo>
                  <a:cubicBezTo>
                    <a:pt x="953" y="586812"/>
                    <a:pt x="953" y="478522"/>
                    <a:pt x="953" y="370231"/>
                  </a:cubicBezTo>
                  <a:close/>
                </a:path>
              </a:pathLst>
            </a:custGeom>
            <a:solidFill>
              <a:srgbClr val="00A8E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769" name="Forma libre 5768">
              <a:extLst>
                <a:ext uri="{FF2B5EF4-FFF2-40B4-BE49-F238E27FC236}">
                  <a16:creationId xmlns:a16="http://schemas.microsoft.com/office/drawing/2014/main" id="{C4A398B6-F1C3-BA01-CA5D-71DA7FB425C5}"/>
                </a:ext>
              </a:extLst>
            </p:cNvPr>
            <p:cNvSpPr/>
            <p:nvPr/>
          </p:nvSpPr>
          <p:spPr>
            <a:xfrm>
              <a:off x="2189546" y="1404117"/>
              <a:ext cx="245587" cy="226262"/>
            </a:xfrm>
            <a:custGeom>
              <a:avLst/>
              <a:gdLst>
                <a:gd name="connsiteX0" fmla="*/ 126933 w 245587"/>
                <a:gd name="connsiteY0" fmla="*/ 182 h 226262"/>
                <a:gd name="connsiteX1" fmla="*/ 171701 w 245587"/>
                <a:gd name="connsiteY1" fmla="*/ 6831 h 226262"/>
                <a:gd name="connsiteX2" fmla="*/ 245044 w 245587"/>
                <a:gd name="connsiteY2" fmla="*/ 126521 h 226262"/>
                <a:gd name="connsiteX3" fmla="*/ 154556 w 245587"/>
                <a:gd name="connsiteY3" fmla="*/ 223413 h 226262"/>
                <a:gd name="connsiteX4" fmla="*/ 90738 w 245587"/>
                <a:gd name="connsiteY4" fmla="*/ 223413 h 226262"/>
                <a:gd name="connsiteX5" fmla="*/ 251 w 245587"/>
                <a:gd name="connsiteY5" fmla="*/ 104673 h 226262"/>
                <a:gd name="connsiteX6" fmla="*/ 126933 w 245587"/>
                <a:gd name="connsiteY6" fmla="*/ 182 h 226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5587" h="226262">
                  <a:moveTo>
                    <a:pt x="126933" y="182"/>
                  </a:moveTo>
                  <a:cubicBezTo>
                    <a:pt x="142174" y="-768"/>
                    <a:pt x="157413" y="2082"/>
                    <a:pt x="171701" y="6831"/>
                  </a:cubicBezTo>
                  <a:cubicBezTo>
                    <a:pt x="223136" y="23930"/>
                    <a:pt x="249806" y="68576"/>
                    <a:pt x="245044" y="126521"/>
                  </a:cubicBezTo>
                  <a:cubicBezTo>
                    <a:pt x="241233" y="175917"/>
                    <a:pt x="204086" y="215814"/>
                    <a:pt x="154556" y="223413"/>
                  </a:cubicBezTo>
                  <a:cubicBezTo>
                    <a:pt x="133601" y="227213"/>
                    <a:pt x="111694" y="227213"/>
                    <a:pt x="90738" y="223413"/>
                  </a:cubicBezTo>
                  <a:cubicBezTo>
                    <a:pt x="36446" y="212964"/>
                    <a:pt x="-3559" y="173067"/>
                    <a:pt x="251" y="104673"/>
                  </a:cubicBezTo>
                  <a:cubicBezTo>
                    <a:pt x="5966" y="37229"/>
                    <a:pt x="50733" y="182"/>
                    <a:pt x="126933" y="182"/>
                  </a:cubicBezTo>
                  <a:close/>
                </a:path>
              </a:pathLst>
            </a:custGeom>
            <a:solidFill>
              <a:srgbClr val="00A8E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770" name="Forma libre 5769">
              <a:extLst>
                <a:ext uri="{FF2B5EF4-FFF2-40B4-BE49-F238E27FC236}">
                  <a16:creationId xmlns:a16="http://schemas.microsoft.com/office/drawing/2014/main" id="{B7569F54-AD2E-245B-F252-0A3A8372730D}"/>
                </a:ext>
              </a:extLst>
            </p:cNvPr>
            <p:cNvSpPr/>
            <p:nvPr/>
          </p:nvSpPr>
          <p:spPr>
            <a:xfrm>
              <a:off x="5662884" y="1403815"/>
              <a:ext cx="244240" cy="226624"/>
            </a:xfrm>
            <a:custGeom>
              <a:avLst/>
              <a:gdLst>
                <a:gd name="connsiteX0" fmla="*/ 122601 w 244240"/>
                <a:gd name="connsiteY0" fmla="*/ 484 h 226624"/>
                <a:gd name="connsiteX1" fmla="*/ 178798 w 244240"/>
                <a:gd name="connsiteY1" fmla="*/ 9983 h 226624"/>
                <a:gd name="connsiteX2" fmla="*/ 243568 w 244240"/>
                <a:gd name="connsiteY2" fmla="*/ 98326 h 226624"/>
                <a:gd name="connsiteX3" fmla="*/ 115933 w 244240"/>
                <a:gd name="connsiteY3" fmla="*/ 226565 h 226624"/>
                <a:gd name="connsiteX4" fmla="*/ 84501 w 244240"/>
                <a:gd name="connsiteY4" fmla="*/ 222765 h 226624"/>
                <a:gd name="connsiteX5" fmla="*/ 681 w 244240"/>
                <a:gd name="connsiteY5" fmla="*/ 97376 h 226624"/>
                <a:gd name="connsiteX6" fmla="*/ 102598 w 244240"/>
                <a:gd name="connsiteY6" fmla="*/ 1434 h 226624"/>
                <a:gd name="connsiteX7" fmla="*/ 122601 w 244240"/>
                <a:gd name="connsiteY7" fmla="*/ 484 h 226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4240" h="226624">
                  <a:moveTo>
                    <a:pt x="122601" y="484"/>
                  </a:moveTo>
                  <a:cubicBezTo>
                    <a:pt x="141651" y="-1416"/>
                    <a:pt x="160701" y="2384"/>
                    <a:pt x="178798" y="9983"/>
                  </a:cubicBezTo>
                  <a:cubicBezTo>
                    <a:pt x="215946" y="24232"/>
                    <a:pt x="241663" y="58429"/>
                    <a:pt x="243568" y="98326"/>
                  </a:cubicBezTo>
                  <a:cubicBezTo>
                    <a:pt x="251188" y="184768"/>
                    <a:pt x="193086" y="228465"/>
                    <a:pt x="115933" y="226565"/>
                  </a:cubicBezTo>
                  <a:cubicBezTo>
                    <a:pt x="105456" y="226565"/>
                    <a:pt x="94978" y="224665"/>
                    <a:pt x="84501" y="222765"/>
                  </a:cubicBezTo>
                  <a:cubicBezTo>
                    <a:pt x="25446" y="208516"/>
                    <a:pt x="-5034" y="162920"/>
                    <a:pt x="681" y="97376"/>
                  </a:cubicBezTo>
                  <a:cubicBezTo>
                    <a:pt x="5443" y="45130"/>
                    <a:pt x="46401" y="6184"/>
                    <a:pt x="102598" y="1434"/>
                  </a:cubicBezTo>
                  <a:cubicBezTo>
                    <a:pt x="109266" y="484"/>
                    <a:pt x="115933" y="-466"/>
                    <a:pt x="122601" y="484"/>
                  </a:cubicBezTo>
                  <a:close/>
                </a:path>
              </a:pathLst>
            </a:custGeom>
            <a:solidFill>
              <a:srgbClr val="232F3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771" name="Forma libre 5770">
              <a:extLst>
                <a:ext uri="{FF2B5EF4-FFF2-40B4-BE49-F238E27FC236}">
                  <a16:creationId xmlns:a16="http://schemas.microsoft.com/office/drawing/2014/main" id="{D32F55D2-5F2E-45C4-B684-12C8110BB3EE}"/>
                </a:ext>
              </a:extLst>
            </p:cNvPr>
            <p:cNvSpPr/>
            <p:nvPr/>
          </p:nvSpPr>
          <p:spPr>
            <a:xfrm>
              <a:off x="762000" y="1722446"/>
              <a:ext cx="733843" cy="1062217"/>
            </a:xfrm>
            <a:custGeom>
              <a:avLst/>
              <a:gdLst>
                <a:gd name="connsiteX0" fmla="*/ 730568 w 733843"/>
                <a:gd name="connsiteY0" fmla="*/ 313549 h 1062217"/>
                <a:gd name="connsiteX1" fmla="*/ 693420 w 733843"/>
                <a:gd name="connsiteY1" fmla="*/ 171061 h 1062217"/>
                <a:gd name="connsiteX2" fmla="*/ 502920 w 733843"/>
                <a:gd name="connsiteY2" fmla="*/ 8625 h 1062217"/>
                <a:gd name="connsiteX3" fmla="*/ 218123 w 733843"/>
                <a:gd name="connsiteY3" fmla="*/ 72270 h 1062217"/>
                <a:gd name="connsiteX4" fmla="*/ 198120 w 733843"/>
                <a:gd name="connsiteY4" fmla="*/ 86518 h 1062217"/>
                <a:gd name="connsiteX5" fmla="*/ 194310 w 733843"/>
                <a:gd name="connsiteY5" fmla="*/ 83669 h 1062217"/>
                <a:gd name="connsiteX6" fmla="*/ 186690 w 733843"/>
                <a:gd name="connsiteY6" fmla="*/ 55171 h 1062217"/>
                <a:gd name="connsiteX7" fmla="*/ 143828 w 733843"/>
                <a:gd name="connsiteY7" fmla="*/ 22874 h 1062217"/>
                <a:gd name="connsiteX8" fmla="*/ 57150 w 733843"/>
                <a:gd name="connsiteY8" fmla="*/ 22874 h 1062217"/>
                <a:gd name="connsiteX9" fmla="*/ 0 w 733843"/>
                <a:gd name="connsiteY9" fmla="*/ 41872 h 1062217"/>
                <a:gd name="connsiteX10" fmla="*/ 953 w 733843"/>
                <a:gd name="connsiteY10" fmla="*/ 1039287 h 1062217"/>
                <a:gd name="connsiteX11" fmla="*/ 54293 w 733843"/>
                <a:gd name="connsiteY11" fmla="*/ 1062085 h 1062217"/>
                <a:gd name="connsiteX12" fmla="*/ 157163 w 733843"/>
                <a:gd name="connsiteY12" fmla="*/ 1062085 h 1062217"/>
                <a:gd name="connsiteX13" fmla="*/ 217170 w 733843"/>
                <a:gd name="connsiteY13" fmla="*/ 1003190 h 1062217"/>
                <a:gd name="connsiteX14" fmla="*/ 217170 w 733843"/>
                <a:gd name="connsiteY14" fmla="*/ 732463 h 1062217"/>
                <a:gd name="connsiteX15" fmla="*/ 220980 w 733843"/>
                <a:gd name="connsiteY15" fmla="*/ 712515 h 1062217"/>
                <a:gd name="connsiteX16" fmla="*/ 386715 w 733843"/>
                <a:gd name="connsiteY16" fmla="*/ 778059 h 1062217"/>
                <a:gd name="connsiteX17" fmla="*/ 610553 w 733843"/>
                <a:gd name="connsiteY17" fmla="*/ 708715 h 1062217"/>
                <a:gd name="connsiteX18" fmla="*/ 709613 w 733843"/>
                <a:gd name="connsiteY18" fmla="*/ 550079 h 1062217"/>
                <a:gd name="connsiteX19" fmla="*/ 730568 w 733843"/>
                <a:gd name="connsiteY19" fmla="*/ 313549 h 1062217"/>
                <a:gd name="connsiteX20" fmla="*/ 502920 w 733843"/>
                <a:gd name="connsiteY20" fmla="*/ 510182 h 1062217"/>
                <a:gd name="connsiteX21" fmla="*/ 459105 w 733843"/>
                <a:gd name="connsiteY21" fmla="*/ 586176 h 1062217"/>
                <a:gd name="connsiteX22" fmla="*/ 371475 w 733843"/>
                <a:gd name="connsiteY22" fmla="*/ 619423 h 1062217"/>
                <a:gd name="connsiteX23" fmla="*/ 232410 w 733843"/>
                <a:gd name="connsiteY23" fmla="*/ 589025 h 1062217"/>
                <a:gd name="connsiteX24" fmla="*/ 216218 w 733843"/>
                <a:gd name="connsiteY24" fmla="*/ 562428 h 1062217"/>
                <a:gd name="connsiteX25" fmla="*/ 216218 w 733843"/>
                <a:gd name="connsiteY25" fmla="*/ 390492 h 1062217"/>
                <a:gd name="connsiteX26" fmla="*/ 216218 w 733843"/>
                <a:gd name="connsiteY26" fmla="*/ 219507 h 1062217"/>
                <a:gd name="connsiteX27" fmla="*/ 235268 w 733843"/>
                <a:gd name="connsiteY27" fmla="*/ 190059 h 1062217"/>
                <a:gd name="connsiteX28" fmla="*/ 399098 w 733843"/>
                <a:gd name="connsiteY28" fmla="*/ 165362 h 1062217"/>
                <a:gd name="connsiteX29" fmla="*/ 489585 w 733843"/>
                <a:gd name="connsiteY29" fmla="*/ 233756 h 1062217"/>
                <a:gd name="connsiteX30" fmla="*/ 514350 w 733843"/>
                <a:gd name="connsiteY30" fmla="*/ 330647 h 1062217"/>
                <a:gd name="connsiteX31" fmla="*/ 502920 w 733843"/>
                <a:gd name="connsiteY31" fmla="*/ 510182 h 1062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33843" h="1062217">
                  <a:moveTo>
                    <a:pt x="730568" y="313549"/>
                  </a:moveTo>
                  <a:cubicBezTo>
                    <a:pt x="726758" y="264153"/>
                    <a:pt x="713423" y="215707"/>
                    <a:pt x="693420" y="171061"/>
                  </a:cubicBezTo>
                  <a:cubicBezTo>
                    <a:pt x="654368" y="89368"/>
                    <a:pt x="594360" y="29523"/>
                    <a:pt x="502920" y="8625"/>
                  </a:cubicBezTo>
                  <a:cubicBezTo>
                    <a:pt x="398145" y="-14173"/>
                    <a:pt x="303848" y="8625"/>
                    <a:pt x="218123" y="72270"/>
                  </a:cubicBezTo>
                  <a:cubicBezTo>
                    <a:pt x="212408" y="77969"/>
                    <a:pt x="205740" y="82719"/>
                    <a:pt x="198120" y="86518"/>
                  </a:cubicBezTo>
                  <a:cubicBezTo>
                    <a:pt x="196215" y="85568"/>
                    <a:pt x="194310" y="84618"/>
                    <a:pt x="194310" y="83669"/>
                  </a:cubicBezTo>
                  <a:cubicBezTo>
                    <a:pt x="191453" y="74169"/>
                    <a:pt x="189548" y="64670"/>
                    <a:pt x="186690" y="55171"/>
                  </a:cubicBezTo>
                  <a:cubicBezTo>
                    <a:pt x="179070" y="31423"/>
                    <a:pt x="169545" y="22874"/>
                    <a:pt x="143828" y="22874"/>
                  </a:cubicBezTo>
                  <a:cubicBezTo>
                    <a:pt x="115253" y="22874"/>
                    <a:pt x="85725" y="23824"/>
                    <a:pt x="57150" y="22874"/>
                  </a:cubicBezTo>
                  <a:cubicBezTo>
                    <a:pt x="35243" y="21924"/>
                    <a:pt x="15240" y="24774"/>
                    <a:pt x="0" y="41872"/>
                  </a:cubicBezTo>
                  <a:cubicBezTo>
                    <a:pt x="0" y="374344"/>
                    <a:pt x="0" y="707765"/>
                    <a:pt x="953" y="1039287"/>
                  </a:cubicBezTo>
                  <a:cubicBezTo>
                    <a:pt x="13335" y="1059235"/>
                    <a:pt x="32385" y="1063035"/>
                    <a:pt x="54293" y="1062085"/>
                  </a:cubicBezTo>
                  <a:cubicBezTo>
                    <a:pt x="88583" y="1061135"/>
                    <a:pt x="122873" y="1062085"/>
                    <a:pt x="157163" y="1062085"/>
                  </a:cubicBezTo>
                  <a:cubicBezTo>
                    <a:pt x="217170" y="1062085"/>
                    <a:pt x="217170" y="1062085"/>
                    <a:pt x="217170" y="1003190"/>
                  </a:cubicBezTo>
                  <a:lnTo>
                    <a:pt x="217170" y="732463"/>
                  </a:lnTo>
                  <a:cubicBezTo>
                    <a:pt x="217170" y="725814"/>
                    <a:pt x="214313" y="718214"/>
                    <a:pt x="220980" y="712515"/>
                  </a:cubicBezTo>
                  <a:cubicBezTo>
                    <a:pt x="268605" y="749562"/>
                    <a:pt x="326708" y="772360"/>
                    <a:pt x="386715" y="778059"/>
                  </a:cubicBezTo>
                  <a:cubicBezTo>
                    <a:pt x="470535" y="786608"/>
                    <a:pt x="546735" y="765710"/>
                    <a:pt x="610553" y="708715"/>
                  </a:cubicBezTo>
                  <a:cubicBezTo>
                    <a:pt x="657225" y="665969"/>
                    <a:pt x="691515" y="610873"/>
                    <a:pt x="709613" y="550079"/>
                  </a:cubicBezTo>
                  <a:cubicBezTo>
                    <a:pt x="735330" y="472185"/>
                    <a:pt x="737235" y="393342"/>
                    <a:pt x="730568" y="313549"/>
                  </a:cubicBezTo>
                  <a:close/>
                  <a:moveTo>
                    <a:pt x="502920" y="510182"/>
                  </a:moveTo>
                  <a:cubicBezTo>
                    <a:pt x="496253" y="539630"/>
                    <a:pt x="481013" y="566227"/>
                    <a:pt x="459105" y="586176"/>
                  </a:cubicBezTo>
                  <a:cubicBezTo>
                    <a:pt x="434340" y="607074"/>
                    <a:pt x="403860" y="619423"/>
                    <a:pt x="371475" y="619423"/>
                  </a:cubicBezTo>
                  <a:cubicBezTo>
                    <a:pt x="322898" y="622272"/>
                    <a:pt x="275273" y="611823"/>
                    <a:pt x="232410" y="589025"/>
                  </a:cubicBezTo>
                  <a:cubicBezTo>
                    <a:pt x="221933" y="584276"/>
                    <a:pt x="215265" y="573827"/>
                    <a:pt x="216218" y="562428"/>
                  </a:cubicBezTo>
                  <a:lnTo>
                    <a:pt x="216218" y="390492"/>
                  </a:lnTo>
                  <a:cubicBezTo>
                    <a:pt x="216218" y="333497"/>
                    <a:pt x="217170" y="276502"/>
                    <a:pt x="216218" y="219507"/>
                  </a:cubicBezTo>
                  <a:cubicBezTo>
                    <a:pt x="215265" y="206208"/>
                    <a:pt x="222885" y="194809"/>
                    <a:pt x="235268" y="190059"/>
                  </a:cubicBezTo>
                  <a:cubicBezTo>
                    <a:pt x="287655" y="165362"/>
                    <a:pt x="341948" y="153963"/>
                    <a:pt x="399098" y="165362"/>
                  </a:cubicBezTo>
                  <a:cubicBezTo>
                    <a:pt x="439103" y="171061"/>
                    <a:pt x="473393" y="196709"/>
                    <a:pt x="489585" y="233756"/>
                  </a:cubicBezTo>
                  <a:cubicBezTo>
                    <a:pt x="503873" y="264153"/>
                    <a:pt x="512445" y="297400"/>
                    <a:pt x="514350" y="330647"/>
                  </a:cubicBezTo>
                  <a:cubicBezTo>
                    <a:pt x="520065" y="391442"/>
                    <a:pt x="520065" y="452237"/>
                    <a:pt x="502920" y="510182"/>
                  </a:cubicBezTo>
                  <a:close/>
                </a:path>
              </a:pathLst>
            </a:custGeom>
            <a:solidFill>
              <a:srgbClr val="00A8E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772" name="Forma libre 5771">
              <a:extLst>
                <a:ext uri="{FF2B5EF4-FFF2-40B4-BE49-F238E27FC236}">
                  <a16:creationId xmlns:a16="http://schemas.microsoft.com/office/drawing/2014/main" id="{F857A5FE-7950-A5BF-52BC-D4CA39C40E49}"/>
                </a:ext>
              </a:extLst>
            </p:cNvPr>
            <p:cNvSpPr/>
            <p:nvPr/>
          </p:nvSpPr>
          <p:spPr>
            <a:xfrm>
              <a:off x="8382952" y="2183470"/>
              <a:ext cx="9525" cy="712"/>
            </a:xfrm>
            <a:custGeom>
              <a:avLst/>
              <a:gdLst>
                <a:gd name="connsiteX0" fmla="*/ 0 w 9525"/>
                <a:gd name="connsiteY0" fmla="*/ 712 h 712"/>
                <a:gd name="connsiteX1" fmla="*/ 0 w 9525"/>
                <a:gd name="connsiteY1" fmla="*/ 712 h 712"/>
                <a:gd name="connsiteX2" fmla="*/ 0 w 9525"/>
                <a:gd name="connsiteY2" fmla="*/ 712 h 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712">
                  <a:moveTo>
                    <a:pt x="0" y="712"/>
                  </a:moveTo>
                  <a:cubicBezTo>
                    <a:pt x="0" y="712"/>
                    <a:pt x="0" y="-237"/>
                    <a:pt x="0" y="712"/>
                  </a:cubicBezTo>
                  <a:cubicBezTo>
                    <a:pt x="0" y="-237"/>
                    <a:pt x="0" y="-237"/>
                    <a:pt x="0" y="712"/>
                  </a:cubicBezTo>
                  <a:close/>
                </a:path>
              </a:pathLst>
            </a:custGeom>
            <a:solidFill>
              <a:srgbClr val="232F3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773" name="Forma libre 5772">
              <a:extLst>
                <a:ext uri="{FF2B5EF4-FFF2-40B4-BE49-F238E27FC236}">
                  <a16:creationId xmlns:a16="http://schemas.microsoft.com/office/drawing/2014/main" id="{E9E606E0-FC06-554C-AF43-3FA928833713}"/>
                </a:ext>
              </a:extLst>
            </p:cNvPr>
            <p:cNvSpPr/>
            <p:nvPr/>
          </p:nvSpPr>
          <p:spPr>
            <a:xfrm>
              <a:off x="7647618" y="1720452"/>
              <a:ext cx="737238" cy="787424"/>
            </a:xfrm>
            <a:custGeom>
              <a:avLst/>
              <a:gdLst>
                <a:gd name="connsiteX0" fmla="*/ 736287 w 737238"/>
                <a:gd name="connsiteY0" fmla="*/ 336442 h 787424"/>
                <a:gd name="connsiteX1" fmla="*/ 736287 w 737238"/>
                <a:gd name="connsiteY1" fmla="*/ 340241 h 787424"/>
                <a:gd name="connsiteX2" fmla="*/ 732476 w 737238"/>
                <a:gd name="connsiteY2" fmla="*/ 325993 h 787424"/>
                <a:gd name="connsiteX3" fmla="*/ 732476 w 737238"/>
                <a:gd name="connsiteY3" fmla="*/ 318393 h 787424"/>
                <a:gd name="connsiteX4" fmla="*/ 733429 w 737238"/>
                <a:gd name="connsiteY4" fmla="*/ 317443 h 787424"/>
                <a:gd name="connsiteX5" fmla="*/ 732476 w 737238"/>
                <a:gd name="connsiteY5" fmla="*/ 317443 h 787424"/>
                <a:gd name="connsiteX6" fmla="*/ 732476 w 737238"/>
                <a:gd name="connsiteY6" fmla="*/ 307944 h 787424"/>
                <a:gd name="connsiteX7" fmla="*/ 734381 w 737238"/>
                <a:gd name="connsiteY7" fmla="*/ 307944 h 787424"/>
                <a:gd name="connsiteX8" fmla="*/ 733429 w 737238"/>
                <a:gd name="connsiteY8" fmla="*/ 306044 h 787424"/>
                <a:gd name="connsiteX9" fmla="*/ 722951 w 737238"/>
                <a:gd name="connsiteY9" fmla="*/ 252849 h 787424"/>
                <a:gd name="connsiteX10" fmla="*/ 480064 w 737238"/>
                <a:gd name="connsiteY10" fmla="*/ 12519 h 787424"/>
                <a:gd name="connsiteX11" fmla="*/ 298136 w 737238"/>
                <a:gd name="connsiteY11" fmla="*/ 5870 h 787424"/>
                <a:gd name="connsiteX12" fmla="*/ 32389 w 737238"/>
                <a:gd name="connsiteY12" fmla="*/ 214852 h 787424"/>
                <a:gd name="connsiteX13" fmla="*/ 33342 w 737238"/>
                <a:gd name="connsiteY13" fmla="*/ 573921 h 787424"/>
                <a:gd name="connsiteX14" fmla="*/ 257179 w 737238"/>
                <a:gd name="connsiteY14" fmla="*/ 773404 h 787424"/>
                <a:gd name="connsiteX15" fmla="*/ 436249 w 737238"/>
                <a:gd name="connsiteY15" fmla="*/ 782904 h 787424"/>
                <a:gd name="connsiteX16" fmla="*/ 732476 w 737238"/>
                <a:gd name="connsiteY16" fmla="*/ 477030 h 787424"/>
                <a:gd name="connsiteX17" fmla="*/ 731524 w 737238"/>
                <a:gd name="connsiteY17" fmla="*/ 477030 h 787424"/>
                <a:gd name="connsiteX18" fmla="*/ 731524 w 737238"/>
                <a:gd name="connsiteY18" fmla="*/ 463731 h 787424"/>
                <a:gd name="connsiteX19" fmla="*/ 735334 w 737238"/>
                <a:gd name="connsiteY19" fmla="*/ 449482 h 787424"/>
                <a:gd name="connsiteX20" fmla="*/ 735334 w 737238"/>
                <a:gd name="connsiteY20" fmla="*/ 451382 h 787424"/>
                <a:gd name="connsiteX21" fmla="*/ 737239 w 737238"/>
                <a:gd name="connsiteY21" fmla="*/ 447582 h 787424"/>
                <a:gd name="connsiteX22" fmla="*/ 737239 w 737238"/>
                <a:gd name="connsiteY22" fmla="*/ 338342 h 787424"/>
                <a:gd name="connsiteX23" fmla="*/ 736287 w 737238"/>
                <a:gd name="connsiteY23" fmla="*/ 336442 h 787424"/>
                <a:gd name="connsiteX24" fmla="*/ 507686 w 737238"/>
                <a:gd name="connsiteY24" fmla="*/ 516926 h 787424"/>
                <a:gd name="connsiteX25" fmla="*/ 481017 w 737238"/>
                <a:gd name="connsiteY25" fmla="*/ 572022 h 787424"/>
                <a:gd name="connsiteX26" fmla="*/ 390529 w 737238"/>
                <a:gd name="connsiteY26" fmla="*/ 623317 h 787424"/>
                <a:gd name="connsiteX27" fmla="*/ 336236 w 737238"/>
                <a:gd name="connsiteY27" fmla="*/ 621417 h 787424"/>
                <a:gd name="connsiteX28" fmla="*/ 246701 w 737238"/>
                <a:gd name="connsiteY28" fmla="*/ 550173 h 787424"/>
                <a:gd name="connsiteX29" fmla="*/ 220984 w 737238"/>
                <a:gd name="connsiteY29" fmla="*/ 456131 h 787424"/>
                <a:gd name="connsiteX30" fmla="*/ 228604 w 737238"/>
                <a:gd name="connsiteY30" fmla="*/ 288946 h 787424"/>
                <a:gd name="connsiteX31" fmla="*/ 254321 w 737238"/>
                <a:gd name="connsiteY31" fmla="*/ 226251 h 787424"/>
                <a:gd name="connsiteX32" fmla="*/ 351476 w 737238"/>
                <a:gd name="connsiteY32" fmla="*/ 167356 h 787424"/>
                <a:gd name="connsiteX33" fmla="*/ 405769 w 737238"/>
                <a:gd name="connsiteY33" fmla="*/ 169256 h 787424"/>
                <a:gd name="connsiteX34" fmla="*/ 492446 w 737238"/>
                <a:gd name="connsiteY34" fmla="*/ 236700 h 787424"/>
                <a:gd name="connsiteX35" fmla="*/ 520069 w 737238"/>
                <a:gd name="connsiteY35" fmla="*/ 344041 h 787424"/>
                <a:gd name="connsiteX36" fmla="*/ 521021 w 737238"/>
                <a:gd name="connsiteY36" fmla="*/ 395337 h 787424"/>
                <a:gd name="connsiteX37" fmla="*/ 507686 w 737238"/>
                <a:gd name="connsiteY37" fmla="*/ 516926 h 78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737238" h="787424">
                  <a:moveTo>
                    <a:pt x="736287" y="336442"/>
                  </a:moveTo>
                  <a:lnTo>
                    <a:pt x="736287" y="340241"/>
                  </a:lnTo>
                  <a:cubicBezTo>
                    <a:pt x="732476" y="336442"/>
                    <a:pt x="730571" y="330742"/>
                    <a:pt x="732476" y="325993"/>
                  </a:cubicBezTo>
                  <a:lnTo>
                    <a:pt x="732476" y="318393"/>
                  </a:lnTo>
                  <a:cubicBezTo>
                    <a:pt x="732476" y="318393"/>
                    <a:pt x="732476" y="317443"/>
                    <a:pt x="733429" y="317443"/>
                  </a:cubicBezTo>
                  <a:lnTo>
                    <a:pt x="732476" y="317443"/>
                  </a:lnTo>
                  <a:lnTo>
                    <a:pt x="732476" y="307944"/>
                  </a:lnTo>
                  <a:lnTo>
                    <a:pt x="734381" y="307944"/>
                  </a:lnTo>
                  <a:cubicBezTo>
                    <a:pt x="734381" y="306994"/>
                    <a:pt x="733429" y="306994"/>
                    <a:pt x="733429" y="306044"/>
                  </a:cubicBezTo>
                  <a:cubicBezTo>
                    <a:pt x="731524" y="287996"/>
                    <a:pt x="727714" y="269947"/>
                    <a:pt x="722951" y="252849"/>
                  </a:cubicBezTo>
                  <a:cubicBezTo>
                    <a:pt x="687709" y="127460"/>
                    <a:pt x="608651" y="44817"/>
                    <a:pt x="480064" y="12519"/>
                  </a:cubicBezTo>
                  <a:cubicBezTo>
                    <a:pt x="420056" y="-1729"/>
                    <a:pt x="359096" y="-3629"/>
                    <a:pt x="298136" y="5870"/>
                  </a:cubicBezTo>
                  <a:cubicBezTo>
                    <a:pt x="169549" y="24868"/>
                    <a:pt x="77156" y="93263"/>
                    <a:pt x="32389" y="214852"/>
                  </a:cubicBezTo>
                  <a:cubicBezTo>
                    <a:pt x="-11426" y="330742"/>
                    <a:pt x="-10474" y="458031"/>
                    <a:pt x="33342" y="573921"/>
                  </a:cubicBezTo>
                  <a:cubicBezTo>
                    <a:pt x="71442" y="679362"/>
                    <a:pt x="147642" y="745857"/>
                    <a:pt x="257179" y="773404"/>
                  </a:cubicBezTo>
                  <a:cubicBezTo>
                    <a:pt x="315281" y="787653"/>
                    <a:pt x="376242" y="791453"/>
                    <a:pt x="436249" y="782904"/>
                  </a:cubicBezTo>
                  <a:cubicBezTo>
                    <a:pt x="636274" y="759156"/>
                    <a:pt x="719142" y="608119"/>
                    <a:pt x="732476" y="477030"/>
                  </a:cubicBezTo>
                  <a:lnTo>
                    <a:pt x="731524" y="477030"/>
                  </a:lnTo>
                  <a:lnTo>
                    <a:pt x="731524" y="463731"/>
                  </a:lnTo>
                  <a:cubicBezTo>
                    <a:pt x="730571" y="458031"/>
                    <a:pt x="729619" y="453282"/>
                    <a:pt x="735334" y="449482"/>
                  </a:cubicBezTo>
                  <a:lnTo>
                    <a:pt x="735334" y="451382"/>
                  </a:lnTo>
                  <a:cubicBezTo>
                    <a:pt x="735334" y="450432"/>
                    <a:pt x="736287" y="448532"/>
                    <a:pt x="737239" y="447582"/>
                  </a:cubicBezTo>
                  <a:lnTo>
                    <a:pt x="737239" y="338342"/>
                  </a:lnTo>
                  <a:cubicBezTo>
                    <a:pt x="737239" y="337392"/>
                    <a:pt x="736287" y="337392"/>
                    <a:pt x="736287" y="336442"/>
                  </a:cubicBezTo>
                  <a:close/>
                  <a:moveTo>
                    <a:pt x="507686" y="516926"/>
                  </a:moveTo>
                  <a:cubicBezTo>
                    <a:pt x="501971" y="536875"/>
                    <a:pt x="493399" y="554923"/>
                    <a:pt x="481017" y="572022"/>
                  </a:cubicBezTo>
                  <a:cubicBezTo>
                    <a:pt x="460061" y="601469"/>
                    <a:pt x="426724" y="620467"/>
                    <a:pt x="390529" y="623317"/>
                  </a:cubicBezTo>
                  <a:cubicBezTo>
                    <a:pt x="372431" y="625217"/>
                    <a:pt x="354334" y="625217"/>
                    <a:pt x="336236" y="621417"/>
                  </a:cubicBezTo>
                  <a:cubicBezTo>
                    <a:pt x="296231" y="613818"/>
                    <a:pt x="262894" y="587220"/>
                    <a:pt x="246701" y="550173"/>
                  </a:cubicBezTo>
                  <a:cubicBezTo>
                    <a:pt x="232414" y="520726"/>
                    <a:pt x="223842" y="488429"/>
                    <a:pt x="220984" y="456131"/>
                  </a:cubicBezTo>
                  <a:cubicBezTo>
                    <a:pt x="216221" y="400086"/>
                    <a:pt x="215269" y="344041"/>
                    <a:pt x="228604" y="288946"/>
                  </a:cubicBezTo>
                  <a:cubicBezTo>
                    <a:pt x="233367" y="267098"/>
                    <a:pt x="242892" y="245250"/>
                    <a:pt x="254321" y="226251"/>
                  </a:cubicBezTo>
                  <a:cubicBezTo>
                    <a:pt x="275276" y="192054"/>
                    <a:pt x="311471" y="170206"/>
                    <a:pt x="351476" y="167356"/>
                  </a:cubicBezTo>
                  <a:cubicBezTo>
                    <a:pt x="369574" y="165456"/>
                    <a:pt x="387671" y="165456"/>
                    <a:pt x="405769" y="169256"/>
                  </a:cubicBezTo>
                  <a:cubicBezTo>
                    <a:pt x="443869" y="176855"/>
                    <a:pt x="475301" y="201553"/>
                    <a:pt x="492446" y="236700"/>
                  </a:cubicBezTo>
                  <a:cubicBezTo>
                    <a:pt x="508639" y="269947"/>
                    <a:pt x="518164" y="306994"/>
                    <a:pt x="520069" y="344041"/>
                  </a:cubicBezTo>
                  <a:cubicBezTo>
                    <a:pt x="521021" y="361140"/>
                    <a:pt x="521974" y="378238"/>
                    <a:pt x="521021" y="395337"/>
                  </a:cubicBezTo>
                  <a:cubicBezTo>
                    <a:pt x="523879" y="437133"/>
                    <a:pt x="519117" y="477980"/>
                    <a:pt x="507686" y="516926"/>
                  </a:cubicBezTo>
                  <a:close/>
                </a:path>
              </a:pathLst>
            </a:custGeom>
            <a:solidFill>
              <a:srgbClr val="232F3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774" name="Forma libre 5773">
              <a:extLst>
                <a:ext uri="{FF2B5EF4-FFF2-40B4-BE49-F238E27FC236}">
                  <a16:creationId xmlns:a16="http://schemas.microsoft.com/office/drawing/2014/main" id="{DCFBB98A-1FDD-E4A9-652A-91F678083370}"/>
                </a:ext>
              </a:extLst>
            </p:cNvPr>
            <p:cNvSpPr/>
            <p:nvPr/>
          </p:nvSpPr>
          <p:spPr>
            <a:xfrm>
              <a:off x="6027118" y="1410949"/>
              <a:ext cx="724201" cy="1092371"/>
            </a:xfrm>
            <a:custGeom>
              <a:avLst/>
              <a:gdLst>
                <a:gd name="connsiteX0" fmla="*/ 687054 w 724201"/>
                <a:gd name="connsiteY0" fmla="*/ 0 h 1092371"/>
                <a:gd name="connsiteX1" fmla="*/ 554656 w 724201"/>
                <a:gd name="connsiteY1" fmla="*/ 0 h 1092371"/>
                <a:gd name="connsiteX2" fmla="*/ 511794 w 724201"/>
                <a:gd name="connsiteY2" fmla="*/ 42746 h 1092371"/>
                <a:gd name="connsiteX3" fmla="*/ 511794 w 724201"/>
                <a:gd name="connsiteY3" fmla="*/ 350520 h 1092371"/>
                <a:gd name="connsiteX4" fmla="*/ 509889 w 724201"/>
                <a:gd name="connsiteY4" fmla="*/ 370468 h 1092371"/>
                <a:gd name="connsiteX5" fmla="*/ 489887 w 724201"/>
                <a:gd name="connsiteY5" fmla="*/ 360019 h 1092371"/>
                <a:gd name="connsiteX6" fmla="*/ 182229 w 724201"/>
                <a:gd name="connsiteY6" fmla="*/ 340071 h 1092371"/>
                <a:gd name="connsiteX7" fmla="*/ 33639 w 724201"/>
                <a:gd name="connsiteY7" fmla="*/ 509156 h 1092371"/>
                <a:gd name="connsiteX8" fmla="*/ 301 w 724201"/>
                <a:gd name="connsiteY8" fmla="*/ 728588 h 1092371"/>
                <a:gd name="connsiteX9" fmla="*/ 47926 w 724201"/>
                <a:gd name="connsiteY9" fmla="*/ 930920 h 1092371"/>
                <a:gd name="connsiteX10" fmla="*/ 212709 w 724201"/>
                <a:gd name="connsiteY10" fmla="*/ 1076258 h 1092371"/>
                <a:gd name="connsiteX11" fmla="*/ 502269 w 724201"/>
                <a:gd name="connsiteY11" fmla="*/ 1026862 h 1092371"/>
                <a:gd name="connsiteX12" fmla="*/ 521319 w 724201"/>
                <a:gd name="connsiteY12" fmla="*/ 1014513 h 1092371"/>
                <a:gd name="connsiteX13" fmla="*/ 531796 w 724201"/>
                <a:gd name="connsiteY13" fmla="*/ 1047760 h 1092371"/>
                <a:gd name="connsiteX14" fmla="*/ 565134 w 724201"/>
                <a:gd name="connsiteY14" fmla="*/ 1073408 h 1092371"/>
                <a:gd name="connsiteX15" fmla="*/ 587994 w 724201"/>
                <a:gd name="connsiteY15" fmla="*/ 1073408 h 1092371"/>
                <a:gd name="connsiteX16" fmla="*/ 688959 w 724201"/>
                <a:gd name="connsiteY16" fmla="*/ 1073408 h 1092371"/>
                <a:gd name="connsiteX17" fmla="*/ 724201 w 724201"/>
                <a:gd name="connsiteY17" fmla="*/ 1037311 h 1092371"/>
                <a:gd name="connsiteX18" fmla="*/ 724201 w 724201"/>
                <a:gd name="connsiteY18" fmla="*/ 36097 h 1092371"/>
                <a:gd name="connsiteX19" fmla="*/ 687054 w 724201"/>
                <a:gd name="connsiteY19" fmla="*/ 0 h 1092371"/>
                <a:gd name="connsiteX20" fmla="*/ 512746 w 724201"/>
                <a:gd name="connsiteY20" fmla="*/ 699140 h 1092371"/>
                <a:gd name="connsiteX21" fmla="*/ 512746 w 724201"/>
                <a:gd name="connsiteY21" fmla="*/ 872025 h 1092371"/>
                <a:gd name="connsiteX22" fmla="*/ 497506 w 724201"/>
                <a:gd name="connsiteY22" fmla="*/ 898623 h 1092371"/>
                <a:gd name="connsiteX23" fmla="*/ 347964 w 724201"/>
                <a:gd name="connsiteY23" fmla="*/ 927121 h 1092371"/>
                <a:gd name="connsiteX24" fmla="*/ 246046 w 724201"/>
                <a:gd name="connsiteY24" fmla="*/ 856827 h 1092371"/>
                <a:gd name="connsiteX25" fmla="*/ 219376 w 724201"/>
                <a:gd name="connsiteY25" fmla="*/ 760885 h 1092371"/>
                <a:gd name="connsiteX26" fmla="*/ 230806 w 724201"/>
                <a:gd name="connsiteY26" fmla="*/ 582300 h 1092371"/>
                <a:gd name="connsiteX27" fmla="*/ 249856 w 724201"/>
                <a:gd name="connsiteY27" fmla="*/ 535754 h 1092371"/>
                <a:gd name="connsiteX28" fmla="*/ 349869 w 724201"/>
                <a:gd name="connsiteY28" fmla="*/ 472110 h 1092371"/>
                <a:gd name="connsiteX29" fmla="*/ 496554 w 724201"/>
                <a:gd name="connsiteY29" fmla="*/ 497757 h 1092371"/>
                <a:gd name="connsiteX30" fmla="*/ 513699 w 724201"/>
                <a:gd name="connsiteY30" fmla="*/ 525305 h 1092371"/>
                <a:gd name="connsiteX31" fmla="*/ 512746 w 724201"/>
                <a:gd name="connsiteY31" fmla="*/ 699140 h 1092371"/>
                <a:gd name="connsiteX32" fmla="*/ 512746 w 724201"/>
                <a:gd name="connsiteY32" fmla="*/ 699140 h 109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24201" h="1092371">
                  <a:moveTo>
                    <a:pt x="687054" y="0"/>
                  </a:moveTo>
                  <a:lnTo>
                    <a:pt x="554656" y="0"/>
                  </a:lnTo>
                  <a:cubicBezTo>
                    <a:pt x="518462" y="0"/>
                    <a:pt x="511794" y="6649"/>
                    <a:pt x="511794" y="42746"/>
                  </a:cubicBezTo>
                  <a:lnTo>
                    <a:pt x="511794" y="350520"/>
                  </a:lnTo>
                  <a:cubicBezTo>
                    <a:pt x="511794" y="357169"/>
                    <a:pt x="514651" y="363819"/>
                    <a:pt x="509889" y="370468"/>
                  </a:cubicBezTo>
                  <a:cubicBezTo>
                    <a:pt x="501317" y="369518"/>
                    <a:pt x="496554" y="363819"/>
                    <a:pt x="489887" y="360019"/>
                  </a:cubicBezTo>
                  <a:cubicBezTo>
                    <a:pt x="390826" y="302074"/>
                    <a:pt x="287004" y="291625"/>
                    <a:pt x="182229" y="340071"/>
                  </a:cubicBezTo>
                  <a:cubicBezTo>
                    <a:pt x="108887" y="374268"/>
                    <a:pt x="63167" y="436013"/>
                    <a:pt x="33639" y="509156"/>
                  </a:cubicBezTo>
                  <a:cubicBezTo>
                    <a:pt x="5064" y="579450"/>
                    <a:pt x="-1604" y="653544"/>
                    <a:pt x="301" y="728588"/>
                  </a:cubicBezTo>
                  <a:cubicBezTo>
                    <a:pt x="301" y="798882"/>
                    <a:pt x="16494" y="868226"/>
                    <a:pt x="47926" y="930920"/>
                  </a:cubicBezTo>
                  <a:cubicBezTo>
                    <a:pt x="84121" y="1000264"/>
                    <a:pt x="136509" y="1053460"/>
                    <a:pt x="212709" y="1076258"/>
                  </a:cubicBezTo>
                  <a:cubicBezTo>
                    <a:pt x="316531" y="1108555"/>
                    <a:pt x="413687" y="1092407"/>
                    <a:pt x="502269" y="1026862"/>
                  </a:cubicBezTo>
                  <a:cubicBezTo>
                    <a:pt x="508937" y="1023062"/>
                    <a:pt x="512746" y="1016413"/>
                    <a:pt x="521319" y="1014513"/>
                  </a:cubicBezTo>
                  <a:cubicBezTo>
                    <a:pt x="526081" y="1024962"/>
                    <a:pt x="529892" y="1036361"/>
                    <a:pt x="531796" y="1047760"/>
                  </a:cubicBezTo>
                  <a:cubicBezTo>
                    <a:pt x="535606" y="1062959"/>
                    <a:pt x="548942" y="1073408"/>
                    <a:pt x="565134" y="1073408"/>
                  </a:cubicBezTo>
                  <a:lnTo>
                    <a:pt x="587994" y="1073408"/>
                  </a:lnTo>
                  <a:cubicBezTo>
                    <a:pt x="622284" y="1073408"/>
                    <a:pt x="655621" y="1074358"/>
                    <a:pt x="688959" y="1073408"/>
                  </a:cubicBezTo>
                  <a:cubicBezTo>
                    <a:pt x="715629" y="1073408"/>
                    <a:pt x="723249" y="1064859"/>
                    <a:pt x="724201" y="1037311"/>
                  </a:cubicBezTo>
                  <a:lnTo>
                    <a:pt x="724201" y="36097"/>
                  </a:lnTo>
                  <a:cubicBezTo>
                    <a:pt x="723249" y="6649"/>
                    <a:pt x="715629" y="0"/>
                    <a:pt x="687054" y="0"/>
                  </a:cubicBezTo>
                  <a:close/>
                  <a:moveTo>
                    <a:pt x="512746" y="699140"/>
                  </a:moveTo>
                  <a:lnTo>
                    <a:pt x="512746" y="872025"/>
                  </a:lnTo>
                  <a:cubicBezTo>
                    <a:pt x="514651" y="883424"/>
                    <a:pt x="507984" y="893874"/>
                    <a:pt x="497506" y="898623"/>
                  </a:cubicBezTo>
                  <a:cubicBezTo>
                    <a:pt x="451787" y="924271"/>
                    <a:pt x="399399" y="934720"/>
                    <a:pt x="347964" y="927121"/>
                  </a:cubicBezTo>
                  <a:cubicBezTo>
                    <a:pt x="304149" y="922371"/>
                    <a:pt x="266049" y="895773"/>
                    <a:pt x="246046" y="856827"/>
                  </a:cubicBezTo>
                  <a:cubicBezTo>
                    <a:pt x="230806" y="826429"/>
                    <a:pt x="222234" y="794132"/>
                    <a:pt x="219376" y="760885"/>
                  </a:cubicBezTo>
                  <a:cubicBezTo>
                    <a:pt x="211756" y="701040"/>
                    <a:pt x="216519" y="640245"/>
                    <a:pt x="230806" y="582300"/>
                  </a:cubicBezTo>
                  <a:cubicBezTo>
                    <a:pt x="235569" y="566152"/>
                    <a:pt x="241284" y="550953"/>
                    <a:pt x="249856" y="535754"/>
                  </a:cubicBezTo>
                  <a:cubicBezTo>
                    <a:pt x="269859" y="498707"/>
                    <a:pt x="307959" y="474959"/>
                    <a:pt x="349869" y="472110"/>
                  </a:cubicBezTo>
                  <a:cubicBezTo>
                    <a:pt x="400351" y="467360"/>
                    <a:pt x="450834" y="476859"/>
                    <a:pt x="496554" y="497757"/>
                  </a:cubicBezTo>
                  <a:cubicBezTo>
                    <a:pt x="507984" y="501557"/>
                    <a:pt x="514651" y="512956"/>
                    <a:pt x="513699" y="525305"/>
                  </a:cubicBezTo>
                  <a:cubicBezTo>
                    <a:pt x="511794" y="584200"/>
                    <a:pt x="512746" y="641195"/>
                    <a:pt x="512746" y="699140"/>
                  </a:cubicBezTo>
                  <a:lnTo>
                    <a:pt x="512746" y="699140"/>
                  </a:lnTo>
                  <a:close/>
                </a:path>
              </a:pathLst>
            </a:custGeom>
            <a:solidFill>
              <a:srgbClr val="232F3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775" name="Forma libre 5774">
              <a:extLst>
                <a:ext uri="{FF2B5EF4-FFF2-40B4-BE49-F238E27FC236}">
                  <a16:creationId xmlns:a16="http://schemas.microsoft.com/office/drawing/2014/main" id="{D08DA5AE-3A2A-9208-0091-36536620CBB8}"/>
                </a:ext>
              </a:extLst>
            </p:cNvPr>
            <p:cNvSpPr/>
            <p:nvPr/>
          </p:nvSpPr>
          <p:spPr>
            <a:xfrm>
              <a:off x="3851427" y="1727421"/>
              <a:ext cx="658103" cy="782467"/>
            </a:xfrm>
            <a:custGeom>
              <a:avLst/>
              <a:gdLst>
                <a:gd name="connsiteX0" fmla="*/ 225272 w 658103"/>
                <a:gd name="connsiteY0" fmla="*/ 448212 h 782467"/>
                <a:gd name="connsiteX1" fmla="*/ 441490 w 658103"/>
                <a:gd name="connsiteY1" fmla="*/ 451062 h 782467"/>
                <a:gd name="connsiteX2" fmla="*/ 560552 w 658103"/>
                <a:gd name="connsiteY2" fmla="*/ 413065 h 782467"/>
                <a:gd name="connsiteX3" fmla="*/ 648182 w 658103"/>
                <a:gd name="connsiteY3" fmla="*/ 306674 h 782467"/>
                <a:gd name="connsiteX4" fmla="*/ 505307 w 658103"/>
                <a:gd name="connsiteY4" fmla="*/ 21699 h 782467"/>
                <a:gd name="connsiteX5" fmla="*/ 315760 w 658103"/>
                <a:gd name="connsiteY5" fmla="*/ 3650 h 782467"/>
                <a:gd name="connsiteX6" fmla="*/ 22390 w 658103"/>
                <a:gd name="connsiteY6" fmla="*/ 246829 h 782467"/>
                <a:gd name="connsiteX7" fmla="*/ 20485 w 658103"/>
                <a:gd name="connsiteY7" fmla="*/ 543204 h 782467"/>
                <a:gd name="connsiteX8" fmla="*/ 264325 w 658103"/>
                <a:gd name="connsiteY8" fmla="*/ 771185 h 782467"/>
                <a:gd name="connsiteX9" fmla="*/ 482447 w 658103"/>
                <a:gd name="connsiteY9" fmla="*/ 773084 h 782467"/>
                <a:gd name="connsiteX10" fmla="*/ 594842 w 658103"/>
                <a:gd name="connsiteY10" fmla="*/ 742687 h 782467"/>
                <a:gd name="connsiteX11" fmla="*/ 627227 w 658103"/>
                <a:gd name="connsiteY11" fmla="*/ 696141 h 782467"/>
                <a:gd name="connsiteX12" fmla="*/ 627227 w 658103"/>
                <a:gd name="connsiteY12" fmla="*/ 625847 h 782467"/>
                <a:gd name="connsiteX13" fmla="*/ 588175 w 658103"/>
                <a:gd name="connsiteY13" fmla="*/ 595450 h 782467"/>
                <a:gd name="connsiteX14" fmla="*/ 506260 w 658103"/>
                <a:gd name="connsiteY14" fmla="*/ 613498 h 782467"/>
                <a:gd name="connsiteX15" fmla="*/ 327190 w 658103"/>
                <a:gd name="connsiteY15" fmla="*/ 615398 h 782467"/>
                <a:gd name="connsiteX16" fmla="*/ 198602 w 658103"/>
                <a:gd name="connsiteY16" fmla="*/ 444412 h 782467"/>
                <a:gd name="connsiteX17" fmla="*/ 225272 w 658103"/>
                <a:gd name="connsiteY17" fmla="*/ 448212 h 782467"/>
                <a:gd name="connsiteX18" fmla="*/ 201460 w 658103"/>
                <a:gd name="connsiteY18" fmla="*/ 302875 h 782467"/>
                <a:gd name="connsiteX19" fmla="*/ 219557 w 658103"/>
                <a:gd name="connsiteY19" fmla="*/ 237330 h 782467"/>
                <a:gd name="connsiteX20" fmla="*/ 369100 w 658103"/>
                <a:gd name="connsiteY20" fmla="*/ 148038 h 782467"/>
                <a:gd name="connsiteX21" fmla="*/ 419582 w 658103"/>
                <a:gd name="connsiteY21" fmla="*/ 159437 h 782467"/>
                <a:gd name="connsiteX22" fmla="*/ 463397 w 658103"/>
                <a:gd name="connsiteY22" fmla="*/ 219282 h 782467"/>
                <a:gd name="connsiteX23" fmla="*/ 460540 w 658103"/>
                <a:gd name="connsiteY23" fmla="*/ 268677 h 782467"/>
                <a:gd name="connsiteX24" fmla="*/ 388150 w 658103"/>
                <a:gd name="connsiteY24" fmla="*/ 323773 h 782467"/>
                <a:gd name="connsiteX25" fmla="*/ 326237 w 658103"/>
                <a:gd name="connsiteY25" fmla="*/ 328522 h 782467"/>
                <a:gd name="connsiteX26" fmla="*/ 213842 w 658103"/>
                <a:gd name="connsiteY26" fmla="*/ 319973 h 782467"/>
                <a:gd name="connsiteX27" fmla="*/ 201460 w 658103"/>
                <a:gd name="connsiteY27" fmla="*/ 302875 h 782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658103" h="782467">
                  <a:moveTo>
                    <a:pt x="225272" y="448212"/>
                  </a:moveTo>
                  <a:cubicBezTo>
                    <a:pt x="296710" y="461511"/>
                    <a:pt x="370052" y="462461"/>
                    <a:pt x="441490" y="451062"/>
                  </a:cubicBezTo>
                  <a:cubicBezTo>
                    <a:pt x="483400" y="445362"/>
                    <a:pt x="523405" y="433013"/>
                    <a:pt x="560552" y="413065"/>
                  </a:cubicBezTo>
                  <a:cubicBezTo>
                    <a:pt x="603415" y="388367"/>
                    <a:pt x="634847" y="354170"/>
                    <a:pt x="648182" y="306674"/>
                  </a:cubicBezTo>
                  <a:cubicBezTo>
                    <a:pt x="681520" y="186984"/>
                    <a:pt x="630085" y="66345"/>
                    <a:pt x="505307" y="21699"/>
                  </a:cubicBezTo>
                  <a:cubicBezTo>
                    <a:pt x="444347" y="1750"/>
                    <a:pt x="379577" y="-4899"/>
                    <a:pt x="315760" y="3650"/>
                  </a:cubicBezTo>
                  <a:cubicBezTo>
                    <a:pt x="165265" y="20749"/>
                    <a:pt x="67157" y="103392"/>
                    <a:pt x="22390" y="246829"/>
                  </a:cubicBezTo>
                  <a:cubicBezTo>
                    <a:pt x="-9043" y="344671"/>
                    <a:pt x="-5233" y="444412"/>
                    <a:pt x="20485" y="543204"/>
                  </a:cubicBezTo>
                  <a:cubicBezTo>
                    <a:pt x="53822" y="669543"/>
                    <a:pt x="137642" y="744587"/>
                    <a:pt x="264325" y="771185"/>
                  </a:cubicBezTo>
                  <a:cubicBezTo>
                    <a:pt x="336715" y="787333"/>
                    <a:pt x="410057" y="784483"/>
                    <a:pt x="482447" y="773084"/>
                  </a:cubicBezTo>
                  <a:cubicBezTo>
                    <a:pt x="520547" y="766435"/>
                    <a:pt x="558647" y="756936"/>
                    <a:pt x="594842" y="742687"/>
                  </a:cubicBezTo>
                  <a:cubicBezTo>
                    <a:pt x="616750" y="734138"/>
                    <a:pt x="628180" y="720839"/>
                    <a:pt x="627227" y="696141"/>
                  </a:cubicBezTo>
                  <a:cubicBezTo>
                    <a:pt x="626275" y="673343"/>
                    <a:pt x="627227" y="649595"/>
                    <a:pt x="627227" y="625847"/>
                  </a:cubicBezTo>
                  <a:cubicBezTo>
                    <a:pt x="627227" y="597349"/>
                    <a:pt x="615797" y="588800"/>
                    <a:pt x="588175" y="595450"/>
                  </a:cubicBezTo>
                  <a:cubicBezTo>
                    <a:pt x="560552" y="602099"/>
                    <a:pt x="533882" y="607798"/>
                    <a:pt x="506260" y="613498"/>
                  </a:cubicBezTo>
                  <a:cubicBezTo>
                    <a:pt x="447205" y="625847"/>
                    <a:pt x="386245" y="625847"/>
                    <a:pt x="327190" y="615398"/>
                  </a:cubicBezTo>
                  <a:cubicBezTo>
                    <a:pt x="246227" y="599249"/>
                    <a:pt x="193840" y="529905"/>
                    <a:pt x="198602" y="444412"/>
                  </a:cubicBezTo>
                  <a:cubicBezTo>
                    <a:pt x="207175" y="445362"/>
                    <a:pt x="216700" y="446312"/>
                    <a:pt x="225272" y="448212"/>
                  </a:cubicBezTo>
                  <a:close/>
                  <a:moveTo>
                    <a:pt x="201460" y="302875"/>
                  </a:moveTo>
                  <a:cubicBezTo>
                    <a:pt x="204317" y="280076"/>
                    <a:pt x="210985" y="258228"/>
                    <a:pt x="219557" y="237330"/>
                  </a:cubicBezTo>
                  <a:cubicBezTo>
                    <a:pt x="248132" y="167986"/>
                    <a:pt x="308140" y="144238"/>
                    <a:pt x="369100" y="148038"/>
                  </a:cubicBezTo>
                  <a:cubicBezTo>
                    <a:pt x="386245" y="148988"/>
                    <a:pt x="403390" y="152787"/>
                    <a:pt x="419582" y="159437"/>
                  </a:cubicBezTo>
                  <a:cubicBezTo>
                    <a:pt x="444347" y="169886"/>
                    <a:pt x="460540" y="192684"/>
                    <a:pt x="463397" y="219282"/>
                  </a:cubicBezTo>
                  <a:cubicBezTo>
                    <a:pt x="466255" y="235430"/>
                    <a:pt x="465302" y="252529"/>
                    <a:pt x="460540" y="268677"/>
                  </a:cubicBezTo>
                  <a:cubicBezTo>
                    <a:pt x="449110" y="302875"/>
                    <a:pt x="421487" y="317123"/>
                    <a:pt x="388150" y="323773"/>
                  </a:cubicBezTo>
                  <a:cubicBezTo>
                    <a:pt x="368147" y="328522"/>
                    <a:pt x="347192" y="330422"/>
                    <a:pt x="326237" y="328522"/>
                  </a:cubicBezTo>
                  <a:cubicBezTo>
                    <a:pt x="289090" y="328522"/>
                    <a:pt x="250990" y="325673"/>
                    <a:pt x="213842" y="319973"/>
                  </a:cubicBezTo>
                  <a:cubicBezTo>
                    <a:pt x="199555" y="318073"/>
                    <a:pt x="199555" y="318073"/>
                    <a:pt x="201460" y="302875"/>
                  </a:cubicBezTo>
                  <a:close/>
                </a:path>
              </a:pathLst>
            </a:custGeom>
            <a:solidFill>
              <a:srgbClr val="00A8E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776" name="Forma libre 5775">
              <a:extLst>
                <a:ext uri="{FF2B5EF4-FFF2-40B4-BE49-F238E27FC236}">
                  <a16:creationId xmlns:a16="http://schemas.microsoft.com/office/drawing/2014/main" id="{69FD1D6E-71D1-36F3-DD7F-BC548411B318}"/>
                </a:ext>
              </a:extLst>
            </p:cNvPr>
            <p:cNvSpPr/>
            <p:nvPr/>
          </p:nvSpPr>
          <p:spPr>
            <a:xfrm>
              <a:off x="6892304" y="1728817"/>
              <a:ext cx="658288" cy="780644"/>
            </a:xfrm>
            <a:custGeom>
              <a:avLst/>
              <a:gdLst>
                <a:gd name="connsiteX0" fmla="*/ 397178 w 658288"/>
                <a:gd name="connsiteY0" fmla="*/ 456315 h 780644"/>
                <a:gd name="connsiteX1" fmla="*/ 557198 w 658288"/>
                <a:gd name="connsiteY1" fmla="*/ 415469 h 780644"/>
                <a:gd name="connsiteX2" fmla="*/ 653401 w 658288"/>
                <a:gd name="connsiteY2" fmla="*/ 289130 h 780644"/>
                <a:gd name="connsiteX3" fmla="*/ 652448 w 658288"/>
                <a:gd name="connsiteY3" fmla="*/ 184639 h 780644"/>
                <a:gd name="connsiteX4" fmla="*/ 496238 w 658288"/>
                <a:gd name="connsiteY4" fmla="*/ 18403 h 780644"/>
                <a:gd name="connsiteX5" fmla="*/ 354315 w 658288"/>
                <a:gd name="connsiteY5" fmla="*/ 354 h 780644"/>
                <a:gd name="connsiteX6" fmla="*/ 22845 w 658288"/>
                <a:gd name="connsiteY6" fmla="*/ 244484 h 780644"/>
                <a:gd name="connsiteX7" fmla="*/ 26656 w 658288"/>
                <a:gd name="connsiteY7" fmla="*/ 562706 h 780644"/>
                <a:gd name="connsiteX8" fmla="*/ 244778 w 658288"/>
                <a:gd name="connsiteY8" fmla="*/ 765989 h 780644"/>
                <a:gd name="connsiteX9" fmla="*/ 387653 w 658288"/>
                <a:gd name="connsiteY9" fmla="*/ 780238 h 780644"/>
                <a:gd name="connsiteX10" fmla="*/ 592440 w 658288"/>
                <a:gd name="connsiteY10" fmla="*/ 741291 h 780644"/>
                <a:gd name="connsiteX11" fmla="*/ 626731 w 658288"/>
                <a:gd name="connsiteY11" fmla="*/ 691895 h 780644"/>
                <a:gd name="connsiteX12" fmla="*/ 626731 w 658288"/>
                <a:gd name="connsiteY12" fmla="*/ 623501 h 780644"/>
                <a:gd name="connsiteX13" fmla="*/ 586726 w 658288"/>
                <a:gd name="connsiteY13" fmla="*/ 593104 h 780644"/>
                <a:gd name="connsiteX14" fmla="*/ 524813 w 658288"/>
                <a:gd name="connsiteY14" fmla="*/ 608302 h 780644"/>
                <a:gd name="connsiteX15" fmla="*/ 329551 w 658288"/>
                <a:gd name="connsiteY15" fmla="*/ 614952 h 780644"/>
                <a:gd name="connsiteX16" fmla="*/ 203820 w 658288"/>
                <a:gd name="connsiteY16" fmla="*/ 500962 h 780644"/>
                <a:gd name="connsiteX17" fmla="*/ 193343 w 658288"/>
                <a:gd name="connsiteY17" fmla="*/ 443017 h 780644"/>
                <a:gd name="connsiteX18" fmla="*/ 206678 w 658288"/>
                <a:gd name="connsiteY18" fmla="*/ 444916 h 780644"/>
                <a:gd name="connsiteX19" fmla="*/ 397178 w 658288"/>
                <a:gd name="connsiteY19" fmla="*/ 456315 h 780644"/>
                <a:gd name="connsiteX20" fmla="*/ 198106 w 658288"/>
                <a:gd name="connsiteY20" fmla="*/ 304328 h 780644"/>
                <a:gd name="connsiteX21" fmla="*/ 236206 w 658288"/>
                <a:gd name="connsiteY21" fmla="*/ 200787 h 780644"/>
                <a:gd name="connsiteX22" fmla="*/ 375270 w 658288"/>
                <a:gd name="connsiteY22" fmla="*/ 146642 h 780644"/>
                <a:gd name="connsiteX23" fmla="*/ 388606 w 658288"/>
                <a:gd name="connsiteY23" fmla="*/ 148542 h 780644"/>
                <a:gd name="connsiteX24" fmla="*/ 459090 w 658288"/>
                <a:gd name="connsiteY24" fmla="*/ 263482 h 780644"/>
                <a:gd name="connsiteX25" fmla="*/ 382890 w 658288"/>
                <a:gd name="connsiteY25" fmla="*/ 322377 h 780644"/>
                <a:gd name="connsiteX26" fmla="*/ 323835 w 658288"/>
                <a:gd name="connsiteY26" fmla="*/ 327126 h 780644"/>
                <a:gd name="connsiteX27" fmla="*/ 208583 w 658288"/>
                <a:gd name="connsiteY27" fmla="*/ 317627 h 780644"/>
                <a:gd name="connsiteX28" fmla="*/ 198106 w 658288"/>
                <a:gd name="connsiteY28" fmla="*/ 304328 h 780644"/>
                <a:gd name="connsiteX29" fmla="*/ 198106 w 658288"/>
                <a:gd name="connsiteY29" fmla="*/ 304328 h 780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658288" h="780644">
                  <a:moveTo>
                    <a:pt x="397178" y="456315"/>
                  </a:moveTo>
                  <a:cubicBezTo>
                    <a:pt x="452423" y="452516"/>
                    <a:pt x="507668" y="442067"/>
                    <a:pt x="557198" y="415469"/>
                  </a:cubicBezTo>
                  <a:cubicBezTo>
                    <a:pt x="607681" y="390771"/>
                    <a:pt x="642923" y="344225"/>
                    <a:pt x="653401" y="289130"/>
                  </a:cubicBezTo>
                  <a:cubicBezTo>
                    <a:pt x="660068" y="254933"/>
                    <a:pt x="660068" y="218836"/>
                    <a:pt x="652448" y="184639"/>
                  </a:cubicBezTo>
                  <a:cubicBezTo>
                    <a:pt x="632445" y="99146"/>
                    <a:pt x="578153" y="45950"/>
                    <a:pt x="496238" y="18403"/>
                  </a:cubicBezTo>
                  <a:cubicBezTo>
                    <a:pt x="450518" y="4154"/>
                    <a:pt x="401940" y="-1545"/>
                    <a:pt x="354315" y="354"/>
                  </a:cubicBezTo>
                  <a:cubicBezTo>
                    <a:pt x="194295" y="4154"/>
                    <a:pt x="72376" y="84897"/>
                    <a:pt x="22845" y="244484"/>
                  </a:cubicBezTo>
                  <a:cubicBezTo>
                    <a:pt x="-10492" y="349924"/>
                    <a:pt x="-5730" y="457265"/>
                    <a:pt x="26656" y="562706"/>
                  </a:cubicBezTo>
                  <a:cubicBezTo>
                    <a:pt x="59993" y="670997"/>
                    <a:pt x="136193" y="736541"/>
                    <a:pt x="244778" y="765989"/>
                  </a:cubicBezTo>
                  <a:cubicBezTo>
                    <a:pt x="291451" y="777388"/>
                    <a:pt x="340028" y="782138"/>
                    <a:pt x="387653" y="780238"/>
                  </a:cubicBezTo>
                  <a:cubicBezTo>
                    <a:pt x="457185" y="779288"/>
                    <a:pt x="526718" y="765989"/>
                    <a:pt x="592440" y="741291"/>
                  </a:cubicBezTo>
                  <a:cubicBezTo>
                    <a:pt x="620063" y="730842"/>
                    <a:pt x="626731" y="721343"/>
                    <a:pt x="626731" y="691895"/>
                  </a:cubicBezTo>
                  <a:lnTo>
                    <a:pt x="626731" y="623501"/>
                  </a:lnTo>
                  <a:cubicBezTo>
                    <a:pt x="625778" y="595953"/>
                    <a:pt x="614348" y="586454"/>
                    <a:pt x="586726" y="593104"/>
                  </a:cubicBezTo>
                  <a:cubicBezTo>
                    <a:pt x="565770" y="598803"/>
                    <a:pt x="545768" y="603553"/>
                    <a:pt x="524813" y="608302"/>
                  </a:cubicBezTo>
                  <a:cubicBezTo>
                    <a:pt x="460995" y="623501"/>
                    <a:pt x="394320" y="626351"/>
                    <a:pt x="329551" y="614952"/>
                  </a:cubicBezTo>
                  <a:cubicBezTo>
                    <a:pt x="264781" y="602603"/>
                    <a:pt x="220965" y="565556"/>
                    <a:pt x="203820" y="500962"/>
                  </a:cubicBezTo>
                  <a:cubicBezTo>
                    <a:pt x="199058" y="481963"/>
                    <a:pt x="195248" y="462965"/>
                    <a:pt x="193343" y="443017"/>
                  </a:cubicBezTo>
                  <a:cubicBezTo>
                    <a:pt x="198106" y="443017"/>
                    <a:pt x="202868" y="443017"/>
                    <a:pt x="206678" y="444916"/>
                  </a:cubicBezTo>
                  <a:cubicBezTo>
                    <a:pt x="269543" y="456315"/>
                    <a:pt x="333360" y="461065"/>
                    <a:pt x="397178" y="456315"/>
                  </a:cubicBezTo>
                  <a:close/>
                  <a:moveTo>
                    <a:pt x="198106" y="304328"/>
                  </a:moveTo>
                  <a:cubicBezTo>
                    <a:pt x="204773" y="267282"/>
                    <a:pt x="213345" y="231185"/>
                    <a:pt x="236206" y="200787"/>
                  </a:cubicBezTo>
                  <a:cubicBezTo>
                    <a:pt x="271448" y="154241"/>
                    <a:pt x="320026" y="140942"/>
                    <a:pt x="375270" y="146642"/>
                  </a:cubicBezTo>
                  <a:cubicBezTo>
                    <a:pt x="380033" y="146642"/>
                    <a:pt x="383843" y="148542"/>
                    <a:pt x="388606" y="148542"/>
                  </a:cubicBezTo>
                  <a:cubicBezTo>
                    <a:pt x="455281" y="158991"/>
                    <a:pt x="471473" y="212186"/>
                    <a:pt x="459090" y="263482"/>
                  </a:cubicBezTo>
                  <a:cubicBezTo>
                    <a:pt x="449565" y="301479"/>
                    <a:pt x="418133" y="315727"/>
                    <a:pt x="382890" y="322377"/>
                  </a:cubicBezTo>
                  <a:cubicBezTo>
                    <a:pt x="363840" y="326177"/>
                    <a:pt x="343838" y="328076"/>
                    <a:pt x="323835" y="327126"/>
                  </a:cubicBezTo>
                  <a:cubicBezTo>
                    <a:pt x="284783" y="326177"/>
                    <a:pt x="246683" y="323327"/>
                    <a:pt x="208583" y="317627"/>
                  </a:cubicBezTo>
                  <a:cubicBezTo>
                    <a:pt x="200010" y="316677"/>
                    <a:pt x="196201" y="312878"/>
                    <a:pt x="198106" y="304328"/>
                  </a:cubicBezTo>
                  <a:lnTo>
                    <a:pt x="198106" y="304328"/>
                  </a:lnTo>
                  <a:close/>
                </a:path>
              </a:pathLst>
            </a:custGeom>
            <a:solidFill>
              <a:srgbClr val="232F3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5777" name="Gráfico 5635">
            <a:extLst>
              <a:ext uri="{FF2B5EF4-FFF2-40B4-BE49-F238E27FC236}">
                <a16:creationId xmlns:a16="http://schemas.microsoft.com/office/drawing/2014/main" id="{7DD71E7E-CBC5-BB8E-8E7E-D5FB36940B50}"/>
              </a:ext>
            </a:extLst>
          </p:cNvPr>
          <p:cNvSpPr/>
          <p:nvPr/>
        </p:nvSpPr>
        <p:spPr>
          <a:xfrm>
            <a:off x="666581" y="4146850"/>
            <a:ext cx="328258" cy="119882"/>
          </a:xfrm>
          <a:custGeom>
            <a:avLst/>
            <a:gdLst>
              <a:gd name="connsiteX0" fmla="*/ 87884 w 419532"/>
              <a:gd name="connsiteY0" fmla="*/ 24581 h 153215"/>
              <a:gd name="connsiteX1" fmla="*/ 96080 w 419532"/>
              <a:gd name="connsiteY1" fmla="*/ 0 h 153215"/>
              <a:gd name="connsiteX2" fmla="*/ 72704 w 419532"/>
              <a:gd name="connsiteY2" fmla="*/ 11753 h 153215"/>
              <a:gd name="connsiteX3" fmla="*/ 64322 w 419532"/>
              <a:gd name="connsiteY3" fmla="*/ 35339 h 153215"/>
              <a:gd name="connsiteX4" fmla="*/ 87884 w 419532"/>
              <a:gd name="connsiteY4" fmla="*/ 24581 h 153215"/>
              <a:gd name="connsiteX5" fmla="*/ 95521 w 419532"/>
              <a:gd name="connsiteY5" fmla="*/ 36961 h 153215"/>
              <a:gd name="connsiteX6" fmla="*/ 65253 w 419532"/>
              <a:gd name="connsiteY6" fmla="*/ 44133 h 153215"/>
              <a:gd name="connsiteX7" fmla="*/ 39269 w 419532"/>
              <a:gd name="connsiteY7" fmla="*/ 37535 h 153215"/>
              <a:gd name="connsiteX8" fmla="*/ 6672 w 419532"/>
              <a:gd name="connsiteY8" fmla="*/ 56782 h 153215"/>
              <a:gd name="connsiteX9" fmla="*/ 16544 w 419532"/>
              <a:gd name="connsiteY9" fmla="*/ 133789 h 153215"/>
              <a:gd name="connsiteX10" fmla="*/ 41597 w 419532"/>
              <a:gd name="connsiteY10" fmla="*/ 153207 h 153215"/>
              <a:gd name="connsiteX11" fmla="*/ 67395 w 419532"/>
              <a:gd name="connsiteY11" fmla="*/ 146932 h 153215"/>
              <a:gd name="connsiteX12" fmla="*/ 93379 w 419532"/>
              <a:gd name="connsiteY12" fmla="*/ 152983 h 153215"/>
              <a:gd name="connsiteX13" fmla="*/ 117594 w 419532"/>
              <a:gd name="connsiteY13" fmla="*/ 134157 h 153215"/>
              <a:gd name="connsiteX14" fmla="*/ 128490 w 419532"/>
              <a:gd name="connsiteY14" fmla="*/ 112462 h 153215"/>
              <a:gd name="connsiteX15" fmla="*/ 107349 w 419532"/>
              <a:gd name="connsiteY15" fmla="*/ 81373 h 153215"/>
              <a:gd name="connsiteX16" fmla="*/ 124393 w 419532"/>
              <a:gd name="connsiteY16" fmla="*/ 52184 h 153215"/>
              <a:gd name="connsiteX17" fmla="*/ 95521 w 419532"/>
              <a:gd name="connsiteY17" fmla="*/ 36944 h 153215"/>
              <a:gd name="connsiteX18" fmla="*/ 178689 w 419532"/>
              <a:gd name="connsiteY18" fmla="*/ 18871 h 153215"/>
              <a:gd name="connsiteX19" fmla="*/ 178689 w 419532"/>
              <a:gd name="connsiteY19" fmla="*/ 44465 h 153215"/>
              <a:gd name="connsiteX20" fmla="*/ 199924 w 419532"/>
              <a:gd name="connsiteY20" fmla="*/ 44465 h 153215"/>
              <a:gd name="connsiteX21" fmla="*/ 199924 w 419532"/>
              <a:gd name="connsiteY21" fmla="*/ 61363 h 153215"/>
              <a:gd name="connsiteX22" fmla="*/ 178689 w 419532"/>
              <a:gd name="connsiteY22" fmla="*/ 61363 h 153215"/>
              <a:gd name="connsiteX23" fmla="*/ 178689 w 419532"/>
              <a:gd name="connsiteY23" fmla="*/ 121920 h 153215"/>
              <a:gd name="connsiteX24" fmla="*/ 192194 w 419532"/>
              <a:gd name="connsiteY24" fmla="*/ 135564 h 153215"/>
              <a:gd name="connsiteX25" fmla="*/ 199831 w 419532"/>
              <a:gd name="connsiteY25" fmla="*/ 135026 h 153215"/>
              <a:gd name="connsiteX26" fmla="*/ 199831 w 419532"/>
              <a:gd name="connsiteY26" fmla="*/ 152059 h 153215"/>
              <a:gd name="connsiteX27" fmla="*/ 187258 w 419532"/>
              <a:gd name="connsiteY27" fmla="*/ 152956 h 153215"/>
              <a:gd name="connsiteX28" fmla="*/ 156803 w 419532"/>
              <a:gd name="connsiteY28" fmla="*/ 124125 h 153215"/>
              <a:gd name="connsiteX29" fmla="*/ 156803 w 419532"/>
              <a:gd name="connsiteY29" fmla="*/ 61767 h 153215"/>
              <a:gd name="connsiteX30" fmla="*/ 140132 w 419532"/>
              <a:gd name="connsiteY30" fmla="*/ 61767 h 153215"/>
              <a:gd name="connsiteX31" fmla="*/ 140132 w 419532"/>
              <a:gd name="connsiteY31" fmla="*/ 44824 h 153215"/>
              <a:gd name="connsiteX32" fmla="*/ 156337 w 419532"/>
              <a:gd name="connsiteY32" fmla="*/ 44824 h 153215"/>
              <a:gd name="connsiteX33" fmla="*/ 156337 w 419532"/>
              <a:gd name="connsiteY33" fmla="*/ 18889 h 153215"/>
              <a:gd name="connsiteX34" fmla="*/ 274151 w 419532"/>
              <a:gd name="connsiteY34" fmla="*/ 152023 h 153215"/>
              <a:gd name="connsiteX35" fmla="*/ 250868 w 419532"/>
              <a:gd name="connsiteY35" fmla="*/ 152023 h 153215"/>
              <a:gd name="connsiteX36" fmla="*/ 211752 w 419532"/>
              <a:gd name="connsiteY36" fmla="*/ 44824 h 153215"/>
              <a:gd name="connsiteX37" fmla="*/ 234942 w 419532"/>
              <a:gd name="connsiteY37" fmla="*/ 44824 h 153215"/>
              <a:gd name="connsiteX38" fmla="*/ 262416 w 419532"/>
              <a:gd name="connsiteY38" fmla="*/ 130956 h 153215"/>
              <a:gd name="connsiteX39" fmla="*/ 262975 w 419532"/>
              <a:gd name="connsiteY39" fmla="*/ 130956 h 153215"/>
              <a:gd name="connsiteX40" fmla="*/ 290449 w 419532"/>
              <a:gd name="connsiteY40" fmla="*/ 44824 h 153215"/>
              <a:gd name="connsiteX41" fmla="*/ 313174 w 419532"/>
              <a:gd name="connsiteY41" fmla="*/ 44824 h 153215"/>
              <a:gd name="connsiteX42" fmla="*/ 376411 w 419532"/>
              <a:gd name="connsiteY42" fmla="*/ 152023 h 153215"/>
              <a:gd name="connsiteX43" fmla="*/ 356295 w 419532"/>
              <a:gd name="connsiteY43" fmla="*/ 152023 h 153215"/>
              <a:gd name="connsiteX44" fmla="*/ 356295 w 419532"/>
              <a:gd name="connsiteY44" fmla="*/ 108096 h 153215"/>
              <a:gd name="connsiteX45" fmla="*/ 313081 w 419532"/>
              <a:gd name="connsiteY45" fmla="*/ 108096 h 153215"/>
              <a:gd name="connsiteX46" fmla="*/ 313081 w 419532"/>
              <a:gd name="connsiteY46" fmla="*/ 88751 h 153215"/>
              <a:gd name="connsiteX47" fmla="*/ 356201 w 419532"/>
              <a:gd name="connsiteY47" fmla="*/ 88751 h 153215"/>
              <a:gd name="connsiteX48" fmla="*/ 356201 w 419532"/>
              <a:gd name="connsiteY48" fmla="*/ 44824 h 153215"/>
              <a:gd name="connsiteX49" fmla="*/ 376318 w 419532"/>
              <a:gd name="connsiteY49" fmla="*/ 44824 h 153215"/>
              <a:gd name="connsiteX50" fmla="*/ 376318 w 419532"/>
              <a:gd name="connsiteY50" fmla="*/ 88751 h 153215"/>
              <a:gd name="connsiteX51" fmla="*/ 419532 w 419532"/>
              <a:gd name="connsiteY51" fmla="*/ 88751 h 153215"/>
              <a:gd name="connsiteX52" fmla="*/ 419532 w 419532"/>
              <a:gd name="connsiteY52" fmla="*/ 108096 h 153215"/>
              <a:gd name="connsiteX53" fmla="*/ 376411 w 419532"/>
              <a:gd name="connsiteY53" fmla="*/ 108096 h 153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19532" h="153215">
                <a:moveTo>
                  <a:pt x="87884" y="24581"/>
                </a:moveTo>
                <a:cubicBezTo>
                  <a:pt x="93810" y="17713"/>
                  <a:pt x="96748" y="8905"/>
                  <a:pt x="96080" y="0"/>
                </a:cubicBezTo>
                <a:cubicBezTo>
                  <a:pt x="86997" y="844"/>
                  <a:pt x="78612" y="5059"/>
                  <a:pt x="72704" y="11753"/>
                </a:cubicBezTo>
                <a:cubicBezTo>
                  <a:pt x="66761" y="18228"/>
                  <a:pt x="63744" y="26717"/>
                  <a:pt x="64322" y="35339"/>
                </a:cubicBezTo>
                <a:cubicBezTo>
                  <a:pt x="73495" y="35512"/>
                  <a:pt x="82220" y="31528"/>
                  <a:pt x="87884" y="24581"/>
                </a:cubicBezTo>
                <a:moveTo>
                  <a:pt x="95521" y="36961"/>
                </a:moveTo>
                <a:cubicBezTo>
                  <a:pt x="82483" y="36235"/>
                  <a:pt x="71493" y="44133"/>
                  <a:pt x="65253" y="44133"/>
                </a:cubicBezTo>
                <a:cubicBezTo>
                  <a:pt x="59013" y="44133"/>
                  <a:pt x="49513" y="37356"/>
                  <a:pt x="39269" y="37535"/>
                </a:cubicBezTo>
                <a:cubicBezTo>
                  <a:pt x="25618" y="37905"/>
                  <a:pt x="13201" y="45237"/>
                  <a:pt x="6672" y="56782"/>
                </a:cubicBezTo>
                <a:cubicBezTo>
                  <a:pt x="-7298" y="80091"/>
                  <a:pt x="2947" y="114811"/>
                  <a:pt x="16544" y="133789"/>
                </a:cubicBezTo>
                <a:cubicBezTo>
                  <a:pt x="23157" y="142808"/>
                  <a:pt x="31073" y="153556"/>
                  <a:pt x="41597" y="153207"/>
                </a:cubicBezTo>
                <a:cubicBezTo>
                  <a:pt x="52121" y="152857"/>
                  <a:pt x="55381" y="146932"/>
                  <a:pt x="67395" y="146932"/>
                </a:cubicBezTo>
                <a:cubicBezTo>
                  <a:pt x="79409" y="146932"/>
                  <a:pt x="82948" y="153207"/>
                  <a:pt x="93379" y="152983"/>
                </a:cubicBezTo>
                <a:cubicBezTo>
                  <a:pt x="103810" y="152759"/>
                  <a:pt x="111074" y="143946"/>
                  <a:pt x="117594" y="134157"/>
                </a:cubicBezTo>
                <a:cubicBezTo>
                  <a:pt x="122296" y="127470"/>
                  <a:pt x="125967" y="120163"/>
                  <a:pt x="128490" y="112462"/>
                </a:cubicBezTo>
                <a:cubicBezTo>
                  <a:pt x="115698" y="107011"/>
                  <a:pt x="107421" y="94839"/>
                  <a:pt x="107349" y="81373"/>
                </a:cubicBezTo>
                <a:cubicBezTo>
                  <a:pt x="107506" y="69487"/>
                  <a:pt x="113926" y="58492"/>
                  <a:pt x="124393" y="52184"/>
                </a:cubicBezTo>
                <a:cubicBezTo>
                  <a:pt x="117759" y="43054"/>
                  <a:pt x="107086" y="37419"/>
                  <a:pt x="95521" y="36944"/>
                </a:cubicBezTo>
                <a:moveTo>
                  <a:pt x="178689" y="18871"/>
                </a:moveTo>
                <a:lnTo>
                  <a:pt x="178689" y="44465"/>
                </a:lnTo>
                <a:lnTo>
                  <a:pt x="199924" y="44465"/>
                </a:lnTo>
                <a:lnTo>
                  <a:pt x="199924" y="61363"/>
                </a:lnTo>
                <a:lnTo>
                  <a:pt x="178689" y="61363"/>
                </a:lnTo>
                <a:lnTo>
                  <a:pt x="178689" y="121920"/>
                </a:lnTo>
                <a:cubicBezTo>
                  <a:pt x="178689" y="130956"/>
                  <a:pt x="182880" y="135564"/>
                  <a:pt x="192194" y="135564"/>
                </a:cubicBezTo>
                <a:cubicBezTo>
                  <a:pt x="194747" y="135519"/>
                  <a:pt x="197297" y="135340"/>
                  <a:pt x="199831" y="135026"/>
                </a:cubicBezTo>
                <a:lnTo>
                  <a:pt x="199831" y="152059"/>
                </a:lnTo>
                <a:cubicBezTo>
                  <a:pt x="195674" y="152707"/>
                  <a:pt x="191467" y="153007"/>
                  <a:pt x="187258" y="152956"/>
                </a:cubicBezTo>
                <a:cubicBezTo>
                  <a:pt x="165278" y="152956"/>
                  <a:pt x="156803" y="144735"/>
                  <a:pt x="156803" y="124125"/>
                </a:cubicBezTo>
                <a:lnTo>
                  <a:pt x="156803" y="61767"/>
                </a:lnTo>
                <a:lnTo>
                  <a:pt x="140132" y="61767"/>
                </a:lnTo>
                <a:lnTo>
                  <a:pt x="140132" y="44824"/>
                </a:lnTo>
                <a:lnTo>
                  <a:pt x="156337" y="44824"/>
                </a:lnTo>
                <a:lnTo>
                  <a:pt x="156337" y="18889"/>
                </a:lnTo>
                <a:close/>
                <a:moveTo>
                  <a:pt x="274151" y="152023"/>
                </a:moveTo>
                <a:lnTo>
                  <a:pt x="250868" y="152023"/>
                </a:lnTo>
                <a:lnTo>
                  <a:pt x="211752" y="44824"/>
                </a:lnTo>
                <a:lnTo>
                  <a:pt x="234942" y="44824"/>
                </a:lnTo>
                <a:lnTo>
                  <a:pt x="262416" y="130956"/>
                </a:lnTo>
                <a:lnTo>
                  <a:pt x="262975" y="130956"/>
                </a:lnTo>
                <a:lnTo>
                  <a:pt x="290449" y="44824"/>
                </a:lnTo>
                <a:lnTo>
                  <a:pt x="313174" y="44824"/>
                </a:lnTo>
                <a:close/>
                <a:moveTo>
                  <a:pt x="376411" y="152023"/>
                </a:moveTo>
                <a:lnTo>
                  <a:pt x="356295" y="152023"/>
                </a:lnTo>
                <a:lnTo>
                  <a:pt x="356295" y="108096"/>
                </a:lnTo>
                <a:lnTo>
                  <a:pt x="313081" y="108096"/>
                </a:lnTo>
                <a:lnTo>
                  <a:pt x="313081" y="88751"/>
                </a:lnTo>
                <a:lnTo>
                  <a:pt x="356201" y="88751"/>
                </a:lnTo>
                <a:lnTo>
                  <a:pt x="356201" y="44824"/>
                </a:lnTo>
                <a:lnTo>
                  <a:pt x="376318" y="44824"/>
                </a:lnTo>
                <a:lnTo>
                  <a:pt x="376318" y="88751"/>
                </a:lnTo>
                <a:lnTo>
                  <a:pt x="419532" y="88751"/>
                </a:lnTo>
                <a:lnTo>
                  <a:pt x="419532" y="108096"/>
                </a:lnTo>
                <a:lnTo>
                  <a:pt x="376411" y="108096"/>
                </a:lnTo>
                <a:close/>
              </a:path>
            </a:pathLst>
          </a:custGeom>
          <a:solidFill>
            <a:srgbClr val="000000"/>
          </a:solidFill>
          <a:ln w="9313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5778" name="Gráfico 5632">
            <a:extLst>
              <a:ext uri="{FF2B5EF4-FFF2-40B4-BE49-F238E27FC236}">
                <a16:creationId xmlns:a16="http://schemas.microsoft.com/office/drawing/2014/main" id="{2F835F2D-E6EE-634B-F3CC-A37075C8B539}"/>
              </a:ext>
            </a:extLst>
          </p:cNvPr>
          <p:cNvSpPr/>
          <p:nvPr/>
        </p:nvSpPr>
        <p:spPr>
          <a:xfrm>
            <a:off x="723738" y="3533885"/>
            <a:ext cx="241190" cy="241190"/>
          </a:xfrm>
          <a:custGeom>
            <a:avLst/>
            <a:gdLst>
              <a:gd name="connsiteX0" fmla="*/ 2297918 w 3734070"/>
              <a:gd name="connsiteY0" fmla="*/ 1289558 h 3734040"/>
              <a:gd name="connsiteX1" fmla="*/ 2417957 w 3734070"/>
              <a:gd name="connsiteY1" fmla="*/ 885509 h 3734040"/>
              <a:gd name="connsiteX2" fmla="*/ 2540916 w 3734070"/>
              <a:gd name="connsiteY2" fmla="*/ 1289558 h 3734040"/>
              <a:gd name="connsiteX3" fmla="*/ 2896645 w 3734070"/>
              <a:gd name="connsiteY3" fmla="*/ 1642488 h 3734040"/>
              <a:gd name="connsiteX4" fmla="*/ 2581454 w 3734070"/>
              <a:gd name="connsiteY4" fmla="*/ 688983 h 3734040"/>
              <a:gd name="connsiteX5" fmla="*/ 2557459 w 3734070"/>
              <a:gd name="connsiteY5" fmla="*/ 647639 h 3734040"/>
              <a:gd name="connsiteX6" fmla="*/ 2514028 w 3734070"/>
              <a:gd name="connsiteY6" fmla="*/ 637862 h 3734040"/>
              <a:gd name="connsiteX7" fmla="*/ 2339978 w 3734070"/>
              <a:gd name="connsiteY7" fmla="*/ 637862 h 3734040"/>
              <a:gd name="connsiteX8" fmla="*/ 2295593 w 3734070"/>
              <a:gd name="connsiteY8" fmla="*/ 648474 h 3734040"/>
              <a:gd name="connsiteX9" fmla="*/ 2272433 w 3734070"/>
              <a:gd name="connsiteY9" fmla="*/ 688983 h 3734040"/>
              <a:gd name="connsiteX10" fmla="*/ 1954320 w 3734070"/>
              <a:gd name="connsiteY10" fmla="*/ 1642488 h 3734040"/>
              <a:gd name="connsiteX11" fmla="*/ 1948269 w 3734070"/>
              <a:gd name="connsiteY11" fmla="*/ 1672414 h 3734040"/>
              <a:gd name="connsiteX12" fmla="*/ 1990298 w 3734070"/>
              <a:gd name="connsiteY12" fmla="*/ 1706872 h 3734040"/>
              <a:gd name="connsiteX13" fmla="*/ 2120829 w 3734070"/>
              <a:gd name="connsiteY13" fmla="*/ 1706872 h 3734040"/>
              <a:gd name="connsiteX14" fmla="*/ 2150040 w 3734070"/>
              <a:gd name="connsiteY14" fmla="*/ 1705472 h 3734040"/>
              <a:gd name="connsiteX15" fmla="*/ 2168104 w 3734070"/>
              <a:gd name="connsiteY15" fmla="*/ 1697899 h 3734040"/>
              <a:gd name="connsiteX16" fmla="*/ 2180087 w 3734070"/>
              <a:gd name="connsiteY16" fmla="*/ 1679986 h 3734040"/>
              <a:gd name="connsiteX17" fmla="*/ 2191385 w 3734070"/>
              <a:gd name="connsiteY17" fmla="*/ 1648419 h 3734040"/>
              <a:gd name="connsiteX18" fmla="*/ 2240865 w 3734070"/>
              <a:gd name="connsiteY18" fmla="*/ 1481672 h 3734040"/>
              <a:gd name="connsiteX19" fmla="*/ 2599488 w 3734070"/>
              <a:gd name="connsiteY19" fmla="*/ 1481672 h 3734040"/>
              <a:gd name="connsiteX20" fmla="*/ 2650489 w 3734070"/>
              <a:gd name="connsiteY20" fmla="*/ 1645408 h 3734040"/>
              <a:gd name="connsiteX21" fmla="*/ 2662503 w 3734070"/>
              <a:gd name="connsiteY21" fmla="*/ 1678465 h 3734040"/>
              <a:gd name="connsiteX22" fmla="*/ 2676006 w 3734070"/>
              <a:gd name="connsiteY22" fmla="*/ 1697215 h 3734040"/>
              <a:gd name="connsiteX23" fmla="*/ 2694039 w 3734070"/>
              <a:gd name="connsiteY23" fmla="*/ 1705472 h 3734040"/>
              <a:gd name="connsiteX24" fmla="*/ 2721046 w 3734070"/>
              <a:gd name="connsiteY24" fmla="*/ 1706872 h 3734040"/>
              <a:gd name="connsiteX25" fmla="*/ 2860548 w 3734070"/>
              <a:gd name="connsiteY25" fmla="*/ 1706872 h 3734040"/>
              <a:gd name="connsiteX26" fmla="*/ 2902578 w 3734070"/>
              <a:gd name="connsiteY26" fmla="*/ 1672414 h 3734040"/>
              <a:gd name="connsiteX27" fmla="*/ 2901892 w 3734070"/>
              <a:gd name="connsiteY27" fmla="*/ 1658196 h 3734040"/>
              <a:gd name="connsiteX28" fmla="*/ 2896645 w 3734070"/>
              <a:gd name="connsiteY28" fmla="*/ 1642488 h 3734040"/>
              <a:gd name="connsiteX29" fmla="*/ 2741912 w 3734070"/>
              <a:gd name="connsiteY29" fmla="*/ 2026268 h 3734040"/>
              <a:gd name="connsiteX30" fmla="*/ 2641309 w 3734070"/>
              <a:gd name="connsiteY30" fmla="*/ 2026268 h 3734040"/>
              <a:gd name="connsiteX31" fmla="*/ 2589592 w 3734070"/>
              <a:gd name="connsiteY31" fmla="*/ 2037564 h 3734040"/>
              <a:gd name="connsiteX32" fmla="*/ 2576893 w 3734070"/>
              <a:gd name="connsiteY32" fmla="*/ 2083321 h 3734040"/>
              <a:gd name="connsiteX33" fmla="*/ 2576893 w 3734070"/>
              <a:gd name="connsiteY33" fmla="*/ 2649318 h 3734040"/>
              <a:gd name="connsiteX34" fmla="*/ 2279765 w 3734070"/>
              <a:gd name="connsiteY34" fmla="*/ 2081800 h 3734040"/>
              <a:gd name="connsiteX35" fmla="*/ 2244473 w 3734070"/>
              <a:gd name="connsiteY35" fmla="*/ 2036045 h 3734040"/>
              <a:gd name="connsiteX36" fmla="*/ 2183694 w 3734070"/>
              <a:gd name="connsiteY36" fmla="*/ 2026268 h 3734040"/>
              <a:gd name="connsiteX37" fmla="*/ 2090662 w 3734070"/>
              <a:gd name="connsiteY37" fmla="*/ 2026268 h 3734040"/>
              <a:gd name="connsiteX38" fmla="*/ 2038856 w 3734070"/>
              <a:gd name="connsiteY38" fmla="*/ 2037564 h 3734040"/>
              <a:gd name="connsiteX39" fmla="*/ 2026157 w 3734070"/>
              <a:gd name="connsiteY39" fmla="*/ 2083321 h 3734040"/>
              <a:gd name="connsiteX40" fmla="*/ 2026157 w 3734070"/>
              <a:gd name="connsiteY40" fmla="*/ 3038225 h 3734040"/>
              <a:gd name="connsiteX41" fmla="*/ 2038141 w 3734070"/>
              <a:gd name="connsiteY41" fmla="*/ 3084099 h 3734040"/>
              <a:gd name="connsiteX42" fmla="*/ 2089143 w 3734070"/>
              <a:gd name="connsiteY42" fmla="*/ 3095278 h 3734040"/>
              <a:gd name="connsiteX43" fmla="*/ 2191265 w 3734070"/>
              <a:gd name="connsiteY43" fmla="*/ 3095278 h 3734040"/>
              <a:gd name="connsiteX44" fmla="*/ 2242952 w 3734070"/>
              <a:gd name="connsiteY44" fmla="*/ 3084099 h 3734040"/>
              <a:gd name="connsiteX45" fmla="*/ 2255651 w 3734070"/>
              <a:gd name="connsiteY45" fmla="*/ 3038225 h 3734040"/>
              <a:gd name="connsiteX46" fmla="*/ 2255651 w 3734070"/>
              <a:gd name="connsiteY46" fmla="*/ 2470707 h 3734040"/>
              <a:gd name="connsiteX47" fmla="*/ 2552809 w 3734070"/>
              <a:gd name="connsiteY47" fmla="*/ 3039746 h 3734040"/>
              <a:gd name="connsiteX48" fmla="*/ 2588071 w 3734070"/>
              <a:gd name="connsiteY48" fmla="*/ 3085500 h 3734040"/>
              <a:gd name="connsiteX49" fmla="*/ 2648850 w 3734070"/>
              <a:gd name="connsiteY49" fmla="*/ 3095278 h 3734040"/>
              <a:gd name="connsiteX50" fmla="*/ 2741912 w 3734070"/>
              <a:gd name="connsiteY50" fmla="*/ 3095278 h 3734040"/>
              <a:gd name="connsiteX51" fmla="*/ 2793599 w 3734070"/>
              <a:gd name="connsiteY51" fmla="*/ 3084099 h 3734040"/>
              <a:gd name="connsiteX52" fmla="*/ 2806417 w 3734070"/>
              <a:gd name="connsiteY52" fmla="*/ 3038225 h 3734040"/>
              <a:gd name="connsiteX53" fmla="*/ 2806417 w 3734070"/>
              <a:gd name="connsiteY53" fmla="*/ 2083321 h 3734040"/>
              <a:gd name="connsiteX54" fmla="*/ 2793599 w 3734070"/>
              <a:gd name="connsiteY54" fmla="*/ 2037564 h 3734040"/>
              <a:gd name="connsiteX55" fmla="*/ 2741912 w 3734070"/>
              <a:gd name="connsiteY55" fmla="*/ 2026268 h 3734040"/>
              <a:gd name="connsiteX56" fmla="*/ 3240274 w 3734070"/>
              <a:gd name="connsiteY56" fmla="*/ 1935919 h 3734040"/>
              <a:gd name="connsiteX57" fmla="*/ 3499336 w 3734070"/>
              <a:gd name="connsiteY57" fmla="*/ 2194863 h 3734040"/>
              <a:gd name="connsiteX58" fmla="*/ 3499336 w 3734070"/>
              <a:gd name="connsiteY58" fmla="*/ 3499565 h 3734040"/>
              <a:gd name="connsiteX59" fmla="*/ 233257 w 3734070"/>
              <a:gd name="connsiteY59" fmla="*/ 3499565 h 3734040"/>
              <a:gd name="connsiteX60" fmla="*/ 233257 w 3734070"/>
              <a:gd name="connsiteY60" fmla="*/ 2194772 h 3734040"/>
              <a:gd name="connsiteX61" fmla="*/ 491991 w 3734070"/>
              <a:gd name="connsiteY61" fmla="*/ 1935948 h 3734040"/>
              <a:gd name="connsiteX62" fmla="*/ 491991 w 3734070"/>
              <a:gd name="connsiteY62" fmla="*/ 1797370 h 3734040"/>
              <a:gd name="connsiteX63" fmla="*/ 233257 w 3734070"/>
              <a:gd name="connsiteY63" fmla="*/ 1538547 h 3734040"/>
              <a:gd name="connsiteX64" fmla="*/ 233257 w 3734070"/>
              <a:gd name="connsiteY64" fmla="*/ 233634 h 3734040"/>
              <a:gd name="connsiteX65" fmla="*/ 3499336 w 3734070"/>
              <a:gd name="connsiteY65" fmla="*/ 233634 h 3734040"/>
              <a:gd name="connsiteX66" fmla="*/ 3499336 w 3734070"/>
              <a:gd name="connsiteY66" fmla="*/ 1538337 h 3734040"/>
              <a:gd name="connsiteX67" fmla="*/ 3240274 w 3734070"/>
              <a:gd name="connsiteY67" fmla="*/ 1797281 h 3734040"/>
              <a:gd name="connsiteX68" fmla="*/ 3240274 w 3734070"/>
              <a:gd name="connsiteY68" fmla="*/ 1935948 h 3734040"/>
              <a:gd name="connsiteX69" fmla="*/ 3733392 w 3734070"/>
              <a:gd name="connsiteY69" fmla="*/ -390 h 3734040"/>
              <a:gd name="connsiteX70" fmla="*/ -678 w 3734070"/>
              <a:gd name="connsiteY70" fmla="*/ -390 h 3734040"/>
              <a:gd name="connsiteX71" fmla="*/ -678 w 3734070"/>
              <a:gd name="connsiteY71" fmla="*/ 1650893 h 3734040"/>
              <a:gd name="connsiteX72" fmla="*/ 215072 w 3734070"/>
              <a:gd name="connsiteY72" fmla="*/ 1866675 h 3734040"/>
              <a:gd name="connsiteX73" fmla="*/ -678 w 3734070"/>
              <a:gd name="connsiteY73" fmla="*/ 2082426 h 3734040"/>
              <a:gd name="connsiteX74" fmla="*/ -678 w 3734070"/>
              <a:gd name="connsiteY74" fmla="*/ 3733650 h 3734040"/>
              <a:gd name="connsiteX75" fmla="*/ 3733392 w 3734070"/>
              <a:gd name="connsiteY75" fmla="*/ 3733650 h 3734040"/>
              <a:gd name="connsiteX76" fmla="*/ 3733392 w 3734070"/>
              <a:gd name="connsiteY76" fmla="*/ 2082426 h 3734040"/>
              <a:gd name="connsiteX77" fmla="*/ 3517610 w 3734070"/>
              <a:gd name="connsiteY77" fmla="*/ 1866675 h 3734040"/>
              <a:gd name="connsiteX78" fmla="*/ 3733392 w 3734070"/>
              <a:gd name="connsiteY78" fmla="*/ 1650893 h 3734040"/>
              <a:gd name="connsiteX79" fmla="*/ 1659399 w 3734070"/>
              <a:gd name="connsiteY79" fmla="*/ 2873028 h 3734040"/>
              <a:gd name="connsiteX80" fmla="*/ 1237672 w 3734070"/>
              <a:gd name="connsiteY80" fmla="*/ 2873028 h 3734040"/>
              <a:gd name="connsiteX81" fmla="*/ 1681755 w 3734070"/>
              <a:gd name="connsiteY81" fmla="*/ 2248607 h 3734040"/>
              <a:gd name="connsiteX82" fmla="*/ 1695376 w 3734070"/>
              <a:gd name="connsiteY82" fmla="*/ 2224491 h 3734040"/>
              <a:gd name="connsiteX83" fmla="*/ 1698267 w 3734070"/>
              <a:gd name="connsiteY83" fmla="*/ 2203536 h 3734040"/>
              <a:gd name="connsiteX84" fmla="*/ 1698267 w 3734070"/>
              <a:gd name="connsiteY84" fmla="*/ 2083379 h 3734040"/>
              <a:gd name="connsiteX85" fmla="*/ 1685599 w 3734070"/>
              <a:gd name="connsiteY85" fmla="*/ 2037595 h 3734040"/>
              <a:gd name="connsiteX86" fmla="*/ 1633524 w 3734070"/>
              <a:gd name="connsiteY86" fmla="*/ 2026297 h 3734040"/>
              <a:gd name="connsiteX87" fmla="*/ 992292 w 3734070"/>
              <a:gd name="connsiteY87" fmla="*/ 2026297 h 3734040"/>
              <a:gd name="connsiteX88" fmla="*/ 947132 w 3734070"/>
              <a:gd name="connsiteY88" fmla="*/ 2038996 h 3734040"/>
              <a:gd name="connsiteX89" fmla="*/ 936520 w 3734070"/>
              <a:gd name="connsiteY89" fmla="*/ 2092441 h 3734040"/>
              <a:gd name="connsiteX90" fmla="*/ 936520 w 3734070"/>
              <a:gd name="connsiteY90" fmla="*/ 2182462 h 3734040"/>
              <a:gd name="connsiteX91" fmla="*/ 947132 w 3734070"/>
              <a:gd name="connsiteY91" fmla="*/ 2235789 h 3734040"/>
              <a:gd name="connsiteX92" fmla="*/ 992292 w 3734070"/>
              <a:gd name="connsiteY92" fmla="*/ 2248607 h 3734040"/>
              <a:gd name="connsiteX93" fmla="*/ 1388054 w 3734070"/>
              <a:gd name="connsiteY93" fmla="*/ 2248607 h 3734040"/>
              <a:gd name="connsiteX94" fmla="*/ 950023 w 3734070"/>
              <a:gd name="connsiteY94" fmla="*/ 2873057 h 3734040"/>
              <a:gd name="connsiteX95" fmla="*/ 933390 w 3734070"/>
              <a:gd name="connsiteY95" fmla="*/ 2915088 h 3734040"/>
              <a:gd name="connsiteX96" fmla="*/ 933390 w 3734070"/>
              <a:gd name="connsiteY96" fmla="*/ 3038285 h 3734040"/>
              <a:gd name="connsiteX97" fmla="*/ 946297 w 3734070"/>
              <a:gd name="connsiteY97" fmla="*/ 3084160 h 3734040"/>
              <a:gd name="connsiteX98" fmla="*/ 998252 w 3734070"/>
              <a:gd name="connsiteY98" fmla="*/ 3095338 h 3734040"/>
              <a:gd name="connsiteX99" fmla="*/ 1659399 w 3734070"/>
              <a:gd name="connsiteY99" fmla="*/ 3095338 h 3734040"/>
              <a:gd name="connsiteX100" fmla="*/ 1704677 w 3734070"/>
              <a:gd name="connsiteY100" fmla="*/ 3082639 h 3734040"/>
              <a:gd name="connsiteX101" fmla="*/ 1715169 w 3734070"/>
              <a:gd name="connsiteY101" fmla="*/ 3029312 h 3734040"/>
              <a:gd name="connsiteX102" fmla="*/ 1715169 w 3734070"/>
              <a:gd name="connsiteY102" fmla="*/ 2939172 h 3734040"/>
              <a:gd name="connsiteX103" fmla="*/ 1704677 w 3734070"/>
              <a:gd name="connsiteY103" fmla="*/ 2885965 h 3734040"/>
              <a:gd name="connsiteX104" fmla="*/ 1659399 w 3734070"/>
              <a:gd name="connsiteY104" fmla="*/ 2873057 h 3734040"/>
              <a:gd name="connsiteX105" fmla="*/ 1463082 w 3734070"/>
              <a:gd name="connsiteY105" fmla="*/ 1280527 h 3734040"/>
              <a:gd name="connsiteX106" fmla="*/ 1454795 w 3734070"/>
              <a:gd name="connsiteY106" fmla="*/ 1383455 h 3734040"/>
              <a:gd name="connsiteX107" fmla="*/ 1427789 w 3734070"/>
              <a:gd name="connsiteY107" fmla="*/ 1450285 h 3734040"/>
              <a:gd name="connsiteX108" fmla="*/ 1378306 w 3734070"/>
              <a:gd name="connsiteY108" fmla="*/ 1486262 h 3734040"/>
              <a:gd name="connsiteX109" fmla="*/ 1302625 w 3734070"/>
              <a:gd name="connsiteY109" fmla="*/ 1496725 h 3734040"/>
              <a:gd name="connsiteX110" fmla="*/ 1179546 w 3734070"/>
              <a:gd name="connsiteY110" fmla="*/ 1496725 h 3734040"/>
              <a:gd name="connsiteX111" fmla="*/ 1179546 w 3734070"/>
              <a:gd name="connsiteY111" fmla="*/ 848040 h 3734040"/>
              <a:gd name="connsiteX112" fmla="*/ 1302625 w 3734070"/>
              <a:gd name="connsiteY112" fmla="*/ 848040 h 3734040"/>
              <a:gd name="connsiteX113" fmla="*/ 1425584 w 3734070"/>
              <a:gd name="connsiteY113" fmla="*/ 898356 h 3734040"/>
              <a:gd name="connsiteX114" fmla="*/ 1463082 w 3734070"/>
              <a:gd name="connsiteY114" fmla="*/ 1064387 h 3734040"/>
              <a:gd name="connsiteX115" fmla="*/ 1677670 w 3734070"/>
              <a:gd name="connsiteY115" fmla="*/ 846668 h 3734040"/>
              <a:gd name="connsiteX116" fmla="*/ 1534442 w 3734070"/>
              <a:gd name="connsiteY116" fmla="*/ 688983 h 3734040"/>
              <a:gd name="connsiteX117" fmla="*/ 1305545 w 3734070"/>
              <a:gd name="connsiteY117" fmla="*/ 637892 h 3734040"/>
              <a:gd name="connsiteX118" fmla="*/ 998044 w 3734070"/>
              <a:gd name="connsiteY118" fmla="*/ 637892 h 3734040"/>
              <a:gd name="connsiteX119" fmla="*/ 946208 w 3734070"/>
              <a:gd name="connsiteY119" fmla="*/ 649189 h 3734040"/>
              <a:gd name="connsiteX120" fmla="*/ 933419 w 3734070"/>
              <a:gd name="connsiteY120" fmla="*/ 694945 h 3734040"/>
              <a:gd name="connsiteX121" fmla="*/ 933419 w 3734070"/>
              <a:gd name="connsiteY121" fmla="*/ 1649969 h 3734040"/>
              <a:gd name="connsiteX122" fmla="*/ 946208 w 3734070"/>
              <a:gd name="connsiteY122" fmla="*/ 1695723 h 3734040"/>
              <a:gd name="connsiteX123" fmla="*/ 998044 w 3734070"/>
              <a:gd name="connsiteY123" fmla="*/ 1706902 h 3734040"/>
              <a:gd name="connsiteX124" fmla="*/ 1343043 w 3734070"/>
              <a:gd name="connsiteY124" fmla="*/ 1706902 h 3734040"/>
              <a:gd name="connsiteX125" fmla="*/ 1677700 w 3734070"/>
              <a:gd name="connsiteY125" fmla="*/ 1498244 h 3734040"/>
              <a:gd name="connsiteX126" fmla="*/ 1706913 w 3734070"/>
              <a:gd name="connsiteY126" fmla="*/ 1401368 h 3734040"/>
              <a:gd name="connsiteX127" fmla="*/ 1715169 w 3734070"/>
              <a:gd name="connsiteY127" fmla="*/ 1277605 h 3734040"/>
              <a:gd name="connsiteX128" fmla="*/ 1715169 w 3734070"/>
              <a:gd name="connsiteY128" fmla="*/ 1074881 h 3734040"/>
              <a:gd name="connsiteX129" fmla="*/ 1706913 w 3734070"/>
              <a:gd name="connsiteY129" fmla="*/ 939700 h 3734040"/>
              <a:gd name="connsiteX130" fmla="*/ 1677700 w 3734070"/>
              <a:gd name="connsiteY130" fmla="*/ 846638 h 3734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</a:cxnLst>
            <a:rect l="l" t="t" r="r" b="b"/>
            <a:pathLst>
              <a:path w="3734070" h="3734040">
                <a:moveTo>
                  <a:pt x="2297918" y="1289558"/>
                </a:moveTo>
                <a:lnTo>
                  <a:pt x="2417957" y="885509"/>
                </a:lnTo>
                <a:lnTo>
                  <a:pt x="2540916" y="1289558"/>
                </a:lnTo>
                <a:close/>
                <a:moveTo>
                  <a:pt x="2896645" y="1642488"/>
                </a:moveTo>
                <a:lnTo>
                  <a:pt x="2581454" y="688983"/>
                </a:lnTo>
                <a:cubicBezTo>
                  <a:pt x="2574479" y="667909"/>
                  <a:pt x="2566430" y="654167"/>
                  <a:pt x="2557459" y="647639"/>
                </a:cubicBezTo>
                <a:cubicBezTo>
                  <a:pt x="2548517" y="641230"/>
                  <a:pt x="2533940" y="637862"/>
                  <a:pt x="2514028" y="637862"/>
                </a:cubicBezTo>
                <a:lnTo>
                  <a:pt x="2339978" y="637862"/>
                </a:lnTo>
                <a:cubicBezTo>
                  <a:pt x="2319947" y="637862"/>
                  <a:pt x="2305163" y="641469"/>
                  <a:pt x="2295593" y="648474"/>
                </a:cubicBezTo>
                <a:cubicBezTo>
                  <a:pt x="2286174" y="655329"/>
                  <a:pt x="2278364" y="668952"/>
                  <a:pt x="2272433" y="688983"/>
                </a:cubicBezTo>
                <a:lnTo>
                  <a:pt x="1954320" y="1642488"/>
                </a:lnTo>
                <a:cubicBezTo>
                  <a:pt x="1950236" y="1647494"/>
                  <a:pt x="1948269" y="1657392"/>
                  <a:pt x="1948269" y="1672414"/>
                </a:cubicBezTo>
                <a:cubicBezTo>
                  <a:pt x="1948269" y="1695456"/>
                  <a:pt x="1962338" y="1706872"/>
                  <a:pt x="1990298" y="1706872"/>
                </a:cubicBezTo>
                <a:lnTo>
                  <a:pt x="2120829" y="1706872"/>
                </a:lnTo>
                <a:cubicBezTo>
                  <a:pt x="2132931" y="1706872"/>
                  <a:pt x="2142588" y="1706425"/>
                  <a:pt x="2150040" y="1705472"/>
                </a:cubicBezTo>
                <a:cubicBezTo>
                  <a:pt x="2157612" y="1704429"/>
                  <a:pt x="2163543" y="1701866"/>
                  <a:pt x="2168104" y="1697899"/>
                </a:cubicBezTo>
                <a:cubicBezTo>
                  <a:pt x="2172635" y="1693966"/>
                  <a:pt x="2176599" y="1687884"/>
                  <a:pt x="2180087" y="1679986"/>
                </a:cubicBezTo>
                <a:cubicBezTo>
                  <a:pt x="2183574" y="1671817"/>
                  <a:pt x="2187300" y="1661356"/>
                  <a:pt x="2191385" y="1648419"/>
                </a:cubicBezTo>
                <a:lnTo>
                  <a:pt x="2240865" y="1481672"/>
                </a:lnTo>
                <a:lnTo>
                  <a:pt x="2599488" y="1481672"/>
                </a:lnTo>
                <a:lnTo>
                  <a:pt x="2650489" y="1645408"/>
                </a:lnTo>
                <a:cubicBezTo>
                  <a:pt x="2654574" y="1659358"/>
                  <a:pt x="2658538" y="1670416"/>
                  <a:pt x="2662503" y="1678465"/>
                </a:cubicBezTo>
                <a:cubicBezTo>
                  <a:pt x="2666438" y="1686394"/>
                  <a:pt x="2670997" y="1692683"/>
                  <a:pt x="2676006" y="1697215"/>
                </a:cubicBezTo>
                <a:cubicBezTo>
                  <a:pt x="2681013" y="1701625"/>
                  <a:pt x="2686946" y="1704429"/>
                  <a:pt x="2694039" y="1705472"/>
                </a:cubicBezTo>
                <a:cubicBezTo>
                  <a:pt x="2700925" y="1706396"/>
                  <a:pt x="2709988" y="1706872"/>
                  <a:pt x="2721046" y="1706872"/>
                </a:cubicBezTo>
                <a:lnTo>
                  <a:pt x="2860548" y="1706872"/>
                </a:lnTo>
                <a:cubicBezTo>
                  <a:pt x="2888507" y="1706872"/>
                  <a:pt x="2902578" y="1695456"/>
                  <a:pt x="2902578" y="1672414"/>
                </a:cubicBezTo>
                <a:cubicBezTo>
                  <a:pt x="2902578" y="1665439"/>
                  <a:pt x="2902340" y="1660639"/>
                  <a:pt x="2901892" y="1658196"/>
                </a:cubicBezTo>
                <a:cubicBezTo>
                  <a:pt x="2901295" y="1655632"/>
                  <a:pt x="2899567" y="1650416"/>
                  <a:pt x="2896645" y="1642488"/>
                </a:cubicBezTo>
                <a:moveTo>
                  <a:pt x="2741912" y="2026268"/>
                </a:moveTo>
                <a:lnTo>
                  <a:pt x="2641309" y="2026268"/>
                </a:lnTo>
                <a:cubicBezTo>
                  <a:pt x="2615345" y="2026268"/>
                  <a:pt x="2598087" y="2030112"/>
                  <a:pt x="2589592" y="2037564"/>
                </a:cubicBezTo>
                <a:cubicBezTo>
                  <a:pt x="2581096" y="2045136"/>
                  <a:pt x="2576893" y="2060397"/>
                  <a:pt x="2576893" y="2083321"/>
                </a:cubicBezTo>
                <a:lnTo>
                  <a:pt x="2576893" y="2649318"/>
                </a:lnTo>
                <a:lnTo>
                  <a:pt x="2279765" y="2081800"/>
                </a:lnTo>
                <a:cubicBezTo>
                  <a:pt x="2267754" y="2057804"/>
                  <a:pt x="2256008" y="2042573"/>
                  <a:pt x="2244473" y="2036045"/>
                </a:cubicBezTo>
                <a:cubicBezTo>
                  <a:pt x="2232937" y="2029515"/>
                  <a:pt x="2212697" y="2026268"/>
                  <a:pt x="2183694" y="2026268"/>
                </a:cubicBezTo>
                <a:lnTo>
                  <a:pt x="2090662" y="2026268"/>
                </a:lnTo>
                <a:cubicBezTo>
                  <a:pt x="2064700" y="2026268"/>
                  <a:pt x="2047351" y="2030112"/>
                  <a:pt x="2038856" y="2037564"/>
                </a:cubicBezTo>
                <a:cubicBezTo>
                  <a:pt x="2030451" y="2045136"/>
                  <a:pt x="2026157" y="2060368"/>
                  <a:pt x="2026157" y="2083321"/>
                </a:cubicBezTo>
                <a:lnTo>
                  <a:pt x="2026157" y="3038225"/>
                </a:lnTo>
                <a:cubicBezTo>
                  <a:pt x="2026157" y="3061385"/>
                  <a:pt x="2030121" y="3076527"/>
                  <a:pt x="2038141" y="3084099"/>
                </a:cubicBezTo>
                <a:cubicBezTo>
                  <a:pt x="2046188" y="3091552"/>
                  <a:pt x="2063179" y="3095278"/>
                  <a:pt x="2089143" y="3095278"/>
                </a:cubicBezTo>
                <a:lnTo>
                  <a:pt x="2191265" y="3095278"/>
                </a:lnTo>
                <a:cubicBezTo>
                  <a:pt x="2217229" y="3095278"/>
                  <a:pt x="2234458" y="3091552"/>
                  <a:pt x="2242952" y="3084099"/>
                </a:cubicBezTo>
                <a:cubicBezTo>
                  <a:pt x="2251449" y="3076527"/>
                  <a:pt x="2255651" y="3061385"/>
                  <a:pt x="2255651" y="3038225"/>
                </a:cubicBezTo>
                <a:lnTo>
                  <a:pt x="2255651" y="2470707"/>
                </a:lnTo>
                <a:lnTo>
                  <a:pt x="2552809" y="3039746"/>
                </a:lnTo>
                <a:cubicBezTo>
                  <a:pt x="2564791" y="3063830"/>
                  <a:pt x="2576566" y="3079093"/>
                  <a:pt x="2588071" y="3085500"/>
                </a:cubicBezTo>
                <a:cubicBezTo>
                  <a:pt x="2599608" y="3092148"/>
                  <a:pt x="2619877" y="3095278"/>
                  <a:pt x="2648850" y="3095278"/>
                </a:cubicBezTo>
                <a:lnTo>
                  <a:pt x="2741912" y="3095278"/>
                </a:lnTo>
                <a:cubicBezTo>
                  <a:pt x="2767874" y="3095278"/>
                  <a:pt x="2785103" y="3091552"/>
                  <a:pt x="2793599" y="3084099"/>
                </a:cubicBezTo>
                <a:cubicBezTo>
                  <a:pt x="2802094" y="3076527"/>
                  <a:pt x="2806417" y="3061416"/>
                  <a:pt x="2806417" y="3038225"/>
                </a:cubicBezTo>
                <a:lnTo>
                  <a:pt x="2806417" y="2083321"/>
                </a:lnTo>
                <a:cubicBezTo>
                  <a:pt x="2806417" y="2060397"/>
                  <a:pt x="2802094" y="2045136"/>
                  <a:pt x="2793599" y="2037564"/>
                </a:cubicBezTo>
                <a:cubicBezTo>
                  <a:pt x="2785103" y="2030112"/>
                  <a:pt x="2767874" y="2026268"/>
                  <a:pt x="2741912" y="2026268"/>
                </a:cubicBezTo>
                <a:moveTo>
                  <a:pt x="3240274" y="1935919"/>
                </a:moveTo>
                <a:lnTo>
                  <a:pt x="3499336" y="2194863"/>
                </a:lnTo>
                <a:lnTo>
                  <a:pt x="3499336" y="3499565"/>
                </a:lnTo>
                <a:lnTo>
                  <a:pt x="233257" y="3499565"/>
                </a:lnTo>
                <a:lnTo>
                  <a:pt x="233257" y="2194772"/>
                </a:lnTo>
                <a:lnTo>
                  <a:pt x="491991" y="1935948"/>
                </a:lnTo>
                <a:cubicBezTo>
                  <a:pt x="530294" y="1897645"/>
                  <a:pt x="530294" y="1835584"/>
                  <a:pt x="491991" y="1797370"/>
                </a:cubicBezTo>
                <a:lnTo>
                  <a:pt x="233257" y="1538547"/>
                </a:lnTo>
                <a:lnTo>
                  <a:pt x="233257" y="233634"/>
                </a:lnTo>
                <a:lnTo>
                  <a:pt x="3499336" y="233634"/>
                </a:lnTo>
                <a:lnTo>
                  <a:pt x="3499336" y="1538337"/>
                </a:lnTo>
                <a:lnTo>
                  <a:pt x="3240274" y="1797281"/>
                </a:lnTo>
                <a:cubicBezTo>
                  <a:pt x="3201941" y="1835584"/>
                  <a:pt x="3201941" y="1897645"/>
                  <a:pt x="3240274" y="1935948"/>
                </a:cubicBezTo>
                <a:moveTo>
                  <a:pt x="3733392" y="-390"/>
                </a:moveTo>
                <a:lnTo>
                  <a:pt x="-678" y="-390"/>
                </a:lnTo>
                <a:lnTo>
                  <a:pt x="-678" y="1650893"/>
                </a:lnTo>
                <a:lnTo>
                  <a:pt x="215072" y="1866675"/>
                </a:lnTo>
                <a:lnTo>
                  <a:pt x="-678" y="2082426"/>
                </a:lnTo>
                <a:lnTo>
                  <a:pt x="-678" y="3733650"/>
                </a:lnTo>
                <a:lnTo>
                  <a:pt x="3733392" y="3733650"/>
                </a:lnTo>
                <a:lnTo>
                  <a:pt x="3733392" y="2082426"/>
                </a:lnTo>
                <a:lnTo>
                  <a:pt x="3517610" y="1866675"/>
                </a:lnTo>
                <a:lnTo>
                  <a:pt x="3733392" y="1650893"/>
                </a:lnTo>
                <a:close/>
                <a:moveTo>
                  <a:pt x="1659399" y="2873028"/>
                </a:moveTo>
                <a:lnTo>
                  <a:pt x="1237672" y="2873028"/>
                </a:lnTo>
                <a:lnTo>
                  <a:pt x="1681755" y="2248607"/>
                </a:lnTo>
                <a:cubicBezTo>
                  <a:pt x="1688728" y="2238591"/>
                  <a:pt x="1693260" y="2230542"/>
                  <a:pt x="1695376" y="2224491"/>
                </a:cubicBezTo>
                <a:cubicBezTo>
                  <a:pt x="1697343" y="2218560"/>
                  <a:pt x="1698267" y="2211556"/>
                  <a:pt x="1698267" y="2203536"/>
                </a:cubicBezTo>
                <a:lnTo>
                  <a:pt x="1698267" y="2083379"/>
                </a:lnTo>
                <a:cubicBezTo>
                  <a:pt x="1698267" y="2060428"/>
                  <a:pt x="1694095" y="2045165"/>
                  <a:pt x="1685599" y="2037595"/>
                </a:cubicBezTo>
                <a:cubicBezTo>
                  <a:pt x="1676985" y="2030143"/>
                  <a:pt x="1659606" y="2026297"/>
                  <a:pt x="1633524" y="2026297"/>
                </a:cubicBezTo>
                <a:lnTo>
                  <a:pt x="992292" y="2026297"/>
                </a:lnTo>
                <a:cubicBezTo>
                  <a:pt x="969130" y="2026297"/>
                  <a:pt x="954107" y="2030620"/>
                  <a:pt x="947132" y="2038996"/>
                </a:cubicBezTo>
                <a:cubicBezTo>
                  <a:pt x="940038" y="2047611"/>
                  <a:pt x="936520" y="2065316"/>
                  <a:pt x="936520" y="2092441"/>
                </a:cubicBezTo>
                <a:lnTo>
                  <a:pt x="936520" y="2182462"/>
                </a:lnTo>
                <a:cubicBezTo>
                  <a:pt x="936520" y="2209469"/>
                  <a:pt x="940038" y="2227293"/>
                  <a:pt x="947132" y="2235789"/>
                </a:cubicBezTo>
                <a:cubicBezTo>
                  <a:pt x="954107" y="2244284"/>
                  <a:pt x="969130" y="2248607"/>
                  <a:pt x="992292" y="2248607"/>
                </a:cubicBezTo>
                <a:lnTo>
                  <a:pt x="1388054" y="2248607"/>
                </a:lnTo>
                <a:lnTo>
                  <a:pt x="950023" y="2873057"/>
                </a:lnTo>
                <a:cubicBezTo>
                  <a:pt x="938965" y="2887128"/>
                  <a:pt x="933390" y="2901226"/>
                  <a:pt x="933390" y="2915088"/>
                </a:cubicBezTo>
                <a:lnTo>
                  <a:pt x="933390" y="3038285"/>
                </a:lnTo>
                <a:cubicBezTo>
                  <a:pt x="933390" y="3061445"/>
                  <a:pt x="937682" y="3076587"/>
                  <a:pt x="946297" y="3084160"/>
                </a:cubicBezTo>
                <a:cubicBezTo>
                  <a:pt x="954702" y="3091612"/>
                  <a:pt x="972051" y="3095338"/>
                  <a:pt x="998252" y="3095338"/>
                </a:cubicBezTo>
                <a:lnTo>
                  <a:pt x="1659399" y="3095338"/>
                </a:lnTo>
                <a:cubicBezTo>
                  <a:pt x="1682559" y="3095338"/>
                  <a:pt x="1697583" y="3091135"/>
                  <a:pt x="1704677" y="3082639"/>
                </a:cubicBezTo>
                <a:cubicBezTo>
                  <a:pt x="1711681" y="3074144"/>
                  <a:pt x="1715169" y="3056438"/>
                  <a:pt x="1715169" y="3029312"/>
                </a:cubicBezTo>
                <a:lnTo>
                  <a:pt x="1715169" y="2939172"/>
                </a:lnTo>
                <a:cubicBezTo>
                  <a:pt x="1715169" y="2912166"/>
                  <a:pt x="1711681" y="2894460"/>
                  <a:pt x="1704677" y="2885965"/>
                </a:cubicBezTo>
                <a:cubicBezTo>
                  <a:pt x="1697583" y="2877351"/>
                  <a:pt x="1682559" y="2873057"/>
                  <a:pt x="1659399" y="2873057"/>
                </a:cubicBezTo>
                <a:moveTo>
                  <a:pt x="1463082" y="1280527"/>
                </a:moveTo>
                <a:cubicBezTo>
                  <a:pt x="1463082" y="1321602"/>
                  <a:pt x="1460399" y="1355971"/>
                  <a:pt x="1454795" y="1383455"/>
                </a:cubicBezTo>
                <a:cubicBezTo>
                  <a:pt x="1449341" y="1410938"/>
                  <a:pt x="1440368" y="1433294"/>
                  <a:pt x="1427789" y="1450285"/>
                </a:cubicBezTo>
                <a:cubicBezTo>
                  <a:pt x="1415328" y="1467155"/>
                  <a:pt x="1398905" y="1479169"/>
                  <a:pt x="1378306" y="1486262"/>
                </a:cubicBezTo>
                <a:cubicBezTo>
                  <a:pt x="1357798" y="1493238"/>
                  <a:pt x="1332551" y="1496725"/>
                  <a:pt x="1302625" y="1496725"/>
                </a:cubicBezTo>
                <a:lnTo>
                  <a:pt x="1179546" y="1496725"/>
                </a:lnTo>
                <a:lnTo>
                  <a:pt x="1179546" y="848040"/>
                </a:lnTo>
                <a:lnTo>
                  <a:pt x="1302625" y="848040"/>
                </a:lnTo>
                <a:cubicBezTo>
                  <a:pt x="1359558" y="848040"/>
                  <a:pt x="1400544" y="864941"/>
                  <a:pt x="1425584" y="898356"/>
                </a:cubicBezTo>
                <a:cubicBezTo>
                  <a:pt x="1450621" y="931890"/>
                  <a:pt x="1463082" y="987304"/>
                  <a:pt x="1463082" y="1064387"/>
                </a:cubicBezTo>
                <a:close/>
                <a:moveTo>
                  <a:pt x="1677670" y="846668"/>
                </a:moveTo>
                <a:cubicBezTo>
                  <a:pt x="1642615" y="775516"/>
                  <a:pt x="1594894" y="722994"/>
                  <a:pt x="1534442" y="688983"/>
                </a:cubicBezTo>
                <a:cubicBezTo>
                  <a:pt x="1473782" y="654883"/>
                  <a:pt x="1397622" y="637892"/>
                  <a:pt x="1305545" y="637892"/>
                </a:cubicBezTo>
                <a:lnTo>
                  <a:pt x="998044" y="637892"/>
                </a:lnTo>
                <a:cubicBezTo>
                  <a:pt x="971962" y="637892"/>
                  <a:pt x="954702" y="641737"/>
                  <a:pt x="946208" y="649189"/>
                </a:cubicBezTo>
                <a:cubicBezTo>
                  <a:pt x="937713" y="656760"/>
                  <a:pt x="933419" y="671993"/>
                  <a:pt x="933419" y="694945"/>
                </a:cubicBezTo>
                <a:lnTo>
                  <a:pt x="933419" y="1649969"/>
                </a:lnTo>
                <a:cubicBezTo>
                  <a:pt x="933419" y="1673011"/>
                  <a:pt x="937713" y="1688153"/>
                  <a:pt x="946208" y="1695723"/>
                </a:cubicBezTo>
                <a:cubicBezTo>
                  <a:pt x="954702" y="1703176"/>
                  <a:pt x="971962" y="1706902"/>
                  <a:pt x="998044" y="1706902"/>
                </a:cubicBezTo>
                <a:lnTo>
                  <a:pt x="1343043" y="1706902"/>
                </a:lnTo>
                <a:cubicBezTo>
                  <a:pt x="1506153" y="1706902"/>
                  <a:pt x="1617696" y="1637390"/>
                  <a:pt x="1677700" y="1498244"/>
                </a:cubicBezTo>
                <a:cubicBezTo>
                  <a:pt x="1691650" y="1466231"/>
                  <a:pt x="1701427" y="1433980"/>
                  <a:pt x="1706913" y="1401368"/>
                </a:cubicBezTo>
                <a:cubicBezTo>
                  <a:pt x="1712516" y="1368878"/>
                  <a:pt x="1715169" y="1327533"/>
                  <a:pt x="1715169" y="1277605"/>
                </a:cubicBezTo>
                <a:lnTo>
                  <a:pt x="1715169" y="1074881"/>
                </a:lnTo>
                <a:cubicBezTo>
                  <a:pt x="1715169" y="1017828"/>
                  <a:pt x="1712487" y="972757"/>
                  <a:pt x="1706913" y="939700"/>
                </a:cubicBezTo>
                <a:cubicBezTo>
                  <a:pt x="1701427" y="906613"/>
                  <a:pt x="1691650" y="875642"/>
                  <a:pt x="1677700" y="846638"/>
                </a:cubicBezTo>
              </a:path>
            </a:pathLst>
          </a:custGeom>
          <a:solidFill>
            <a:srgbClr val="0C0C1C"/>
          </a:solidFill>
          <a:ln w="29808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pic>
        <p:nvPicPr>
          <p:cNvPr id="5779" name="Imagen 5778">
            <a:extLst>
              <a:ext uri="{FF2B5EF4-FFF2-40B4-BE49-F238E27FC236}">
                <a16:creationId xmlns:a16="http://schemas.microsoft.com/office/drawing/2014/main" id="{E32EC43D-B915-DB55-900B-F975AB8852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69" t="25372" r="10919" b="25766"/>
          <a:stretch>
            <a:fillRect/>
          </a:stretch>
        </p:blipFill>
        <p:spPr>
          <a:xfrm>
            <a:off x="540657" y="3836858"/>
            <a:ext cx="580106" cy="187192"/>
          </a:xfrm>
          <a:prstGeom prst="roundRect">
            <a:avLst>
              <a:gd name="adj" fmla="val 50000"/>
            </a:avLst>
          </a:prstGeom>
        </p:spPr>
      </p:pic>
      <p:sp>
        <p:nvSpPr>
          <p:cNvPr id="5780" name="Gráfico 5614">
            <a:extLst>
              <a:ext uri="{FF2B5EF4-FFF2-40B4-BE49-F238E27FC236}">
                <a16:creationId xmlns:a16="http://schemas.microsoft.com/office/drawing/2014/main" id="{56A1EED3-BFE6-E39D-340B-2BE7E6DF3CB0}"/>
              </a:ext>
            </a:extLst>
          </p:cNvPr>
          <p:cNvSpPr/>
          <p:nvPr/>
        </p:nvSpPr>
        <p:spPr>
          <a:xfrm>
            <a:off x="611208" y="2209862"/>
            <a:ext cx="466250" cy="125140"/>
          </a:xfrm>
          <a:custGeom>
            <a:avLst/>
            <a:gdLst>
              <a:gd name="connsiteX0" fmla="*/ 2265557 w 2933700"/>
              <a:gd name="connsiteY0" fmla="*/ 714444 h 787400"/>
              <a:gd name="connsiteX1" fmla="*/ 2389162 w 2933700"/>
              <a:gd name="connsiteY1" fmla="*/ 724671 h 787400"/>
              <a:gd name="connsiteX2" fmla="*/ 2389162 w 2933700"/>
              <a:gd name="connsiteY2" fmla="*/ 0 h 787400"/>
              <a:gd name="connsiteX3" fmla="*/ 2265557 w 2933700"/>
              <a:gd name="connsiteY3" fmla="*/ 0 h 787400"/>
              <a:gd name="connsiteX4" fmla="*/ 2265557 w 2933700"/>
              <a:gd name="connsiteY4" fmla="*/ 714444 h 787400"/>
              <a:gd name="connsiteX5" fmla="*/ 278229 w 2933700"/>
              <a:gd name="connsiteY5" fmla="*/ 445517 h 787400"/>
              <a:gd name="connsiteX6" fmla="*/ 117342 w 2933700"/>
              <a:gd name="connsiteY6" fmla="*/ 0 h 787400"/>
              <a:gd name="connsiteX7" fmla="*/ 0 w 2933700"/>
              <a:gd name="connsiteY7" fmla="*/ 0 h 787400"/>
              <a:gd name="connsiteX8" fmla="*/ 0 w 2933700"/>
              <a:gd name="connsiteY8" fmla="*/ 787247 h 787400"/>
              <a:gd name="connsiteX9" fmla="*/ 123607 w 2933700"/>
              <a:gd name="connsiteY9" fmla="*/ 770459 h 787400"/>
              <a:gd name="connsiteX10" fmla="*/ 123607 w 2933700"/>
              <a:gd name="connsiteY10" fmla="*/ 342342 h 787400"/>
              <a:gd name="connsiteX11" fmla="*/ 266616 w 2933700"/>
              <a:gd name="connsiteY11" fmla="*/ 752906 h 787400"/>
              <a:gd name="connsiteX12" fmla="*/ 401835 w 2933700"/>
              <a:gd name="connsiteY12" fmla="*/ 738102 h 787400"/>
              <a:gd name="connsiteX13" fmla="*/ 401835 w 2933700"/>
              <a:gd name="connsiteY13" fmla="*/ 0 h 787400"/>
              <a:gd name="connsiteX14" fmla="*/ 278229 w 2933700"/>
              <a:gd name="connsiteY14" fmla="*/ 0 h 787400"/>
              <a:gd name="connsiteX15" fmla="*/ 278229 w 2933700"/>
              <a:gd name="connsiteY15" fmla="*/ 445517 h 787400"/>
              <a:gd name="connsiteX16" fmla="*/ 520552 w 2933700"/>
              <a:gd name="connsiteY16" fmla="*/ 726655 h 787400"/>
              <a:gd name="connsiteX17" fmla="*/ 863715 w 2933700"/>
              <a:gd name="connsiteY17" fmla="*/ 701166 h 787400"/>
              <a:gd name="connsiteX18" fmla="*/ 863715 w 2933700"/>
              <a:gd name="connsiteY18" fmla="*/ 579523 h 787400"/>
              <a:gd name="connsiteX19" fmla="*/ 644158 w 2933700"/>
              <a:gd name="connsiteY19" fmla="*/ 594480 h 787400"/>
              <a:gd name="connsiteX20" fmla="*/ 644158 w 2933700"/>
              <a:gd name="connsiteY20" fmla="*/ 410566 h 787400"/>
              <a:gd name="connsiteX21" fmla="*/ 811004 w 2933700"/>
              <a:gd name="connsiteY21" fmla="*/ 409345 h 787400"/>
              <a:gd name="connsiteX22" fmla="*/ 811004 w 2933700"/>
              <a:gd name="connsiteY22" fmla="*/ 287701 h 787400"/>
              <a:gd name="connsiteX23" fmla="*/ 644158 w 2933700"/>
              <a:gd name="connsiteY23" fmla="*/ 288922 h 787400"/>
              <a:gd name="connsiteX24" fmla="*/ 644158 w 2933700"/>
              <a:gd name="connsiteY24" fmla="*/ 122712 h 787400"/>
              <a:gd name="connsiteX25" fmla="*/ 863715 w 2933700"/>
              <a:gd name="connsiteY25" fmla="*/ 122712 h 787400"/>
              <a:gd name="connsiteX26" fmla="*/ 863715 w 2933700"/>
              <a:gd name="connsiteY26" fmla="*/ 0 h 787400"/>
              <a:gd name="connsiteX27" fmla="*/ 520552 w 2933700"/>
              <a:gd name="connsiteY27" fmla="*/ 0 h 787400"/>
              <a:gd name="connsiteX28" fmla="*/ 520552 w 2933700"/>
              <a:gd name="connsiteY28" fmla="*/ 726655 h 787400"/>
              <a:gd name="connsiteX29" fmla="*/ 943013 w 2933700"/>
              <a:gd name="connsiteY29" fmla="*/ 122712 h 787400"/>
              <a:gd name="connsiteX30" fmla="*/ 1072272 w 2933700"/>
              <a:gd name="connsiteY30" fmla="*/ 122712 h 787400"/>
              <a:gd name="connsiteX31" fmla="*/ 1072272 w 2933700"/>
              <a:gd name="connsiteY31" fmla="*/ 691398 h 787400"/>
              <a:gd name="connsiteX32" fmla="*/ 1195877 w 2933700"/>
              <a:gd name="connsiteY32" fmla="*/ 687430 h 787400"/>
              <a:gd name="connsiteX33" fmla="*/ 1195877 w 2933700"/>
              <a:gd name="connsiteY33" fmla="*/ 122712 h 787400"/>
              <a:gd name="connsiteX34" fmla="*/ 1325140 w 2933700"/>
              <a:gd name="connsiteY34" fmla="*/ 122712 h 787400"/>
              <a:gd name="connsiteX35" fmla="*/ 1325140 w 2933700"/>
              <a:gd name="connsiteY35" fmla="*/ 0 h 787400"/>
              <a:gd name="connsiteX36" fmla="*/ 943013 w 2933700"/>
              <a:gd name="connsiteY36" fmla="*/ 0 h 787400"/>
              <a:gd name="connsiteX37" fmla="*/ 943013 w 2933700"/>
              <a:gd name="connsiteY37" fmla="*/ 122712 h 787400"/>
              <a:gd name="connsiteX38" fmla="*/ 1404283 w 2933700"/>
              <a:gd name="connsiteY38" fmla="*/ 684072 h 787400"/>
              <a:gd name="connsiteX39" fmla="*/ 1527888 w 2933700"/>
              <a:gd name="connsiteY39" fmla="*/ 684072 h 787400"/>
              <a:gd name="connsiteX40" fmla="*/ 1527888 w 2933700"/>
              <a:gd name="connsiteY40" fmla="*/ 403392 h 787400"/>
              <a:gd name="connsiteX41" fmla="*/ 1695346 w 2933700"/>
              <a:gd name="connsiteY41" fmla="*/ 403392 h 787400"/>
              <a:gd name="connsiteX42" fmla="*/ 1695346 w 2933700"/>
              <a:gd name="connsiteY42" fmla="*/ 281749 h 787400"/>
              <a:gd name="connsiteX43" fmla="*/ 1527736 w 2933700"/>
              <a:gd name="connsiteY43" fmla="*/ 281749 h 787400"/>
              <a:gd name="connsiteX44" fmla="*/ 1527736 w 2933700"/>
              <a:gd name="connsiteY44" fmla="*/ 122712 h 787400"/>
              <a:gd name="connsiteX45" fmla="*/ 1749131 w 2933700"/>
              <a:gd name="connsiteY45" fmla="*/ 122712 h 787400"/>
              <a:gd name="connsiteX46" fmla="*/ 1749131 w 2933700"/>
              <a:gd name="connsiteY46" fmla="*/ 0 h 787400"/>
              <a:gd name="connsiteX47" fmla="*/ 1404283 w 2933700"/>
              <a:gd name="connsiteY47" fmla="*/ 0 h 787400"/>
              <a:gd name="connsiteX48" fmla="*/ 1404283 w 2933700"/>
              <a:gd name="connsiteY48" fmla="*/ 684072 h 787400"/>
              <a:gd name="connsiteX49" fmla="*/ 2933548 w 2933700"/>
              <a:gd name="connsiteY49" fmla="*/ 0 h 787400"/>
              <a:gd name="connsiteX50" fmla="*/ 2797867 w 2933700"/>
              <a:gd name="connsiteY50" fmla="*/ 0 h 787400"/>
              <a:gd name="connsiteX51" fmla="*/ 2708489 w 2933700"/>
              <a:gd name="connsiteY51" fmla="*/ 207114 h 787400"/>
              <a:gd name="connsiteX52" fmla="*/ 2627969 w 2933700"/>
              <a:gd name="connsiteY52" fmla="*/ 0 h 787400"/>
              <a:gd name="connsiteX53" fmla="*/ 2494281 w 2933700"/>
              <a:gd name="connsiteY53" fmla="*/ 0 h 787400"/>
              <a:gd name="connsiteX54" fmla="*/ 2637900 w 2933700"/>
              <a:gd name="connsiteY54" fmla="*/ 370119 h 787400"/>
              <a:gd name="connsiteX55" fmla="*/ 2481293 w 2933700"/>
              <a:gd name="connsiteY55" fmla="*/ 733217 h 787400"/>
              <a:gd name="connsiteX56" fmla="*/ 2611164 w 2933700"/>
              <a:gd name="connsiteY56" fmla="*/ 746649 h 787400"/>
              <a:gd name="connsiteX57" fmla="*/ 2702375 w 2933700"/>
              <a:gd name="connsiteY57" fmla="*/ 535567 h 787400"/>
              <a:gd name="connsiteX58" fmla="*/ 2792674 w 2933700"/>
              <a:gd name="connsiteY58" fmla="*/ 768321 h 787400"/>
              <a:gd name="connsiteX59" fmla="*/ 2933548 w 2933700"/>
              <a:gd name="connsiteY59" fmla="*/ 787400 h 787400"/>
              <a:gd name="connsiteX60" fmla="*/ 2933700 w 2933700"/>
              <a:gd name="connsiteY60" fmla="*/ 787247 h 787400"/>
              <a:gd name="connsiteX61" fmla="*/ 2772812 w 2933700"/>
              <a:gd name="connsiteY61" fmla="*/ 372713 h 787400"/>
              <a:gd name="connsiteX62" fmla="*/ 2933548 w 2933700"/>
              <a:gd name="connsiteY62" fmla="*/ 0 h 787400"/>
              <a:gd name="connsiteX63" fmla="*/ 1951879 w 2933700"/>
              <a:gd name="connsiteY63" fmla="*/ 0 h 787400"/>
              <a:gd name="connsiteX64" fmla="*/ 1828426 w 2933700"/>
              <a:gd name="connsiteY64" fmla="*/ 0 h 787400"/>
              <a:gd name="connsiteX65" fmla="*/ 1828426 w 2933700"/>
              <a:gd name="connsiteY65" fmla="*/ 690177 h 787400"/>
              <a:gd name="connsiteX66" fmla="*/ 2163799 w 2933700"/>
              <a:gd name="connsiteY66" fmla="*/ 707118 h 787400"/>
              <a:gd name="connsiteX67" fmla="*/ 2163799 w 2933700"/>
              <a:gd name="connsiteY67" fmla="*/ 585476 h 787400"/>
              <a:gd name="connsiteX68" fmla="*/ 1951879 w 2933700"/>
              <a:gd name="connsiteY68" fmla="*/ 573571 h 787400"/>
              <a:gd name="connsiteX69" fmla="*/ 1951879 w 2933700"/>
              <a:gd name="connsiteY69" fmla="*/ 0 h 78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2933700" h="787400">
                <a:moveTo>
                  <a:pt x="2265557" y="714444"/>
                </a:moveTo>
                <a:cubicBezTo>
                  <a:pt x="2306809" y="717650"/>
                  <a:pt x="2347910" y="721007"/>
                  <a:pt x="2389162" y="724671"/>
                </a:cubicBezTo>
                <a:lnTo>
                  <a:pt x="2389162" y="0"/>
                </a:lnTo>
                <a:lnTo>
                  <a:pt x="2265557" y="0"/>
                </a:lnTo>
                <a:lnTo>
                  <a:pt x="2265557" y="714444"/>
                </a:lnTo>
                <a:close/>
                <a:moveTo>
                  <a:pt x="278229" y="445517"/>
                </a:moveTo>
                <a:lnTo>
                  <a:pt x="117342" y="0"/>
                </a:lnTo>
                <a:lnTo>
                  <a:pt x="0" y="0"/>
                </a:lnTo>
                <a:lnTo>
                  <a:pt x="0" y="787247"/>
                </a:lnTo>
                <a:cubicBezTo>
                  <a:pt x="41100" y="781448"/>
                  <a:pt x="82200" y="775801"/>
                  <a:pt x="123607" y="770459"/>
                </a:cubicBezTo>
                <a:lnTo>
                  <a:pt x="123607" y="342342"/>
                </a:lnTo>
                <a:lnTo>
                  <a:pt x="266616" y="752906"/>
                </a:lnTo>
                <a:cubicBezTo>
                  <a:pt x="311536" y="747717"/>
                  <a:pt x="356762" y="742680"/>
                  <a:pt x="401835" y="738102"/>
                </a:cubicBezTo>
                <a:lnTo>
                  <a:pt x="401835" y="0"/>
                </a:lnTo>
                <a:lnTo>
                  <a:pt x="278229" y="0"/>
                </a:lnTo>
                <a:lnTo>
                  <a:pt x="278229" y="445517"/>
                </a:lnTo>
                <a:close/>
                <a:moveTo>
                  <a:pt x="520552" y="726655"/>
                </a:moveTo>
                <a:cubicBezTo>
                  <a:pt x="634380" y="716276"/>
                  <a:pt x="748819" y="707729"/>
                  <a:pt x="863715" y="701166"/>
                </a:cubicBezTo>
                <a:lnTo>
                  <a:pt x="863715" y="579523"/>
                </a:lnTo>
                <a:cubicBezTo>
                  <a:pt x="790377" y="583796"/>
                  <a:pt x="717038" y="588833"/>
                  <a:pt x="644158" y="594480"/>
                </a:cubicBezTo>
                <a:lnTo>
                  <a:pt x="644158" y="410566"/>
                </a:lnTo>
                <a:cubicBezTo>
                  <a:pt x="691981" y="410107"/>
                  <a:pt x="755083" y="408581"/>
                  <a:pt x="811004" y="409345"/>
                </a:cubicBezTo>
                <a:lnTo>
                  <a:pt x="811004" y="287701"/>
                </a:lnTo>
                <a:cubicBezTo>
                  <a:pt x="766389" y="287548"/>
                  <a:pt x="694579" y="288312"/>
                  <a:pt x="644158" y="288922"/>
                </a:cubicBezTo>
                <a:lnTo>
                  <a:pt x="644158" y="122712"/>
                </a:lnTo>
                <a:lnTo>
                  <a:pt x="863715" y="122712"/>
                </a:lnTo>
                <a:lnTo>
                  <a:pt x="863715" y="0"/>
                </a:lnTo>
                <a:lnTo>
                  <a:pt x="520552" y="0"/>
                </a:lnTo>
                <a:lnTo>
                  <a:pt x="520552" y="726655"/>
                </a:lnTo>
                <a:close/>
                <a:moveTo>
                  <a:pt x="943013" y="122712"/>
                </a:moveTo>
                <a:lnTo>
                  <a:pt x="1072272" y="122712"/>
                </a:lnTo>
                <a:lnTo>
                  <a:pt x="1072272" y="691398"/>
                </a:lnTo>
                <a:cubicBezTo>
                  <a:pt x="1113372" y="689872"/>
                  <a:pt x="1154625" y="688498"/>
                  <a:pt x="1195877" y="687430"/>
                </a:cubicBezTo>
                <a:lnTo>
                  <a:pt x="1195877" y="122712"/>
                </a:lnTo>
                <a:lnTo>
                  <a:pt x="1325140" y="122712"/>
                </a:lnTo>
                <a:lnTo>
                  <a:pt x="1325140" y="0"/>
                </a:lnTo>
                <a:lnTo>
                  <a:pt x="943013" y="0"/>
                </a:lnTo>
                <a:lnTo>
                  <a:pt x="943013" y="122712"/>
                </a:lnTo>
                <a:close/>
                <a:moveTo>
                  <a:pt x="1404283" y="684072"/>
                </a:moveTo>
                <a:lnTo>
                  <a:pt x="1527888" y="684072"/>
                </a:lnTo>
                <a:lnTo>
                  <a:pt x="1527888" y="403392"/>
                </a:lnTo>
                <a:lnTo>
                  <a:pt x="1695346" y="403392"/>
                </a:lnTo>
                <a:lnTo>
                  <a:pt x="1695346" y="281749"/>
                </a:lnTo>
                <a:lnTo>
                  <a:pt x="1527736" y="281749"/>
                </a:lnTo>
                <a:lnTo>
                  <a:pt x="1527736" y="122712"/>
                </a:lnTo>
                <a:lnTo>
                  <a:pt x="1749131" y="122712"/>
                </a:lnTo>
                <a:lnTo>
                  <a:pt x="1749131" y="0"/>
                </a:lnTo>
                <a:lnTo>
                  <a:pt x="1404283" y="0"/>
                </a:lnTo>
                <a:lnTo>
                  <a:pt x="1404283" y="684072"/>
                </a:lnTo>
                <a:close/>
                <a:moveTo>
                  <a:pt x="2933548" y="0"/>
                </a:moveTo>
                <a:lnTo>
                  <a:pt x="2797867" y="0"/>
                </a:lnTo>
                <a:lnTo>
                  <a:pt x="2708489" y="207114"/>
                </a:lnTo>
                <a:lnTo>
                  <a:pt x="2627969" y="0"/>
                </a:lnTo>
                <a:lnTo>
                  <a:pt x="2494281" y="0"/>
                </a:lnTo>
                <a:lnTo>
                  <a:pt x="2637900" y="370119"/>
                </a:lnTo>
                <a:lnTo>
                  <a:pt x="2481293" y="733217"/>
                </a:lnTo>
                <a:cubicBezTo>
                  <a:pt x="2524682" y="737491"/>
                  <a:pt x="2567928" y="741918"/>
                  <a:pt x="2611164" y="746649"/>
                </a:cubicBezTo>
                <a:lnTo>
                  <a:pt x="2702375" y="535567"/>
                </a:lnTo>
                <a:lnTo>
                  <a:pt x="2792674" y="768321"/>
                </a:lnTo>
                <a:cubicBezTo>
                  <a:pt x="2839736" y="774427"/>
                  <a:pt x="2886637" y="780684"/>
                  <a:pt x="2933548" y="787400"/>
                </a:cubicBezTo>
                <a:lnTo>
                  <a:pt x="2933700" y="787247"/>
                </a:lnTo>
                <a:lnTo>
                  <a:pt x="2772812" y="372713"/>
                </a:lnTo>
                <a:lnTo>
                  <a:pt x="2933548" y="0"/>
                </a:lnTo>
                <a:close/>
                <a:moveTo>
                  <a:pt x="1951879" y="0"/>
                </a:moveTo>
                <a:lnTo>
                  <a:pt x="1828426" y="0"/>
                </a:lnTo>
                <a:lnTo>
                  <a:pt x="1828426" y="690177"/>
                </a:lnTo>
                <a:cubicBezTo>
                  <a:pt x="1940723" y="693993"/>
                  <a:pt x="2052565" y="699640"/>
                  <a:pt x="2163799" y="707118"/>
                </a:cubicBezTo>
                <a:lnTo>
                  <a:pt x="2163799" y="585476"/>
                </a:lnTo>
                <a:cubicBezTo>
                  <a:pt x="2093361" y="580744"/>
                  <a:pt x="2022772" y="576775"/>
                  <a:pt x="1951879" y="573571"/>
                </a:cubicBezTo>
                <a:lnTo>
                  <a:pt x="1951879" y="0"/>
                </a:lnTo>
                <a:close/>
              </a:path>
            </a:pathLst>
          </a:custGeom>
          <a:solidFill>
            <a:srgbClr val="E50914"/>
          </a:solidFill>
          <a:ln w="9494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5781" name="CuadroTexto 5780">
            <a:extLst>
              <a:ext uri="{FF2B5EF4-FFF2-40B4-BE49-F238E27FC236}">
                <a16:creationId xmlns:a16="http://schemas.microsoft.com/office/drawing/2014/main" id="{C85A49AF-2CCB-2598-9F35-6DFF18D3A6EA}"/>
              </a:ext>
            </a:extLst>
          </p:cNvPr>
          <p:cNvSpPr txBox="1"/>
          <p:nvPr/>
        </p:nvSpPr>
        <p:spPr>
          <a:xfrm>
            <a:off x="4121842" y="3300836"/>
            <a:ext cx="309291" cy="153888"/>
          </a:xfrm>
          <a:prstGeom prst="rect">
            <a:avLst/>
          </a:prstGeom>
          <a:noFill/>
        </p:spPr>
        <p:txBody>
          <a:bodyPr wrap="none" lIns="39600" tIns="0" rIns="0" bIns="0" rtlCol="0" anchor="t">
            <a:spAutoFit/>
          </a:bodyPr>
          <a:lstStyle/>
          <a:p>
            <a:pPr marL="0" marR="0" lvl="0" indent="0" defTabSz="91433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500" u="none" strike="noStrike" kern="1200" cap="none" spc="0" normalizeH="0" baseline="0" noProof="0">
                <a:ln>
                  <a:noFill/>
                </a:ln>
                <a:solidFill>
                  <a:srgbClr val="24272A"/>
                </a:solidFill>
                <a:effectLst/>
                <a:uLnTx/>
                <a:uFillTx/>
                <a:latin typeface="Pulso Light" pitchFamily="2" charset="0"/>
                <a:cs typeface="+mn-cs"/>
              </a:rPr>
              <a:t>Exclusivo</a:t>
            </a:r>
          </a:p>
          <a:p>
            <a:pPr marL="0" marR="0" lvl="0" indent="0" defTabSz="91433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500" u="none" strike="noStrike" kern="1200" cap="none" spc="0" normalizeH="0" baseline="0" noProof="0">
                <a:ln>
                  <a:noFill/>
                </a:ln>
                <a:solidFill>
                  <a:srgbClr val="24272A"/>
                </a:solidFill>
                <a:effectLst/>
                <a:uLnTx/>
                <a:uFillTx/>
                <a:latin typeface="Pulso Light" pitchFamily="2" charset="0"/>
                <a:cs typeface="+mn-cs"/>
              </a:rPr>
              <a:t>deportes</a:t>
            </a:r>
          </a:p>
        </p:txBody>
      </p:sp>
      <p:sp>
        <p:nvSpPr>
          <p:cNvPr id="5782" name="CuadroTexto 5781">
            <a:extLst>
              <a:ext uri="{FF2B5EF4-FFF2-40B4-BE49-F238E27FC236}">
                <a16:creationId xmlns:a16="http://schemas.microsoft.com/office/drawing/2014/main" id="{EB75F9B7-66F1-C8DB-FD10-929D8416133B}"/>
              </a:ext>
            </a:extLst>
          </p:cNvPr>
          <p:cNvSpPr txBox="1"/>
          <p:nvPr/>
        </p:nvSpPr>
        <p:spPr>
          <a:xfrm>
            <a:off x="2058654" y="3616008"/>
            <a:ext cx="395967" cy="76944"/>
          </a:xfrm>
          <a:prstGeom prst="rect">
            <a:avLst/>
          </a:prstGeom>
          <a:noFill/>
        </p:spPr>
        <p:txBody>
          <a:bodyPr wrap="none" lIns="39600" tIns="0" rIns="0" bIns="0" rtlCol="0" anchor="t">
            <a:spAutoFit/>
          </a:bodyPr>
          <a:lstStyle/>
          <a:p>
            <a:pPr marL="0" marR="0" lvl="0" indent="0" defTabSz="91433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500" u="none" strike="noStrike" kern="1200" cap="none" spc="0" normalizeH="0" baseline="0" noProof="0">
                <a:ln>
                  <a:noFill/>
                </a:ln>
                <a:solidFill>
                  <a:srgbClr val="24272A"/>
                </a:solidFill>
                <a:effectLst/>
                <a:uLnTx/>
                <a:uFillTx/>
                <a:latin typeface="Pulso Light" pitchFamily="2" charset="0"/>
                <a:cs typeface="+mn-cs"/>
              </a:rPr>
              <a:t>Anunciados</a:t>
            </a:r>
          </a:p>
        </p:txBody>
      </p:sp>
      <p:sp>
        <p:nvSpPr>
          <p:cNvPr id="5783" name="CuadroTexto 5782">
            <a:extLst>
              <a:ext uri="{FF2B5EF4-FFF2-40B4-BE49-F238E27FC236}">
                <a16:creationId xmlns:a16="http://schemas.microsoft.com/office/drawing/2014/main" id="{EE03E2AC-C171-E0BC-1A46-2BD38DCD621B}"/>
              </a:ext>
            </a:extLst>
          </p:cNvPr>
          <p:cNvSpPr txBox="1"/>
          <p:nvPr/>
        </p:nvSpPr>
        <p:spPr>
          <a:xfrm>
            <a:off x="3090248" y="3616008"/>
            <a:ext cx="395967" cy="76944"/>
          </a:xfrm>
          <a:prstGeom prst="rect">
            <a:avLst/>
          </a:prstGeom>
          <a:noFill/>
        </p:spPr>
        <p:txBody>
          <a:bodyPr wrap="none" lIns="39600" tIns="0" rIns="0" bIns="0" rtlCol="0" anchor="t">
            <a:spAutoFit/>
          </a:bodyPr>
          <a:lstStyle/>
          <a:p>
            <a:pPr marL="0" marR="0" lvl="0" indent="0" defTabSz="91433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500" u="none" strike="noStrike" kern="1200" cap="none" spc="0" normalizeH="0" baseline="0" noProof="0">
                <a:ln>
                  <a:noFill/>
                </a:ln>
                <a:solidFill>
                  <a:srgbClr val="24272A"/>
                </a:solidFill>
                <a:effectLst/>
                <a:uLnTx/>
                <a:uFillTx/>
                <a:latin typeface="Pulso Light" pitchFamily="2" charset="0"/>
                <a:cs typeface="+mn-cs"/>
              </a:rPr>
              <a:t>Anunciados</a:t>
            </a:r>
          </a:p>
        </p:txBody>
      </p:sp>
    </p:spTree>
    <p:extLst>
      <p:ext uri="{BB962C8B-B14F-4D97-AF65-F5344CB8AC3E}">
        <p14:creationId xmlns:p14="http://schemas.microsoft.com/office/powerpoint/2010/main" val="1347442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20AE22-E1C7-A592-1FCD-B891F05FDE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34">
            <a:extLst>
              <a:ext uri="{FF2B5EF4-FFF2-40B4-BE49-F238E27FC236}">
                <a16:creationId xmlns:a16="http://schemas.microsoft.com/office/drawing/2014/main" id="{173E89E6-99AE-6829-8F7F-15FBA95F34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832" y="4544621"/>
            <a:ext cx="1014700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800" eaLnBrk="0" fontAlgn="auto" hangingPunct="0">
              <a:spcBef>
                <a:spcPts val="0"/>
              </a:spcBef>
              <a:spcAft>
                <a:spcPts val="0"/>
              </a:spcAft>
              <a:tabLst>
                <a:tab pos="390515" algn="l"/>
              </a:tabLst>
            </a:pPr>
            <a:r>
              <a:rPr lang="en-US" altLang="en-US" sz="700">
                <a:solidFill>
                  <a:srgbClr val="24272A"/>
                </a:solidFill>
                <a:latin typeface="Pulso Light" pitchFamily="2" charset="0"/>
              </a:rPr>
              <a:t>Fuente: IDC 2025 / Telecom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4F151504-B1E6-EEAF-724D-3325B01A35ED}"/>
              </a:ext>
            </a:extLst>
          </p:cNvPr>
          <p:cNvSpPr txBox="1"/>
          <p:nvPr/>
        </p:nvSpPr>
        <p:spPr>
          <a:xfrm>
            <a:off x="3601035" y="2044436"/>
            <a:ext cx="4497935" cy="423859"/>
          </a:xfrm>
          <a:prstGeom prst="rect">
            <a:avLst/>
          </a:prstGeom>
          <a:noFill/>
        </p:spPr>
        <p:txBody>
          <a:bodyPr wrap="square" lIns="0" tIns="27000" rIns="162000" bIns="27000" rtlCol="0">
            <a:spAutoFit/>
          </a:bodyPr>
          <a:lstStyle>
            <a:defPPr>
              <a:defRPr lang="en-US"/>
            </a:defPPr>
            <a:lvl1pPr>
              <a:spcBef>
                <a:spcPts val="1000"/>
              </a:spcBef>
              <a:defRPr sz="2000" spc="-50">
                <a:solidFill>
                  <a:schemeClr val="accent4">
                    <a:lumMod val="75000"/>
                  </a:schemeClr>
                </a:solidFill>
                <a:latin typeface="Montserrat" pitchFamily="2" charset="77"/>
              </a:defRPr>
            </a:lvl1pPr>
          </a:lstStyle>
          <a:p>
            <a:pPr defTabSz="685748" fontAlgn="auto">
              <a:spcBef>
                <a:spcPts val="750"/>
              </a:spcBef>
              <a:spcAft>
                <a:spcPts val="0"/>
              </a:spcAft>
            </a:pPr>
            <a:r>
              <a:rPr lang="es-ES" sz="1200" spc="-38">
                <a:solidFill>
                  <a:schemeClr val="bg2"/>
                </a:solidFill>
                <a:latin typeface="Pulso Light" pitchFamily="2" charset="0"/>
                <a:cs typeface="+mn-cs"/>
              </a:rPr>
              <a:t>La estructura de </a:t>
            </a:r>
            <a:r>
              <a:rPr lang="es-ES" sz="1200" spc="-38" err="1">
                <a:solidFill>
                  <a:schemeClr val="bg2"/>
                </a:solidFill>
                <a:latin typeface="Pulso Light" pitchFamily="2" charset="0"/>
                <a:cs typeface="+mn-cs"/>
              </a:rPr>
              <a:t>TechCo</a:t>
            </a:r>
            <a:r>
              <a:rPr lang="es-ES" sz="1200" spc="-38">
                <a:solidFill>
                  <a:schemeClr val="bg2"/>
                </a:solidFill>
                <a:latin typeface="Pulso Light" pitchFamily="2" charset="0"/>
                <a:cs typeface="+mn-cs"/>
              </a:rPr>
              <a:t> se centrará en proporcionar una red como servicio en un ecosistema en expansión:</a:t>
            </a:r>
            <a:endParaRPr lang="es-AR" sz="1200" spc="-38">
              <a:solidFill>
                <a:schemeClr val="bg2"/>
              </a:solidFill>
              <a:latin typeface="Pulso Light" pitchFamily="2" charset="0"/>
              <a:cs typeface="+mn-cs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1FE21658-84EB-25A0-7B0D-9BC061F45C70}"/>
              </a:ext>
            </a:extLst>
          </p:cNvPr>
          <p:cNvSpPr txBox="1"/>
          <p:nvPr/>
        </p:nvSpPr>
        <p:spPr>
          <a:xfrm>
            <a:off x="3822880" y="2394732"/>
            <a:ext cx="4704007" cy="2088417"/>
          </a:xfrm>
          <a:prstGeom prst="rect">
            <a:avLst/>
          </a:prstGeom>
          <a:noFill/>
        </p:spPr>
        <p:txBody>
          <a:bodyPr wrap="square" lIns="0" tIns="27000" rIns="162000" bIns="27000" rtlCol="0">
            <a:spAutoFit/>
          </a:bodyPr>
          <a:lstStyle/>
          <a:p>
            <a:pPr defTabSz="685748" fontAlgn="auto">
              <a:spcBef>
                <a:spcPts val="450"/>
              </a:spcBef>
              <a:spcAft>
                <a:spcPts val="0"/>
              </a:spcAft>
            </a:pPr>
            <a:endParaRPr lang="es-AR" sz="1050">
              <a:solidFill>
                <a:srgbClr val="24272A"/>
              </a:solidFill>
              <a:latin typeface="Pulso Light" pitchFamily="2" charset="0"/>
              <a:cs typeface="+mn-cs"/>
            </a:endParaRPr>
          </a:p>
          <a:p>
            <a:pPr marL="214313" indent="-214313" defTabSz="685748" fontAlgn="auto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050" err="1">
                <a:solidFill>
                  <a:schemeClr val="bg2"/>
                </a:solidFill>
                <a:latin typeface="Pulso Light" pitchFamily="2" charset="0"/>
                <a:cs typeface="+mn-cs"/>
              </a:rPr>
              <a:t>TelCo</a:t>
            </a:r>
            <a:r>
              <a:rPr lang="es-ES" sz="1050">
                <a:solidFill>
                  <a:schemeClr val="bg2"/>
                </a:solidFill>
                <a:latin typeface="Pulso Light" pitchFamily="2" charset="0"/>
                <a:cs typeface="+mn-cs"/>
              </a:rPr>
              <a:t>: </a:t>
            </a:r>
            <a:r>
              <a:rPr lang="es-ES" sz="1050">
                <a:solidFill>
                  <a:srgbClr val="24272A"/>
                </a:solidFill>
                <a:latin typeface="Pulso Light" pitchFamily="2" charset="0"/>
                <a:cs typeface="+mn-cs"/>
              </a:rPr>
              <a:t>interacción limitada con el cliente; ligado a un modelo de negocio mayorista, con centro en la conectividad. </a:t>
            </a:r>
          </a:p>
          <a:p>
            <a:pPr marL="214313" indent="-214313" defTabSz="685748" fontAlgn="auto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050" err="1">
                <a:solidFill>
                  <a:schemeClr val="bg2"/>
                </a:solidFill>
                <a:latin typeface="Pulso Light" pitchFamily="2" charset="0"/>
                <a:cs typeface="+mn-cs"/>
              </a:rPr>
              <a:t>Communications</a:t>
            </a:r>
            <a:r>
              <a:rPr lang="es-ES" sz="1050">
                <a:solidFill>
                  <a:schemeClr val="bg2"/>
                </a:solidFill>
                <a:latin typeface="Pulso Light" pitchFamily="2" charset="0"/>
                <a:cs typeface="+mn-cs"/>
              </a:rPr>
              <a:t> </a:t>
            </a:r>
            <a:r>
              <a:rPr lang="es-ES" sz="1050" err="1">
                <a:solidFill>
                  <a:schemeClr val="bg2"/>
                </a:solidFill>
                <a:latin typeface="Pulso Light" pitchFamily="2" charset="0"/>
                <a:cs typeface="+mn-cs"/>
              </a:rPr>
              <a:t>Service</a:t>
            </a:r>
            <a:r>
              <a:rPr lang="es-ES" sz="1050">
                <a:solidFill>
                  <a:schemeClr val="bg2"/>
                </a:solidFill>
                <a:latin typeface="Pulso Light" pitchFamily="2" charset="0"/>
                <a:cs typeface="+mn-cs"/>
              </a:rPr>
              <a:t> </a:t>
            </a:r>
            <a:r>
              <a:rPr lang="es-ES" sz="1050" err="1">
                <a:solidFill>
                  <a:schemeClr val="bg2"/>
                </a:solidFill>
                <a:latin typeface="Pulso Light" pitchFamily="2" charset="0"/>
                <a:cs typeface="+mn-cs"/>
              </a:rPr>
              <a:t>Provider</a:t>
            </a:r>
            <a:r>
              <a:rPr lang="es-ES" sz="1050">
                <a:solidFill>
                  <a:schemeClr val="bg2"/>
                </a:solidFill>
                <a:latin typeface="Pulso Light" pitchFamily="2" charset="0"/>
                <a:cs typeface="+mn-cs"/>
              </a:rPr>
              <a:t>: </a:t>
            </a:r>
            <a:r>
              <a:rPr lang="es-ES" sz="1050">
                <a:solidFill>
                  <a:srgbClr val="24272A"/>
                </a:solidFill>
                <a:latin typeface="Pulso Light" pitchFamily="2" charset="0"/>
                <a:cs typeface="+mn-cs"/>
              </a:rPr>
              <a:t>sistemas monolíticos, centrados en  facturación de voz/datos/texto y con foco en la eficiencia del producto. </a:t>
            </a:r>
          </a:p>
          <a:p>
            <a:pPr marL="214313" indent="-214313" defTabSz="685748" fontAlgn="auto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AR" sz="1050">
                <a:solidFill>
                  <a:schemeClr val="bg2"/>
                </a:solidFill>
                <a:latin typeface="Pulso Light" pitchFamily="2" charset="0"/>
                <a:cs typeface="+mn-cs"/>
              </a:rPr>
              <a:t>Digital </a:t>
            </a:r>
            <a:r>
              <a:rPr lang="es-AR" sz="1050" err="1">
                <a:solidFill>
                  <a:schemeClr val="bg2"/>
                </a:solidFill>
                <a:latin typeface="Pulso Light" pitchFamily="2" charset="0"/>
                <a:cs typeface="+mn-cs"/>
              </a:rPr>
              <a:t>Service</a:t>
            </a:r>
            <a:r>
              <a:rPr lang="es-AR" sz="1050">
                <a:solidFill>
                  <a:schemeClr val="bg2"/>
                </a:solidFill>
                <a:latin typeface="Pulso Light" pitchFamily="2" charset="0"/>
                <a:cs typeface="+mn-cs"/>
              </a:rPr>
              <a:t> </a:t>
            </a:r>
            <a:r>
              <a:rPr lang="es-AR" sz="1050" err="1">
                <a:solidFill>
                  <a:schemeClr val="bg2"/>
                </a:solidFill>
                <a:latin typeface="Pulso Light" pitchFamily="2" charset="0"/>
                <a:cs typeface="+mn-cs"/>
              </a:rPr>
              <a:t>Provider</a:t>
            </a:r>
            <a:r>
              <a:rPr lang="es-AR" sz="1050">
                <a:solidFill>
                  <a:schemeClr val="bg2"/>
                </a:solidFill>
                <a:latin typeface="Pulso Light" pitchFamily="2" charset="0"/>
                <a:cs typeface="+mn-cs"/>
              </a:rPr>
              <a:t>: </a:t>
            </a:r>
            <a:r>
              <a:rPr lang="es-AR" sz="1050">
                <a:solidFill>
                  <a:srgbClr val="24272A"/>
                </a:solidFill>
                <a:latin typeface="Pulso Light" pitchFamily="2" charset="0"/>
                <a:cs typeface="+mn-cs"/>
              </a:rPr>
              <a:t>arquitectura modular y definida por software, con diversificación de ingresos a través de servicios digitales. Incluye  soluciones y plataformas enfocadas. </a:t>
            </a:r>
          </a:p>
          <a:p>
            <a:pPr marL="214313" indent="-214313" defTabSz="685748" fontAlgn="auto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050" err="1">
                <a:solidFill>
                  <a:schemeClr val="bg2"/>
                </a:solidFill>
                <a:latin typeface="Pulso Light" pitchFamily="2" charset="0"/>
                <a:cs typeface="+mn-cs"/>
              </a:rPr>
              <a:t>TechCo</a:t>
            </a:r>
            <a:r>
              <a:rPr lang="es-ES" sz="1050">
                <a:solidFill>
                  <a:schemeClr val="bg2"/>
                </a:solidFill>
                <a:latin typeface="Pulso Light" pitchFamily="2" charset="0"/>
                <a:cs typeface="+mn-cs"/>
              </a:rPr>
              <a:t>: </a:t>
            </a:r>
            <a:r>
              <a:rPr lang="es-ES" sz="1050">
                <a:solidFill>
                  <a:srgbClr val="24272A"/>
                </a:solidFill>
                <a:latin typeface="Pulso Light" pitchFamily="2" charset="0"/>
                <a:cs typeface="+mn-cs"/>
              </a:rPr>
              <a:t>Integración de servicios y productos de distintos </a:t>
            </a:r>
            <a:r>
              <a:rPr lang="es-ES" sz="1050" err="1">
                <a:solidFill>
                  <a:srgbClr val="24272A"/>
                </a:solidFill>
                <a:latin typeface="Pulso Light" pitchFamily="2" charset="0"/>
                <a:cs typeface="+mn-cs"/>
              </a:rPr>
              <a:t>partners</a:t>
            </a:r>
            <a:r>
              <a:rPr lang="es-ES" sz="1050">
                <a:solidFill>
                  <a:srgbClr val="24272A"/>
                </a:solidFill>
                <a:latin typeface="Pulso Light" pitchFamily="2" charset="0"/>
                <a:cs typeface="+mn-cs"/>
              </a:rPr>
              <a:t> del ecosistema con foco en agregar valor en la resolución de problemas de los clientes. Especialización por vertical de industria. </a:t>
            </a:r>
          </a:p>
        </p:txBody>
      </p:sp>
      <p:sp>
        <p:nvSpPr>
          <p:cNvPr id="9" name="Flecha: pentágono 8">
            <a:extLst>
              <a:ext uri="{FF2B5EF4-FFF2-40B4-BE49-F238E27FC236}">
                <a16:creationId xmlns:a16="http://schemas.microsoft.com/office/drawing/2014/main" id="{719375BB-C713-9FAC-3067-B7BA61C27559}"/>
              </a:ext>
            </a:extLst>
          </p:cNvPr>
          <p:cNvSpPr/>
          <p:nvPr/>
        </p:nvSpPr>
        <p:spPr>
          <a:xfrm>
            <a:off x="3601035" y="2649780"/>
            <a:ext cx="364694" cy="156656"/>
          </a:xfrm>
          <a:prstGeom prst="homePlate">
            <a:avLst/>
          </a:prstGeom>
          <a:solidFill>
            <a:srgbClr val="0167C3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750"/>
              </a:spcBef>
              <a:spcAft>
                <a:spcPts val="0"/>
              </a:spcAft>
            </a:pPr>
            <a:endParaRPr lang="es-AR" sz="1050">
              <a:solidFill>
                <a:srgbClr val="24272A"/>
              </a:solidFill>
              <a:latin typeface="Pulso Light" pitchFamily="2" charset="0"/>
            </a:endParaRPr>
          </a:p>
        </p:txBody>
      </p:sp>
      <p:sp>
        <p:nvSpPr>
          <p:cNvPr id="10" name="Flecha: pentágono 9">
            <a:extLst>
              <a:ext uri="{FF2B5EF4-FFF2-40B4-BE49-F238E27FC236}">
                <a16:creationId xmlns:a16="http://schemas.microsoft.com/office/drawing/2014/main" id="{9734F779-B177-ACB0-19A6-D57233879A09}"/>
              </a:ext>
            </a:extLst>
          </p:cNvPr>
          <p:cNvSpPr/>
          <p:nvPr/>
        </p:nvSpPr>
        <p:spPr>
          <a:xfrm>
            <a:off x="3601035" y="3028714"/>
            <a:ext cx="364694" cy="156656"/>
          </a:xfrm>
          <a:prstGeom prst="homePlate">
            <a:avLst/>
          </a:prstGeom>
          <a:solidFill>
            <a:srgbClr val="1B7DE9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750"/>
              </a:spcBef>
              <a:spcAft>
                <a:spcPts val="0"/>
              </a:spcAft>
            </a:pPr>
            <a:endParaRPr lang="es-AR" sz="1050">
              <a:solidFill>
                <a:srgbClr val="24272A"/>
              </a:solidFill>
              <a:latin typeface="Pulso Light" pitchFamily="2" charset="0"/>
            </a:endParaRPr>
          </a:p>
        </p:txBody>
      </p:sp>
      <p:sp>
        <p:nvSpPr>
          <p:cNvPr id="22" name="Flecha: pentágono 21">
            <a:extLst>
              <a:ext uri="{FF2B5EF4-FFF2-40B4-BE49-F238E27FC236}">
                <a16:creationId xmlns:a16="http://schemas.microsoft.com/office/drawing/2014/main" id="{378E81D5-69F3-C0B4-C5F9-9637A2F918F4}"/>
              </a:ext>
            </a:extLst>
          </p:cNvPr>
          <p:cNvSpPr/>
          <p:nvPr/>
        </p:nvSpPr>
        <p:spPr>
          <a:xfrm>
            <a:off x="3601035" y="3411776"/>
            <a:ext cx="364694" cy="156656"/>
          </a:xfrm>
          <a:prstGeom prst="homePlate">
            <a:avLst/>
          </a:prstGeom>
          <a:solidFill>
            <a:srgbClr val="69AAF1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750"/>
              </a:spcBef>
              <a:spcAft>
                <a:spcPts val="0"/>
              </a:spcAft>
            </a:pPr>
            <a:endParaRPr lang="es-AR" sz="1050">
              <a:solidFill>
                <a:srgbClr val="24272A"/>
              </a:solidFill>
              <a:latin typeface="Pulso Light" pitchFamily="2" charset="0"/>
            </a:endParaRPr>
          </a:p>
        </p:txBody>
      </p:sp>
      <p:sp>
        <p:nvSpPr>
          <p:cNvPr id="24" name="Flecha: pentágono 23">
            <a:extLst>
              <a:ext uri="{FF2B5EF4-FFF2-40B4-BE49-F238E27FC236}">
                <a16:creationId xmlns:a16="http://schemas.microsoft.com/office/drawing/2014/main" id="{57E6C15A-C8E1-FC8C-3BE2-29D5F80EAE49}"/>
              </a:ext>
            </a:extLst>
          </p:cNvPr>
          <p:cNvSpPr/>
          <p:nvPr/>
        </p:nvSpPr>
        <p:spPr>
          <a:xfrm>
            <a:off x="3601035" y="3946967"/>
            <a:ext cx="364694" cy="156656"/>
          </a:xfrm>
          <a:prstGeom prst="homePlate">
            <a:avLst/>
          </a:prstGeom>
          <a:solidFill>
            <a:srgbClr val="8FCF39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750"/>
              </a:spcBef>
              <a:spcAft>
                <a:spcPts val="0"/>
              </a:spcAft>
            </a:pPr>
            <a:endParaRPr lang="es-AR" sz="1050">
              <a:solidFill>
                <a:srgbClr val="24272A"/>
              </a:solidFill>
              <a:latin typeface="Pulso Light" pitchFamily="2" charset="0"/>
            </a:endParaRPr>
          </a:p>
        </p:txBody>
      </p:sp>
      <p:pic>
        <p:nvPicPr>
          <p:cNvPr id="6" name="object 2">
            <a:extLst>
              <a:ext uri="{FF2B5EF4-FFF2-40B4-BE49-F238E27FC236}">
                <a16:creationId xmlns:a16="http://schemas.microsoft.com/office/drawing/2014/main" id="{2D021EA3-8D80-527A-6959-9AA53245DCD4}"/>
              </a:ext>
            </a:extLst>
          </p:cNvPr>
          <p:cNvPicPr/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40657" y="1999153"/>
            <a:ext cx="2553690" cy="2625494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CF231351-5D89-4BC8-AACF-9252628040C4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3605154" cy="769441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>
                <a:solidFill>
                  <a:schemeClr val="tx2"/>
                </a:solidFill>
                <a:latin typeface="Pulso Light" pitchFamily="2" charset="0"/>
              </a:rPr>
              <a:t>Negocio B2B:</a:t>
            </a:r>
            <a:br>
              <a:rPr lang="es-ES_tradnl" sz="2600" b="0" noProof="0">
                <a:solidFill>
                  <a:schemeClr val="tx2"/>
                </a:solidFill>
                <a:latin typeface="Pulso Light" pitchFamily="2" charset="0"/>
              </a:rPr>
            </a:b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Estrategia </a:t>
            </a:r>
            <a:r>
              <a:rPr lang="es-ES_tradnl" sz="2600" b="0" noProof="0" err="1">
                <a:solidFill>
                  <a:schemeClr val="bg2"/>
                </a:solidFill>
                <a:latin typeface="Pulso Light" pitchFamily="2" charset="0"/>
              </a:rPr>
              <a:t>Telco</a:t>
            </a: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 &gt; </a:t>
            </a:r>
            <a:r>
              <a:rPr lang="es-ES_tradnl" sz="2600" b="0" noProof="0" err="1">
                <a:solidFill>
                  <a:schemeClr val="bg2"/>
                </a:solidFill>
                <a:latin typeface="Pulso Light" pitchFamily="2" charset="0"/>
              </a:rPr>
              <a:t>Techco</a:t>
            </a:r>
            <a:endParaRPr lang="es-ES_tradnl" sz="2600" b="0" noProof="0">
              <a:solidFill>
                <a:schemeClr val="bg2"/>
              </a:solidFill>
              <a:latin typeface="Pulso Light" pitchFamily="2" charset="0"/>
            </a:endParaRPr>
          </a:p>
        </p:txBody>
      </p:sp>
      <p:sp>
        <p:nvSpPr>
          <p:cNvPr id="26" name="Marcador de texto 8">
            <a:extLst>
              <a:ext uri="{FF2B5EF4-FFF2-40B4-BE49-F238E27FC236}">
                <a16:creationId xmlns:a16="http://schemas.microsoft.com/office/drawing/2014/main" id="{863FCB0B-F894-19E9-1ED1-AD182F286D93}"/>
              </a:ext>
            </a:extLst>
          </p:cNvPr>
          <p:cNvSpPr txBox="1">
            <a:spLocks/>
          </p:cNvSpPr>
          <p:nvPr/>
        </p:nvSpPr>
        <p:spPr>
          <a:xfrm>
            <a:off x="540657" y="1431652"/>
            <a:ext cx="6997380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200" noProof="0">
                <a:solidFill>
                  <a:srgbClr val="150958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Mantener la fortaleza de su negocio principal mientras se exploran estratégicamente nuevas oportunidades de diferenciación y expansión</a:t>
            </a:r>
            <a:r>
              <a:rPr lang="es-ES_tradnl" sz="1200">
                <a:solidFill>
                  <a:srgbClr val="150958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  <a:endParaRPr lang="es-ES_tradnl" sz="1200" noProof="0">
              <a:solidFill>
                <a:srgbClr val="150958"/>
              </a:solidFill>
              <a:latin typeface="Pulso" pitchFamily="2" charset="0"/>
              <a:ea typeface="Roboto" panose="02000000000000000000" pitchFamily="2" charset="0"/>
              <a:cs typeface="Open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8157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20013C-1FE4-4319-4AFC-2D783A21AF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CBFF3FCD-1624-0C15-6E05-DC57A5740B93}"/>
              </a:ext>
            </a:extLst>
          </p:cNvPr>
          <p:cNvSpPr txBox="1"/>
          <p:nvPr/>
        </p:nvSpPr>
        <p:spPr>
          <a:xfrm>
            <a:off x="7395383" y="4473899"/>
            <a:ext cx="1434763" cy="162249"/>
          </a:xfrm>
          <a:prstGeom prst="rect">
            <a:avLst/>
          </a:prstGeom>
          <a:noFill/>
        </p:spPr>
        <p:txBody>
          <a:bodyPr wrap="none" lIns="0" tIns="27000" rIns="162000" bIns="27000" rtlCol="0">
            <a:spAutoFit/>
          </a:bodyPr>
          <a:lstStyle>
            <a:defPPr>
              <a:defRPr lang="en-US"/>
            </a:defPPr>
            <a:lvl1pPr defTabSz="685748" fontAlgn="auto">
              <a:spcBef>
                <a:spcPts val="0"/>
              </a:spcBef>
              <a:spcAft>
                <a:spcPts val="0"/>
              </a:spcAft>
              <a:defRPr sz="700">
                <a:solidFill>
                  <a:srgbClr val="24272A"/>
                </a:solidFill>
                <a:latin typeface="Pulso Light" pitchFamily="2" charset="0"/>
                <a:cs typeface="+mn-cs"/>
              </a:defRPr>
            </a:lvl1pPr>
          </a:lstStyle>
          <a:p>
            <a:pPr algn="r"/>
            <a:r>
              <a:rPr lang="es-ES"/>
              <a:t>Fuente: IDC Black Book , Julio 2025</a:t>
            </a:r>
            <a:endParaRPr lang="es-AR"/>
          </a:p>
        </p:txBody>
      </p:sp>
      <p:graphicFrame>
        <p:nvGraphicFramePr>
          <p:cNvPr id="25" name="Gráfico 24">
            <a:extLst>
              <a:ext uri="{FF2B5EF4-FFF2-40B4-BE49-F238E27FC236}">
                <a16:creationId xmlns:a16="http://schemas.microsoft.com/office/drawing/2014/main" id="{65911157-F360-4BED-5292-298F746B1A7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6599982"/>
              </p:ext>
            </p:extLst>
          </p:nvPr>
        </p:nvGraphicFramePr>
        <p:xfrm>
          <a:off x="540657" y="1853401"/>
          <a:ext cx="5897324" cy="27339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" name="Rectángulo: esquinas redondeadas 25">
            <a:extLst>
              <a:ext uri="{FF2B5EF4-FFF2-40B4-BE49-F238E27FC236}">
                <a16:creationId xmlns:a16="http://schemas.microsoft.com/office/drawing/2014/main" id="{10BBB2E9-DE8D-A70F-0D31-4FC9058459C3}"/>
              </a:ext>
            </a:extLst>
          </p:cNvPr>
          <p:cNvSpPr/>
          <p:nvPr/>
        </p:nvSpPr>
        <p:spPr>
          <a:xfrm>
            <a:off x="2106279" y="2318760"/>
            <a:ext cx="648000" cy="1987010"/>
          </a:xfrm>
          <a:prstGeom prst="roundRect">
            <a:avLst/>
          </a:prstGeom>
          <a:noFill/>
          <a:ln w="19050" cap="rnd" cmpd="sng">
            <a:solidFill>
              <a:schemeClr val="accent1"/>
            </a:solidFill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750"/>
              </a:spcBef>
              <a:spcAft>
                <a:spcPts val="0"/>
              </a:spcAft>
            </a:pPr>
            <a:endParaRPr lang="es-AR" sz="1050">
              <a:solidFill>
                <a:srgbClr val="24272A"/>
              </a:solidFill>
              <a:latin typeface="Pulso Light" pitchFamily="2" charset="0"/>
            </a:endParaRPr>
          </a:p>
        </p:txBody>
      </p:sp>
      <p:sp>
        <p:nvSpPr>
          <p:cNvPr id="27" name="Rectángulo: esquinas redondeadas 26">
            <a:extLst>
              <a:ext uri="{FF2B5EF4-FFF2-40B4-BE49-F238E27FC236}">
                <a16:creationId xmlns:a16="http://schemas.microsoft.com/office/drawing/2014/main" id="{47F9CEC9-ED04-21C6-68AD-F53C3457FF42}"/>
              </a:ext>
            </a:extLst>
          </p:cNvPr>
          <p:cNvSpPr/>
          <p:nvPr/>
        </p:nvSpPr>
        <p:spPr>
          <a:xfrm>
            <a:off x="1403627" y="2318760"/>
            <a:ext cx="648000" cy="1987010"/>
          </a:xfrm>
          <a:prstGeom prst="roundRect">
            <a:avLst/>
          </a:prstGeom>
          <a:noFill/>
          <a:ln w="19050" cap="rnd" cmpd="sng">
            <a:solidFill>
              <a:schemeClr val="accent1"/>
            </a:solidFill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750"/>
              </a:spcBef>
              <a:spcAft>
                <a:spcPts val="0"/>
              </a:spcAft>
            </a:pPr>
            <a:endParaRPr lang="es-AR" sz="1050">
              <a:solidFill>
                <a:srgbClr val="24272A"/>
              </a:solidFill>
              <a:latin typeface="Pulso Light" pitchFamily="2" charset="0"/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586185F4-F8BD-475A-98AF-F35147D9CFDC}"/>
              </a:ext>
            </a:extLst>
          </p:cNvPr>
          <p:cNvSpPr txBox="1"/>
          <p:nvPr/>
        </p:nvSpPr>
        <p:spPr>
          <a:xfrm>
            <a:off x="6527496" y="4192312"/>
            <a:ext cx="2302650" cy="269971"/>
          </a:xfrm>
          <a:prstGeom prst="rect">
            <a:avLst/>
          </a:prstGeom>
          <a:noFill/>
        </p:spPr>
        <p:txBody>
          <a:bodyPr wrap="square" lIns="0" tIns="27000" rIns="162000" bIns="27000" rtlCol="0">
            <a:spAutoFit/>
          </a:bodyPr>
          <a:lstStyle/>
          <a:p>
            <a:pPr algn="r" defTabSz="685748" fontAlgn="auto">
              <a:spcBef>
                <a:spcPts val="0"/>
              </a:spcBef>
              <a:spcAft>
                <a:spcPts val="0"/>
              </a:spcAft>
            </a:pPr>
            <a:r>
              <a:rPr lang="es-ES" sz="700">
                <a:solidFill>
                  <a:srgbClr val="24272A"/>
                </a:solidFill>
                <a:latin typeface="Pulso Light" pitchFamily="2" charset="0"/>
                <a:cs typeface="+mn-cs"/>
              </a:rPr>
              <a:t>USD corrientes (2024) y constantes (2025 y 2026) </a:t>
            </a:r>
          </a:p>
          <a:p>
            <a:pPr algn="r" defTabSz="685748" fontAlgn="auto">
              <a:spcBef>
                <a:spcPts val="0"/>
              </a:spcBef>
              <a:spcAft>
                <a:spcPts val="0"/>
              </a:spcAft>
            </a:pPr>
            <a:r>
              <a:rPr lang="es-AR" sz="700">
                <a:solidFill>
                  <a:srgbClr val="24272A"/>
                </a:solidFill>
                <a:latin typeface="Pulso Light" pitchFamily="2" charset="0"/>
                <a:cs typeface="+mn-cs"/>
              </a:rPr>
              <a:t>Y-Y 2024-2025-2026 </a:t>
            </a:r>
          </a:p>
        </p:txBody>
      </p:sp>
      <p:grpSp>
        <p:nvGrpSpPr>
          <p:cNvPr id="38" name="Grupo 37">
            <a:extLst>
              <a:ext uri="{FF2B5EF4-FFF2-40B4-BE49-F238E27FC236}">
                <a16:creationId xmlns:a16="http://schemas.microsoft.com/office/drawing/2014/main" id="{73775069-FB55-338E-CEE9-2717AEBA89DD}"/>
              </a:ext>
            </a:extLst>
          </p:cNvPr>
          <p:cNvGrpSpPr/>
          <p:nvPr/>
        </p:nvGrpSpPr>
        <p:grpSpPr>
          <a:xfrm>
            <a:off x="2848751" y="1810488"/>
            <a:ext cx="1120211" cy="502674"/>
            <a:chOff x="10103263" y="2473306"/>
            <a:chExt cx="1493614" cy="670232"/>
          </a:xfrm>
        </p:grpSpPr>
        <p:sp>
          <p:nvSpPr>
            <p:cNvPr id="33" name="Rectángulo: esquinas redondeadas 32">
              <a:extLst>
                <a:ext uri="{FF2B5EF4-FFF2-40B4-BE49-F238E27FC236}">
                  <a16:creationId xmlns:a16="http://schemas.microsoft.com/office/drawing/2014/main" id="{2A25C2AB-1265-C98F-C407-C85178668ED2}"/>
                </a:ext>
              </a:extLst>
            </p:cNvPr>
            <p:cNvSpPr/>
            <p:nvPr/>
          </p:nvSpPr>
          <p:spPr>
            <a:xfrm>
              <a:off x="10103263" y="2473306"/>
              <a:ext cx="1493614" cy="670232"/>
            </a:xfrm>
            <a:prstGeom prst="roundRect">
              <a:avLst/>
            </a:prstGeom>
            <a:solidFill>
              <a:schemeClr val="bg2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750"/>
                </a:spcBef>
                <a:spcAft>
                  <a:spcPts val="0"/>
                </a:spcAft>
              </a:pPr>
              <a:endParaRPr lang="es-AR" sz="1050">
                <a:solidFill>
                  <a:srgbClr val="F8F8F8"/>
                </a:solidFill>
                <a:latin typeface="Pulso Light" pitchFamily="2" charset="0"/>
              </a:endParaRPr>
            </a:p>
          </p:txBody>
        </p:sp>
        <p:sp>
          <p:nvSpPr>
            <p:cNvPr id="30" name="CuadroTexto 29">
              <a:extLst>
                <a:ext uri="{FF2B5EF4-FFF2-40B4-BE49-F238E27FC236}">
                  <a16:creationId xmlns:a16="http://schemas.microsoft.com/office/drawing/2014/main" id="{452FC750-F961-57C9-7AC3-C5B675E78C7D}"/>
                </a:ext>
              </a:extLst>
            </p:cNvPr>
            <p:cNvSpPr txBox="1"/>
            <p:nvPr/>
          </p:nvSpPr>
          <p:spPr>
            <a:xfrm>
              <a:off x="10295431" y="2540722"/>
              <a:ext cx="1109277" cy="5483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0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s-AR" sz="825">
                  <a:solidFill>
                    <a:srgbClr val="F8F8F8"/>
                  </a:solidFill>
                  <a:latin typeface="Pulso Light" pitchFamily="2" charset="0"/>
                  <a:cs typeface="+mn-cs"/>
                </a:rPr>
                <a:t>Mercado Total de</a:t>
              </a:r>
            </a:p>
            <a:p>
              <a:pPr algn="ctr" defTabSz="0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s-AR" sz="825">
                  <a:solidFill>
                    <a:srgbClr val="F8F8F8"/>
                  </a:solidFill>
                  <a:latin typeface="Pulso Light" pitchFamily="2" charset="0"/>
                  <a:cs typeface="+mn-cs"/>
                </a:rPr>
                <a:t>LATAM 2024</a:t>
              </a:r>
            </a:p>
            <a:p>
              <a:pPr algn="ctr" defTabSz="0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s-AR" sz="825">
                  <a:solidFill>
                    <a:srgbClr val="F8F8F8"/>
                  </a:solidFill>
                  <a:latin typeface="Pulso Light" pitchFamily="2" charset="0"/>
                  <a:cs typeface="+mn-cs"/>
                </a:rPr>
                <a:t>US$ 83,5 B</a:t>
              </a:r>
            </a:p>
          </p:txBody>
        </p:sp>
      </p:grpSp>
      <p:grpSp>
        <p:nvGrpSpPr>
          <p:cNvPr id="39" name="Grupo 38">
            <a:extLst>
              <a:ext uri="{FF2B5EF4-FFF2-40B4-BE49-F238E27FC236}">
                <a16:creationId xmlns:a16="http://schemas.microsoft.com/office/drawing/2014/main" id="{313246DE-D07F-CD93-8582-DF86A33AC612}"/>
              </a:ext>
            </a:extLst>
          </p:cNvPr>
          <p:cNvGrpSpPr/>
          <p:nvPr/>
        </p:nvGrpSpPr>
        <p:grpSpPr>
          <a:xfrm>
            <a:off x="3995690" y="1805186"/>
            <a:ext cx="1120211" cy="502674"/>
            <a:chOff x="10112788" y="3349606"/>
            <a:chExt cx="1493614" cy="670232"/>
          </a:xfrm>
        </p:grpSpPr>
        <p:sp>
          <p:nvSpPr>
            <p:cNvPr id="36" name="Rectángulo: esquinas redondeadas 35">
              <a:extLst>
                <a:ext uri="{FF2B5EF4-FFF2-40B4-BE49-F238E27FC236}">
                  <a16:creationId xmlns:a16="http://schemas.microsoft.com/office/drawing/2014/main" id="{7B7AFF7E-07AB-DFB4-54C9-5474FB3C8E71}"/>
                </a:ext>
              </a:extLst>
            </p:cNvPr>
            <p:cNvSpPr/>
            <p:nvPr/>
          </p:nvSpPr>
          <p:spPr>
            <a:xfrm>
              <a:off x="10112788" y="3349606"/>
              <a:ext cx="1493614" cy="670232"/>
            </a:xfrm>
            <a:prstGeom prst="roundRect">
              <a:avLst/>
            </a:prstGeom>
            <a:solidFill>
              <a:schemeClr val="tx2">
                <a:lumMod val="75000"/>
                <a:lumOff val="25000"/>
              </a:schemeClr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750"/>
                </a:spcBef>
                <a:spcAft>
                  <a:spcPts val="0"/>
                </a:spcAft>
              </a:pPr>
              <a:endParaRPr lang="es-AR" sz="1050">
                <a:solidFill>
                  <a:srgbClr val="F8F8F8"/>
                </a:solidFill>
                <a:latin typeface="Pulso Light" pitchFamily="2" charset="0"/>
              </a:endParaRPr>
            </a:p>
          </p:txBody>
        </p:sp>
        <p:sp>
          <p:nvSpPr>
            <p:cNvPr id="31" name="CuadroTexto 30">
              <a:extLst>
                <a:ext uri="{FF2B5EF4-FFF2-40B4-BE49-F238E27FC236}">
                  <a16:creationId xmlns:a16="http://schemas.microsoft.com/office/drawing/2014/main" id="{B1F7FFE7-BCD6-0AB6-9A9B-156217950663}"/>
                </a:ext>
              </a:extLst>
            </p:cNvPr>
            <p:cNvSpPr txBox="1"/>
            <p:nvPr/>
          </p:nvSpPr>
          <p:spPr>
            <a:xfrm>
              <a:off x="10304956" y="3403729"/>
              <a:ext cx="1109277" cy="5483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685748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s-AR" sz="825">
                  <a:solidFill>
                    <a:srgbClr val="F8F8F8"/>
                  </a:solidFill>
                  <a:latin typeface="Pulso Light" pitchFamily="2" charset="0"/>
                  <a:cs typeface="+mn-cs"/>
                </a:rPr>
                <a:t>Mercado Total de</a:t>
              </a:r>
            </a:p>
            <a:p>
              <a:pPr algn="ctr" defTabSz="685748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s-AR" sz="825">
                  <a:solidFill>
                    <a:srgbClr val="F8F8F8"/>
                  </a:solidFill>
                  <a:latin typeface="Pulso Light" pitchFamily="2" charset="0"/>
                  <a:cs typeface="+mn-cs"/>
                </a:rPr>
                <a:t>LATAM 2025</a:t>
              </a:r>
            </a:p>
            <a:p>
              <a:pPr algn="ctr" defTabSz="685748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s-AR" sz="825">
                  <a:solidFill>
                    <a:srgbClr val="F8F8F8"/>
                  </a:solidFill>
                  <a:latin typeface="Pulso Light" pitchFamily="2" charset="0"/>
                  <a:cs typeface="+mn-cs"/>
                </a:rPr>
                <a:t>US$ 91,5 B</a:t>
              </a:r>
            </a:p>
          </p:txBody>
        </p:sp>
      </p:grpSp>
      <p:grpSp>
        <p:nvGrpSpPr>
          <p:cNvPr id="40" name="Grupo 39">
            <a:extLst>
              <a:ext uri="{FF2B5EF4-FFF2-40B4-BE49-F238E27FC236}">
                <a16:creationId xmlns:a16="http://schemas.microsoft.com/office/drawing/2014/main" id="{AE867103-00CD-0010-6A38-693D45AAC4BF}"/>
              </a:ext>
            </a:extLst>
          </p:cNvPr>
          <p:cNvGrpSpPr/>
          <p:nvPr/>
        </p:nvGrpSpPr>
        <p:grpSpPr>
          <a:xfrm>
            <a:off x="5142628" y="1805186"/>
            <a:ext cx="1120210" cy="502674"/>
            <a:chOff x="10103263" y="4130656"/>
            <a:chExt cx="1493614" cy="670232"/>
          </a:xfrm>
        </p:grpSpPr>
        <p:sp>
          <p:nvSpPr>
            <p:cNvPr id="37" name="Rectángulo: esquinas redondeadas 36">
              <a:extLst>
                <a:ext uri="{FF2B5EF4-FFF2-40B4-BE49-F238E27FC236}">
                  <a16:creationId xmlns:a16="http://schemas.microsoft.com/office/drawing/2014/main" id="{6AD36A27-840D-4362-70B0-36E2D8B7C5E6}"/>
                </a:ext>
              </a:extLst>
            </p:cNvPr>
            <p:cNvSpPr/>
            <p:nvPr/>
          </p:nvSpPr>
          <p:spPr>
            <a:xfrm>
              <a:off x="10103263" y="4130656"/>
              <a:ext cx="1493614" cy="670232"/>
            </a:xfrm>
            <a:prstGeom prst="roundRect">
              <a:avLst/>
            </a:prstGeom>
            <a:solidFill>
              <a:schemeClr val="tx2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750"/>
                </a:spcBef>
                <a:spcAft>
                  <a:spcPts val="0"/>
                </a:spcAft>
              </a:pPr>
              <a:endParaRPr lang="es-AR" sz="1050">
                <a:solidFill>
                  <a:srgbClr val="24272A"/>
                </a:solidFill>
                <a:latin typeface="Pulso Light" pitchFamily="2" charset="0"/>
              </a:endParaRPr>
            </a:p>
          </p:txBody>
        </p:sp>
        <p:sp>
          <p:nvSpPr>
            <p:cNvPr id="32" name="CuadroTexto 31">
              <a:extLst>
                <a:ext uri="{FF2B5EF4-FFF2-40B4-BE49-F238E27FC236}">
                  <a16:creationId xmlns:a16="http://schemas.microsoft.com/office/drawing/2014/main" id="{1A4BA314-2236-1719-1647-C569FF63C50A}"/>
                </a:ext>
              </a:extLst>
            </p:cNvPr>
            <p:cNvSpPr txBox="1"/>
            <p:nvPr/>
          </p:nvSpPr>
          <p:spPr>
            <a:xfrm>
              <a:off x="10287256" y="4184779"/>
              <a:ext cx="1109278" cy="5483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685748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s-AR" sz="825">
                  <a:solidFill>
                    <a:srgbClr val="F8F8F8"/>
                  </a:solidFill>
                  <a:latin typeface="Pulso Light" pitchFamily="2" charset="0"/>
                  <a:cs typeface="+mn-cs"/>
                </a:rPr>
                <a:t>Mercado Total de</a:t>
              </a:r>
            </a:p>
            <a:p>
              <a:pPr algn="ctr" defTabSz="685748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s-AR" sz="825">
                  <a:solidFill>
                    <a:srgbClr val="F8F8F8"/>
                  </a:solidFill>
                  <a:latin typeface="Pulso Light" pitchFamily="2" charset="0"/>
                  <a:cs typeface="+mn-cs"/>
                </a:rPr>
                <a:t>LATAM 2026</a:t>
              </a:r>
            </a:p>
            <a:p>
              <a:pPr algn="ctr" defTabSz="685748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s-AR" sz="825">
                  <a:solidFill>
                    <a:srgbClr val="F8F8F8"/>
                  </a:solidFill>
                  <a:latin typeface="Pulso Light" pitchFamily="2" charset="0"/>
                  <a:cs typeface="+mn-cs"/>
                </a:rPr>
                <a:t>US$ 101,9 B</a:t>
              </a:r>
            </a:p>
          </p:txBody>
        </p:sp>
      </p:grpSp>
      <p:pic>
        <p:nvPicPr>
          <p:cNvPr id="42" name="Imagen 41">
            <a:extLst>
              <a:ext uri="{FF2B5EF4-FFF2-40B4-BE49-F238E27FC236}">
                <a16:creationId xmlns:a16="http://schemas.microsoft.com/office/drawing/2014/main" id="{90171C8F-6FD8-23EB-1D94-D3E067A6E2A3}"/>
              </a:ext>
            </a:extLst>
          </p:cNvPr>
          <p:cNvPicPr preferRelativeResize="0">
            <a:picLocks/>
          </p:cNvPicPr>
          <p:nvPr/>
        </p:nvPicPr>
        <p:blipFill>
          <a:blip r:embed="rId4"/>
          <a:srcRect l="12029" t="15686" r="7996" b="25558"/>
          <a:stretch>
            <a:fillRect/>
          </a:stretch>
        </p:blipFill>
        <p:spPr>
          <a:xfrm>
            <a:off x="791883" y="3949912"/>
            <a:ext cx="432000" cy="246332"/>
          </a:xfrm>
          <a:prstGeom prst="rect">
            <a:avLst/>
          </a:prstGeom>
        </p:spPr>
      </p:pic>
      <p:pic>
        <p:nvPicPr>
          <p:cNvPr id="1028" name="Picture 4" descr="Bandera de argentina bandera nacional bandera de moldova ...">
            <a:extLst>
              <a:ext uri="{FF2B5EF4-FFF2-40B4-BE49-F238E27FC236}">
                <a16:creationId xmlns:a16="http://schemas.microsoft.com/office/drawing/2014/main" id="{94329CC9-DDDE-38DC-DAA8-615BCE63AF83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45" t="18824" r="23889" b="19651"/>
          <a:stretch>
            <a:fillRect/>
          </a:stretch>
        </p:blipFill>
        <p:spPr bwMode="auto">
          <a:xfrm>
            <a:off x="2207347" y="3938078"/>
            <a:ext cx="432000" cy="27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Bandera: Brasil | bandera paisaje | 1.35m² | 90x150cm">
            <a:extLst>
              <a:ext uri="{FF2B5EF4-FFF2-40B4-BE49-F238E27FC236}">
                <a16:creationId xmlns:a16="http://schemas.microsoft.com/office/drawing/2014/main" id="{26814DAB-9144-48B6-58AA-3C6E878A7E43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1" t="25143" r="8003" b="25964"/>
          <a:stretch>
            <a:fillRect/>
          </a:stretch>
        </p:blipFill>
        <p:spPr bwMode="auto">
          <a:xfrm>
            <a:off x="2913307" y="3941360"/>
            <a:ext cx="432000" cy="263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Imagen 44">
            <a:extLst>
              <a:ext uri="{FF2B5EF4-FFF2-40B4-BE49-F238E27FC236}">
                <a16:creationId xmlns:a16="http://schemas.microsoft.com/office/drawing/2014/main" id="{E745AC56-B610-9DD2-3262-C3C55E571E66}"/>
              </a:ext>
            </a:extLst>
          </p:cNvPr>
          <p:cNvPicPr preferRelativeResize="0">
            <a:picLocks/>
          </p:cNvPicPr>
          <p:nvPr/>
        </p:nvPicPr>
        <p:blipFill>
          <a:blip r:embed="rId7"/>
          <a:srcRect l="20496" t="22973" r="20000" b="27703"/>
          <a:stretch>
            <a:fillRect/>
          </a:stretch>
        </p:blipFill>
        <p:spPr>
          <a:xfrm>
            <a:off x="3619267" y="3938078"/>
            <a:ext cx="432000" cy="270000"/>
          </a:xfrm>
          <a:prstGeom prst="rect">
            <a:avLst/>
          </a:prstGeom>
        </p:spPr>
      </p:pic>
      <p:pic>
        <p:nvPicPr>
          <p:cNvPr id="1036" name="Picture 12" descr="Bandera de colombia png imágenes | PNGWing">
            <a:extLst>
              <a:ext uri="{FF2B5EF4-FFF2-40B4-BE49-F238E27FC236}">
                <a16:creationId xmlns:a16="http://schemas.microsoft.com/office/drawing/2014/main" id="{65BB5DB9-F0FC-2705-9C7C-ACC6D5EDD3FF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54" b="16658"/>
          <a:stretch>
            <a:fillRect/>
          </a:stretch>
        </p:blipFill>
        <p:spPr bwMode="auto">
          <a:xfrm>
            <a:off x="4325227" y="3938078"/>
            <a:ext cx="432000" cy="27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Bandera de México .eps Royalty-free Stock Vector Images">
            <a:extLst>
              <a:ext uri="{FF2B5EF4-FFF2-40B4-BE49-F238E27FC236}">
                <a16:creationId xmlns:a16="http://schemas.microsoft.com/office/drawing/2014/main" id="{D60867B9-AFBD-D8FA-8243-21F5CD6F2CB0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4" t="21601" r="3513" b="21777"/>
          <a:stretch>
            <a:fillRect/>
          </a:stretch>
        </p:blipFill>
        <p:spPr bwMode="auto">
          <a:xfrm>
            <a:off x="5031187" y="3938078"/>
            <a:ext cx="432000" cy="27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Bandera de peru bandera nacional bandera de escocia ...">
            <a:extLst>
              <a:ext uri="{FF2B5EF4-FFF2-40B4-BE49-F238E27FC236}">
                <a16:creationId xmlns:a16="http://schemas.microsoft.com/office/drawing/2014/main" id="{E6D4A93B-6F9E-B19E-6F73-D25C2C90F435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11" t="4697" r="2938" b="5194"/>
          <a:stretch>
            <a:fillRect/>
          </a:stretch>
        </p:blipFill>
        <p:spPr bwMode="auto">
          <a:xfrm>
            <a:off x="5737145" y="3938078"/>
            <a:ext cx="432000" cy="27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Imagen 46">
            <a:extLst>
              <a:ext uri="{FF2B5EF4-FFF2-40B4-BE49-F238E27FC236}">
                <a16:creationId xmlns:a16="http://schemas.microsoft.com/office/drawing/2014/main" id="{17BC2E15-FF89-47DC-5C04-ACE5365D883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585194" y="3910957"/>
            <a:ext cx="259394" cy="324243"/>
          </a:xfrm>
          <a:prstGeom prst="rect">
            <a:avLst/>
          </a:prstGeom>
        </p:spPr>
      </p:pic>
      <p:sp>
        <p:nvSpPr>
          <p:cNvPr id="48" name="CuadroTexto 47">
            <a:extLst>
              <a:ext uri="{FF2B5EF4-FFF2-40B4-BE49-F238E27FC236}">
                <a16:creationId xmlns:a16="http://schemas.microsoft.com/office/drawing/2014/main" id="{CC163DFC-860B-8356-68D9-51DD60C2F5B3}"/>
              </a:ext>
            </a:extLst>
          </p:cNvPr>
          <p:cNvSpPr txBox="1"/>
          <p:nvPr/>
        </p:nvSpPr>
        <p:spPr>
          <a:xfrm>
            <a:off x="6530872" y="2117660"/>
            <a:ext cx="1630072" cy="1419068"/>
          </a:xfrm>
          <a:prstGeom prst="rect">
            <a:avLst/>
          </a:prstGeom>
          <a:noFill/>
        </p:spPr>
        <p:txBody>
          <a:bodyPr wrap="square" lIns="0" tIns="27000" rIns="162000" bIns="27000" rtlCol="0">
            <a:spAutoFit/>
          </a:bodyPr>
          <a:lstStyle>
            <a:defPPr>
              <a:defRPr lang="en-US"/>
            </a:defPPr>
            <a:lvl1pPr>
              <a:spcBef>
                <a:spcPts val="1000"/>
              </a:spcBef>
              <a:defRPr sz="2000" spc="-50">
                <a:solidFill>
                  <a:schemeClr val="accent4">
                    <a:lumMod val="75000"/>
                  </a:schemeClr>
                </a:solidFill>
                <a:latin typeface="Montserrat" pitchFamily="2" charset="77"/>
              </a:defRPr>
            </a:lvl1pPr>
          </a:lstStyle>
          <a:p>
            <a:pPr defTabSz="685748" fontAlgn="auto">
              <a:lnSpc>
                <a:spcPts val="1800"/>
              </a:lnSpc>
              <a:spcBef>
                <a:spcPts val="750"/>
              </a:spcBef>
              <a:spcAft>
                <a:spcPts val="0"/>
              </a:spcAft>
            </a:pPr>
            <a:r>
              <a:rPr lang="es-ES" sz="1100" spc="-38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cs typeface="+mn-cs"/>
              </a:rPr>
              <a:t>Se observa un atraso en los niveles de inversión de IT en Argentina en los últimos 2 años, estimación prevén que en 2026 alcance los valores de la región.</a:t>
            </a:r>
            <a:endParaRPr lang="es-AR" sz="1100" spc="-38">
              <a:solidFill>
                <a:schemeClr val="bg1">
                  <a:lumMod val="25000"/>
                </a:schemeClr>
              </a:solidFill>
              <a:latin typeface="Pulso Light" pitchFamily="2" charset="0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BCA7599-5E29-B14C-0758-2C15100DC026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3605154" cy="769441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>
                <a:solidFill>
                  <a:schemeClr val="tx2"/>
                </a:solidFill>
                <a:latin typeface="Pulso Light" pitchFamily="2" charset="0"/>
              </a:rPr>
              <a:t>Negocio B2B:</a:t>
            </a:r>
            <a:br>
              <a:rPr lang="es-ES_tradnl" sz="2600" b="0" noProof="0">
                <a:solidFill>
                  <a:schemeClr val="tx2"/>
                </a:solidFill>
                <a:latin typeface="Pulso Light" pitchFamily="2" charset="0"/>
              </a:rPr>
            </a:b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Estrategia </a:t>
            </a:r>
            <a:r>
              <a:rPr lang="es-ES_tradnl" sz="2600" b="0" noProof="0" err="1">
                <a:solidFill>
                  <a:schemeClr val="bg2"/>
                </a:solidFill>
                <a:latin typeface="Pulso Light" pitchFamily="2" charset="0"/>
              </a:rPr>
              <a:t>Telco</a:t>
            </a: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 &gt; </a:t>
            </a:r>
            <a:r>
              <a:rPr lang="es-ES_tradnl" sz="2600" b="0" noProof="0" err="1">
                <a:solidFill>
                  <a:schemeClr val="bg2"/>
                </a:solidFill>
                <a:latin typeface="Pulso Light" pitchFamily="2" charset="0"/>
              </a:rPr>
              <a:t>Techco</a:t>
            </a:r>
            <a:endParaRPr lang="es-ES_tradnl" sz="2600" b="0" noProof="0">
              <a:solidFill>
                <a:schemeClr val="bg2"/>
              </a:solidFill>
              <a:latin typeface="Pulso Light" pitchFamily="2" charset="0"/>
            </a:endParaRPr>
          </a:p>
        </p:txBody>
      </p:sp>
      <p:sp>
        <p:nvSpPr>
          <p:cNvPr id="5" name="Marcador de texto 8">
            <a:extLst>
              <a:ext uri="{FF2B5EF4-FFF2-40B4-BE49-F238E27FC236}">
                <a16:creationId xmlns:a16="http://schemas.microsoft.com/office/drawing/2014/main" id="{F54985B5-E58A-9062-3001-0842C28DB341}"/>
              </a:ext>
            </a:extLst>
          </p:cNvPr>
          <p:cNvSpPr txBox="1">
            <a:spLocks/>
          </p:cNvSpPr>
          <p:nvPr/>
        </p:nvSpPr>
        <p:spPr>
          <a:xfrm>
            <a:off x="540657" y="1431652"/>
            <a:ext cx="4488325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200" noProof="0">
                <a:solidFill>
                  <a:srgbClr val="150958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Crecimiento del Mercado de TI empresarial por país en USD</a:t>
            </a:r>
            <a:r>
              <a:rPr lang="es-ES_tradnl" sz="1200">
                <a:solidFill>
                  <a:srgbClr val="150958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  <a:endParaRPr lang="es-ES_tradnl" sz="1200" noProof="0">
              <a:solidFill>
                <a:srgbClr val="150958"/>
              </a:solidFill>
              <a:latin typeface="Pulso" pitchFamily="2" charset="0"/>
              <a:ea typeface="Roboto" panose="02000000000000000000" pitchFamily="2" charset="0"/>
              <a:cs typeface="Open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1030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9ABAF7-8560-BCF9-7520-A8D5CCA2D9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upo 30">
            <a:extLst>
              <a:ext uri="{FF2B5EF4-FFF2-40B4-BE49-F238E27FC236}">
                <a16:creationId xmlns:a16="http://schemas.microsoft.com/office/drawing/2014/main" id="{D4206D6A-8E4E-A91A-A440-F52C3715D7E4}"/>
              </a:ext>
            </a:extLst>
          </p:cNvPr>
          <p:cNvGrpSpPr/>
          <p:nvPr/>
        </p:nvGrpSpPr>
        <p:grpSpPr>
          <a:xfrm>
            <a:off x="4207628" y="2895248"/>
            <a:ext cx="515318" cy="112191"/>
            <a:chOff x="5588723" y="3144791"/>
            <a:chExt cx="515318" cy="112191"/>
          </a:xfrm>
          <a:noFill/>
        </p:grpSpPr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91C86B5D-53DF-A6E8-80F4-52F00019107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88723" y="3190086"/>
              <a:ext cx="21600" cy="21600"/>
            </a:xfrm>
            <a:prstGeom prst="ellipse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43543" tIns="21771" rIns="43543" bIns="2177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700">
                <a:solidFill>
                  <a:srgbClr val="808080"/>
                </a:solidFill>
                <a:latin typeface="Pulso" pitchFamily="2" charset="0"/>
              </a:endParaRPr>
            </a:p>
          </p:txBody>
        </p:sp>
        <p:sp>
          <p:nvSpPr>
            <p:cNvPr id="33" name="Rectángulo 61">
              <a:extLst>
                <a:ext uri="{FF2B5EF4-FFF2-40B4-BE49-F238E27FC236}">
                  <a16:creationId xmlns:a16="http://schemas.microsoft.com/office/drawing/2014/main" id="{19499054-9B9F-E2BE-E3FD-70D6EBDFAB01}"/>
                </a:ext>
              </a:extLst>
            </p:cNvPr>
            <p:cNvSpPr/>
            <p:nvPr/>
          </p:nvSpPr>
          <p:spPr>
            <a:xfrm rot="2700000">
              <a:off x="5968614" y="3144791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grpFill/>
            <a:ln w="19050" cap="rnd" cmpd="sng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  <p:cxnSp>
          <p:nvCxnSpPr>
            <p:cNvPr id="34" name="Conector recto 33">
              <a:extLst>
                <a:ext uri="{FF2B5EF4-FFF2-40B4-BE49-F238E27FC236}">
                  <a16:creationId xmlns:a16="http://schemas.microsoft.com/office/drawing/2014/main" id="{52087783-6E53-018F-75FF-46C4EF136C18}"/>
                </a:ext>
              </a:extLst>
            </p:cNvPr>
            <p:cNvCxnSpPr>
              <a:cxnSpLocks/>
            </p:cNvCxnSpPr>
            <p:nvPr/>
          </p:nvCxnSpPr>
          <p:spPr>
            <a:xfrm>
              <a:off x="5670299" y="3200886"/>
              <a:ext cx="433742" cy="0"/>
            </a:xfrm>
            <a:prstGeom prst="line">
              <a:avLst/>
            </a:prstGeom>
            <a:grpFill/>
            <a:ln w="19050" cap="rnd">
              <a:solidFill>
                <a:srgbClr val="FFFFFF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ctángulo 1">
            <a:extLst>
              <a:ext uri="{FF2B5EF4-FFF2-40B4-BE49-F238E27FC236}">
                <a16:creationId xmlns:a16="http://schemas.microsoft.com/office/drawing/2014/main" id="{1A503A64-3A13-9C40-5E0E-5242595F44D1}"/>
              </a:ext>
            </a:extLst>
          </p:cNvPr>
          <p:cNvSpPr/>
          <p:nvPr/>
        </p:nvSpPr>
        <p:spPr>
          <a:xfrm>
            <a:off x="606581" y="2108281"/>
            <a:ext cx="3965419" cy="11520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n-US" sz="4400" spc="-7" err="1">
                <a:solidFill>
                  <a:schemeClr val="bg1"/>
                </a:solidFill>
                <a:latin typeface="Pulso Light" pitchFamily="2" charset="0"/>
                <a:ea typeface="Inter Light BETA" panose="020B0402030000000004" pitchFamily="34" charset="0"/>
              </a:rPr>
              <a:t>Contexto</a:t>
            </a:r>
            <a:r>
              <a:rPr lang="en-US" sz="4400" spc="-7">
                <a:solidFill>
                  <a:schemeClr val="bg1"/>
                </a:solidFill>
                <a:latin typeface="Pulso Light" pitchFamily="2" charset="0"/>
                <a:ea typeface="Inter Light BETA" panose="020B0402030000000004" pitchFamily="34" charset="0"/>
              </a:rPr>
              <a:t> de Negocio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017C6D4-F2F0-FE8F-840F-D97B5A2679C1}"/>
              </a:ext>
            </a:extLst>
          </p:cNvPr>
          <p:cNvSpPr txBox="1">
            <a:spLocks/>
          </p:cNvSpPr>
          <p:nvPr/>
        </p:nvSpPr>
        <p:spPr>
          <a:xfrm>
            <a:off x="5359863" y="2742722"/>
            <a:ext cx="1093355" cy="4192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defRPr sz="4400" spc="-7">
                <a:solidFill>
                  <a:schemeClr val="bg1"/>
                </a:solidFill>
                <a:latin typeface="Pulso Light" pitchFamily="2" charset="0"/>
                <a:ea typeface="Inter Light BETA" panose="020B0402030000000004" pitchFamily="34" charset="0"/>
              </a:defRPr>
            </a:lvl1pPr>
          </a:lstStyle>
          <a:p>
            <a:r>
              <a:rPr lang="es-ES_tradnl" sz="3200">
                <a:latin typeface="Pulso" pitchFamily="2" charset="0"/>
              </a:rPr>
              <a:t>Local</a:t>
            </a:r>
          </a:p>
        </p:txBody>
      </p:sp>
      <p:sp>
        <p:nvSpPr>
          <p:cNvPr id="9" name="Rectángulo redondeado 8">
            <a:extLst>
              <a:ext uri="{FF2B5EF4-FFF2-40B4-BE49-F238E27FC236}">
                <a16:creationId xmlns:a16="http://schemas.microsoft.com/office/drawing/2014/main" id="{C0C28C6C-F68A-6116-A96C-6E1C3E514D85}"/>
              </a:ext>
            </a:extLst>
          </p:cNvPr>
          <p:cNvSpPr/>
          <p:nvPr/>
        </p:nvSpPr>
        <p:spPr>
          <a:xfrm>
            <a:off x="5084329" y="2548586"/>
            <a:ext cx="1613505" cy="733930"/>
          </a:xfrm>
          <a:prstGeom prst="roundRect">
            <a:avLst>
              <a:gd name="adj" fmla="val 50000"/>
            </a:avLst>
          </a:prstGeom>
          <a:noFill/>
          <a:ln w="6350" cap="rnd" cmpd="sng">
            <a:solidFill>
              <a:srgbClr val="FFFFFF">
                <a:alpha val="75000"/>
              </a:srgb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>
              <a:spcBef>
                <a:spcPts val="1000"/>
              </a:spcBef>
            </a:pPr>
            <a:endParaRPr lang="es-AR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3320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1CA0A7-4088-8915-4691-101B3F2837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44E0864F-C426-CDA1-9A80-778594B7C9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" b="781"/>
          <a:stretch/>
        </p:blipFill>
        <p:spPr>
          <a:xfrm>
            <a:off x="0" y="0"/>
            <a:ext cx="9144000" cy="51435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DBF28369-4A95-B336-6532-162B97383CE3}"/>
              </a:ext>
            </a:extLst>
          </p:cNvPr>
          <p:cNvSpPr/>
          <p:nvPr/>
        </p:nvSpPr>
        <p:spPr>
          <a:xfrm>
            <a:off x="2054866" y="177003"/>
            <a:ext cx="223138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Local</a:t>
            </a:r>
          </a:p>
        </p:txBody>
      </p:sp>
      <p:grpSp>
        <p:nvGrpSpPr>
          <p:cNvPr id="8" name="Grupo 7">
            <a:extLst>
              <a:ext uri="{FF2B5EF4-FFF2-40B4-BE49-F238E27FC236}">
                <a16:creationId xmlns:a16="http://schemas.microsoft.com/office/drawing/2014/main" id="{EAB69867-0715-82DF-A95B-2F394D34E079}"/>
              </a:ext>
            </a:extLst>
          </p:cNvPr>
          <p:cNvGrpSpPr>
            <a:grpSpLocks noChangeAspect="1"/>
          </p:cNvGrpSpPr>
          <p:nvPr/>
        </p:nvGrpSpPr>
        <p:grpSpPr>
          <a:xfrm>
            <a:off x="1642077" y="198211"/>
            <a:ext cx="139179" cy="36000"/>
            <a:chOff x="4907127" y="353637"/>
            <a:chExt cx="433742" cy="112191"/>
          </a:xfrm>
        </p:grpSpPr>
        <p:sp>
          <p:nvSpPr>
            <p:cNvPr id="9" name="Rectángulo 61">
              <a:extLst>
                <a:ext uri="{FF2B5EF4-FFF2-40B4-BE49-F238E27FC236}">
                  <a16:creationId xmlns:a16="http://schemas.microsoft.com/office/drawing/2014/main" id="{7A4FBA63-3E06-C33F-0F57-6816A1EF18A0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rgbClr val="FFFFFF"/>
                </a:solidFill>
              </a:endParaRPr>
            </a:p>
          </p:txBody>
        </p:sp>
        <p:cxnSp>
          <p:nvCxnSpPr>
            <p:cNvPr id="10" name="Conector recto 9">
              <a:extLst>
                <a:ext uri="{FF2B5EF4-FFF2-40B4-BE49-F238E27FC236}">
                  <a16:creationId xmlns:a16="http://schemas.microsoft.com/office/drawing/2014/main" id="{13D22D81-7081-EA80-9A66-6259518152AA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rgbClr val="FFFFFF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ángulo 10">
            <a:extLst>
              <a:ext uri="{FF2B5EF4-FFF2-40B4-BE49-F238E27FC236}">
                <a16:creationId xmlns:a16="http://schemas.microsoft.com/office/drawing/2014/main" id="{3679CF6F-DFC0-B053-4048-27B5512DAC1D}"/>
              </a:ext>
            </a:extLst>
          </p:cNvPr>
          <p:cNvSpPr/>
          <p:nvPr/>
        </p:nvSpPr>
        <p:spPr>
          <a:xfrm>
            <a:off x="547970" y="166052"/>
            <a:ext cx="830933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Contexto de Negocio</a:t>
            </a:r>
          </a:p>
        </p:txBody>
      </p:sp>
      <p:sp>
        <p:nvSpPr>
          <p:cNvPr id="12" name="Redondear rectángulo de esquina del mismo lado 11">
            <a:extLst>
              <a:ext uri="{FF2B5EF4-FFF2-40B4-BE49-F238E27FC236}">
                <a16:creationId xmlns:a16="http://schemas.microsoft.com/office/drawing/2014/main" id="{E290AD2E-532A-6C97-C835-970385AC67A5}"/>
              </a:ext>
            </a:extLst>
          </p:cNvPr>
          <p:cNvSpPr/>
          <p:nvPr/>
        </p:nvSpPr>
        <p:spPr>
          <a:xfrm>
            <a:off x="398274" y="0"/>
            <a:ext cx="11448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7760" sy="117760" algn="t" rotWithShape="0">
              <a:schemeClr val="bg2">
                <a:alpha val="69819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13" name="Rectángulo redondeado 12">
            <a:extLst>
              <a:ext uri="{FF2B5EF4-FFF2-40B4-BE49-F238E27FC236}">
                <a16:creationId xmlns:a16="http://schemas.microsoft.com/office/drawing/2014/main" id="{EE6D2A72-FBCA-2818-4E46-E7E382B17785}"/>
              </a:ext>
            </a:extLst>
          </p:cNvPr>
          <p:cNvSpPr/>
          <p:nvPr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14" name="Gráfico 3">
            <a:extLst>
              <a:ext uri="{FF2B5EF4-FFF2-40B4-BE49-F238E27FC236}">
                <a16:creationId xmlns:a16="http://schemas.microsoft.com/office/drawing/2014/main" id="{3D66321E-C7B4-C886-FD9D-2D9E19DF950F}"/>
              </a:ext>
            </a:extLst>
          </p:cNvPr>
          <p:cNvGrpSpPr/>
          <p:nvPr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8C3A0413-B8C3-0806-0FC0-9C8992F4CFDA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7A077F13-B9AC-3C44-DAD4-D9DD5F1ED257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B3D52C55-4E32-9F58-E505-F64236704B76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8" name="Forma libre 17">
              <a:extLst>
                <a:ext uri="{FF2B5EF4-FFF2-40B4-BE49-F238E27FC236}">
                  <a16:creationId xmlns:a16="http://schemas.microsoft.com/office/drawing/2014/main" id="{9DC9B383-EC9B-87B8-49E8-8960CED149E6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8752B440-F8E0-E867-24CE-6E536F01E94C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6CD382B5-7A88-E50E-19E6-C01E63C5BA3F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1" name="Forma libre 20">
              <a:extLst>
                <a:ext uri="{FF2B5EF4-FFF2-40B4-BE49-F238E27FC236}">
                  <a16:creationId xmlns:a16="http://schemas.microsoft.com/office/drawing/2014/main" id="{D943D643-3AF7-BE33-3077-52862A9535E0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2" name="Forma libre 21">
              <a:extLst>
                <a:ext uri="{FF2B5EF4-FFF2-40B4-BE49-F238E27FC236}">
                  <a16:creationId xmlns:a16="http://schemas.microsoft.com/office/drawing/2014/main" id="{7ACA0578-DFEB-2025-7F54-5D369927EFDF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3" name="Rectángulo 22">
            <a:extLst>
              <a:ext uri="{FF2B5EF4-FFF2-40B4-BE49-F238E27FC236}">
                <a16:creationId xmlns:a16="http://schemas.microsoft.com/office/drawing/2014/main" id="{278C43D5-F473-957E-4BC8-3B8064F9181D}"/>
              </a:ext>
            </a:extLst>
          </p:cNvPr>
          <p:cNvSpPr/>
          <p:nvPr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7" name="Redondear rectángulo de esquina del mismo lado 53">
            <a:extLst>
              <a:ext uri="{FF2B5EF4-FFF2-40B4-BE49-F238E27FC236}">
                <a16:creationId xmlns:a16="http://schemas.microsoft.com/office/drawing/2014/main" id="{2AFEF6CE-11AD-6A14-55C2-A9A052B4D331}"/>
              </a:ext>
            </a:extLst>
          </p:cNvPr>
          <p:cNvSpPr/>
          <p:nvPr/>
        </p:nvSpPr>
        <p:spPr>
          <a:xfrm rot="5400000">
            <a:off x="6082269" y="1120660"/>
            <a:ext cx="438223" cy="5287567"/>
          </a:xfrm>
          <a:prstGeom prst="round2SameRect">
            <a:avLst>
              <a:gd name="adj1" fmla="val 15747"/>
              <a:gd name="adj2" fmla="val 0"/>
            </a:avLst>
          </a:prstGeom>
          <a:gradFill>
            <a:gsLst>
              <a:gs pos="40000">
                <a:srgbClr val="FFFFFF"/>
              </a:gs>
              <a:gs pos="100000">
                <a:srgbClr val="F0F0F0">
                  <a:alpha val="0"/>
                </a:srgbClr>
              </a:gs>
            </a:gsLst>
            <a:lin ang="5400000" scaled="0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563"/>
              </a:spcBef>
            </a:pPr>
            <a:endParaRPr lang="es-AR" sz="825" b="1">
              <a:solidFill>
                <a:schemeClr val="tx1"/>
              </a:solidFill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49BD062-6800-D18B-540F-D78FDCAB17FD}"/>
              </a:ext>
            </a:extLst>
          </p:cNvPr>
          <p:cNvSpPr txBox="1">
            <a:spLocks/>
          </p:cNvSpPr>
          <p:nvPr/>
        </p:nvSpPr>
        <p:spPr>
          <a:xfrm>
            <a:off x="5196678" y="3668178"/>
            <a:ext cx="3595100" cy="248061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noAutofit/>
          </a:bodyPr>
          <a:lstStyle>
            <a:lvl1pPr algn="l" defTabSz="91431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spc="-100" baseline="0">
                <a:solidFill>
                  <a:schemeClr val="tx1"/>
                </a:solidFill>
                <a:latin typeface="+mj-lt"/>
                <a:ea typeface="Montserrat" charset="0"/>
                <a:cs typeface="Montserrat" charset="0"/>
              </a:defRPr>
            </a:lvl1pPr>
          </a:lstStyle>
          <a:p>
            <a:pPr algn="r">
              <a:lnSpc>
                <a:spcPct val="85000"/>
              </a:lnSpc>
            </a:pPr>
            <a:r>
              <a:rPr lang="es-ES_tradnl" sz="1800" b="0" spc="-38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La macro te esperanza</a:t>
            </a:r>
          </a:p>
        </p:txBody>
      </p:sp>
      <p:sp>
        <p:nvSpPr>
          <p:cNvPr id="29" name="Redondear rectángulo de esquina del mismo lado 53">
            <a:extLst>
              <a:ext uri="{FF2B5EF4-FFF2-40B4-BE49-F238E27FC236}">
                <a16:creationId xmlns:a16="http://schemas.microsoft.com/office/drawing/2014/main" id="{DCB10D5C-E3BC-0F0F-69C5-7291E9165379}"/>
              </a:ext>
            </a:extLst>
          </p:cNvPr>
          <p:cNvSpPr/>
          <p:nvPr/>
        </p:nvSpPr>
        <p:spPr>
          <a:xfrm rot="5400000">
            <a:off x="6082271" y="1608526"/>
            <a:ext cx="438224" cy="5287567"/>
          </a:xfrm>
          <a:prstGeom prst="round2SameRect">
            <a:avLst>
              <a:gd name="adj1" fmla="val 15747"/>
              <a:gd name="adj2" fmla="val 0"/>
            </a:avLst>
          </a:prstGeom>
          <a:gradFill>
            <a:gsLst>
              <a:gs pos="40000">
                <a:srgbClr val="FFFFFF"/>
              </a:gs>
              <a:gs pos="100000">
                <a:srgbClr val="F0F0F0">
                  <a:alpha val="0"/>
                </a:srgbClr>
              </a:gs>
            </a:gsLst>
            <a:lin ang="5400000" scaled="0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563"/>
              </a:spcBef>
            </a:pPr>
            <a:endParaRPr lang="es-AR" sz="825" b="1">
              <a:solidFill>
                <a:schemeClr val="tx1"/>
              </a:solidFill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BCC89514-4F89-2EF2-A89B-5160C12EB057}"/>
              </a:ext>
            </a:extLst>
          </p:cNvPr>
          <p:cNvSpPr txBox="1">
            <a:spLocks/>
          </p:cNvSpPr>
          <p:nvPr/>
        </p:nvSpPr>
        <p:spPr>
          <a:xfrm>
            <a:off x="5196678" y="4154408"/>
            <a:ext cx="3595100" cy="248061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noAutofit/>
          </a:bodyPr>
          <a:lstStyle>
            <a:lvl1pPr algn="l" defTabSz="91431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spc="-100" baseline="0">
                <a:solidFill>
                  <a:schemeClr val="tx1"/>
                </a:solidFill>
                <a:latin typeface="+mj-lt"/>
                <a:ea typeface="Montserrat" charset="0"/>
                <a:cs typeface="Montserrat" charset="0"/>
              </a:defRPr>
            </a:lvl1pPr>
          </a:lstStyle>
          <a:p>
            <a:pPr algn="r">
              <a:lnSpc>
                <a:spcPct val="85000"/>
              </a:lnSpc>
            </a:pPr>
            <a:r>
              <a:rPr lang="es-ES_tradnl" sz="1800" spc="-38">
                <a:solidFill>
                  <a:schemeClr val="accent2"/>
                </a:solidFill>
                <a:latin typeface="Pulso" pitchFamily="2" charset="0"/>
              </a:rPr>
              <a:t>La micro sigue siendo un desafío</a:t>
            </a:r>
          </a:p>
        </p:txBody>
      </p:sp>
      <p:sp>
        <p:nvSpPr>
          <p:cNvPr id="30" name="Slide Number Placeholder 24">
            <a:extLst>
              <a:ext uri="{FF2B5EF4-FFF2-40B4-BE49-F238E27FC236}">
                <a16:creationId xmlns:a16="http://schemas.microsoft.com/office/drawing/2014/main" id="{DBB76FB2-E0D7-4871-C423-7BAED3AA4918}"/>
              </a:ext>
            </a:extLst>
          </p:cNvPr>
          <p:cNvSpPr txBox="1">
            <a:spLocks/>
          </p:cNvSpPr>
          <p:nvPr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bg1"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23</a:t>
            </a:fld>
            <a:endParaRPr lang="en-US" sz="562" b="0" i="0">
              <a:solidFill>
                <a:schemeClr val="bg1"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D5175264-0F9D-EF70-66F2-0C8B56C7A1ED}"/>
              </a:ext>
            </a:extLst>
          </p:cNvPr>
          <p:cNvCxnSpPr>
            <a:cxnSpLocks/>
          </p:cNvCxnSpPr>
          <p:nvPr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bg1"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dondear rectángulo de esquina del mismo lado 53">
            <a:extLst>
              <a:ext uri="{FF2B5EF4-FFF2-40B4-BE49-F238E27FC236}">
                <a16:creationId xmlns:a16="http://schemas.microsoft.com/office/drawing/2014/main" id="{74803885-1C2E-D6E7-DFD6-A4D0E567292D}"/>
              </a:ext>
            </a:extLst>
          </p:cNvPr>
          <p:cNvSpPr/>
          <p:nvPr/>
        </p:nvSpPr>
        <p:spPr>
          <a:xfrm rot="16200000">
            <a:off x="2303538" y="-1797548"/>
            <a:ext cx="937977" cy="5545052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40000">
                <a:schemeClr val="bg2">
                  <a:alpha val="48769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0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563"/>
              </a:spcBef>
            </a:pPr>
            <a:endParaRPr lang="es-AR" sz="825" b="1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EB39A02-79D1-ADB9-71C8-196933499AAF}"/>
              </a:ext>
            </a:extLst>
          </p:cNvPr>
          <p:cNvSpPr txBox="1">
            <a:spLocks/>
          </p:cNvSpPr>
          <p:nvPr/>
        </p:nvSpPr>
        <p:spPr>
          <a:xfrm>
            <a:off x="540657" y="580494"/>
            <a:ext cx="3515706" cy="769441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noProof="0">
                <a:solidFill>
                  <a:srgbClr val="FFFFFF"/>
                </a:solidFill>
                <a:latin typeface="Pulso Light" pitchFamily="2" charset="0"/>
              </a:rPr>
              <a:t>Cambio de época</a:t>
            </a:r>
          </a:p>
          <a:p>
            <a:pPr>
              <a:lnSpc>
                <a:spcPts val="3000"/>
              </a:lnSpc>
            </a:pPr>
            <a:r>
              <a:rPr lang="es-ES_tradnl" sz="2600" b="0">
                <a:solidFill>
                  <a:srgbClr val="FFFFFF"/>
                </a:solidFill>
                <a:latin typeface="Pulso Light" pitchFamily="2" charset="0"/>
              </a:rPr>
              <a:t>La gente sigue apoyando</a:t>
            </a:r>
            <a:endParaRPr lang="es-ES_tradnl" sz="2600" b="0" noProof="0">
              <a:solidFill>
                <a:srgbClr val="FFFFFF"/>
              </a:solidFill>
              <a:latin typeface="Pulso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1125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rma libre 2">
            <a:extLst>
              <a:ext uri="{FF2B5EF4-FFF2-40B4-BE49-F238E27FC236}">
                <a16:creationId xmlns:a16="http://schemas.microsoft.com/office/drawing/2014/main" id="{92103826-9FC2-6074-1595-B7C6CC853CA6}"/>
              </a:ext>
            </a:extLst>
          </p:cNvPr>
          <p:cNvSpPr/>
          <p:nvPr/>
        </p:nvSpPr>
        <p:spPr>
          <a:xfrm flipH="1">
            <a:off x="4570337" y="621634"/>
            <a:ext cx="4032000" cy="3883544"/>
          </a:xfrm>
          <a:custGeom>
            <a:avLst/>
            <a:gdLst>
              <a:gd name="connsiteX0" fmla="*/ 86423 w 5327761"/>
              <a:gd name="connsiteY0" fmla="*/ 0 h 5073629"/>
              <a:gd name="connsiteX1" fmla="*/ 1769174 w 5327761"/>
              <a:gd name="connsiteY1" fmla="*/ 0 h 5073629"/>
              <a:gd name="connsiteX2" fmla="*/ 3081577 w 5327761"/>
              <a:gd name="connsiteY2" fmla="*/ 0 h 5073629"/>
              <a:gd name="connsiteX3" fmla="*/ 3826573 w 5327761"/>
              <a:gd name="connsiteY3" fmla="*/ 0 h 5073629"/>
              <a:gd name="connsiteX4" fmla="*/ 4764327 w 5327761"/>
              <a:gd name="connsiteY4" fmla="*/ 0 h 5073629"/>
              <a:gd name="connsiteX5" fmla="*/ 5327761 w 5327761"/>
              <a:gd name="connsiteY5" fmla="*/ 0 h 5073629"/>
              <a:gd name="connsiteX6" fmla="*/ 5327761 w 5327761"/>
              <a:gd name="connsiteY6" fmla="*/ 5073629 h 5073629"/>
              <a:gd name="connsiteX7" fmla="*/ 4764327 w 5327761"/>
              <a:gd name="connsiteY7" fmla="*/ 5073629 h 5073629"/>
              <a:gd name="connsiteX8" fmla="*/ 3826573 w 5327761"/>
              <a:gd name="connsiteY8" fmla="*/ 5073629 h 5073629"/>
              <a:gd name="connsiteX9" fmla="*/ 3081577 w 5327761"/>
              <a:gd name="connsiteY9" fmla="*/ 5073629 h 5073629"/>
              <a:gd name="connsiteX10" fmla="*/ 1769174 w 5327761"/>
              <a:gd name="connsiteY10" fmla="*/ 5073629 h 5073629"/>
              <a:gd name="connsiteX11" fmla="*/ 86424 w 5327761"/>
              <a:gd name="connsiteY11" fmla="*/ 5073629 h 5073629"/>
              <a:gd name="connsiteX12" fmla="*/ 1 w 5327761"/>
              <a:gd name="connsiteY12" fmla="*/ 4987206 h 5073629"/>
              <a:gd name="connsiteX13" fmla="*/ 1 w 5327761"/>
              <a:gd name="connsiteY13" fmla="*/ 3863257 h 5073629"/>
              <a:gd name="connsiteX14" fmla="*/ 0 w 5327761"/>
              <a:gd name="connsiteY14" fmla="*/ 3863256 h 5073629"/>
              <a:gd name="connsiteX15" fmla="*/ 0 w 5327761"/>
              <a:gd name="connsiteY15" fmla="*/ 86423 h 5073629"/>
              <a:gd name="connsiteX16" fmla="*/ 86423 w 5327761"/>
              <a:gd name="connsiteY16" fmla="*/ 0 h 5073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327761" h="5073629">
                <a:moveTo>
                  <a:pt x="86423" y="0"/>
                </a:moveTo>
                <a:lnTo>
                  <a:pt x="1769174" y="0"/>
                </a:lnTo>
                <a:lnTo>
                  <a:pt x="3081577" y="0"/>
                </a:lnTo>
                <a:lnTo>
                  <a:pt x="3826573" y="0"/>
                </a:lnTo>
                <a:lnTo>
                  <a:pt x="4764327" y="0"/>
                </a:lnTo>
                <a:lnTo>
                  <a:pt x="5327761" y="0"/>
                </a:lnTo>
                <a:lnTo>
                  <a:pt x="5327761" y="5073629"/>
                </a:lnTo>
                <a:lnTo>
                  <a:pt x="4764327" y="5073629"/>
                </a:lnTo>
                <a:lnTo>
                  <a:pt x="3826573" y="5073629"/>
                </a:lnTo>
                <a:lnTo>
                  <a:pt x="3081577" y="5073629"/>
                </a:lnTo>
                <a:lnTo>
                  <a:pt x="1769174" y="5073629"/>
                </a:lnTo>
                <a:lnTo>
                  <a:pt x="86424" y="5073629"/>
                </a:lnTo>
                <a:cubicBezTo>
                  <a:pt x="38694" y="5073629"/>
                  <a:pt x="1" y="5034936"/>
                  <a:pt x="1" y="4987206"/>
                </a:cubicBezTo>
                <a:lnTo>
                  <a:pt x="1" y="3863257"/>
                </a:lnTo>
                <a:lnTo>
                  <a:pt x="0" y="3863256"/>
                </a:lnTo>
                <a:lnTo>
                  <a:pt x="0" y="86423"/>
                </a:lnTo>
                <a:cubicBezTo>
                  <a:pt x="0" y="38693"/>
                  <a:pt x="38693" y="0"/>
                  <a:pt x="86423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AR" sz="400">
              <a:latin typeface="Pulso" pitchFamily="2" charset="0"/>
            </a:endParaRPr>
          </a:p>
        </p:txBody>
      </p:sp>
      <p:sp>
        <p:nvSpPr>
          <p:cNvPr id="97" name="Rectángulo redondeado 96">
            <a:extLst>
              <a:ext uri="{FF2B5EF4-FFF2-40B4-BE49-F238E27FC236}">
                <a16:creationId xmlns:a16="http://schemas.microsoft.com/office/drawing/2014/main" id="{3673D735-00D3-ED27-59C7-7A78E2399426}"/>
              </a:ext>
            </a:extLst>
          </p:cNvPr>
          <p:cNvSpPr/>
          <p:nvPr/>
        </p:nvSpPr>
        <p:spPr>
          <a:xfrm>
            <a:off x="6190178" y="1571837"/>
            <a:ext cx="1559545" cy="817638"/>
          </a:xfrm>
          <a:prstGeom prst="roundRect">
            <a:avLst>
              <a:gd name="adj" fmla="val 6288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80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102" name="Rectángulo redondeado 101">
            <a:extLst>
              <a:ext uri="{FF2B5EF4-FFF2-40B4-BE49-F238E27FC236}">
                <a16:creationId xmlns:a16="http://schemas.microsoft.com/office/drawing/2014/main" id="{98F59513-0372-C4EC-F91D-B52483B3E729}"/>
              </a:ext>
            </a:extLst>
          </p:cNvPr>
          <p:cNvSpPr/>
          <p:nvPr/>
        </p:nvSpPr>
        <p:spPr>
          <a:xfrm>
            <a:off x="6190736" y="2425977"/>
            <a:ext cx="1558429" cy="1120418"/>
          </a:xfrm>
          <a:prstGeom prst="roundRect">
            <a:avLst>
              <a:gd name="adj" fmla="val 3867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80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103" name="Rectángulo redondeado 102">
            <a:extLst>
              <a:ext uri="{FF2B5EF4-FFF2-40B4-BE49-F238E27FC236}">
                <a16:creationId xmlns:a16="http://schemas.microsoft.com/office/drawing/2014/main" id="{0A32DAEC-1E36-D227-1A94-5C26C68573A4}"/>
              </a:ext>
            </a:extLst>
          </p:cNvPr>
          <p:cNvSpPr/>
          <p:nvPr/>
        </p:nvSpPr>
        <p:spPr>
          <a:xfrm>
            <a:off x="6190178" y="3582897"/>
            <a:ext cx="1559545" cy="409244"/>
          </a:xfrm>
          <a:prstGeom prst="roundRect">
            <a:avLst>
              <a:gd name="adj" fmla="val 12169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80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4" name="Forma libre 3">
            <a:extLst>
              <a:ext uri="{FF2B5EF4-FFF2-40B4-BE49-F238E27FC236}">
                <a16:creationId xmlns:a16="http://schemas.microsoft.com/office/drawing/2014/main" id="{D5DFC6E4-D818-503F-64A8-DA4F252338CA}"/>
              </a:ext>
            </a:extLst>
          </p:cNvPr>
          <p:cNvSpPr/>
          <p:nvPr/>
        </p:nvSpPr>
        <p:spPr>
          <a:xfrm>
            <a:off x="541664" y="621634"/>
            <a:ext cx="4032000" cy="3883544"/>
          </a:xfrm>
          <a:custGeom>
            <a:avLst/>
            <a:gdLst>
              <a:gd name="connsiteX0" fmla="*/ 86423 w 5327761"/>
              <a:gd name="connsiteY0" fmla="*/ 0 h 5073629"/>
              <a:gd name="connsiteX1" fmla="*/ 1769174 w 5327761"/>
              <a:gd name="connsiteY1" fmla="*/ 0 h 5073629"/>
              <a:gd name="connsiteX2" fmla="*/ 3081577 w 5327761"/>
              <a:gd name="connsiteY2" fmla="*/ 0 h 5073629"/>
              <a:gd name="connsiteX3" fmla="*/ 3826573 w 5327761"/>
              <a:gd name="connsiteY3" fmla="*/ 0 h 5073629"/>
              <a:gd name="connsiteX4" fmla="*/ 4764327 w 5327761"/>
              <a:gd name="connsiteY4" fmla="*/ 0 h 5073629"/>
              <a:gd name="connsiteX5" fmla="*/ 5327761 w 5327761"/>
              <a:gd name="connsiteY5" fmla="*/ 0 h 5073629"/>
              <a:gd name="connsiteX6" fmla="*/ 5327761 w 5327761"/>
              <a:gd name="connsiteY6" fmla="*/ 5073629 h 5073629"/>
              <a:gd name="connsiteX7" fmla="*/ 4764327 w 5327761"/>
              <a:gd name="connsiteY7" fmla="*/ 5073629 h 5073629"/>
              <a:gd name="connsiteX8" fmla="*/ 3826573 w 5327761"/>
              <a:gd name="connsiteY8" fmla="*/ 5073629 h 5073629"/>
              <a:gd name="connsiteX9" fmla="*/ 3081577 w 5327761"/>
              <a:gd name="connsiteY9" fmla="*/ 5073629 h 5073629"/>
              <a:gd name="connsiteX10" fmla="*/ 1769174 w 5327761"/>
              <a:gd name="connsiteY10" fmla="*/ 5073629 h 5073629"/>
              <a:gd name="connsiteX11" fmla="*/ 86424 w 5327761"/>
              <a:gd name="connsiteY11" fmla="*/ 5073629 h 5073629"/>
              <a:gd name="connsiteX12" fmla="*/ 1 w 5327761"/>
              <a:gd name="connsiteY12" fmla="*/ 4987206 h 5073629"/>
              <a:gd name="connsiteX13" fmla="*/ 1 w 5327761"/>
              <a:gd name="connsiteY13" fmla="*/ 3863257 h 5073629"/>
              <a:gd name="connsiteX14" fmla="*/ 0 w 5327761"/>
              <a:gd name="connsiteY14" fmla="*/ 3863256 h 5073629"/>
              <a:gd name="connsiteX15" fmla="*/ 0 w 5327761"/>
              <a:gd name="connsiteY15" fmla="*/ 86423 h 5073629"/>
              <a:gd name="connsiteX16" fmla="*/ 86423 w 5327761"/>
              <a:gd name="connsiteY16" fmla="*/ 0 h 5073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327761" h="5073629">
                <a:moveTo>
                  <a:pt x="86423" y="0"/>
                </a:moveTo>
                <a:lnTo>
                  <a:pt x="1769174" y="0"/>
                </a:lnTo>
                <a:lnTo>
                  <a:pt x="3081577" y="0"/>
                </a:lnTo>
                <a:lnTo>
                  <a:pt x="3826573" y="0"/>
                </a:lnTo>
                <a:lnTo>
                  <a:pt x="4764327" y="0"/>
                </a:lnTo>
                <a:lnTo>
                  <a:pt x="5327761" y="0"/>
                </a:lnTo>
                <a:lnTo>
                  <a:pt x="5327761" y="5073629"/>
                </a:lnTo>
                <a:lnTo>
                  <a:pt x="4764327" y="5073629"/>
                </a:lnTo>
                <a:lnTo>
                  <a:pt x="3826573" y="5073629"/>
                </a:lnTo>
                <a:lnTo>
                  <a:pt x="3081577" y="5073629"/>
                </a:lnTo>
                <a:lnTo>
                  <a:pt x="1769174" y="5073629"/>
                </a:lnTo>
                <a:lnTo>
                  <a:pt x="86424" y="5073629"/>
                </a:lnTo>
                <a:cubicBezTo>
                  <a:pt x="38694" y="5073629"/>
                  <a:pt x="1" y="5034936"/>
                  <a:pt x="1" y="4987206"/>
                </a:cubicBezTo>
                <a:lnTo>
                  <a:pt x="1" y="3863257"/>
                </a:lnTo>
                <a:lnTo>
                  <a:pt x="0" y="3863256"/>
                </a:lnTo>
                <a:lnTo>
                  <a:pt x="0" y="86423"/>
                </a:lnTo>
                <a:cubicBezTo>
                  <a:pt x="0" y="38693"/>
                  <a:pt x="38693" y="0"/>
                  <a:pt x="8642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AR" sz="400">
              <a:latin typeface="Pulso" pitchFamily="2" charset="0"/>
            </a:endParaRPr>
          </a:p>
        </p:txBody>
      </p:sp>
      <p:pic>
        <p:nvPicPr>
          <p:cNvPr id="33" name="Gráfico 32">
            <a:extLst>
              <a:ext uri="{FF2B5EF4-FFF2-40B4-BE49-F238E27FC236}">
                <a16:creationId xmlns:a16="http://schemas.microsoft.com/office/drawing/2014/main" id="{3F4F1E58-04FF-7DDB-98F2-3AC11AAC09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97652" y="1659455"/>
            <a:ext cx="1362319" cy="1216353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8E3E2F66-DA41-F874-222E-9293B7A91601}"/>
              </a:ext>
            </a:extLst>
          </p:cNvPr>
          <p:cNvSpPr txBox="1"/>
          <p:nvPr/>
        </p:nvSpPr>
        <p:spPr>
          <a:xfrm>
            <a:off x="890321" y="902883"/>
            <a:ext cx="1874430" cy="33855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indent="0" defTabSz="914318">
              <a:lnSpc>
                <a:spcPct val="114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b="1" i="0">
                <a:solidFill>
                  <a:schemeClr val="bg1"/>
                </a:solidFill>
                <a:latin typeface="Montserrat SemiBold" pitchFamily="2" charset="77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</a:lvl2pPr>
            <a:lvl3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200"/>
            </a:lvl3pPr>
            <a:lvl4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000">
                <a:solidFill>
                  <a:schemeClr val="tx1">
                    <a:alpha val="70000"/>
                  </a:schemeClr>
                </a:solidFill>
              </a:defRPr>
            </a:lvl4pPr>
            <a:lvl5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000" baseline="0">
                <a:solidFill>
                  <a:schemeClr val="tx1">
                    <a:alpha val="50000"/>
                  </a:schemeClr>
                </a:solidFill>
              </a:defRPr>
            </a:lvl5pPr>
            <a:lvl6pPr marL="2514374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6pPr>
            <a:lvl7pPr marL="2971534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7pPr>
            <a:lvl8pPr marL="3428692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8pPr>
            <a:lvl9pPr marL="3885850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9pPr>
          </a:lstStyle>
          <a:p>
            <a:pPr algn="ctr">
              <a:lnSpc>
                <a:spcPct val="100000"/>
              </a:lnSpc>
            </a:pPr>
            <a:r>
              <a:rPr lang="es-AR" sz="1100">
                <a:solidFill>
                  <a:srgbClr val="FFFFFF"/>
                </a:solidFill>
                <a:latin typeface="Pulso" pitchFamily="2" charset="0"/>
              </a:rPr>
              <a:t>Composición de nuestros clientes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4AB53BDC-A001-2E26-D99B-E620A4884CCD}"/>
              </a:ext>
            </a:extLst>
          </p:cNvPr>
          <p:cNvSpPr txBox="1"/>
          <p:nvPr/>
        </p:nvSpPr>
        <p:spPr>
          <a:xfrm>
            <a:off x="1229684" y="1745721"/>
            <a:ext cx="499569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s-AR" sz="1000" b="1">
                <a:solidFill>
                  <a:schemeClr val="tx2">
                    <a:lumMod val="75000"/>
                    <a:lumOff val="25000"/>
                  </a:schemeClr>
                </a:solidFill>
                <a:latin typeface="Pulso"/>
                <a:ea typeface="Open Sans ExtraBold"/>
                <a:cs typeface="Open Sans ExtraBold"/>
              </a:rPr>
              <a:t>17%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E5C61A07-7D12-4CA7-005D-8CACF920A5DE}"/>
              </a:ext>
            </a:extLst>
          </p:cNvPr>
          <p:cNvSpPr txBox="1"/>
          <p:nvPr/>
        </p:nvSpPr>
        <p:spPr>
          <a:xfrm>
            <a:off x="1229684" y="1973808"/>
            <a:ext cx="499569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accent2">
                    <a:lumMod val="50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defRPr>
            </a:lvl1pPr>
          </a:lstStyle>
          <a:p>
            <a:r>
              <a:rPr lang="es-AR" sz="1000">
                <a:solidFill>
                  <a:schemeClr val="tx2">
                    <a:lumMod val="75000"/>
                    <a:lumOff val="25000"/>
                  </a:schemeClr>
                </a:solidFill>
                <a:latin typeface="Pulso"/>
                <a:ea typeface="Open Sans Light"/>
                <a:cs typeface="Open Sans Light"/>
              </a:rPr>
              <a:t>13%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F02DF06F-EEED-591A-AAD0-98C3F925AA5E}"/>
              </a:ext>
            </a:extLst>
          </p:cNvPr>
          <p:cNvSpPr txBox="1"/>
          <p:nvPr/>
        </p:nvSpPr>
        <p:spPr>
          <a:xfrm>
            <a:off x="1229684" y="2658071"/>
            <a:ext cx="499569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accent2">
                    <a:lumMod val="50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defRPr>
            </a:lvl1pPr>
          </a:lstStyle>
          <a:p>
            <a:r>
              <a:rPr lang="es-AR" sz="1000">
                <a:solidFill>
                  <a:schemeClr val="tx2">
                    <a:lumMod val="75000"/>
                    <a:lumOff val="25000"/>
                  </a:schemeClr>
                </a:solidFill>
                <a:latin typeface="Pulso"/>
                <a:ea typeface="Open Sans Light"/>
                <a:cs typeface="Open Sans Light"/>
              </a:rPr>
              <a:t>44%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2A1233B6-B623-8E6F-223B-4FF900758BFF}"/>
              </a:ext>
            </a:extLst>
          </p:cNvPr>
          <p:cNvSpPr txBox="1"/>
          <p:nvPr/>
        </p:nvSpPr>
        <p:spPr>
          <a:xfrm>
            <a:off x="998948" y="3168377"/>
            <a:ext cx="1928788" cy="112594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tabLst>
                <a:tab pos="300038" algn="r"/>
                <a:tab pos="433388" algn="l"/>
              </a:tabLst>
            </a:pPr>
            <a:r>
              <a:rPr lang="es-AR" sz="800" b="1">
                <a:solidFill>
                  <a:srgbClr val="FFFFFF"/>
                </a:solidFill>
                <a:latin typeface="Pulso"/>
                <a:ea typeface="Open Sans ExtraBold"/>
                <a:cs typeface="Open Sans ExtraBold"/>
              </a:rPr>
              <a:t>	33%	</a:t>
            </a:r>
            <a:r>
              <a:rPr lang="es-AR" sz="800">
                <a:solidFill>
                  <a:srgbClr val="FFFFFF"/>
                </a:solidFill>
                <a:latin typeface="Pulso"/>
                <a:ea typeface="Open Sans Light"/>
                <a:cs typeface="Open Sans Light"/>
              </a:rPr>
              <a:t>Relación de</a:t>
            </a:r>
            <a:br>
              <a:rPr lang="es-AR" sz="800">
                <a:latin typeface="Pulso" pitchFamily="2" charset="0"/>
                <a:ea typeface="Open Sans Light" pitchFamily="2" charset="0"/>
                <a:cs typeface="Open Sans Light" pitchFamily="2" charset="0"/>
              </a:rPr>
            </a:br>
            <a:r>
              <a:rPr lang="es-AR" sz="800">
                <a:solidFill>
                  <a:srgbClr val="FFFFFF"/>
                </a:solidFill>
                <a:latin typeface="Pulso"/>
                <a:ea typeface="Open Sans Light"/>
                <a:cs typeface="Open Sans Light"/>
              </a:rPr>
              <a:t>		Dependencia</a:t>
            </a:r>
          </a:p>
          <a:p>
            <a:pPr>
              <a:tabLst>
                <a:tab pos="300038" algn="r"/>
                <a:tab pos="433388" algn="l"/>
              </a:tabLst>
            </a:pPr>
            <a:r>
              <a:rPr lang="es-AR" sz="800" b="1">
                <a:solidFill>
                  <a:srgbClr val="FFFFFF"/>
                </a:solidFill>
                <a:latin typeface="Pulso"/>
                <a:ea typeface="Open Sans ExtraBold"/>
                <a:cs typeface="Open Sans ExtraBold"/>
              </a:rPr>
              <a:t>	16%	</a:t>
            </a:r>
            <a:r>
              <a:rPr lang="es-AR" sz="800" err="1">
                <a:solidFill>
                  <a:srgbClr val="FFFFFF"/>
                </a:solidFill>
                <a:latin typeface="Pulso"/>
                <a:ea typeface="Open Sans Light"/>
                <a:cs typeface="Open Sans Light"/>
              </a:rPr>
              <a:t>Monotributistas</a:t>
            </a:r>
            <a:r>
              <a:rPr lang="es-AR" sz="800">
                <a:solidFill>
                  <a:srgbClr val="FFFFFF"/>
                </a:solidFill>
                <a:latin typeface="Pulso"/>
                <a:ea typeface="Open Sans Light"/>
                <a:cs typeface="Open Sans Light"/>
              </a:rPr>
              <a:t> /</a:t>
            </a:r>
            <a:br>
              <a:rPr lang="es-AR" sz="800">
                <a:latin typeface="Pulso" pitchFamily="2" charset="0"/>
                <a:ea typeface="Open Sans Light" pitchFamily="2" charset="0"/>
                <a:cs typeface="Open Sans Light" pitchFamily="2" charset="0"/>
              </a:rPr>
            </a:br>
            <a:r>
              <a:rPr lang="es-AR" sz="800">
                <a:solidFill>
                  <a:srgbClr val="FFFFFF"/>
                </a:solidFill>
                <a:latin typeface="Pulso"/>
                <a:ea typeface="Open Sans Light"/>
                <a:cs typeface="Open Sans Light"/>
              </a:rPr>
              <a:t>		Autónomos</a:t>
            </a:r>
          </a:p>
          <a:p>
            <a:pPr>
              <a:tabLst>
                <a:tab pos="300038" algn="r"/>
                <a:tab pos="433388" algn="l"/>
              </a:tabLst>
            </a:pPr>
            <a:r>
              <a:rPr lang="es-AR" sz="800" b="1">
                <a:solidFill>
                  <a:srgbClr val="FFFFFF"/>
                </a:solidFill>
                <a:latin typeface="Pulso"/>
                <a:ea typeface="Open Sans ExtraBold"/>
                <a:cs typeface="Open Sans ExtraBold"/>
              </a:rPr>
              <a:t>	18%	</a:t>
            </a:r>
            <a:r>
              <a:rPr lang="es-AR" sz="800">
                <a:solidFill>
                  <a:srgbClr val="FFFFFF"/>
                </a:solidFill>
                <a:latin typeface="Pulso"/>
                <a:ea typeface="Open Sans Light"/>
                <a:cs typeface="Open Sans Light"/>
              </a:rPr>
              <a:t>Jubilados</a:t>
            </a:r>
          </a:p>
          <a:p>
            <a:pPr>
              <a:spcAft>
                <a:spcPts val="1125"/>
              </a:spcAft>
              <a:tabLst>
                <a:tab pos="300038" algn="r"/>
                <a:tab pos="433388" algn="l"/>
              </a:tabLst>
            </a:pPr>
            <a:r>
              <a:rPr lang="es-AR" sz="800" b="1">
                <a:solidFill>
                  <a:srgbClr val="FFFFFF"/>
                </a:solidFill>
                <a:latin typeface="Pulso"/>
                <a:ea typeface="Open Sans ExtraBold"/>
                <a:cs typeface="Open Sans ExtraBold"/>
              </a:rPr>
              <a:t>	32%	</a:t>
            </a:r>
            <a:r>
              <a:rPr lang="es-AR" sz="800">
                <a:solidFill>
                  <a:srgbClr val="FFFFFF"/>
                </a:solidFill>
                <a:latin typeface="Pulso"/>
                <a:ea typeface="Open Sans Light"/>
                <a:cs typeface="Open Sans Light"/>
              </a:rPr>
              <a:t>Sin Actividad</a:t>
            </a:r>
          </a:p>
          <a:p>
            <a:pPr>
              <a:tabLst>
                <a:tab pos="300038" algn="r"/>
                <a:tab pos="433388" algn="l"/>
              </a:tabLst>
            </a:pPr>
            <a:r>
              <a:rPr lang="es-AR" sz="800" b="1">
                <a:solidFill>
                  <a:srgbClr val="FFFFFF"/>
                </a:solidFill>
                <a:latin typeface="Pulso"/>
                <a:ea typeface="Open Sans ExtraBold"/>
                <a:cs typeface="Open Sans ExtraBold"/>
              </a:rPr>
              <a:t>	77%	</a:t>
            </a:r>
            <a:r>
              <a:rPr lang="es-AR" sz="800">
                <a:solidFill>
                  <a:srgbClr val="FFFFFF"/>
                </a:solidFill>
                <a:latin typeface="Pulso"/>
                <a:ea typeface="Open Sans Light"/>
                <a:cs typeface="Open Sans Light"/>
              </a:rPr>
              <a:t>Bancarizados</a:t>
            </a:r>
          </a:p>
          <a:p>
            <a:pPr>
              <a:tabLst>
                <a:tab pos="300038" algn="r"/>
                <a:tab pos="433388" algn="l"/>
              </a:tabLst>
            </a:pPr>
            <a:r>
              <a:rPr lang="es-AR" sz="800" b="1">
                <a:solidFill>
                  <a:srgbClr val="FFFFFF"/>
                </a:solidFill>
                <a:latin typeface="Pulso"/>
                <a:ea typeface="Open Sans ExtraBold"/>
                <a:cs typeface="Open Sans ExtraBold"/>
              </a:rPr>
              <a:t>	23%	</a:t>
            </a:r>
            <a:r>
              <a:rPr lang="es-AR" sz="800">
                <a:solidFill>
                  <a:srgbClr val="FFFFFF"/>
                </a:solidFill>
                <a:latin typeface="Pulso"/>
                <a:ea typeface="Open Sans Light"/>
                <a:cs typeface="Open Sans Light"/>
              </a:rPr>
              <a:t>No Bancarizados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B81E1A3B-934D-DC7E-B1A3-D39BF2293D2E}"/>
              </a:ext>
            </a:extLst>
          </p:cNvPr>
          <p:cNvCxnSpPr>
            <a:cxnSpLocks/>
          </p:cNvCxnSpPr>
          <p:nvPr/>
        </p:nvCxnSpPr>
        <p:spPr>
          <a:xfrm>
            <a:off x="892911" y="3971039"/>
            <a:ext cx="1954300" cy="0"/>
          </a:xfrm>
          <a:prstGeom prst="line">
            <a:avLst/>
          </a:prstGeom>
          <a:ln w="15875" cap="rnd">
            <a:solidFill>
              <a:srgbClr val="F0F0F0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id="{7133A3C4-73DE-494E-F0A1-4A36251CD1BB}"/>
              </a:ext>
            </a:extLst>
          </p:cNvPr>
          <p:cNvCxnSpPr>
            <a:cxnSpLocks/>
          </p:cNvCxnSpPr>
          <p:nvPr/>
        </p:nvCxnSpPr>
        <p:spPr>
          <a:xfrm>
            <a:off x="892911" y="3087117"/>
            <a:ext cx="1954300" cy="0"/>
          </a:xfrm>
          <a:prstGeom prst="line">
            <a:avLst/>
          </a:prstGeom>
          <a:ln w="15875" cap="rnd">
            <a:solidFill>
              <a:srgbClr val="F0F0F0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56BB1B95-8167-2145-7672-C860F631FE84}"/>
              </a:ext>
            </a:extLst>
          </p:cNvPr>
          <p:cNvCxnSpPr>
            <a:cxnSpLocks/>
          </p:cNvCxnSpPr>
          <p:nvPr/>
        </p:nvCxnSpPr>
        <p:spPr>
          <a:xfrm>
            <a:off x="1138536" y="1963660"/>
            <a:ext cx="626378" cy="0"/>
          </a:xfrm>
          <a:prstGeom prst="line">
            <a:avLst/>
          </a:prstGeom>
          <a:ln w="15875" cap="rnd">
            <a:solidFill>
              <a:schemeClr val="accent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E9F775E8-9662-FF08-70A4-C906FE47584C}"/>
              </a:ext>
            </a:extLst>
          </p:cNvPr>
          <p:cNvCxnSpPr>
            <a:cxnSpLocks/>
          </p:cNvCxnSpPr>
          <p:nvPr/>
        </p:nvCxnSpPr>
        <p:spPr>
          <a:xfrm>
            <a:off x="1010767" y="2195130"/>
            <a:ext cx="876929" cy="0"/>
          </a:xfrm>
          <a:prstGeom prst="line">
            <a:avLst/>
          </a:prstGeom>
          <a:ln w="15875" cap="rnd">
            <a:solidFill>
              <a:schemeClr val="accent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uadroTexto 45">
            <a:extLst>
              <a:ext uri="{FF2B5EF4-FFF2-40B4-BE49-F238E27FC236}">
                <a16:creationId xmlns:a16="http://schemas.microsoft.com/office/drawing/2014/main" id="{80D6B019-BD8F-9D96-48C8-975EB9704DB9}"/>
              </a:ext>
            </a:extLst>
          </p:cNvPr>
          <p:cNvSpPr txBox="1"/>
          <p:nvPr/>
        </p:nvSpPr>
        <p:spPr>
          <a:xfrm>
            <a:off x="1664748" y="1739357"/>
            <a:ext cx="5635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sz="1000" b="1">
                <a:solidFill>
                  <a:srgbClr val="FFFFFF"/>
                </a:solidFill>
                <a:latin typeface="Pulso" pitchFamily="2" charset="0"/>
                <a:ea typeface="Open Sans ExtraBold" pitchFamily="2" charset="0"/>
                <a:cs typeface="Open Sans ExtraBold" pitchFamily="2" charset="0"/>
              </a:rPr>
              <a:t>ABC1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F72564E6-3C47-F683-E37D-B27D37BC14CC}"/>
              </a:ext>
            </a:extLst>
          </p:cNvPr>
          <p:cNvSpPr txBox="1"/>
          <p:nvPr/>
        </p:nvSpPr>
        <p:spPr>
          <a:xfrm>
            <a:off x="1696568" y="1963661"/>
            <a:ext cx="5635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accent2">
                    <a:lumMod val="50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defRPr>
            </a:lvl1pPr>
          </a:lstStyle>
          <a:p>
            <a:r>
              <a:rPr lang="es-AR" sz="1000">
                <a:solidFill>
                  <a:srgbClr val="FFFFFF"/>
                </a:solidFill>
                <a:latin typeface="Pulso" pitchFamily="2" charset="0"/>
                <a:ea typeface="Open Sans Light" pitchFamily="2" charset="0"/>
                <a:cs typeface="Open Sans Light" pitchFamily="2" charset="0"/>
              </a:rPr>
              <a:t>C2</a:t>
            </a: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1848C0E6-6288-DB09-760D-EB7F4F2498B5}"/>
              </a:ext>
            </a:extLst>
          </p:cNvPr>
          <p:cNvSpPr txBox="1"/>
          <p:nvPr/>
        </p:nvSpPr>
        <p:spPr>
          <a:xfrm>
            <a:off x="1939594" y="2404604"/>
            <a:ext cx="5635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accent2">
                    <a:lumMod val="50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defRPr>
            </a:lvl1pPr>
          </a:lstStyle>
          <a:p>
            <a:r>
              <a:rPr lang="es-AR" sz="1000">
                <a:solidFill>
                  <a:srgbClr val="FFFFFF"/>
                </a:solidFill>
                <a:latin typeface="Pulso" pitchFamily="2" charset="0"/>
                <a:ea typeface="Open Sans Light" pitchFamily="2" charset="0"/>
                <a:cs typeface="Open Sans Light" pitchFamily="2" charset="0"/>
              </a:rPr>
              <a:t>D1</a:t>
            </a:r>
          </a:p>
        </p:txBody>
      </p:sp>
      <p:sp>
        <p:nvSpPr>
          <p:cNvPr id="57" name="CuadroTexto 56">
            <a:extLst>
              <a:ext uri="{FF2B5EF4-FFF2-40B4-BE49-F238E27FC236}">
                <a16:creationId xmlns:a16="http://schemas.microsoft.com/office/drawing/2014/main" id="{2D72D021-05E1-6317-EE80-BB4EDB4F0039}"/>
              </a:ext>
            </a:extLst>
          </p:cNvPr>
          <p:cNvSpPr txBox="1"/>
          <p:nvPr/>
        </p:nvSpPr>
        <p:spPr>
          <a:xfrm>
            <a:off x="6466125" y="902882"/>
            <a:ext cx="1376048" cy="33855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indent="0" defTabSz="914318">
              <a:lnSpc>
                <a:spcPct val="114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b="1" i="0">
                <a:solidFill>
                  <a:schemeClr val="bg1"/>
                </a:solidFill>
                <a:latin typeface="Montserrat SemiBold" pitchFamily="2" charset="77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</a:lvl2pPr>
            <a:lvl3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200"/>
            </a:lvl3pPr>
            <a:lvl4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000">
                <a:solidFill>
                  <a:schemeClr val="tx1">
                    <a:alpha val="70000"/>
                  </a:schemeClr>
                </a:solidFill>
              </a:defRPr>
            </a:lvl4pPr>
            <a:lvl5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000" baseline="0">
                <a:solidFill>
                  <a:schemeClr val="tx1">
                    <a:alpha val="50000"/>
                  </a:schemeClr>
                </a:solidFill>
              </a:defRPr>
            </a:lvl5pPr>
            <a:lvl6pPr marL="2514374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6pPr>
            <a:lvl7pPr marL="2971534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7pPr>
            <a:lvl8pPr marL="3428692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8pPr>
            <a:lvl9pPr marL="3885850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9pPr>
          </a:lstStyle>
          <a:p>
            <a:pPr algn="ctr">
              <a:lnSpc>
                <a:spcPct val="100000"/>
              </a:lnSpc>
            </a:pPr>
            <a:r>
              <a:rPr lang="es-AR" sz="1100">
                <a:solidFill>
                  <a:srgbClr val="FFFFFF"/>
                </a:solidFill>
                <a:latin typeface="Pulso" pitchFamily="2" charset="0"/>
              </a:rPr>
              <a:t>Pisada sobre nuestros </a:t>
            </a:r>
            <a:r>
              <a:rPr lang="es-AR" sz="1100" err="1">
                <a:solidFill>
                  <a:srgbClr val="FFFFFF"/>
                </a:solidFill>
                <a:latin typeface="Pulso" pitchFamily="2" charset="0"/>
              </a:rPr>
              <a:t>hhpp</a:t>
            </a:r>
            <a:endParaRPr lang="es-AR" sz="1100">
              <a:solidFill>
                <a:srgbClr val="FFFFFF"/>
              </a:solidFill>
              <a:latin typeface="Pulso" pitchFamily="2" charset="0"/>
            </a:endParaRPr>
          </a:p>
        </p:txBody>
      </p:sp>
      <p:sp>
        <p:nvSpPr>
          <p:cNvPr id="64" name="Forma libre 63">
            <a:extLst>
              <a:ext uri="{FF2B5EF4-FFF2-40B4-BE49-F238E27FC236}">
                <a16:creationId xmlns:a16="http://schemas.microsoft.com/office/drawing/2014/main" id="{3C2373C0-9D52-12C4-CAA9-C41B19DC7A5A}"/>
              </a:ext>
            </a:extLst>
          </p:cNvPr>
          <p:cNvSpPr/>
          <p:nvPr/>
        </p:nvSpPr>
        <p:spPr>
          <a:xfrm>
            <a:off x="4570338" y="1214818"/>
            <a:ext cx="1403087" cy="2344757"/>
          </a:xfrm>
          <a:custGeom>
            <a:avLst/>
            <a:gdLst>
              <a:gd name="connsiteX0" fmla="*/ 0 w 2265174"/>
              <a:gd name="connsiteY0" fmla="*/ 0 h 3369021"/>
              <a:gd name="connsiteX1" fmla="*/ 435615 w 2265174"/>
              <a:gd name="connsiteY1" fmla="*/ 0 h 3369021"/>
              <a:gd name="connsiteX2" fmla="*/ 1734553 w 2265174"/>
              <a:gd name="connsiteY2" fmla="*/ 0 h 3369021"/>
              <a:gd name="connsiteX3" fmla="*/ 2170168 w 2265174"/>
              <a:gd name="connsiteY3" fmla="*/ 0 h 3369021"/>
              <a:gd name="connsiteX4" fmla="*/ 2265174 w 2265174"/>
              <a:gd name="connsiteY4" fmla="*/ 95006 h 3369021"/>
              <a:gd name="connsiteX5" fmla="*/ 2265174 w 2265174"/>
              <a:gd name="connsiteY5" fmla="*/ 3274015 h 3369021"/>
              <a:gd name="connsiteX6" fmla="*/ 2170168 w 2265174"/>
              <a:gd name="connsiteY6" fmla="*/ 3369021 h 3369021"/>
              <a:gd name="connsiteX7" fmla="*/ 1734553 w 2265174"/>
              <a:gd name="connsiteY7" fmla="*/ 3369021 h 3369021"/>
              <a:gd name="connsiteX8" fmla="*/ 435615 w 2265174"/>
              <a:gd name="connsiteY8" fmla="*/ 3369021 h 3369021"/>
              <a:gd name="connsiteX9" fmla="*/ 0 w 2265174"/>
              <a:gd name="connsiteY9" fmla="*/ 3369021 h 3369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65174" h="3369021">
                <a:moveTo>
                  <a:pt x="0" y="0"/>
                </a:moveTo>
                <a:lnTo>
                  <a:pt x="435615" y="0"/>
                </a:lnTo>
                <a:lnTo>
                  <a:pt x="1734553" y="0"/>
                </a:lnTo>
                <a:lnTo>
                  <a:pt x="2170168" y="0"/>
                </a:lnTo>
                <a:cubicBezTo>
                  <a:pt x="2222638" y="0"/>
                  <a:pt x="2265174" y="42536"/>
                  <a:pt x="2265174" y="95006"/>
                </a:cubicBezTo>
                <a:lnTo>
                  <a:pt x="2265174" y="3274015"/>
                </a:lnTo>
                <a:cubicBezTo>
                  <a:pt x="2265174" y="3326485"/>
                  <a:pt x="2222638" y="3369021"/>
                  <a:pt x="2170168" y="3369021"/>
                </a:cubicBezTo>
                <a:lnTo>
                  <a:pt x="1734553" y="3369021"/>
                </a:lnTo>
                <a:lnTo>
                  <a:pt x="435615" y="3369021"/>
                </a:lnTo>
                <a:lnTo>
                  <a:pt x="0" y="3369021"/>
                </a:lnTo>
                <a:close/>
              </a:path>
            </a:pathLst>
          </a:custGeom>
          <a:solidFill>
            <a:schemeClr val="accent1">
              <a:lumMod val="50000"/>
              <a:alpha val="75000"/>
            </a:schemeClr>
          </a:solidFill>
          <a:ln w="19050" cap="rnd" cmpd="sng">
            <a:noFill/>
            <a:prstDash val="solid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80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68" name="Forma libre 67">
            <a:extLst>
              <a:ext uri="{FF2B5EF4-FFF2-40B4-BE49-F238E27FC236}">
                <a16:creationId xmlns:a16="http://schemas.microsoft.com/office/drawing/2014/main" id="{0C7A15E6-AF4F-8348-1CAD-BC90F4BC11EE}"/>
              </a:ext>
            </a:extLst>
          </p:cNvPr>
          <p:cNvSpPr/>
          <p:nvPr/>
        </p:nvSpPr>
        <p:spPr>
          <a:xfrm flipH="1">
            <a:off x="3167252" y="1214818"/>
            <a:ext cx="1403087" cy="2344757"/>
          </a:xfrm>
          <a:custGeom>
            <a:avLst/>
            <a:gdLst>
              <a:gd name="connsiteX0" fmla="*/ 0 w 2265174"/>
              <a:gd name="connsiteY0" fmla="*/ 0 h 3369021"/>
              <a:gd name="connsiteX1" fmla="*/ 435615 w 2265174"/>
              <a:gd name="connsiteY1" fmla="*/ 0 h 3369021"/>
              <a:gd name="connsiteX2" fmla="*/ 1734553 w 2265174"/>
              <a:gd name="connsiteY2" fmla="*/ 0 h 3369021"/>
              <a:gd name="connsiteX3" fmla="*/ 2170168 w 2265174"/>
              <a:gd name="connsiteY3" fmla="*/ 0 h 3369021"/>
              <a:gd name="connsiteX4" fmla="*/ 2265174 w 2265174"/>
              <a:gd name="connsiteY4" fmla="*/ 95006 h 3369021"/>
              <a:gd name="connsiteX5" fmla="*/ 2265174 w 2265174"/>
              <a:gd name="connsiteY5" fmla="*/ 3274015 h 3369021"/>
              <a:gd name="connsiteX6" fmla="*/ 2170168 w 2265174"/>
              <a:gd name="connsiteY6" fmla="*/ 3369021 h 3369021"/>
              <a:gd name="connsiteX7" fmla="*/ 1734553 w 2265174"/>
              <a:gd name="connsiteY7" fmla="*/ 3369021 h 3369021"/>
              <a:gd name="connsiteX8" fmla="*/ 435615 w 2265174"/>
              <a:gd name="connsiteY8" fmla="*/ 3369021 h 3369021"/>
              <a:gd name="connsiteX9" fmla="*/ 0 w 2265174"/>
              <a:gd name="connsiteY9" fmla="*/ 3369021 h 3369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65174" h="3369021">
                <a:moveTo>
                  <a:pt x="0" y="0"/>
                </a:moveTo>
                <a:lnTo>
                  <a:pt x="435615" y="0"/>
                </a:lnTo>
                <a:lnTo>
                  <a:pt x="1734553" y="0"/>
                </a:lnTo>
                <a:lnTo>
                  <a:pt x="2170168" y="0"/>
                </a:lnTo>
                <a:cubicBezTo>
                  <a:pt x="2222638" y="0"/>
                  <a:pt x="2265174" y="42536"/>
                  <a:pt x="2265174" y="95006"/>
                </a:cubicBezTo>
                <a:lnTo>
                  <a:pt x="2265174" y="3274015"/>
                </a:lnTo>
                <a:cubicBezTo>
                  <a:pt x="2265174" y="3326485"/>
                  <a:pt x="2222638" y="3369021"/>
                  <a:pt x="2170168" y="3369021"/>
                </a:cubicBezTo>
                <a:lnTo>
                  <a:pt x="1734553" y="3369021"/>
                </a:lnTo>
                <a:lnTo>
                  <a:pt x="435615" y="3369021"/>
                </a:lnTo>
                <a:lnTo>
                  <a:pt x="0" y="3369021"/>
                </a:lnTo>
                <a:close/>
              </a:path>
            </a:pathLst>
          </a:custGeom>
          <a:solidFill>
            <a:schemeClr val="tx2">
              <a:lumMod val="75000"/>
              <a:lumOff val="25000"/>
            </a:schemeClr>
          </a:solidFill>
          <a:ln w="19050" cap="rnd" cmpd="sng">
            <a:noFill/>
            <a:prstDash val="solid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80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71" name="Marcador de texto 4">
            <a:extLst>
              <a:ext uri="{FF2B5EF4-FFF2-40B4-BE49-F238E27FC236}">
                <a16:creationId xmlns:a16="http://schemas.microsoft.com/office/drawing/2014/main" id="{475EE3B3-1C11-F5E1-1A0B-BFDB3EAB2432}"/>
              </a:ext>
            </a:extLst>
          </p:cNvPr>
          <p:cNvSpPr txBox="1">
            <a:spLocks/>
          </p:cNvSpPr>
          <p:nvPr/>
        </p:nvSpPr>
        <p:spPr>
          <a:xfrm>
            <a:off x="3277795" y="1694698"/>
            <a:ext cx="1052700" cy="138499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318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318" rtl="0" eaLnBrk="1" latinLnBrk="0" hangingPunct="1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318" rtl="0" eaLnBrk="1" latinLnBrk="0" hangingPunct="1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18" rtl="0" eaLnBrk="1" latinLnBrk="0" hangingPunct="1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000" kern="120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318" rtl="0" eaLnBrk="1" latinLnBrk="0" hangingPunct="1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000" kern="1200" baseline="0">
                <a:solidFill>
                  <a:schemeClr val="tx1">
                    <a:alpha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374" indent="-228580" algn="l" defTabSz="914318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34" indent="-228580" algn="l" defTabSz="914318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92" indent="-228580" algn="l" defTabSz="914318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50" indent="-228580" algn="l" defTabSz="914318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>
              <a:lnSpc>
                <a:spcPct val="100000"/>
              </a:lnSpc>
              <a:spcAft>
                <a:spcPts val="1200"/>
              </a:spcAft>
              <a:buFont typeface="Letra del sistema regular"/>
              <a:buChar char="●"/>
            </a:pPr>
            <a:r>
              <a:rPr lang="es-MX" sz="1000" b="1">
                <a:solidFill>
                  <a:srgbClr val="FFFFFF"/>
                </a:solidFill>
                <a:latin typeface="Pulso" pitchFamily="2" charset="0"/>
              </a:rPr>
              <a:t>Salarios privado formal  en mínimos desde CFKII</a:t>
            </a:r>
          </a:p>
          <a:p>
            <a:pPr marL="177800" indent="-177800">
              <a:lnSpc>
                <a:spcPct val="100000"/>
              </a:lnSpc>
              <a:spcAft>
                <a:spcPts val="1200"/>
              </a:spcAft>
              <a:buFont typeface="Letra del sistema regular"/>
              <a:buChar char="●"/>
            </a:pPr>
            <a:r>
              <a:rPr lang="es-MX" sz="1000" b="1">
                <a:solidFill>
                  <a:srgbClr val="FFFFFF"/>
                </a:solidFill>
                <a:latin typeface="Pulso" pitchFamily="2" charset="0"/>
              </a:rPr>
              <a:t>Índice de pobreza decreciente.</a:t>
            </a:r>
          </a:p>
        </p:txBody>
      </p:sp>
      <p:sp>
        <p:nvSpPr>
          <p:cNvPr id="73" name="Marcador de texto 4">
            <a:extLst>
              <a:ext uri="{FF2B5EF4-FFF2-40B4-BE49-F238E27FC236}">
                <a16:creationId xmlns:a16="http://schemas.microsoft.com/office/drawing/2014/main" id="{19F1CD79-CF5F-EBC3-9B6D-E5CC1141DB58}"/>
              </a:ext>
            </a:extLst>
          </p:cNvPr>
          <p:cNvSpPr txBox="1">
            <a:spLocks/>
          </p:cNvSpPr>
          <p:nvPr/>
        </p:nvSpPr>
        <p:spPr>
          <a:xfrm>
            <a:off x="4680881" y="1970126"/>
            <a:ext cx="1143167" cy="76944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177800" indent="-177800" defTabSz="914318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Letra del sistema regular"/>
              <a:buChar char="●"/>
              <a:defRPr sz="1000" b="1" i="0">
                <a:solidFill>
                  <a:schemeClr val="bg1"/>
                </a:solidFill>
                <a:latin typeface="Pulso" pitchFamily="2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defTabSz="914318" eaLnBrk="1" latinLnBrk="0" hangingPunct="1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  <a:latin typeface="+mn-lt"/>
                <a:cs typeface="+mn-cs"/>
              </a:defRPr>
            </a:lvl2pPr>
            <a:lvl3pPr marL="0" indent="0" defTabSz="914318" eaLnBrk="1" latinLnBrk="0" hangingPunct="1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  <a:cs typeface="+mn-cs"/>
              </a:defRPr>
            </a:lvl3pPr>
            <a:lvl4pPr marL="0" indent="0" defTabSz="914318" eaLnBrk="1" latinLnBrk="0" hangingPunct="1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000">
                <a:solidFill>
                  <a:schemeClr val="tx1">
                    <a:alpha val="70000"/>
                  </a:schemeClr>
                </a:solidFill>
                <a:latin typeface="+mn-lt"/>
                <a:cs typeface="+mn-cs"/>
              </a:defRPr>
            </a:lvl4pPr>
            <a:lvl5pPr marL="0" indent="0" defTabSz="914318" eaLnBrk="1" latinLnBrk="0" hangingPunct="1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000" baseline="0">
                <a:solidFill>
                  <a:schemeClr val="tx1">
                    <a:alpha val="50000"/>
                  </a:schemeClr>
                </a:solidFill>
                <a:latin typeface="+mn-lt"/>
                <a:cs typeface="+mn-cs"/>
              </a:defRPr>
            </a:lvl5pPr>
            <a:lvl6pPr marL="2514374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534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8692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5850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s-MX">
                <a:solidFill>
                  <a:srgbClr val="FFFFFF"/>
                </a:solidFill>
              </a:rPr>
              <a:t>Hiper Competitividad </a:t>
            </a:r>
            <a:br>
              <a:rPr lang="es-MX">
                <a:solidFill>
                  <a:srgbClr val="FFFFFF"/>
                </a:solidFill>
              </a:rPr>
            </a:br>
            <a:r>
              <a:rPr lang="es-MX" b="0">
                <a:solidFill>
                  <a:srgbClr val="FFFFFF"/>
                </a:solidFill>
                <a:latin typeface="Pulso Light" pitchFamily="2" charset="0"/>
              </a:rPr>
              <a:t>(competencia + agresiva en el territorio).</a:t>
            </a:r>
          </a:p>
        </p:txBody>
      </p:sp>
      <p:sp>
        <p:nvSpPr>
          <p:cNvPr id="83" name="CuadroTexto 82">
            <a:extLst>
              <a:ext uri="{FF2B5EF4-FFF2-40B4-BE49-F238E27FC236}">
                <a16:creationId xmlns:a16="http://schemas.microsoft.com/office/drawing/2014/main" id="{358FFB6D-E1A1-2735-1728-7D19041AD759}"/>
              </a:ext>
            </a:extLst>
          </p:cNvPr>
          <p:cNvSpPr txBox="1"/>
          <p:nvPr/>
        </p:nvSpPr>
        <p:spPr>
          <a:xfrm>
            <a:off x="6695155" y="1668041"/>
            <a:ext cx="549590" cy="1692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tabLst>
                <a:tab pos="300038" algn="r"/>
                <a:tab pos="400050" algn="l"/>
              </a:tabLst>
            </a:pPr>
            <a:r>
              <a:rPr lang="es-AR" sz="1100" b="1">
                <a:solidFill>
                  <a:schemeClr val="accent1">
                    <a:lumMod val="50000"/>
                  </a:schemeClr>
                </a:solidFill>
                <a:latin typeface="Pulso"/>
                <a:ea typeface="Open Sans ExtraBold"/>
                <a:cs typeface="Open Sans ExtraBold"/>
              </a:rPr>
              <a:t>40%</a:t>
            </a:r>
          </a:p>
        </p:txBody>
      </p:sp>
      <p:pic>
        <p:nvPicPr>
          <p:cNvPr id="88" name="Picture 4">
            <a:extLst>
              <a:ext uri="{FF2B5EF4-FFF2-40B4-BE49-F238E27FC236}">
                <a16:creationId xmlns:a16="http://schemas.microsoft.com/office/drawing/2014/main" id="{321B89E5-9187-36F7-C6CF-3B893A4280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auto">
          <a:xfrm>
            <a:off x="6592803" y="1906210"/>
            <a:ext cx="754295" cy="273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1" name="Grupo 110">
            <a:extLst>
              <a:ext uri="{FF2B5EF4-FFF2-40B4-BE49-F238E27FC236}">
                <a16:creationId xmlns:a16="http://schemas.microsoft.com/office/drawing/2014/main" id="{997DE199-4E73-B543-86F3-742BC2FB7694}"/>
              </a:ext>
            </a:extLst>
          </p:cNvPr>
          <p:cNvGrpSpPr/>
          <p:nvPr/>
        </p:nvGrpSpPr>
        <p:grpSpPr>
          <a:xfrm>
            <a:off x="6344609" y="2875808"/>
            <a:ext cx="1250683" cy="173151"/>
            <a:chOff x="9251978" y="4491746"/>
            <a:chExt cx="1797020" cy="248789"/>
          </a:xfrm>
        </p:grpSpPr>
        <p:pic>
          <p:nvPicPr>
            <p:cNvPr id="91" name="Imagen 52">
              <a:extLst>
                <a:ext uri="{FF2B5EF4-FFF2-40B4-BE49-F238E27FC236}">
                  <a16:creationId xmlns:a16="http://schemas.microsoft.com/office/drawing/2014/main" id="{668DB97A-B3BB-A3FA-7603-4C52ECC994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-1766" r="-2362"/>
            <a:stretch/>
          </p:blipFill>
          <p:spPr>
            <a:xfrm>
              <a:off x="9251978" y="4491746"/>
              <a:ext cx="909464" cy="248789"/>
            </a:xfrm>
            <a:prstGeom prst="rect">
              <a:avLst/>
            </a:prstGeom>
          </p:spPr>
        </p:pic>
        <p:pic>
          <p:nvPicPr>
            <p:cNvPr id="93" name="Imagen 92">
              <a:extLst>
                <a:ext uri="{FF2B5EF4-FFF2-40B4-BE49-F238E27FC236}">
                  <a16:creationId xmlns:a16="http://schemas.microsoft.com/office/drawing/2014/main" id="{F56E72DA-377C-DBA8-5219-2EF461F8022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304871" y="4524675"/>
              <a:ext cx="744127" cy="182931"/>
            </a:xfrm>
            <a:prstGeom prst="rect">
              <a:avLst/>
            </a:prstGeom>
          </p:spPr>
        </p:pic>
      </p:grpSp>
      <p:grpSp>
        <p:nvGrpSpPr>
          <p:cNvPr id="112" name="Grupo 111">
            <a:extLst>
              <a:ext uri="{FF2B5EF4-FFF2-40B4-BE49-F238E27FC236}">
                <a16:creationId xmlns:a16="http://schemas.microsoft.com/office/drawing/2014/main" id="{0B68A9BD-81D8-45B5-9E81-8004FF3BFDF0}"/>
              </a:ext>
            </a:extLst>
          </p:cNvPr>
          <p:cNvGrpSpPr/>
          <p:nvPr/>
        </p:nvGrpSpPr>
        <p:grpSpPr>
          <a:xfrm>
            <a:off x="6377439" y="3102606"/>
            <a:ext cx="1185023" cy="139272"/>
            <a:chOff x="9316200" y="4811107"/>
            <a:chExt cx="1702677" cy="200110"/>
          </a:xfrm>
        </p:grpSpPr>
        <p:pic>
          <p:nvPicPr>
            <p:cNvPr id="90" name="Picture 2">
              <a:extLst>
                <a:ext uri="{FF2B5EF4-FFF2-40B4-BE49-F238E27FC236}">
                  <a16:creationId xmlns:a16="http://schemas.microsoft.com/office/drawing/2014/main" id="{1987C5A0-2C84-C78E-615B-B073CC329A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155339" y="4811107"/>
              <a:ext cx="863538" cy="2001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4" name="Imagen 93">
              <a:extLst>
                <a:ext uri="{FF2B5EF4-FFF2-40B4-BE49-F238E27FC236}">
                  <a16:creationId xmlns:a16="http://schemas.microsoft.com/office/drawing/2014/main" id="{651AFE98-CED7-444F-47CE-35ED535BC5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316200" y="4812207"/>
              <a:ext cx="657347" cy="197911"/>
            </a:xfrm>
            <a:prstGeom prst="rect">
              <a:avLst/>
            </a:prstGeom>
          </p:spPr>
        </p:pic>
      </p:grpSp>
      <p:sp>
        <p:nvSpPr>
          <p:cNvPr id="104" name="CuadroTexto 103">
            <a:extLst>
              <a:ext uri="{FF2B5EF4-FFF2-40B4-BE49-F238E27FC236}">
                <a16:creationId xmlns:a16="http://schemas.microsoft.com/office/drawing/2014/main" id="{9F289814-D2F8-6E6A-4117-516B81433060}"/>
              </a:ext>
            </a:extLst>
          </p:cNvPr>
          <p:cNvSpPr txBox="1"/>
          <p:nvPr/>
        </p:nvSpPr>
        <p:spPr>
          <a:xfrm>
            <a:off x="6704461" y="2485421"/>
            <a:ext cx="530979" cy="1692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tabLst>
                <a:tab pos="300038" algn="r"/>
                <a:tab pos="400050" algn="l"/>
              </a:tabLst>
            </a:pPr>
            <a:r>
              <a:rPr lang="es-AR" sz="1100" b="1">
                <a:solidFill>
                  <a:schemeClr val="accent1">
                    <a:lumMod val="50000"/>
                  </a:schemeClr>
                </a:solidFill>
                <a:latin typeface="Pulso"/>
                <a:ea typeface="Open Sans ExtraBold"/>
                <a:cs typeface="Open Sans ExtraBold"/>
              </a:rPr>
              <a:t>54	%</a:t>
            </a:r>
          </a:p>
        </p:txBody>
      </p:sp>
      <p:sp>
        <p:nvSpPr>
          <p:cNvPr id="105" name="CuadroTexto 104">
            <a:extLst>
              <a:ext uri="{FF2B5EF4-FFF2-40B4-BE49-F238E27FC236}">
                <a16:creationId xmlns:a16="http://schemas.microsoft.com/office/drawing/2014/main" id="{E918DD0F-78DA-9D67-2349-12EBEE161BD9}"/>
              </a:ext>
            </a:extLst>
          </p:cNvPr>
          <p:cNvSpPr txBox="1"/>
          <p:nvPr/>
        </p:nvSpPr>
        <p:spPr>
          <a:xfrm>
            <a:off x="6763438" y="3641543"/>
            <a:ext cx="413024" cy="1692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tabLst>
                <a:tab pos="300038" algn="r"/>
                <a:tab pos="400050" algn="l"/>
              </a:tabLst>
            </a:pPr>
            <a:r>
              <a:rPr lang="es-AR" sz="1100" b="1">
                <a:solidFill>
                  <a:schemeClr val="accent1">
                    <a:lumMod val="50000"/>
                  </a:schemeClr>
                </a:solidFill>
                <a:latin typeface="Pulso"/>
                <a:ea typeface="Open Sans ExtraBold"/>
                <a:cs typeface="Open Sans ExtraBold"/>
              </a:rPr>
              <a:t>6%</a:t>
            </a:r>
          </a:p>
        </p:txBody>
      </p:sp>
      <p:sp>
        <p:nvSpPr>
          <p:cNvPr id="106" name="CuadroTexto 105">
            <a:extLst>
              <a:ext uri="{FF2B5EF4-FFF2-40B4-BE49-F238E27FC236}">
                <a16:creationId xmlns:a16="http://schemas.microsoft.com/office/drawing/2014/main" id="{C53E5EEA-7597-2A89-2FCB-5E94CE161C51}"/>
              </a:ext>
            </a:extLst>
          </p:cNvPr>
          <p:cNvSpPr txBox="1"/>
          <p:nvPr/>
        </p:nvSpPr>
        <p:spPr>
          <a:xfrm>
            <a:off x="6526057" y="2684117"/>
            <a:ext cx="887787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tabLst>
                <a:tab pos="300038" algn="r"/>
                <a:tab pos="400050" algn="l"/>
              </a:tabLst>
            </a:pPr>
            <a:r>
              <a:rPr lang="es-AR" sz="600">
                <a:solidFill>
                  <a:schemeClr val="accent5"/>
                </a:solidFill>
                <a:latin typeface="Pulso"/>
                <a:ea typeface="Open Sans ExtraBold"/>
                <a:cs typeface="Open Sans ExtraBold"/>
              </a:rPr>
              <a:t>84% en CABA</a:t>
            </a:r>
          </a:p>
        </p:txBody>
      </p:sp>
      <p:sp>
        <p:nvSpPr>
          <p:cNvPr id="108" name="CuadroTexto 107">
            <a:extLst>
              <a:ext uri="{FF2B5EF4-FFF2-40B4-BE49-F238E27FC236}">
                <a16:creationId xmlns:a16="http://schemas.microsoft.com/office/drawing/2014/main" id="{8A5357A4-C6D6-1A7D-8CA6-2828F4ADE4C9}"/>
              </a:ext>
            </a:extLst>
          </p:cNvPr>
          <p:cNvSpPr txBox="1"/>
          <p:nvPr/>
        </p:nvSpPr>
        <p:spPr>
          <a:xfrm>
            <a:off x="6331601" y="3842541"/>
            <a:ext cx="1276698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tabLst>
                <a:tab pos="300038" algn="r"/>
                <a:tab pos="400050" algn="l"/>
              </a:tabLst>
            </a:pPr>
            <a:r>
              <a:rPr lang="es-AR" sz="600">
                <a:solidFill>
                  <a:schemeClr val="tx1">
                    <a:lumMod val="75000"/>
                    <a:lumOff val="25000"/>
                  </a:schemeClr>
                </a:solidFill>
                <a:latin typeface="Pulso"/>
                <a:ea typeface="Open Sans ExtraBold"/>
                <a:cs typeface="Open Sans ExtraBold"/>
              </a:rPr>
              <a:t>Solo </a:t>
            </a:r>
            <a:r>
              <a:rPr lang="es-AR" sz="600" err="1">
                <a:solidFill>
                  <a:schemeClr val="tx1">
                    <a:lumMod val="75000"/>
                    <a:lumOff val="25000"/>
                  </a:schemeClr>
                </a:solidFill>
                <a:latin typeface="Pulso"/>
                <a:ea typeface="Open Sans ExtraBold"/>
                <a:cs typeface="Open Sans ExtraBold"/>
              </a:rPr>
              <a:t>Starlink</a:t>
            </a:r>
            <a:r>
              <a:rPr lang="es-AR" sz="600">
                <a:solidFill>
                  <a:schemeClr val="tx1">
                    <a:lumMod val="75000"/>
                    <a:lumOff val="25000"/>
                  </a:schemeClr>
                </a:solidFill>
                <a:latin typeface="Pulso"/>
                <a:ea typeface="Open Sans ExtraBold"/>
                <a:cs typeface="Open Sans ExtraBold"/>
              </a:rPr>
              <a:t> + Locales</a:t>
            </a:r>
            <a:endParaRPr lang="es-AR" sz="600" err="1">
              <a:solidFill>
                <a:schemeClr val="tx1">
                  <a:lumMod val="75000"/>
                  <a:lumOff val="25000"/>
                </a:schemeClr>
              </a:solidFill>
              <a:latin typeface="Pulso" pitchFamily="2" charset="0"/>
              <a:ea typeface="Open Sans ExtraBold" pitchFamily="2" charset="0"/>
              <a:cs typeface="Open Sans ExtraBold" pitchFamily="2" charset="0"/>
            </a:endParaRPr>
          </a:p>
        </p:txBody>
      </p:sp>
      <p:sp>
        <p:nvSpPr>
          <p:cNvPr id="116" name="Gráfico 7">
            <a:extLst>
              <a:ext uri="{FF2B5EF4-FFF2-40B4-BE49-F238E27FC236}">
                <a16:creationId xmlns:a16="http://schemas.microsoft.com/office/drawing/2014/main" id="{9212902E-DE2A-948A-5B1A-83221C25DE73}"/>
              </a:ext>
            </a:extLst>
          </p:cNvPr>
          <p:cNvSpPr/>
          <p:nvPr/>
        </p:nvSpPr>
        <p:spPr>
          <a:xfrm>
            <a:off x="1751145" y="1359013"/>
            <a:ext cx="152785" cy="86668"/>
          </a:xfrm>
          <a:custGeom>
            <a:avLst/>
            <a:gdLst>
              <a:gd name="connsiteX0" fmla="*/ 14771 w 219527"/>
              <a:gd name="connsiteY0" fmla="*/ 0 h 124528"/>
              <a:gd name="connsiteX1" fmla="*/ 204757 w 219527"/>
              <a:gd name="connsiteY1" fmla="*/ 0 h 124528"/>
              <a:gd name="connsiteX2" fmla="*/ 215168 w 219527"/>
              <a:gd name="connsiteY2" fmla="*/ 25179 h 124528"/>
              <a:gd name="connsiteX3" fmla="*/ 120212 w 219527"/>
              <a:gd name="connsiteY3" fmla="*/ 120209 h 124528"/>
              <a:gd name="connsiteX4" fmla="*/ 99316 w 219527"/>
              <a:gd name="connsiteY4" fmla="*/ 120209 h 124528"/>
              <a:gd name="connsiteX5" fmla="*/ 4360 w 219527"/>
              <a:gd name="connsiteY5" fmla="*/ 25179 h 124528"/>
              <a:gd name="connsiteX6" fmla="*/ 14771 w 219527"/>
              <a:gd name="connsiteY6" fmla="*/ 0 h 124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9527" h="124528">
                <a:moveTo>
                  <a:pt x="14771" y="0"/>
                </a:moveTo>
                <a:lnTo>
                  <a:pt x="204757" y="0"/>
                </a:lnTo>
                <a:cubicBezTo>
                  <a:pt x="217900" y="0"/>
                  <a:pt x="224471" y="15875"/>
                  <a:pt x="215168" y="25179"/>
                </a:cubicBezTo>
                <a:lnTo>
                  <a:pt x="120212" y="120209"/>
                </a:lnTo>
                <a:cubicBezTo>
                  <a:pt x="114453" y="125968"/>
                  <a:pt x="105075" y="125968"/>
                  <a:pt x="99316" y="120209"/>
                </a:cubicBezTo>
                <a:lnTo>
                  <a:pt x="4360" y="25179"/>
                </a:lnTo>
                <a:cubicBezTo>
                  <a:pt x="-4944" y="15875"/>
                  <a:pt x="1628" y="0"/>
                  <a:pt x="14771" y="0"/>
                </a:cubicBezTo>
                <a:close/>
              </a:path>
            </a:pathLst>
          </a:custGeom>
          <a:solidFill>
            <a:srgbClr val="FFFFFF"/>
          </a:solidFill>
          <a:ln w="714" cap="flat">
            <a:noFill/>
            <a:prstDash val="solid"/>
            <a:miter/>
          </a:ln>
        </p:spPr>
        <p:txBody>
          <a:bodyPr rtlCol="0" anchor="ctr"/>
          <a:lstStyle/>
          <a:p>
            <a:endParaRPr lang="es-AR" sz="400">
              <a:latin typeface="Pulso" pitchFamily="2" charset="0"/>
            </a:endParaRPr>
          </a:p>
        </p:txBody>
      </p:sp>
      <p:sp>
        <p:nvSpPr>
          <p:cNvPr id="117" name="Gráfico 7">
            <a:extLst>
              <a:ext uri="{FF2B5EF4-FFF2-40B4-BE49-F238E27FC236}">
                <a16:creationId xmlns:a16="http://schemas.microsoft.com/office/drawing/2014/main" id="{6C5ABD7C-0EAF-6D2E-ACB2-0B9C26927576}"/>
              </a:ext>
            </a:extLst>
          </p:cNvPr>
          <p:cNvSpPr/>
          <p:nvPr/>
        </p:nvSpPr>
        <p:spPr>
          <a:xfrm>
            <a:off x="7077757" y="1359013"/>
            <a:ext cx="152785" cy="86668"/>
          </a:xfrm>
          <a:custGeom>
            <a:avLst/>
            <a:gdLst>
              <a:gd name="connsiteX0" fmla="*/ 14771 w 219527"/>
              <a:gd name="connsiteY0" fmla="*/ 0 h 124528"/>
              <a:gd name="connsiteX1" fmla="*/ 204757 w 219527"/>
              <a:gd name="connsiteY1" fmla="*/ 0 h 124528"/>
              <a:gd name="connsiteX2" fmla="*/ 215168 w 219527"/>
              <a:gd name="connsiteY2" fmla="*/ 25179 h 124528"/>
              <a:gd name="connsiteX3" fmla="*/ 120212 w 219527"/>
              <a:gd name="connsiteY3" fmla="*/ 120209 h 124528"/>
              <a:gd name="connsiteX4" fmla="*/ 99316 w 219527"/>
              <a:gd name="connsiteY4" fmla="*/ 120209 h 124528"/>
              <a:gd name="connsiteX5" fmla="*/ 4360 w 219527"/>
              <a:gd name="connsiteY5" fmla="*/ 25179 h 124528"/>
              <a:gd name="connsiteX6" fmla="*/ 14771 w 219527"/>
              <a:gd name="connsiteY6" fmla="*/ 0 h 124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9527" h="124528">
                <a:moveTo>
                  <a:pt x="14771" y="0"/>
                </a:moveTo>
                <a:lnTo>
                  <a:pt x="204757" y="0"/>
                </a:lnTo>
                <a:cubicBezTo>
                  <a:pt x="217900" y="0"/>
                  <a:pt x="224471" y="15875"/>
                  <a:pt x="215168" y="25179"/>
                </a:cubicBezTo>
                <a:lnTo>
                  <a:pt x="120212" y="120209"/>
                </a:lnTo>
                <a:cubicBezTo>
                  <a:pt x="114453" y="125968"/>
                  <a:pt x="105075" y="125968"/>
                  <a:pt x="99316" y="120209"/>
                </a:cubicBezTo>
                <a:lnTo>
                  <a:pt x="4360" y="25179"/>
                </a:lnTo>
                <a:cubicBezTo>
                  <a:pt x="-4944" y="15875"/>
                  <a:pt x="1628" y="0"/>
                  <a:pt x="14771" y="0"/>
                </a:cubicBezTo>
                <a:close/>
              </a:path>
            </a:pathLst>
          </a:custGeom>
          <a:solidFill>
            <a:srgbClr val="FFFFFF"/>
          </a:solidFill>
          <a:ln w="714" cap="flat">
            <a:noFill/>
            <a:prstDash val="solid"/>
            <a:miter/>
          </a:ln>
        </p:spPr>
        <p:txBody>
          <a:bodyPr rtlCol="0" anchor="ctr"/>
          <a:lstStyle/>
          <a:p>
            <a:endParaRPr lang="es-AR" sz="400">
              <a:latin typeface="Pulso" pitchFamily="2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CFA1B70-81E3-E617-DD8B-AAEDC18022A0}"/>
              </a:ext>
            </a:extLst>
          </p:cNvPr>
          <p:cNvSpPr txBox="1"/>
          <p:nvPr/>
        </p:nvSpPr>
        <p:spPr>
          <a:xfrm>
            <a:off x="2311739" y="1372329"/>
            <a:ext cx="79141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AR" sz="600" b="1">
                <a:solidFill>
                  <a:srgbClr val="FFFFFF"/>
                </a:solidFill>
                <a:latin typeface="Pulso" pitchFamily="2" charset="0"/>
                <a:ea typeface="Open Sans Light" pitchFamily="2" charset="0"/>
                <a:cs typeface="Open Sans Light" pitchFamily="2" charset="0"/>
              </a:rPr>
              <a:t>Ingreso Promedio</a:t>
            </a:r>
          </a:p>
          <a:p>
            <a:pPr algn="ctr"/>
            <a:r>
              <a:rPr lang="es-AR" sz="600" b="1">
                <a:solidFill>
                  <a:srgbClr val="FFFFFF"/>
                </a:solidFill>
                <a:latin typeface="Pulso" pitchFamily="2" charset="0"/>
                <a:ea typeface="Open Sans Light" pitchFamily="2" charset="0"/>
                <a:cs typeface="Open Sans Light" pitchFamily="2" charset="0"/>
              </a:rPr>
              <a:t>en U$S</a:t>
            </a:r>
            <a:endParaRPr lang="es-AR" sz="600" b="1">
              <a:solidFill>
                <a:srgbClr val="FFFFFF"/>
              </a:solidFill>
              <a:latin typeface="Pulso" pitchFamily="2" charset="0"/>
            </a:endParaRPr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94818E04-3A9C-FCCF-57CD-C6266972ED6C}"/>
              </a:ext>
            </a:extLst>
          </p:cNvPr>
          <p:cNvCxnSpPr>
            <a:cxnSpLocks/>
          </p:cNvCxnSpPr>
          <p:nvPr/>
        </p:nvCxnSpPr>
        <p:spPr>
          <a:xfrm>
            <a:off x="963359" y="2426600"/>
            <a:ext cx="1002205" cy="0"/>
          </a:xfrm>
          <a:prstGeom prst="line">
            <a:avLst/>
          </a:prstGeom>
          <a:ln w="15875" cap="rnd">
            <a:solidFill>
              <a:schemeClr val="accent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F7568A8B-E14F-E01D-13CA-B1ED1C73DC7B}"/>
              </a:ext>
            </a:extLst>
          </p:cNvPr>
          <p:cNvCxnSpPr>
            <a:cxnSpLocks/>
          </p:cNvCxnSpPr>
          <p:nvPr/>
        </p:nvCxnSpPr>
        <p:spPr>
          <a:xfrm>
            <a:off x="797652" y="2658071"/>
            <a:ext cx="1327922" cy="0"/>
          </a:xfrm>
          <a:prstGeom prst="line">
            <a:avLst/>
          </a:prstGeom>
          <a:ln w="15875" cap="rnd">
            <a:solidFill>
              <a:schemeClr val="accent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uadroTexto 7">
            <a:extLst>
              <a:ext uri="{FF2B5EF4-FFF2-40B4-BE49-F238E27FC236}">
                <a16:creationId xmlns:a16="http://schemas.microsoft.com/office/drawing/2014/main" id="{D985661B-B9A0-6269-F5EF-D5E0752E474B}"/>
              </a:ext>
            </a:extLst>
          </p:cNvPr>
          <p:cNvSpPr txBox="1"/>
          <p:nvPr/>
        </p:nvSpPr>
        <p:spPr>
          <a:xfrm>
            <a:off x="1229684" y="2429983"/>
            <a:ext cx="499569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accent2">
                    <a:lumMod val="50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defRPr>
            </a:lvl1pPr>
          </a:lstStyle>
          <a:p>
            <a:r>
              <a:rPr lang="es-AR" sz="1000">
                <a:solidFill>
                  <a:schemeClr val="tx2">
                    <a:lumMod val="75000"/>
                    <a:lumOff val="25000"/>
                  </a:schemeClr>
                </a:solidFill>
                <a:latin typeface="Pulso"/>
                <a:ea typeface="Open Sans Light"/>
                <a:cs typeface="Open Sans Light"/>
              </a:rPr>
              <a:t>13%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CFEBFE6F-F881-EEDC-0B6F-79C03D964154}"/>
              </a:ext>
            </a:extLst>
          </p:cNvPr>
          <p:cNvSpPr txBox="1"/>
          <p:nvPr/>
        </p:nvSpPr>
        <p:spPr>
          <a:xfrm>
            <a:off x="1229684" y="2201896"/>
            <a:ext cx="499569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accent2">
                    <a:lumMod val="50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defRPr>
            </a:lvl1pPr>
          </a:lstStyle>
          <a:p>
            <a:r>
              <a:rPr lang="es-AR" sz="1000">
                <a:solidFill>
                  <a:schemeClr val="tx2">
                    <a:lumMod val="75000"/>
                    <a:lumOff val="25000"/>
                  </a:schemeClr>
                </a:solidFill>
                <a:latin typeface="Pulso"/>
                <a:ea typeface="Open Sans Light"/>
                <a:cs typeface="Open Sans Light"/>
              </a:rPr>
              <a:t>14%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7300C09D-C1AD-7473-F884-9E0AE38AC592}"/>
              </a:ext>
            </a:extLst>
          </p:cNvPr>
          <p:cNvSpPr txBox="1"/>
          <p:nvPr/>
        </p:nvSpPr>
        <p:spPr>
          <a:xfrm>
            <a:off x="2026499" y="2657254"/>
            <a:ext cx="5635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accent2">
                    <a:lumMod val="50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defRPr>
            </a:lvl1pPr>
          </a:lstStyle>
          <a:p>
            <a:r>
              <a:rPr lang="es-AR" sz="1000">
                <a:solidFill>
                  <a:srgbClr val="FFFFFF"/>
                </a:solidFill>
                <a:latin typeface="Pulso" pitchFamily="2" charset="0"/>
                <a:ea typeface="Open Sans Light" pitchFamily="2" charset="0"/>
                <a:cs typeface="Open Sans Light" pitchFamily="2" charset="0"/>
              </a:rPr>
              <a:t>D2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17990851-4A43-CCDC-E976-A5FE8B58BEF9}"/>
              </a:ext>
            </a:extLst>
          </p:cNvPr>
          <p:cNvSpPr txBox="1"/>
          <p:nvPr/>
        </p:nvSpPr>
        <p:spPr>
          <a:xfrm>
            <a:off x="1802635" y="2177915"/>
            <a:ext cx="5635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accent2">
                    <a:lumMod val="50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defRPr>
            </a:lvl1pPr>
          </a:lstStyle>
          <a:p>
            <a:r>
              <a:rPr lang="es-AR" sz="1000">
                <a:solidFill>
                  <a:srgbClr val="FFFFFF"/>
                </a:solidFill>
                <a:latin typeface="Pulso" pitchFamily="2" charset="0"/>
                <a:ea typeface="Open Sans Light" pitchFamily="2" charset="0"/>
                <a:cs typeface="Open Sans Light" pitchFamily="2" charset="0"/>
              </a:rPr>
              <a:t>C3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D8CE87A4-61BF-521E-7A38-C3BBDE50B0C1}"/>
              </a:ext>
            </a:extLst>
          </p:cNvPr>
          <p:cNvSpPr txBox="1"/>
          <p:nvPr/>
        </p:nvSpPr>
        <p:spPr>
          <a:xfrm>
            <a:off x="2419631" y="1751344"/>
            <a:ext cx="563552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s-AR" sz="1000" b="1">
                <a:solidFill>
                  <a:srgbClr val="FFFFFF"/>
                </a:solidFill>
                <a:latin typeface="Pulso"/>
                <a:ea typeface="Open Sans ExtraBold"/>
                <a:cs typeface="Open Sans ExtraBold"/>
              </a:rPr>
              <a:t>6.100</a:t>
            </a:r>
            <a:endParaRPr lang="es-AR" sz="1000" b="1">
              <a:solidFill>
                <a:srgbClr val="FFFFFF"/>
              </a:solidFill>
              <a:latin typeface="Pulso" pitchFamily="2" charset="0"/>
              <a:ea typeface="Open Sans ExtraBold" pitchFamily="2" charset="0"/>
              <a:cs typeface="Open Sans ExtraBold" pitchFamily="2" charset="0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D71D69FE-CEC2-81CE-99B8-70C862BF5775}"/>
              </a:ext>
            </a:extLst>
          </p:cNvPr>
          <p:cNvSpPr txBox="1"/>
          <p:nvPr/>
        </p:nvSpPr>
        <p:spPr>
          <a:xfrm>
            <a:off x="2419631" y="1975145"/>
            <a:ext cx="563552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s-AR" sz="1000" b="1">
                <a:solidFill>
                  <a:srgbClr val="FFFFFF"/>
                </a:solidFill>
                <a:latin typeface="Pulso"/>
                <a:ea typeface="Open Sans ExtraBold"/>
                <a:cs typeface="Open Sans ExtraBold"/>
              </a:rPr>
              <a:t>2.200</a:t>
            </a:r>
            <a:endParaRPr lang="es-AR" sz="1000" b="1">
              <a:solidFill>
                <a:srgbClr val="FFFFFF"/>
              </a:solidFill>
              <a:latin typeface="Pulso" pitchFamily="2" charset="0"/>
              <a:ea typeface="Open Sans ExtraBold" pitchFamily="2" charset="0"/>
              <a:cs typeface="Open Sans ExtraBold" pitchFamily="2" charset="0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E6B37709-A43E-F599-62EE-5148D116BF7B}"/>
              </a:ext>
            </a:extLst>
          </p:cNvPr>
          <p:cNvSpPr txBox="1"/>
          <p:nvPr/>
        </p:nvSpPr>
        <p:spPr>
          <a:xfrm>
            <a:off x="2419631" y="2198946"/>
            <a:ext cx="563552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s-AR" sz="1000" b="1">
                <a:solidFill>
                  <a:srgbClr val="FFFFFF"/>
                </a:solidFill>
                <a:latin typeface="Pulso"/>
                <a:ea typeface="Open Sans ExtraBold"/>
                <a:cs typeface="Open Sans ExtraBold"/>
              </a:rPr>
              <a:t>1.600</a:t>
            </a:r>
            <a:endParaRPr lang="es-AR" sz="1000" b="1">
              <a:solidFill>
                <a:srgbClr val="FFFFFF"/>
              </a:solidFill>
              <a:latin typeface="Pulso" pitchFamily="2" charset="0"/>
              <a:ea typeface="Open Sans ExtraBold" pitchFamily="2" charset="0"/>
              <a:cs typeface="Open Sans ExtraBold" pitchFamily="2" charset="0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3686B264-53E5-3ABD-8BFE-258DCD33E218}"/>
              </a:ext>
            </a:extLst>
          </p:cNvPr>
          <p:cNvSpPr txBox="1"/>
          <p:nvPr/>
        </p:nvSpPr>
        <p:spPr>
          <a:xfrm>
            <a:off x="2419631" y="2422747"/>
            <a:ext cx="56355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sz="1000" b="1">
                <a:solidFill>
                  <a:srgbClr val="FFFFFF"/>
                </a:solidFill>
                <a:latin typeface="Pulso" pitchFamily="2" charset="0"/>
                <a:ea typeface="Open Sans ExtraBold" pitchFamily="2" charset="0"/>
                <a:cs typeface="Open Sans ExtraBold" pitchFamily="2" charset="0"/>
              </a:rPr>
              <a:t>1.200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FEB47615-A5E6-CCE9-308E-59914DD48603}"/>
              </a:ext>
            </a:extLst>
          </p:cNvPr>
          <p:cNvSpPr txBox="1"/>
          <p:nvPr/>
        </p:nvSpPr>
        <p:spPr>
          <a:xfrm>
            <a:off x="2419631" y="2646547"/>
            <a:ext cx="563552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s-AR" sz="1000" b="1">
                <a:solidFill>
                  <a:srgbClr val="FFFFFF"/>
                </a:solidFill>
                <a:latin typeface="Pulso"/>
                <a:ea typeface="Open Sans ExtraBold"/>
                <a:cs typeface="Open Sans ExtraBold"/>
              </a:rPr>
              <a:t>900</a:t>
            </a:r>
            <a:endParaRPr lang="es-AR" sz="1000" b="1">
              <a:solidFill>
                <a:srgbClr val="FFFFFF"/>
              </a:solidFill>
              <a:latin typeface="Pulso" pitchFamily="2" charset="0"/>
              <a:ea typeface="Open Sans ExtraBold" pitchFamily="2" charset="0"/>
              <a:cs typeface="Open Sans ExtraBold" pitchFamily="2" charset="0"/>
            </a:endParaRPr>
          </a:p>
        </p:txBody>
      </p:sp>
      <p:sp>
        <p:nvSpPr>
          <p:cNvPr id="85" name="Rectángulo redondeado 84">
            <a:extLst>
              <a:ext uri="{FF2B5EF4-FFF2-40B4-BE49-F238E27FC236}">
                <a16:creationId xmlns:a16="http://schemas.microsoft.com/office/drawing/2014/main" id="{010EBA93-3E52-9B49-0AC4-67E15E7219C9}"/>
              </a:ext>
            </a:extLst>
          </p:cNvPr>
          <p:cNvSpPr/>
          <p:nvPr/>
        </p:nvSpPr>
        <p:spPr>
          <a:xfrm>
            <a:off x="7795002" y="1571837"/>
            <a:ext cx="538184" cy="2420304"/>
          </a:xfrm>
          <a:prstGeom prst="roundRect">
            <a:avLst>
              <a:gd name="adj" fmla="val 10092"/>
            </a:avLst>
          </a:prstGeom>
          <a:gradFill>
            <a:gsLst>
              <a:gs pos="0">
                <a:schemeClr val="tx2"/>
              </a:gs>
              <a:gs pos="100000">
                <a:schemeClr val="bg1">
                  <a:lumMod val="1000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8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89" name="Gráfico 86">
            <a:extLst>
              <a:ext uri="{FF2B5EF4-FFF2-40B4-BE49-F238E27FC236}">
                <a16:creationId xmlns:a16="http://schemas.microsoft.com/office/drawing/2014/main" id="{86133204-A197-4705-F2CB-672E1DD9AA22}"/>
              </a:ext>
            </a:extLst>
          </p:cNvPr>
          <p:cNvGrpSpPr/>
          <p:nvPr/>
        </p:nvGrpSpPr>
        <p:grpSpPr>
          <a:xfrm>
            <a:off x="7914316" y="2638219"/>
            <a:ext cx="698516" cy="340058"/>
            <a:chOff x="174183" y="387577"/>
            <a:chExt cx="7531443" cy="3666489"/>
          </a:xfrm>
          <a:solidFill>
            <a:srgbClr val="FFFFFF"/>
          </a:solidFill>
        </p:grpSpPr>
        <p:grpSp>
          <p:nvGrpSpPr>
            <p:cNvPr id="92" name="Gráfico 86">
              <a:extLst>
                <a:ext uri="{FF2B5EF4-FFF2-40B4-BE49-F238E27FC236}">
                  <a16:creationId xmlns:a16="http://schemas.microsoft.com/office/drawing/2014/main" id="{310156FC-85F7-A005-7F59-440E9F45399E}"/>
                </a:ext>
              </a:extLst>
            </p:cNvPr>
            <p:cNvGrpSpPr/>
            <p:nvPr/>
          </p:nvGrpSpPr>
          <p:grpSpPr>
            <a:xfrm>
              <a:off x="174183" y="3646961"/>
              <a:ext cx="3389149" cy="407105"/>
              <a:chOff x="174183" y="3646961"/>
              <a:chExt cx="3389149" cy="407105"/>
            </a:xfrm>
            <a:grpFill/>
          </p:grpSpPr>
          <p:sp>
            <p:nvSpPr>
              <p:cNvPr id="95" name="Forma libre 94">
                <a:extLst>
                  <a:ext uri="{FF2B5EF4-FFF2-40B4-BE49-F238E27FC236}">
                    <a16:creationId xmlns:a16="http://schemas.microsoft.com/office/drawing/2014/main" id="{DCC9B678-7A34-078D-EA9A-884D5EB21320}"/>
                  </a:ext>
                </a:extLst>
              </p:cNvPr>
              <p:cNvSpPr/>
              <p:nvPr/>
            </p:nvSpPr>
            <p:spPr>
              <a:xfrm>
                <a:off x="174183" y="3646961"/>
                <a:ext cx="274795" cy="407105"/>
              </a:xfrm>
              <a:custGeom>
                <a:avLst/>
                <a:gdLst>
                  <a:gd name="connsiteX0" fmla="*/ -128 w 274795"/>
                  <a:gd name="connsiteY0" fmla="*/ 280224 h 407105"/>
                  <a:gd name="connsiteX1" fmla="*/ 71115 w 274795"/>
                  <a:gd name="connsiteY1" fmla="*/ 280224 h 407105"/>
                  <a:gd name="connsiteX2" fmla="*/ 91471 w 274795"/>
                  <a:gd name="connsiteY2" fmla="*/ 326023 h 407105"/>
                  <a:gd name="connsiteX3" fmla="*/ 142359 w 274795"/>
                  <a:gd name="connsiteY3" fmla="*/ 338745 h 407105"/>
                  <a:gd name="connsiteX4" fmla="*/ 205969 w 274795"/>
                  <a:gd name="connsiteY4" fmla="*/ 287857 h 407105"/>
                  <a:gd name="connsiteX5" fmla="*/ 193247 w 274795"/>
                  <a:gd name="connsiteY5" fmla="*/ 252235 h 407105"/>
                  <a:gd name="connsiteX6" fmla="*/ 152536 w 274795"/>
                  <a:gd name="connsiteY6" fmla="*/ 234424 h 407105"/>
                  <a:gd name="connsiteX7" fmla="*/ 114370 w 274795"/>
                  <a:gd name="connsiteY7" fmla="*/ 229335 h 407105"/>
                  <a:gd name="connsiteX8" fmla="*/ 7505 w 274795"/>
                  <a:gd name="connsiteY8" fmla="*/ 119926 h 407105"/>
                  <a:gd name="connsiteX9" fmla="*/ 43127 w 274795"/>
                  <a:gd name="connsiteY9" fmla="*/ 33416 h 407105"/>
                  <a:gd name="connsiteX10" fmla="*/ 139814 w 274795"/>
                  <a:gd name="connsiteY10" fmla="*/ 339 h 407105"/>
                  <a:gd name="connsiteX11" fmla="*/ 231413 w 274795"/>
                  <a:gd name="connsiteY11" fmla="*/ 30872 h 407105"/>
                  <a:gd name="connsiteX12" fmla="*/ 269579 w 274795"/>
                  <a:gd name="connsiteY12" fmla="*/ 117382 h 407105"/>
                  <a:gd name="connsiteX13" fmla="*/ 198336 w 274795"/>
                  <a:gd name="connsiteY13" fmla="*/ 117382 h 407105"/>
                  <a:gd name="connsiteX14" fmla="*/ 180525 w 274795"/>
                  <a:gd name="connsiteY14" fmla="*/ 76671 h 407105"/>
                  <a:gd name="connsiteX15" fmla="*/ 137270 w 274795"/>
                  <a:gd name="connsiteY15" fmla="*/ 63949 h 407105"/>
                  <a:gd name="connsiteX16" fmla="*/ 94015 w 274795"/>
                  <a:gd name="connsiteY16" fmla="*/ 76671 h 407105"/>
                  <a:gd name="connsiteX17" fmla="*/ 78749 w 274795"/>
                  <a:gd name="connsiteY17" fmla="*/ 114837 h 407105"/>
                  <a:gd name="connsiteX18" fmla="*/ 91471 w 274795"/>
                  <a:gd name="connsiteY18" fmla="*/ 147914 h 407105"/>
                  <a:gd name="connsiteX19" fmla="*/ 132181 w 274795"/>
                  <a:gd name="connsiteY19" fmla="*/ 165725 h 407105"/>
                  <a:gd name="connsiteX20" fmla="*/ 172892 w 274795"/>
                  <a:gd name="connsiteY20" fmla="*/ 173359 h 407105"/>
                  <a:gd name="connsiteX21" fmla="*/ 274668 w 274795"/>
                  <a:gd name="connsiteY21" fmla="*/ 285312 h 407105"/>
                  <a:gd name="connsiteX22" fmla="*/ 236502 w 274795"/>
                  <a:gd name="connsiteY22" fmla="*/ 376911 h 407105"/>
                  <a:gd name="connsiteX23" fmla="*/ 134726 w 274795"/>
                  <a:gd name="connsiteY23" fmla="*/ 407444 h 407105"/>
                  <a:gd name="connsiteX24" fmla="*/ 35494 w 274795"/>
                  <a:gd name="connsiteY24" fmla="*/ 376911 h 407105"/>
                  <a:gd name="connsiteX25" fmla="*/ -128 w 274795"/>
                  <a:gd name="connsiteY25" fmla="*/ 280224 h 407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4795" h="407105">
                    <a:moveTo>
                      <a:pt x="-128" y="280224"/>
                    </a:moveTo>
                    <a:lnTo>
                      <a:pt x="71115" y="280224"/>
                    </a:lnTo>
                    <a:cubicBezTo>
                      <a:pt x="73660" y="303123"/>
                      <a:pt x="81293" y="318390"/>
                      <a:pt x="91471" y="326023"/>
                    </a:cubicBezTo>
                    <a:cubicBezTo>
                      <a:pt x="101648" y="336200"/>
                      <a:pt x="119459" y="338745"/>
                      <a:pt x="142359" y="338745"/>
                    </a:cubicBezTo>
                    <a:cubicBezTo>
                      <a:pt x="185614" y="338745"/>
                      <a:pt x="205969" y="320934"/>
                      <a:pt x="205969" y="287857"/>
                    </a:cubicBezTo>
                    <a:cubicBezTo>
                      <a:pt x="205969" y="272590"/>
                      <a:pt x="200880" y="259868"/>
                      <a:pt x="193247" y="252235"/>
                    </a:cubicBezTo>
                    <a:cubicBezTo>
                      <a:pt x="185614" y="244602"/>
                      <a:pt x="170347" y="239513"/>
                      <a:pt x="152536" y="234424"/>
                    </a:cubicBezTo>
                    <a:lnTo>
                      <a:pt x="114370" y="229335"/>
                    </a:lnTo>
                    <a:cubicBezTo>
                      <a:pt x="43127" y="216613"/>
                      <a:pt x="7505" y="180992"/>
                      <a:pt x="7505" y="119926"/>
                    </a:cubicBezTo>
                    <a:cubicBezTo>
                      <a:pt x="7505" y="84304"/>
                      <a:pt x="20227" y="53772"/>
                      <a:pt x="43127" y="33416"/>
                    </a:cubicBezTo>
                    <a:cubicBezTo>
                      <a:pt x="68571" y="13061"/>
                      <a:pt x="99104" y="339"/>
                      <a:pt x="139814" y="339"/>
                    </a:cubicBezTo>
                    <a:cubicBezTo>
                      <a:pt x="177980" y="339"/>
                      <a:pt x="208513" y="10517"/>
                      <a:pt x="231413" y="30872"/>
                    </a:cubicBezTo>
                    <a:cubicBezTo>
                      <a:pt x="254313" y="51227"/>
                      <a:pt x="267035" y="81760"/>
                      <a:pt x="269579" y="117382"/>
                    </a:cubicBezTo>
                    <a:lnTo>
                      <a:pt x="198336" y="117382"/>
                    </a:lnTo>
                    <a:cubicBezTo>
                      <a:pt x="198336" y="97026"/>
                      <a:pt x="190702" y="84304"/>
                      <a:pt x="180525" y="76671"/>
                    </a:cubicBezTo>
                    <a:cubicBezTo>
                      <a:pt x="170347" y="69038"/>
                      <a:pt x="155081" y="63949"/>
                      <a:pt x="137270" y="63949"/>
                    </a:cubicBezTo>
                    <a:cubicBezTo>
                      <a:pt x="116915" y="63949"/>
                      <a:pt x="104193" y="69038"/>
                      <a:pt x="94015" y="76671"/>
                    </a:cubicBezTo>
                    <a:cubicBezTo>
                      <a:pt x="83837" y="84304"/>
                      <a:pt x="78749" y="97026"/>
                      <a:pt x="78749" y="114837"/>
                    </a:cubicBezTo>
                    <a:cubicBezTo>
                      <a:pt x="78749" y="127559"/>
                      <a:pt x="83837" y="140281"/>
                      <a:pt x="91471" y="147914"/>
                    </a:cubicBezTo>
                    <a:cubicBezTo>
                      <a:pt x="99104" y="155548"/>
                      <a:pt x="114370" y="160637"/>
                      <a:pt x="132181" y="165725"/>
                    </a:cubicBezTo>
                    <a:lnTo>
                      <a:pt x="172892" y="173359"/>
                    </a:lnTo>
                    <a:cubicBezTo>
                      <a:pt x="241591" y="186081"/>
                      <a:pt x="274668" y="221702"/>
                      <a:pt x="274668" y="285312"/>
                    </a:cubicBezTo>
                    <a:cubicBezTo>
                      <a:pt x="274668" y="326023"/>
                      <a:pt x="261946" y="356556"/>
                      <a:pt x="236502" y="376911"/>
                    </a:cubicBezTo>
                    <a:cubicBezTo>
                      <a:pt x="211058" y="397266"/>
                      <a:pt x="177980" y="407444"/>
                      <a:pt x="134726" y="407444"/>
                    </a:cubicBezTo>
                    <a:cubicBezTo>
                      <a:pt x="91471" y="407444"/>
                      <a:pt x="58393" y="397266"/>
                      <a:pt x="35494" y="376911"/>
                    </a:cubicBezTo>
                    <a:cubicBezTo>
                      <a:pt x="15139" y="351467"/>
                      <a:pt x="2417" y="320934"/>
                      <a:pt x="-128" y="280224"/>
                    </a:cubicBezTo>
                    <a:close/>
                  </a:path>
                </a:pathLst>
              </a:custGeom>
              <a:grpFill/>
              <a:ln w="2544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AR"/>
              </a:p>
            </p:txBody>
          </p:sp>
          <p:sp>
            <p:nvSpPr>
              <p:cNvPr id="96" name="Forma libre 95">
                <a:extLst>
                  <a:ext uri="{FF2B5EF4-FFF2-40B4-BE49-F238E27FC236}">
                    <a16:creationId xmlns:a16="http://schemas.microsoft.com/office/drawing/2014/main" id="{B441DD7F-D1B0-2127-DF2C-5F2D618EDE5F}"/>
                  </a:ext>
                </a:extLst>
              </p:cNvPr>
              <p:cNvSpPr/>
              <p:nvPr/>
            </p:nvSpPr>
            <p:spPr>
              <a:xfrm>
                <a:off x="619454" y="3652050"/>
                <a:ext cx="277340" cy="396927"/>
              </a:xfrm>
              <a:custGeom>
                <a:avLst/>
                <a:gdLst>
                  <a:gd name="connsiteX0" fmla="*/ 178022 w 277340"/>
                  <a:gd name="connsiteY0" fmla="*/ 66494 h 396927"/>
                  <a:gd name="connsiteX1" fmla="*/ 178022 w 277340"/>
                  <a:gd name="connsiteY1" fmla="*/ 397266 h 396927"/>
                  <a:gd name="connsiteX2" fmla="*/ 101690 w 277340"/>
                  <a:gd name="connsiteY2" fmla="*/ 397266 h 396927"/>
                  <a:gd name="connsiteX3" fmla="*/ 101690 w 277340"/>
                  <a:gd name="connsiteY3" fmla="*/ 66494 h 396927"/>
                  <a:gd name="connsiteX4" fmla="*/ -86 w 277340"/>
                  <a:gd name="connsiteY4" fmla="*/ 66494 h 396927"/>
                  <a:gd name="connsiteX5" fmla="*/ -86 w 277340"/>
                  <a:gd name="connsiteY5" fmla="*/ 339 h 396927"/>
                  <a:gd name="connsiteX6" fmla="*/ 277254 w 277340"/>
                  <a:gd name="connsiteY6" fmla="*/ 339 h 396927"/>
                  <a:gd name="connsiteX7" fmla="*/ 277254 w 277340"/>
                  <a:gd name="connsiteY7" fmla="*/ 66494 h 396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7340" h="396927">
                    <a:moveTo>
                      <a:pt x="178022" y="66494"/>
                    </a:moveTo>
                    <a:lnTo>
                      <a:pt x="178022" y="397266"/>
                    </a:lnTo>
                    <a:lnTo>
                      <a:pt x="101690" y="397266"/>
                    </a:lnTo>
                    <a:lnTo>
                      <a:pt x="101690" y="66494"/>
                    </a:lnTo>
                    <a:lnTo>
                      <a:pt x="-86" y="66494"/>
                    </a:lnTo>
                    <a:lnTo>
                      <a:pt x="-86" y="339"/>
                    </a:lnTo>
                    <a:lnTo>
                      <a:pt x="277254" y="339"/>
                    </a:lnTo>
                    <a:lnTo>
                      <a:pt x="277254" y="66494"/>
                    </a:lnTo>
                    <a:close/>
                  </a:path>
                </a:pathLst>
              </a:custGeom>
              <a:grpFill/>
              <a:ln w="2544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AR"/>
              </a:p>
            </p:txBody>
          </p:sp>
          <p:sp>
            <p:nvSpPr>
              <p:cNvPr id="98" name="Forma libre 97">
                <a:extLst>
                  <a:ext uri="{FF2B5EF4-FFF2-40B4-BE49-F238E27FC236}">
                    <a16:creationId xmlns:a16="http://schemas.microsoft.com/office/drawing/2014/main" id="{8CFA18D6-FE37-B527-3AF0-8479668B6203}"/>
                  </a:ext>
                </a:extLst>
              </p:cNvPr>
              <p:cNvSpPr/>
              <p:nvPr/>
            </p:nvSpPr>
            <p:spPr>
              <a:xfrm>
                <a:off x="1011292" y="3652050"/>
                <a:ext cx="340950" cy="394383"/>
              </a:xfrm>
              <a:custGeom>
                <a:avLst/>
                <a:gdLst>
                  <a:gd name="connsiteX0" fmla="*/ 101730 w 340950"/>
                  <a:gd name="connsiteY0" fmla="*/ 318390 h 394383"/>
                  <a:gd name="connsiteX1" fmla="*/ 78830 w 340950"/>
                  <a:gd name="connsiteY1" fmla="*/ 394722 h 394383"/>
                  <a:gd name="connsiteX2" fmla="*/ -47 w 340950"/>
                  <a:gd name="connsiteY2" fmla="*/ 394722 h 394383"/>
                  <a:gd name="connsiteX3" fmla="*/ 139896 w 340950"/>
                  <a:gd name="connsiteY3" fmla="*/ 339 h 394383"/>
                  <a:gd name="connsiteX4" fmla="*/ 200962 w 340950"/>
                  <a:gd name="connsiteY4" fmla="*/ 339 h 394383"/>
                  <a:gd name="connsiteX5" fmla="*/ 340904 w 340950"/>
                  <a:gd name="connsiteY5" fmla="*/ 394722 h 394383"/>
                  <a:gd name="connsiteX6" fmla="*/ 262027 w 340950"/>
                  <a:gd name="connsiteY6" fmla="*/ 394722 h 394383"/>
                  <a:gd name="connsiteX7" fmla="*/ 239128 w 340950"/>
                  <a:gd name="connsiteY7" fmla="*/ 318390 h 394383"/>
                  <a:gd name="connsiteX8" fmla="*/ 170429 w 340950"/>
                  <a:gd name="connsiteY8" fmla="*/ 104660 h 394383"/>
                  <a:gd name="connsiteX9" fmla="*/ 122085 w 340950"/>
                  <a:gd name="connsiteY9" fmla="*/ 257324 h 394383"/>
                  <a:gd name="connsiteX10" fmla="*/ 218772 w 340950"/>
                  <a:gd name="connsiteY10" fmla="*/ 257324 h 394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40950" h="394383">
                    <a:moveTo>
                      <a:pt x="101730" y="318390"/>
                    </a:moveTo>
                    <a:lnTo>
                      <a:pt x="78830" y="394722"/>
                    </a:lnTo>
                    <a:lnTo>
                      <a:pt x="-47" y="394722"/>
                    </a:lnTo>
                    <a:lnTo>
                      <a:pt x="139896" y="339"/>
                    </a:lnTo>
                    <a:lnTo>
                      <a:pt x="200962" y="339"/>
                    </a:lnTo>
                    <a:lnTo>
                      <a:pt x="340904" y="394722"/>
                    </a:lnTo>
                    <a:lnTo>
                      <a:pt x="262027" y="394722"/>
                    </a:lnTo>
                    <a:lnTo>
                      <a:pt x="239128" y="318390"/>
                    </a:lnTo>
                    <a:close/>
                    <a:moveTo>
                      <a:pt x="170429" y="104660"/>
                    </a:moveTo>
                    <a:lnTo>
                      <a:pt x="122085" y="257324"/>
                    </a:lnTo>
                    <a:lnTo>
                      <a:pt x="218772" y="257324"/>
                    </a:lnTo>
                    <a:close/>
                  </a:path>
                </a:pathLst>
              </a:custGeom>
              <a:grpFill/>
              <a:ln w="2544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AR"/>
              </a:p>
            </p:txBody>
          </p:sp>
          <p:sp>
            <p:nvSpPr>
              <p:cNvPr id="99" name="Forma libre 98">
                <a:extLst>
                  <a:ext uri="{FF2B5EF4-FFF2-40B4-BE49-F238E27FC236}">
                    <a16:creationId xmlns:a16="http://schemas.microsoft.com/office/drawing/2014/main" id="{2B8682A0-924A-EA00-3682-0563A316572D}"/>
                  </a:ext>
                </a:extLst>
              </p:cNvPr>
              <p:cNvSpPr/>
              <p:nvPr/>
            </p:nvSpPr>
            <p:spPr>
              <a:xfrm>
                <a:off x="1532896" y="3654594"/>
                <a:ext cx="295151" cy="396927"/>
              </a:xfrm>
              <a:custGeom>
                <a:avLst/>
                <a:gdLst>
                  <a:gd name="connsiteX0" fmla="*/ 73788 w 295151"/>
                  <a:gd name="connsiteY0" fmla="*/ 234424 h 396927"/>
                  <a:gd name="connsiteX1" fmla="*/ 73788 w 295151"/>
                  <a:gd name="connsiteY1" fmla="*/ 394722 h 396927"/>
                  <a:gd name="connsiteX2" fmla="*/ 0 w 295151"/>
                  <a:gd name="connsiteY2" fmla="*/ 394722 h 396927"/>
                  <a:gd name="connsiteX3" fmla="*/ 0 w 295151"/>
                  <a:gd name="connsiteY3" fmla="*/ 339 h 396927"/>
                  <a:gd name="connsiteX4" fmla="*/ 150120 w 295151"/>
                  <a:gd name="connsiteY4" fmla="*/ 339 h 396927"/>
                  <a:gd name="connsiteX5" fmla="*/ 241719 w 295151"/>
                  <a:gd name="connsiteY5" fmla="*/ 30872 h 396927"/>
                  <a:gd name="connsiteX6" fmla="*/ 277340 w 295151"/>
                  <a:gd name="connsiteY6" fmla="*/ 117382 h 396927"/>
                  <a:gd name="connsiteX7" fmla="*/ 259530 w 295151"/>
                  <a:gd name="connsiteY7" fmla="*/ 183536 h 396927"/>
                  <a:gd name="connsiteX8" fmla="*/ 208642 w 295151"/>
                  <a:gd name="connsiteY8" fmla="*/ 224247 h 396927"/>
                  <a:gd name="connsiteX9" fmla="*/ 295151 w 295151"/>
                  <a:gd name="connsiteY9" fmla="*/ 397267 h 396927"/>
                  <a:gd name="connsiteX10" fmla="*/ 208642 w 295151"/>
                  <a:gd name="connsiteY10" fmla="*/ 397267 h 396927"/>
                  <a:gd name="connsiteX11" fmla="*/ 134854 w 295151"/>
                  <a:gd name="connsiteY11" fmla="*/ 236969 h 396927"/>
                  <a:gd name="connsiteX12" fmla="*/ 73788 w 295151"/>
                  <a:gd name="connsiteY12" fmla="*/ 236969 h 396927"/>
                  <a:gd name="connsiteX13" fmla="*/ 145031 w 295151"/>
                  <a:gd name="connsiteY13" fmla="*/ 170814 h 396927"/>
                  <a:gd name="connsiteX14" fmla="*/ 185742 w 295151"/>
                  <a:gd name="connsiteY14" fmla="*/ 155548 h 396927"/>
                  <a:gd name="connsiteX15" fmla="*/ 201008 w 295151"/>
                  <a:gd name="connsiteY15" fmla="*/ 114837 h 396927"/>
                  <a:gd name="connsiteX16" fmla="*/ 185742 w 295151"/>
                  <a:gd name="connsiteY16" fmla="*/ 76671 h 396927"/>
                  <a:gd name="connsiteX17" fmla="*/ 145031 w 295151"/>
                  <a:gd name="connsiteY17" fmla="*/ 61405 h 396927"/>
                  <a:gd name="connsiteX18" fmla="*/ 73788 w 295151"/>
                  <a:gd name="connsiteY18" fmla="*/ 61405 h 396927"/>
                  <a:gd name="connsiteX19" fmla="*/ 73788 w 295151"/>
                  <a:gd name="connsiteY19" fmla="*/ 168270 h 396927"/>
                  <a:gd name="connsiteX20" fmla="*/ 145031 w 295151"/>
                  <a:gd name="connsiteY20" fmla="*/ 168270 h 396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95151" h="396927">
                    <a:moveTo>
                      <a:pt x="73788" y="234424"/>
                    </a:moveTo>
                    <a:lnTo>
                      <a:pt x="73788" y="394722"/>
                    </a:lnTo>
                    <a:lnTo>
                      <a:pt x="0" y="394722"/>
                    </a:lnTo>
                    <a:lnTo>
                      <a:pt x="0" y="339"/>
                    </a:lnTo>
                    <a:lnTo>
                      <a:pt x="150120" y="339"/>
                    </a:lnTo>
                    <a:cubicBezTo>
                      <a:pt x="188286" y="339"/>
                      <a:pt x="218819" y="10517"/>
                      <a:pt x="241719" y="30872"/>
                    </a:cubicBezTo>
                    <a:cubicBezTo>
                      <a:pt x="264618" y="51227"/>
                      <a:pt x="277340" y="81760"/>
                      <a:pt x="277340" y="117382"/>
                    </a:cubicBezTo>
                    <a:cubicBezTo>
                      <a:pt x="277340" y="142826"/>
                      <a:pt x="272252" y="165725"/>
                      <a:pt x="259530" y="183536"/>
                    </a:cubicBezTo>
                    <a:cubicBezTo>
                      <a:pt x="246808" y="201347"/>
                      <a:pt x="228997" y="214069"/>
                      <a:pt x="208642" y="224247"/>
                    </a:cubicBezTo>
                    <a:lnTo>
                      <a:pt x="295151" y="397267"/>
                    </a:lnTo>
                    <a:lnTo>
                      <a:pt x="208642" y="397267"/>
                    </a:lnTo>
                    <a:lnTo>
                      <a:pt x="134854" y="236969"/>
                    </a:lnTo>
                    <a:lnTo>
                      <a:pt x="73788" y="236969"/>
                    </a:lnTo>
                    <a:close/>
                    <a:moveTo>
                      <a:pt x="145031" y="170814"/>
                    </a:moveTo>
                    <a:cubicBezTo>
                      <a:pt x="162842" y="170814"/>
                      <a:pt x="175564" y="165725"/>
                      <a:pt x="185742" y="155548"/>
                    </a:cubicBezTo>
                    <a:cubicBezTo>
                      <a:pt x="195920" y="145370"/>
                      <a:pt x="201008" y="132648"/>
                      <a:pt x="201008" y="114837"/>
                    </a:cubicBezTo>
                    <a:cubicBezTo>
                      <a:pt x="201008" y="99571"/>
                      <a:pt x="195920" y="86849"/>
                      <a:pt x="185742" y="76671"/>
                    </a:cubicBezTo>
                    <a:cubicBezTo>
                      <a:pt x="175564" y="66494"/>
                      <a:pt x="162842" y="61405"/>
                      <a:pt x="145031" y="61405"/>
                    </a:cubicBezTo>
                    <a:lnTo>
                      <a:pt x="73788" y="61405"/>
                    </a:lnTo>
                    <a:lnTo>
                      <a:pt x="73788" y="168270"/>
                    </a:lnTo>
                    <a:lnTo>
                      <a:pt x="145031" y="168270"/>
                    </a:lnTo>
                    <a:close/>
                  </a:path>
                </a:pathLst>
              </a:custGeom>
              <a:grpFill/>
              <a:ln w="2544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AR"/>
              </a:p>
            </p:txBody>
          </p:sp>
          <p:sp>
            <p:nvSpPr>
              <p:cNvPr id="100" name="Forma libre 99">
                <a:extLst>
                  <a:ext uri="{FF2B5EF4-FFF2-40B4-BE49-F238E27FC236}">
                    <a16:creationId xmlns:a16="http://schemas.microsoft.com/office/drawing/2014/main" id="{9ED4A68D-88EE-7E03-2D2A-2EA228297408}"/>
                  </a:ext>
                </a:extLst>
              </p:cNvPr>
              <p:cNvSpPr/>
              <p:nvPr/>
            </p:nvSpPr>
            <p:spPr>
              <a:xfrm>
                <a:off x="2013789" y="3652050"/>
                <a:ext cx="246807" cy="396927"/>
              </a:xfrm>
              <a:custGeom>
                <a:avLst/>
                <a:gdLst>
                  <a:gd name="connsiteX0" fmla="*/ 73830 w 246807"/>
                  <a:gd name="connsiteY0" fmla="*/ 339 h 396927"/>
                  <a:gd name="connsiteX1" fmla="*/ 73830 w 246807"/>
                  <a:gd name="connsiteY1" fmla="*/ 331112 h 396927"/>
                  <a:gd name="connsiteX2" fmla="*/ 246850 w 246807"/>
                  <a:gd name="connsiteY2" fmla="*/ 331112 h 396927"/>
                  <a:gd name="connsiteX3" fmla="*/ 246850 w 246807"/>
                  <a:gd name="connsiteY3" fmla="*/ 397266 h 396927"/>
                  <a:gd name="connsiteX4" fmla="*/ 43 w 246807"/>
                  <a:gd name="connsiteY4" fmla="*/ 397266 h 396927"/>
                  <a:gd name="connsiteX5" fmla="*/ 43 w 246807"/>
                  <a:gd name="connsiteY5" fmla="*/ 2883 h 396927"/>
                  <a:gd name="connsiteX6" fmla="*/ 73830 w 246807"/>
                  <a:gd name="connsiteY6" fmla="*/ 2883 h 396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6807" h="396927">
                    <a:moveTo>
                      <a:pt x="73830" y="339"/>
                    </a:moveTo>
                    <a:lnTo>
                      <a:pt x="73830" y="331112"/>
                    </a:lnTo>
                    <a:lnTo>
                      <a:pt x="246850" y="331112"/>
                    </a:lnTo>
                    <a:lnTo>
                      <a:pt x="246850" y="397266"/>
                    </a:lnTo>
                    <a:lnTo>
                      <a:pt x="43" y="397266"/>
                    </a:lnTo>
                    <a:lnTo>
                      <a:pt x="43" y="2883"/>
                    </a:lnTo>
                    <a:lnTo>
                      <a:pt x="73830" y="2883"/>
                    </a:lnTo>
                    <a:close/>
                  </a:path>
                </a:pathLst>
              </a:custGeom>
              <a:grpFill/>
              <a:ln w="2544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AR"/>
              </a:p>
            </p:txBody>
          </p:sp>
          <p:sp>
            <p:nvSpPr>
              <p:cNvPr id="101" name="Forma libre 100">
                <a:extLst>
                  <a:ext uri="{FF2B5EF4-FFF2-40B4-BE49-F238E27FC236}">
                    <a16:creationId xmlns:a16="http://schemas.microsoft.com/office/drawing/2014/main" id="{DF03A797-988C-11D0-D707-8E0EE28FA878}"/>
                  </a:ext>
                </a:extLst>
              </p:cNvPr>
              <p:cNvSpPr/>
              <p:nvPr/>
            </p:nvSpPr>
            <p:spPr>
              <a:xfrm>
                <a:off x="2456515" y="3652050"/>
                <a:ext cx="73788" cy="396927"/>
              </a:xfrm>
              <a:custGeom>
                <a:avLst/>
                <a:gdLst>
                  <a:gd name="connsiteX0" fmla="*/ 73864 w 73788"/>
                  <a:gd name="connsiteY0" fmla="*/ 339 h 396927"/>
                  <a:gd name="connsiteX1" fmla="*/ 73864 w 73788"/>
                  <a:gd name="connsiteY1" fmla="*/ 397266 h 396927"/>
                  <a:gd name="connsiteX2" fmla="*/ 76 w 73788"/>
                  <a:gd name="connsiteY2" fmla="*/ 397266 h 396927"/>
                  <a:gd name="connsiteX3" fmla="*/ 76 w 73788"/>
                  <a:gd name="connsiteY3" fmla="*/ 2883 h 396927"/>
                  <a:gd name="connsiteX4" fmla="*/ 73864 w 73788"/>
                  <a:gd name="connsiteY4" fmla="*/ 2883 h 396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788" h="396927">
                    <a:moveTo>
                      <a:pt x="73864" y="339"/>
                    </a:moveTo>
                    <a:lnTo>
                      <a:pt x="73864" y="397266"/>
                    </a:lnTo>
                    <a:lnTo>
                      <a:pt x="76" y="397266"/>
                    </a:lnTo>
                    <a:lnTo>
                      <a:pt x="76" y="2883"/>
                    </a:lnTo>
                    <a:lnTo>
                      <a:pt x="73864" y="2883"/>
                    </a:lnTo>
                    <a:close/>
                  </a:path>
                </a:pathLst>
              </a:custGeom>
              <a:grpFill/>
              <a:ln w="2544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AR"/>
              </a:p>
            </p:txBody>
          </p:sp>
          <p:sp>
            <p:nvSpPr>
              <p:cNvPr id="107" name="Forma libre 106">
                <a:extLst>
                  <a:ext uri="{FF2B5EF4-FFF2-40B4-BE49-F238E27FC236}">
                    <a16:creationId xmlns:a16="http://schemas.microsoft.com/office/drawing/2014/main" id="{3342B545-89BE-19D3-0CDA-EA6CA08C758C}"/>
                  </a:ext>
                </a:extLst>
              </p:cNvPr>
              <p:cNvSpPr/>
              <p:nvPr/>
            </p:nvSpPr>
            <p:spPr>
              <a:xfrm>
                <a:off x="2744033" y="3654594"/>
                <a:ext cx="297695" cy="394383"/>
              </a:xfrm>
              <a:custGeom>
                <a:avLst/>
                <a:gdLst>
                  <a:gd name="connsiteX0" fmla="*/ 297809 w 297695"/>
                  <a:gd name="connsiteY0" fmla="*/ 394722 h 394383"/>
                  <a:gd name="connsiteX1" fmla="*/ 224021 w 297695"/>
                  <a:gd name="connsiteY1" fmla="*/ 394722 h 394383"/>
                  <a:gd name="connsiteX2" fmla="*/ 78990 w 297695"/>
                  <a:gd name="connsiteY2" fmla="*/ 147915 h 394383"/>
                  <a:gd name="connsiteX3" fmla="*/ 78990 w 297695"/>
                  <a:gd name="connsiteY3" fmla="*/ 394722 h 394383"/>
                  <a:gd name="connsiteX4" fmla="*/ 113 w 297695"/>
                  <a:gd name="connsiteY4" fmla="*/ 394722 h 394383"/>
                  <a:gd name="connsiteX5" fmla="*/ 113 w 297695"/>
                  <a:gd name="connsiteY5" fmla="*/ 339 h 394383"/>
                  <a:gd name="connsiteX6" fmla="*/ 73901 w 297695"/>
                  <a:gd name="connsiteY6" fmla="*/ 339 h 394383"/>
                  <a:gd name="connsiteX7" fmla="*/ 218932 w 297695"/>
                  <a:gd name="connsiteY7" fmla="*/ 247146 h 394383"/>
                  <a:gd name="connsiteX8" fmla="*/ 218932 w 297695"/>
                  <a:gd name="connsiteY8" fmla="*/ 339 h 394383"/>
                  <a:gd name="connsiteX9" fmla="*/ 292720 w 297695"/>
                  <a:gd name="connsiteY9" fmla="*/ 339 h 394383"/>
                  <a:gd name="connsiteX10" fmla="*/ 292720 w 297695"/>
                  <a:gd name="connsiteY10" fmla="*/ 394722 h 394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7695" h="394383">
                    <a:moveTo>
                      <a:pt x="297809" y="394722"/>
                    </a:moveTo>
                    <a:lnTo>
                      <a:pt x="224021" y="394722"/>
                    </a:lnTo>
                    <a:lnTo>
                      <a:pt x="78990" y="147915"/>
                    </a:lnTo>
                    <a:lnTo>
                      <a:pt x="78990" y="394722"/>
                    </a:lnTo>
                    <a:lnTo>
                      <a:pt x="113" y="394722"/>
                    </a:lnTo>
                    <a:lnTo>
                      <a:pt x="113" y="339"/>
                    </a:lnTo>
                    <a:lnTo>
                      <a:pt x="73901" y="339"/>
                    </a:lnTo>
                    <a:lnTo>
                      <a:pt x="218932" y="247146"/>
                    </a:lnTo>
                    <a:lnTo>
                      <a:pt x="218932" y="339"/>
                    </a:lnTo>
                    <a:lnTo>
                      <a:pt x="292720" y="339"/>
                    </a:lnTo>
                    <a:lnTo>
                      <a:pt x="292720" y="394722"/>
                    </a:lnTo>
                    <a:close/>
                  </a:path>
                </a:pathLst>
              </a:custGeom>
              <a:grpFill/>
              <a:ln w="2544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AR"/>
              </a:p>
            </p:txBody>
          </p:sp>
          <p:sp>
            <p:nvSpPr>
              <p:cNvPr id="109" name="Forma libre 108">
                <a:extLst>
                  <a:ext uri="{FF2B5EF4-FFF2-40B4-BE49-F238E27FC236}">
                    <a16:creationId xmlns:a16="http://schemas.microsoft.com/office/drawing/2014/main" id="{F11EBFBE-2B33-36F7-5703-C6B43F8A49C1}"/>
                  </a:ext>
                </a:extLst>
              </p:cNvPr>
              <p:cNvSpPr/>
              <p:nvPr/>
            </p:nvSpPr>
            <p:spPr>
              <a:xfrm>
                <a:off x="3252915" y="3652050"/>
                <a:ext cx="310417" cy="394383"/>
              </a:xfrm>
              <a:custGeom>
                <a:avLst/>
                <a:gdLst>
                  <a:gd name="connsiteX0" fmla="*/ 73949 w 310417"/>
                  <a:gd name="connsiteY0" fmla="*/ 285313 h 394383"/>
                  <a:gd name="connsiteX1" fmla="*/ 73949 w 310417"/>
                  <a:gd name="connsiteY1" fmla="*/ 394722 h 394383"/>
                  <a:gd name="connsiteX2" fmla="*/ 161 w 310417"/>
                  <a:gd name="connsiteY2" fmla="*/ 394722 h 394383"/>
                  <a:gd name="connsiteX3" fmla="*/ 161 w 310417"/>
                  <a:gd name="connsiteY3" fmla="*/ 339 h 394383"/>
                  <a:gd name="connsiteX4" fmla="*/ 73949 w 310417"/>
                  <a:gd name="connsiteY4" fmla="*/ 339 h 394383"/>
                  <a:gd name="connsiteX5" fmla="*/ 73949 w 310417"/>
                  <a:gd name="connsiteY5" fmla="*/ 183536 h 394383"/>
                  <a:gd name="connsiteX6" fmla="*/ 211347 w 310417"/>
                  <a:gd name="connsiteY6" fmla="*/ 339 h 394383"/>
                  <a:gd name="connsiteX7" fmla="*/ 300401 w 310417"/>
                  <a:gd name="connsiteY7" fmla="*/ 339 h 394383"/>
                  <a:gd name="connsiteX8" fmla="*/ 173181 w 310417"/>
                  <a:gd name="connsiteY8" fmla="*/ 158092 h 394383"/>
                  <a:gd name="connsiteX9" fmla="*/ 310579 w 310417"/>
                  <a:gd name="connsiteY9" fmla="*/ 394722 h 394383"/>
                  <a:gd name="connsiteX10" fmla="*/ 224069 w 310417"/>
                  <a:gd name="connsiteY10" fmla="*/ 394722 h 394383"/>
                  <a:gd name="connsiteX11" fmla="*/ 127382 w 310417"/>
                  <a:gd name="connsiteY11" fmla="*/ 219158 h 394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10417" h="394383">
                    <a:moveTo>
                      <a:pt x="73949" y="285313"/>
                    </a:moveTo>
                    <a:lnTo>
                      <a:pt x="73949" y="394722"/>
                    </a:lnTo>
                    <a:lnTo>
                      <a:pt x="161" y="394722"/>
                    </a:lnTo>
                    <a:lnTo>
                      <a:pt x="161" y="339"/>
                    </a:lnTo>
                    <a:lnTo>
                      <a:pt x="73949" y="339"/>
                    </a:lnTo>
                    <a:lnTo>
                      <a:pt x="73949" y="183536"/>
                    </a:lnTo>
                    <a:lnTo>
                      <a:pt x="211347" y="339"/>
                    </a:lnTo>
                    <a:lnTo>
                      <a:pt x="300401" y="339"/>
                    </a:lnTo>
                    <a:lnTo>
                      <a:pt x="173181" y="158092"/>
                    </a:lnTo>
                    <a:lnTo>
                      <a:pt x="310579" y="394722"/>
                    </a:lnTo>
                    <a:lnTo>
                      <a:pt x="224069" y="394722"/>
                    </a:lnTo>
                    <a:lnTo>
                      <a:pt x="127382" y="219158"/>
                    </a:lnTo>
                    <a:close/>
                  </a:path>
                </a:pathLst>
              </a:custGeom>
              <a:grpFill/>
              <a:ln w="2544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AR"/>
              </a:p>
            </p:txBody>
          </p:sp>
        </p:grpSp>
        <p:grpSp>
          <p:nvGrpSpPr>
            <p:cNvPr id="110" name="Gráfico 86">
              <a:extLst>
                <a:ext uri="{FF2B5EF4-FFF2-40B4-BE49-F238E27FC236}">
                  <a16:creationId xmlns:a16="http://schemas.microsoft.com/office/drawing/2014/main" id="{F73F7DD3-DE09-6D3E-FC9A-9BB7C38036AF}"/>
                </a:ext>
              </a:extLst>
            </p:cNvPr>
            <p:cNvGrpSpPr/>
            <p:nvPr/>
          </p:nvGrpSpPr>
          <p:grpSpPr>
            <a:xfrm>
              <a:off x="186905" y="387577"/>
              <a:ext cx="7518721" cy="2872634"/>
              <a:chOff x="186905" y="387577"/>
              <a:chExt cx="7518721" cy="2872634"/>
            </a:xfrm>
            <a:grpFill/>
          </p:grpSpPr>
          <p:sp>
            <p:nvSpPr>
              <p:cNvPr id="113" name="Forma libre 112">
                <a:extLst>
                  <a:ext uri="{FF2B5EF4-FFF2-40B4-BE49-F238E27FC236}">
                    <a16:creationId xmlns:a16="http://schemas.microsoft.com/office/drawing/2014/main" id="{832C410A-6039-A2AD-6817-0E8DAA15B947}"/>
                  </a:ext>
                </a:extLst>
              </p:cNvPr>
              <p:cNvSpPr/>
              <p:nvPr/>
            </p:nvSpPr>
            <p:spPr>
              <a:xfrm>
                <a:off x="186905" y="387577"/>
                <a:ext cx="7518721" cy="2872634"/>
              </a:xfrm>
              <a:custGeom>
                <a:avLst/>
                <a:gdLst>
                  <a:gd name="connsiteX0" fmla="*/ 99443 w 7518721"/>
                  <a:gd name="connsiteY0" fmla="*/ 2776097 h 2872634"/>
                  <a:gd name="connsiteX1" fmla="*/ 212 w 7518721"/>
                  <a:gd name="connsiteY1" fmla="*/ 2872784 h 2872634"/>
                  <a:gd name="connsiteX2" fmla="*/ 878032 w 7518721"/>
                  <a:gd name="connsiteY2" fmla="*/ 2872784 h 2872634"/>
                  <a:gd name="connsiteX3" fmla="*/ 7518933 w 7518721"/>
                  <a:gd name="connsiteY3" fmla="*/ 2694 h 2872634"/>
                  <a:gd name="connsiteX4" fmla="*/ 7518933 w 7518721"/>
                  <a:gd name="connsiteY4" fmla="*/ 149 h 2872634"/>
                  <a:gd name="connsiteX5" fmla="*/ 99443 w 7518721"/>
                  <a:gd name="connsiteY5" fmla="*/ 2776097 h 2872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518721" h="2872634">
                    <a:moveTo>
                      <a:pt x="99443" y="2776097"/>
                    </a:moveTo>
                    <a:lnTo>
                      <a:pt x="212" y="2872784"/>
                    </a:lnTo>
                    <a:lnTo>
                      <a:pt x="878032" y="2872784"/>
                    </a:lnTo>
                    <a:cubicBezTo>
                      <a:pt x="3244330" y="496309"/>
                      <a:pt x="6651291" y="73937"/>
                      <a:pt x="7518933" y="2694"/>
                    </a:cubicBezTo>
                    <a:lnTo>
                      <a:pt x="7518933" y="149"/>
                    </a:lnTo>
                    <a:cubicBezTo>
                      <a:pt x="2783793" y="272401"/>
                      <a:pt x="595603" y="2297749"/>
                      <a:pt x="99443" y="2776097"/>
                    </a:cubicBezTo>
                  </a:path>
                </a:pathLst>
              </a:custGeom>
              <a:grpFill/>
              <a:ln w="2544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AR"/>
              </a:p>
            </p:txBody>
          </p:sp>
          <p:grpSp>
            <p:nvGrpSpPr>
              <p:cNvPr id="114" name="Gráfico 86">
                <a:extLst>
                  <a:ext uri="{FF2B5EF4-FFF2-40B4-BE49-F238E27FC236}">
                    <a16:creationId xmlns:a16="http://schemas.microsoft.com/office/drawing/2014/main" id="{3B472854-9D66-BDE1-892D-9ABBCE8A11F7}"/>
                  </a:ext>
                </a:extLst>
              </p:cNvPr>
              <p:cNvGrpSpPr/>
              <p:nvPr/>
            </p:nvGrpSpPr>
            <p:grpSpPr>
              <a:xfrm>
                <a:off x="245426" y="1443505"/>
                <a:ext cx="3320450" cy="1816706"/>
                <a:chOff x="245426" y="1443505"/>
                <a:chExt cx="3320450" cy="1816706"/>
              </a:xfrm>
              <a:grpFill/>
            </p:grpSpPr>
            <p:sp>
              <p:nvSpPr>
                <p:cNvPr id="115" name="Forma libre 114">
                  <a:extLst>
                    <a:ext uri="{FF2B5EF4-FFF2-40B4-BE49-F238E27FC236}">
                      <a16:creationId xmlns:a16="http://schemas.microsoft.com/office/drawing/2014/main" id="{E7E1E8E0-6871-6B12-BA46-161BD1D57C5D}"/>
                    </a:ext>
                  </a:extLst>
                </p:cNvPr>
                <p:cNvSpPr/>
                <p:nvPr/>
              </p:nvSpPr>
              <p:spPr>
                <a:xfrm>
                  <a:off x="1927279" y="2374758"/>
                  <a:ext cx="1638597" cy="885453"/>
                </a:xfrm>
                <a:custGeom>
                  <a:avLst/>
                  <a:gdLst>
                    <a:gd name="connsiteX0" fmla="*/ 771055 w 1638597"/>
                    <a:gd name="connsiteY0" fmla="*/ 885696 h 885453"/>
                    <a:gd name="connsiteX1" fmla="*/ 1638697 w 1638597"/>
                    <a:gd name="connsiteY1" fmla="*/ 885696 h 885453"/>
                    <a:gd name="connsiteX2" fmla="*/ 437738 w 1638597"/>
                    <a:gd name="connsiteY2" fmla="*/ 242 h 885453"/>
                    <a:gd name="connsiteX3" fmla="*/ 100 w 1638597"/>
                    <a:gd name="connsiteY3" fmla="*/ 323382 h 885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38597" h="885453">
                      <a:moveTo>
                        <a:pt x="771055" y="885696"/>
                      </a:moveTo>
                      <a:lnTo>
                        <a:pt x="1638697" y="885696"/>
                      </a:lnTo>
                      <a:lnTo>
                        <a:pt x="437738" y="242"/>
                      </a:lnTo>
                      <a:cubicBezTo>
                        <a:pt x="292706" y="99474"/>
                        <a:pt x="142587" y="211428"/>
                        <a:pt x="100" y="323382"/>
                      </a:cubicBezTo>
                      <a:close/>
                    </a:path>
                  </a:pathLst>
                </a:custGeom>
                <a:grpFill/>
                <a:ln w="2544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AR"/>
                </a:p>
              </p:txBody>
            </p:sp>
            <p:sp>
              <p:nvSpPr>
                <p:cNvPr id="118" name="Forma libre 117">
                  <a:extLst>
                    <a:ext uri="{FF2B5EF4-FFF2-40B4-BE49-F238E27FC236}">
                      <a16:creationId xmlns:a16="http://schemas.microsoft.com/office/drawing/2014/main" id="{DD822454-D86C-9244-878C-65B32075A1DC}"/>
                    </a:ext>
                  </a:extLst>
                </p:cNvPr>
                <p:cNvSpPr/>
                <p:nvPr/>
              </p:nvSpPr>
              <p:spPr>
                <a:xfrm>
                  <a:off x="245426" y="1443505"/>
                  <a:ext cx="1493566" cy="745511"/>
                </a:xfrm>
                <a:custGeom>
                  <a:avLst/>
                  <a:gdLst>
                    <a:gd name="connsiteX0" fmla="*/ 867578 w 1493566"/>
                    <a:gd name="connsiteY0" fmla="*/ 149 h 745511"/>
                    <a:gd name="connsiteX1" fmla="*/ -64 w 1493566"/>
                    <a:gd name="connsiteY1" fmla="*/ 149 h 745511"/>
                    <a:gd name="connsiteX2" fmla="*/ 1017698 w 1493566"/>
                    <a:gd name="connsiteY2" fmla="*/ 745660 h 745511"/>
                    <a:gd name="connsiteX3" fmla="*/ 1493502 w 1493566"/>
                    <a:gd name="connsiteY3" fmla="*/ 447964 h 7455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93566" h="745511">
                      <a:moveTo>
                        <a:pt x="867578" y="149"/>
                      </a:moveTo>
                      <a:lnTo>
                        <a:pt x="-64" y="149"/>
                      </a:lnTo>
                      <a:lnTo>
                        <a:pt x="1017698" y="745660"/>
                      </a:lnTo>
                      <a:cubicBezTo>
                        <a:pt x="1165274" y="646428"/>
                        <a:pt x="1335749" y="539563"/>
                        <a:pt x="1493502" y="447964"/>
                      </a:cubicBezTo>
                      <a:close/>
                    </a:path>
                  </a:pathLst>
                </a:custGeom>
                <a:grpFill/>
                <a:ln w="2544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AR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702916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49C234-E6F0-8E17-DB86-62E3CCA10C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" name="Grupo 132">
            <a:extLst>
              <a:ext uri="{FF2B5EF4-FFF2-40B4-BE49-F238E27FC236}">
                <a16:creationId xmlns:a16="http://schemas.microsoft.com/office/drawing/2014/main" id="{A0FF0982-05A5-4C36-9101-1E4FB10E2CF9}"/>
              </a:ext>
            </a:extLst>
          </p:cNvPr>
          <p:cNvGrpSpPr/>
          <p:nvPr/>
        </p:nvGrpSpPr>
        <p:grpSpPr>
          <a:xfrm>
            <a:off x="7560279" y="4008470"/>
            <a:ext cx="1055063" cy="525295"/>
            <a:chOff x="7194962" y="3971223"/>
            <a:chExt cx="922599" cy="459342"/>
          </a:xfrm>
        </p:grpSpPr>
        <p:sp>
          <p:nvSpPr>
            <p:cNvPr id="134" name="Google Shape;705;g12666ebc771_0_73">
              <a:extLst>
                <a:ext uri="{FF2B5EF4-FFF2-40B4-BE49-F238E27FC236}">
                  <a16:creationId xmlns:a16="http://schemas.microsoft.com/office/drawing/2014/main" id="{8D5D6BF4-D24F-103A-C168-BC2DA04C8C0A}"/>
                </a:ext>
              </a:extLst>
            </p:cNvPr>
            <p:cNvSpPr/>
            <p:nvPr/>
          </p:nvSpPr>
          <p:spPr>
            <a:xfrm>
              <a:off x="7194962" y="3971223"/>
              <a:ext cx="387764" cy="118233"/>
            </a:xfrm>
            <a:prstGeom prst="roundRect">
              <a:avLst>
                <a:gd name="adj" fmla="val 50000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914355"/>
              <a:r>
                <a:rPr lang="es-AR" sz="675" kern="0" spc="-38">
                  <a:solidFill>
                    <a:srgbClr val="FFFFFF"/>
                  </a:solidFill>
                  <a:latin typeface="Pulso" pitchFamily="2" charset="0"/>
                  <a:ea typeface="Roboto" panose="02000000000000000000" pitchFamily="2" charset="0"/>
                  <a:cs typeface="Poppins"/>
                </a:rPr>
                <a:t>GRATIS</a:t>
              </a:r>
              <a:endParaRPr lang="es-ES" sz="450">
                <a:solidFill>
                  <a:srgbClr val="FFFFFF"/>
                </a:solidFill>
                <a:latin typeface="Pulso" pitchFamily="2" charset="0"/>
                <a:ea typeface="Roboto" panose="02000000000000000000" pitchFamily="2" charset="0"/>
              </a:endParaRPr>
            </a:p>
          </p:txBody>
        </p:sp>
        <p:pic>
          <p:nvPicPr>
            <p:cNvPr id="144" name="Imagen 143">
              <a:extLst>
                <a:ext uri="{FF2B5EF4-FFF2-40B4-BE49-F238E27FC236}">
                  <a16:creationId xmlns:a16="http://schemas.microsoft.com/office/drawing/2014/main" id="{0F812057-928A-BE03-4500-38D65063F2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85" t="28117" r="16085" b="28117"/>
            <a:stretch>
              <a:fillRect/>
            </a:stretch>
          </p:blipFill>
          <p:spPr>
            <a:xfrm>
              <a:off x="7194962" y="4132918"/>
              <a:ext cx="922599" cy="297647"/>
            </a:xfrm>
            <a:prstGeom prst="rect">
              <a:avLst/>
            </a:prstGeom>
          </p:spPr>
        </p:pic>
      </p:grpSp>
      <p:grpSp>
        <p:nvGrpSpPr>
          <p:cNvPr id="202" name="Grupo 201">
            <a:extLst>
              <a:ext uri="{FF2B5EF4-FFF2-40B4-BE49-F238E27FC236}">
                <a16:creationId xmlns:a16="http://schemas.microsoft.com/office/drawing/2014/main" id="{A95941C7-C137-E95C-9BFC-37FDE5B49BC2}"/>
              </a:ext>
            </a:extLst>
          </p:cNvPr>
          <p:cNvGrpSpPr/>
          <p:nvPr/>
        </p:nvGrpSpPr>
        <p:grpSpPr>
          <a:xfrm>
            <a:off x="539253" y="1491527"/>
            <a:ext cx="2829825" cy="2780876"/>
            <a:chOff x="5159960" y="1827399"/>
            <a:chExt cx="2719189" cy="2672156"/>
          </a:xfrm>
        </p:grpSpPr>
        <p:grpSp>
          <p:nvGrpSpPr>
            <p:cNvPr id="199" name="Grupo 198">
              <a:extLst>
                <a:ext uri="{FF2B5EF4-FFF2-40B4-BE49-F238E27FC236}">
                  <a16:creationId xmlns:a16="http://schemas.microsoft.com/office/drawing/2014/main" id="{19BEAB85-2A13-2A16-36CA-96A365B5F705}"/>
                </a:ext>
              </a:extLst>
            </p:cNvPr>
            <p:cNvGrpSpPr/>
            <p:nvPr/>
          </p:nvGrpSpPr>
          <p:grpSpPr>
            <a:xfrm>
              <a:off x="5159960" y="1827399"/>
              <a:ext cx="2719189" cy="2672156"/>
              <a:chOff x="5524661" y="1894568"/>
              <a:chExt cx="2719189" cy="2672156"/>
            </a:xfrm>
          </p:grpSpPr>
          <p:grpSp>
            <p:nvGrpSpPr>
              <p:cNvPr id="166" name="Grupo 165">
                <a:extLst>
                  <a:ext uri="{FF2B5EF4-FFF2-40B4-BE49-F238E27FC236}">
                    <a16:creationId xmlns:a16="http://schemas.microsoft.com/office/drawing/2014/main" id="{C8B4C530-EE01-7E22-54C2-AE25FE98EB11}"/>
                  </a:ext>
                </a:extLst>
              </p:cNvPr>
              <p:cNvGrpSpPr/>
              <p:nvPr/>
            </p:nvGrpSpPr>
            <p:grpSpPr>
              <a:xfrm>
                <a:off x="5524674" y="1894568"/>
                <a:ext cx="2719176" cy="2672156"/>
                <a:chOff x="5586691" y="1197941"/>
                <a:chExt cx="3671175" cy="3607691"/>
              </a:xfrm>
            </p:grpSpPr>
            <p:sp>
              <p:nvSpPr>
                <p:cNvPr id="167" name="Elipse 166">
                  <a:extLst>
                    <a:ext uri="{FF2B5EF4-FFF2-40B4-BE49-F238E27FC236}">
                      <a16:creationId xmlns:a16="http://schemas.microsoft.com/office/drawing/2014/main" id="{63577A74-9860-0F9F-22A9-B35E4764A9C0}"/>
                    </a:ext>
                  </a:extLst>
                </p:cNvPr>
                <p:cNvSpPr/>
                <p:nvPr/>
              </p:nvSpPr>
              <p:spPr>
                <a:xfrm>
                  <a:off x="6241391" y="1875558"/>
                  <a:ext cx="2372384" cy="2376374"/>
                </a:xfrm>
                <a:prstGeom prst="ellipse">
                  <a:avLst/>
                </a:prstGeom>
                <a:solidFill>
                  <a:srgbClr val="FFFFFF"/>
                </a:solidFill>
                <a:ln w="38100" cap="rnd" cmpd="sng">
                  <a:noFill/>
                  <a:prstDash val="sysDash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t">
                  <a:noAutofit/>
                </a:bodyPr>
                <a:lstStyle/>
                <a:p>
                  <a:pPr algn="ctr">
                    <a:spcBef>
                      <a:spcPts val="1000"/>
                    </a:spcBef>
                  </a:pPr>
                  <a:endParaRPr lang="es-ES_tradnl" sz="1600" b="1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68" name="Grupo 167">
                  <a:extLst>
                    <a:ext uri="{FF2B5EF4-FFF2-40B4-BE49-F238E27FC236}">
                      <a16:creationId xmlns:a16="http://schemas.microsoft.com/office/drawing/2014/main" id="{431C35C8-6B8A-E571-8276-7DB8D833C1D2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7381201" y="3617303"/>
                  <a:ext cx="1188000" cy="1188000"/>
                  <a:chOff x="4698284" y="2256218"/>
                  <a:chExt cx="1067405" cy="1067405"/>
                </a:xfrm>
              </p:grpSpPr>
              <p:sp>
                <p:nvSpPr>
                  <p:cNvPr id="187" name="Elipse 186">
                    <a:extLst>
                      <a:ext uri="{FF2B5EF4-FFF2-40B4-BE49-F238E27FC236}">
                        <a16:creationId xmlns:a16="http://schemas.microsoft.com/office/drawing/2014/main" id="{96E7B9BA-8BAB-CEF1-F780-A75289385312}"/>
                      </a:ext>
                    </a:extLst>
                  </p:cNvPr>
                  <p:cNvSpPr/>
                  <p:nvPr/>
                </p:nvSpPr>
                <p:spPr>
                  <a:xfrm>
                    <a:off x="4698284" y="2256218"/>
                    <a:ext cx="1067405" cy="1067405"/>
                  </a:xfrm>
                  <a:prstGeom prst="ellipse">
                    <a:avLst/>
                  </a:prstGeom>
                  <a:solidFill>
                    <a:srgbClr val="FFE700"/>
                  </a:solidFill>
                  <a:ln w="38100" cap="rnd" cmpd="sng">
                    <a:noFill/>
                    <a:prstDash val="sysDash"/>
                    <a:miter lim="800000"/>
                  </a:ln>
                  <a:effectLst>
                    <a:outerShdw blurRad="38100" dist="12700" dir="5400000" algn="t" rotWithShape="0">
                      <a:prstClr val="black">
                        <a:alpha val="15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0" tIns="0" rIns="0" bIns="0" rtlCol="0" anchor="t">
                    <a:noAutofit/>
                  </a:bodyPr>
                  <a:lstStyle/>
                  <a:p>
                    <a:pPr algn="ctr">
                      <a:spcBef>
                        <a:spcPts val="1000"/>
                      </a:spcBef>
                    </a:pPr>
                    <a:endParaRPr lang="es-ES_tradnl" sz="1600" b="1">
                      <a:solidFill>
                        <a:schemeClr val="tx1"/>
                      </a:solidFill>
                    </a:endParaRPr>
                  </a:p>
                </p:txBody>
              </p:sp>
              <p:pic>
                <p:nvPicPr>
                  <p:cNvPr id="188" name="Imagen 187">
                    <a:extLst>
                      <a:ext uri="{FF2B5EF4-FFF2-40B4-BE49-F238E27FC236}">
                        <a16:creationId xmlns:a16="http://schemas.microsoft.com/office/drawing/2014/main" id="{E559FF50-B525-8C0E-063E-BA1258CF07C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16085" t="28117" r="16085" b="28117"/>
                  <a:stretch>
                    <a:fillRect/>
                  </a:stretch>
                </p:blipFill>
                <p:spPr>
                  <a:xfrm>
                    <a:off x="4773335" y="2634412"/>
                    <a:ext cx="940908" cy="303554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9" name="Grupo 168">
                  <a:extLst>
                    <a:ext uri="{FF2B5EF4-FFF2-40B4-BE49-F238E27FC236}">
                      <a16:creationId xmlns:a16="http://schemas.microsoft.com/office/drawing/2014/main" id="{5457AC51-B792-8408-7131-688DC287F9D8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6273347" y="3617632"/>
                  <a:ext cx="1188000" cy="1188000"/>
                  <a:chOff x="7778034" y="3535743"/>
                  <a:chExt cx="1067405" cy="1067405"/>
                </a:xfrm>
              </p:grpSpPr>
              <p:sp>
                <p:nvSpPr>
                  <p:cNvPr id="185" name="Elipse 184">
                    <a:extLst>
                      <a:ext uri="{FF2B5EF4-FFF2-40B4-BE49-F238E27FC236}">
                        <a16:creationId xmlns:a16="http://schemas.microsoft.com/office/drawing/2014/main" id="{E66187A2-E0FE-1169-6E4C-F0372E11A0AD}"/>
                      </a:ext>
                    </a:extLst>
                  </p:cNvPr>
                  <p:cNvSpPr/>
                  <p:nvPr/>
                </p:nvSpPr>
                <p:spPr>
                  <a:xfrm>
                    <a:off x="7778034" y="3535743"/>
                    <a:ext cx="1067405" cy="1067405"/>
                  </a:xfrm>
                  <a:prstGeom prst="ellipse">
                    <a:avLst/>
                  </a:prstGeom>
                  <a:solidFill>
                    <a:srgbClr val="FFE700"/>
                  </a:solidFill>
                  <a:ln w="38100" cap="rnd" cmpd="sng">
                    <a:noFill/>
                    <a:prstDash val="sysDash"/>
                    <a:miter lim="800000"/>
                  </a:ln>
                  <a:effectLst>
                    <a:outerShdw blurRad="38100" dist="12700" dir="5400000" algn="t" rotWithShape="0">
                      <a:prstClr val="black">
                        <a:alpha val="15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0" tIns="0" rIns="0" bIns="0" rtlCol="0" anchor="t">
                    <a:noAutofit/>
                  </a:bodyPr>
                  <a:lstStyle/>
                  <a:p>
                    <a:pPr algn="ctr">
                      <a:spcBef>
                        <a:spcPts val="1000"/>
                      </a:spcBef>
                    </a:pPr>
                    <a:endParaRPr lang="es-ES_tradnl" sz="1600" b="1">
                      <a:solidFill>
                        <a:schemeClr val="tx1"/>
                      </a:solidFill>
                    </a:endParaRPr>
                  </a:p>
                </p:txBody>
              </p:sp>
              <p:pic>
                <p:nvPicPr>
                  <p:cNvPr id="186" name="Imagen 185">
                    <a:extLst>
                      <a:ext uri="{FF2B5EF4-FFF2-40B4-BE49-F238E27FC236}">
                        <a16:creationId xmlns:a16="http://schemas.microsoft.com/office/drawing/2014/main" id="{558CD058-530E-458A-2AA8-C5AB457A551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884224" y="3948508"/>
                    <a:ext cx="857637" cy="23628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70" name="Grupo 169">
                  <a:extLst>
                    <a:ext uri="{FF2B5EF4-FFF2-40B4-BE49-F238E27FC236}">
                      <a16:creationId xmlns:a16="http://schemas.microsoft.com/office/drawing/2014/main" id="{9BB5B5CE-3F6B-1D8A-9574-6E9AC081069B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5586691" y="2751952"/>
                  <a:ext cx="1188000" cy="1188000"/>
                  <a:chOff x="5657134" y="2256218"/>
                  <a:chExt cx="1067405" cy="1067405"/>
                </a:xfrm>
              </p:grpSpPr>
              <p:sp>
                <p:nvSpPr>
                  <p:cNvPr id="183" name="Elipse 182">
                    <a:extLst>
                      <a:ext uri="{FF2B5EF4-FFF2-40B4-BE49-F238E27FC236}">
                        <a16:creationId xmlns:a16="http://schemas.microsoft.com/office/drawing/2014/main" id="{9CB73558-A1F5-29BB-FB65-323ED3ECCCED}"/>
                      </a:ext>
                    </a:extLst>
                  </p:cNvPr>
                  <p:cNvSpPr/>
                  <p:nvPr/>
                </p:nvSpPr>
                <p:spPr>
                  <a:xfrm>
                    <a:off x="5657134" y="2256218"/>
                    <a:ext cx="1067405" cy="1067405"/>
                  </a:xfrm>
                  <a:prstGeom prst="ellipse">
                    <a:avLst/>
                  </a:prstGeom>
                  <a:solidFill>
                    <a:srgbClr val="FFE700"/>
                  </a:solidFill>
                  <a:ln w="38100" cap="rnd" cmpd="sng">
                    <a:noFill/>
                    <a:prstDash val="sysDash"/>
                    <a:miter lim="800000"/>
                  </a:ln>
                  <a:effectLst>
                    <a:outerShdw blurRad="38100" dist="12700" dir="5400000" algn="t" rotWithShape="0">
                      <a:prstClr val="black">
                        <a:alpha val="15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0" tIns="0" rIns="0" bIns="0" rtlCol="0" anchor="t">
                    <a:noAutofit/>
                  </a:bodyPr>
                  <a:lstStyle/>
                  <a:p>
                    <a:pPr algn="ctr">
                      <a:spcBef>
                        <a:spcPts val="1000"/>
                      </a:spcBef>
                    </a:pPr>
                    <a:endParaRPr lang="es-ES_tradnl" sz="1600" b="1">
                      <a:solidFill>
                        <a:schemeClr val="tx1"/>
                      </a:solidFill>
                    </a:endParaRPr>
                  </a:p>
                </p:txBody>
              </p:sp>
              <p:pic>
                <p:nvPicPr>
                  <p:cNvPr id="184" name="Imagen 183">
                    <a:extLst>
                      <a:ext uri="{FF2B5EF4-FFF2-40B4-BE49-F238E27FC236}">
                        <a16:creationId xmlns:a16="http://schemas.microsoft.com/office/drawing/2014/main" id="{CD35C3D2-B58E-D7CF-DD9E-79F3863349A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740883" y="2636660"/>
                    <a:ext cx="902705" cy="300902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71" name="Grupo 170">
                  <a:extLst>
                    <a:ext uri="{FF2B5EF4-FFF2-40B4-BE49-F238E27FC236}">
                      <a16:creationId xmlns:a16="http://schemas.microsoft.com/office/drawing/2014/main" id="{D0FD049A-2B4C-B0E9-0E0A-1B82DFA78C9E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8069866" y="2751952"/>
                  <a:ext cx="1188000" cy="1188000"/>
                  <a:chOff x="6257209" y="3535743"/>
                  <a:chExt cx="1067405" cy="1067405"/>
                </a:xfrm>
              </p:grpSpPr>
              <p:sp>
                <p:nvSpPr>
                  <p:cNvPr id="181" name="Elipse 180">
                    <a:extLst>
                      <a:ext uri="{FF2B5EF4-FFF2-40B4-BE49-F238E27FC236}">
                        <a16:creationId xmlns:a16="http://schemas.microsoft.com/office/drawing/2014/main" id="{F8EF17DA-AE1B-4B67-ED56-3C7D5946D6C2}"/>
                      </a:ext>
                    </a:extLst>
                  </p:cNvPr>
                  <p:cNvSpPr/>
                  <p:nvPr/>
                </p:nvSpPr>
                <p:spPr>
                  <a:xfrm>
                    <a:off x="6257209" y="3535743"/>
                    <a:ext cx="1067405" cy="1067405"/>
                  </a:xfrm>
                  <a:prstGeom prst="ellipse">
                    <a:avLst/>
                  </a:prstGeom>
                  <a:solidFill>
                    <a:srgbClr val="FFE700"/>
                  </a:solidFill>
                  <a:ln w="38100" cap="rnd" cmpd="sng">
                    <a:noFill/>
                    <a:prstDash val="sysDash"/>
                    <a:miter lim="800000"/>
                  </a:ln>
                  <a:effectLst>
                    <a:outerShdw blurRad="38100" dist="12700" dir="5400000" algn="t" rotWithShape="0">
                      <a:prstClr val="black">
                        <a:alpha val="15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0" tIns="0" rIns="0" bIns="0" rtlCol="0" anchor="t">
                    <a:noAutofit/>
                  </a:bodyPr>
                  <a:lstStyle/>
                  <a:p>
                    <a:pPr algn="ctr">
                      <a:spcBef>
                        <a:spcPts val="1000"/>
                      </a:spcBef>
                    </a:pPr>
                    <a:endParaRPr lang="es-ES_tradnl" sz="1600" b="1">
                      <a:solidFill>
                        <a:schemeClr val="tx1"/>
                      </a:solidFill>
                    </a:endParaRPr>
                  </a:p>
                </p:txBody>
              </p:sp>
              <p:pic>
                <p:nvPicPr>
                  <p:cNvPr id="182" name="Imagen 181">
                    <a:extLst>
                      <a:ext uri="{FF2B5EF4-FFF2-40B4-BE49-F238E27FC236}">
                        <a16:creationId xmlns:a16="http://schemas.microsoft.com/office/drawing/2014/main" id="{784A350F-F641-3CFE-0517-ACF747219F5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355651" y="3949215"/>
                    <a:ext cx="870521" cy="234874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72" name="Grupo 171">
                  <a:extLst>
                    <a:ext uri="{FF2B5EF4-FFF2-40B4-BE49-F238E27FC236}">
                      <a16:creationId xmlns:a16="http://schemas.microsoft.com/office/drawing/2014/main" id="{11CCB8BA-E4C9-6B27-BB2F-F61AB290CB1A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5832522" y="1675318"/>
                  <a:ext cx="1188000" cy="1188000"/>
                  <a:chOff x="5330109" y="3313493"/>
                  <a:chExt cx="1067405" cy="1067405"/>
                </a:xfrm>
              </p:grpSpPr>
              <p:sp>
                <p:nvSpPr>
                  <p:cNvPr id="179" name="Elipse 178">
                    <a:extLst>
                      <a:ext uri="{FF2B5EF4-FFF2-40B4-BE49-F238E27FC236}">
                        <a16:creationId xmlns:a16="http://schemas.microsoft.com/office/drawing/2014/main" id="{1B9421A7-F5E7-47AB-305A-D0C0DF94B8D3}"/>
                      </a:ext>
                    </a:extLst>
                  </p:cNvPr>
                  <p:cNvSpPr/>
                  <p:nvPr/>
                </p:nvSpPr>
                <p:spPr>
                  <a:xfrm>
                    <a:off x="5330109" y="3313493"/>
                    <a:ext cx="1067405" cy="1067405"/>
                  </a:xfrm>
                  <a:prstGeom prst="ellipse">
                    <a:avLst/>
                  </a:prstGeom>
                  <a:solidFill>
                    <a:srgbClr val="FFE700"/>
                  </a:solidFill>
                  <a:ln w="38100" cap="rnd" cmpd="sng">
                    <a:noFill/>
                    <a:prstDash val="sysDash"/>
                    <a:miter lim="800000"/>
                  </a:ln>
                  <a:effectLst>
                    <a:outerShdw blurRad="38100" dist="12700" dir="5400000" algn="t" rotWithShape="0">
                      <a:prstClr val="black">
                        <a:alpha val="15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0" tIns="0" rIns="0" bIns="0" rtlCol="0" anchor="t">
                    <a:noAutofit/>
                  </a:bodyPr>
                  <a:lstStyle/>
                  <a:p>
                    <a:pPr algn="ctr">
                      <a:spcBef>
                        <a:spcPts val="1000"/>
                      </a:spcBef>
                    </a:pPr>
                    <a:endParaRPr lang="es-ES_tradnl" sz="1600" b="1">
                      <a:solidFill>
                        <a:schemeClr val="tx1"/>
                      </a:solidFill>
                    </a:endParaRPr>
                  </a:p>
                </p:txBody>
              </p:sp>
              <p:pic>
                <p:nvPicPr>
                  <p:cNvPr id="180" name="Imagen 179">
                    <a:extLst>
                      <a:ext uri="{FF2B5EF4-FFF2-40B4-BE49-F238E27FC236}">
                        <a16:creationId xmlns:a16="http://schemas.microsoft.com/office/drawing/2014/main" id="{1A7BE3C1-150E-E38E-D9F4-242D3C88E38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38102" y="3739573"/>
                    <a:ext cx="856537" cy="223554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73" name="Grupo 172">
                  <a:extLst>
                    <a:ext uri="{FF2B5EF4-FFF2-40B4-BE49-F238E27FC236}">
                      <a16:creationId xmlns:a16="http://schemas.microsoft.com/office/drawing/2014/main" id="{9215B947-08EB-FB22-6E5B-8E28F3E809D1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7825151" y="1675022"/>
                  <a:ext cx="1188000" cy="1185933"/>
                  <a:chOff x="6365159" y="1805368"/>
                  <a:chExt cx="1067405" cy="1065548"/>
                </a:xfrm>
              </p:grpSpPr>
              <p:sp>
                <p:nvSpPr>
                  <p:cNvPr id="177" name="Elipse 176">
                    <a:extLst>
                      <a:ext uri="{FF2B5EF4-FFF2-40B4-BE49-F238E27FC236}">
                        <a16:creationId xmlns:a16="http://schemas.microsoft.com/office/drawing/2014/main" id="{5E596368-068C-290F-79F5-DEFF66F75ED7}"/>
                      </a:ext>
                    </a:extLst>
                  </p:cNvPr>
                  <p:cNvSpPr/>
                  <p:nvPr/>
                </p:nvSpPr>
                <p:spPr>
                  <a:xfrm>
                    <a:off x="6365159" y="1805368"/>
                    <a:ext cx="1067405" cy="1065548"/>
                  </a:xfrm>
                  <a:prstGeom prst="ellipse">
                    <a:avLst/>
                  </a:prstGeom>
                  <a:solidFill>
                    <a:srgbClr val="FFE700"/>
                  </a:solidFill>
                  <a:ln w="38100" cap="rnd" cmpd="sng">
                    <a:noFill/>
                    <a:prstDash val="sysDash"/>
                    <a:miter lim="800000"/>
                  </a:ln>
                  <a:effectLst>
                    <a:outerShdw blurRad="38100" dist="12700" dir="5400000" algn="t" rotWithShape="0">
                      <a:prstClr val="black">
                        <a:alpha val="15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0" tIns="0" rIns="0" bIns="0" rtlCol="0" anchor="t">
                    <a:noAutofit/>
                  </a:bodyPr>
                  <a:lstStyle/>
                  <a:p>
                    <a:pPr algn="ctr">
                      <a:spcBef>
                        <a:spcPts val="1000"/>
                      </a:spcBef>
                    </a:pPr>
                    <a:endParaRPr lang="es-ES_tradnl" sz="1600" b="1">
                      <a:solidFill>
                        <a:schemeClr val="tx1"/>
                      </a:solidFill>
                    </a:endParaRPr>
                  </a:p>
                </p:txBody>
              </p:sp>
              <p:pic>
                <p:nvPicPr>
                  <p:cNvPr id="178" name="Imagen 177">
                    <a:extLst>
                      <a:ext uri="{FF2B5EF4-FFF2-40B4-BE49-F238E27FC236}">
                        <a16:creationId xmlns:a16="http://schemas.microsoft.com/office/drawing/2014/main" id="{804C2BE6-584B-B322-27FA-BECAAB4357F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473063" y="2227724"/>
                    <a:ext cx="856718" cy="217108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74" name="Grupo 173">
                  <a:extLst>
                    <a:ext uri="{FF2B5EF4-FFF2-40B4-BE49-F238E27FC236}">
                      <a16:creationId xmlns:a16="http://schemas.microsoft.com/office/drawing/2014/main" id="{FE829B8E-55DC-083D-2D8E-5C74BBAB8B25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6826431" y="1197941"/>
                  <a:ext cx="1184400" cy="1186391"/>
                  <a:chOff x="7587534" y="894143"/>
                  <a:chExt cx="1067405" cy="1067405"/>
                </a:xfrm>
              </p:grpSpPr>
              <p:sp>
                <p:nvSpPr>
                  <p:cNvPr id="175" name="Elipse 174">
                    <a:extLst>
                      <a:ext uri="{FF2B5EF4-FFF2-40B4-BE49-F238E27FC236}">
                        <a16:creationId xmlns:a16="http://schemas.microsoft.com/office/drawing/2014/main" id="{D885B2BA-79C4-D60D-4757-87064CEBEF40}"/>
                      </a:ext>
                    </a:extLst>
                  </p:cNvPr>
                  <p:cNvSpPr/>
                  <p:nvPr/>
                </p:nvSpPr>
                <p:spPr>
                  <a:xfrm>
                    <a:off x="7587534" y="894143"/>
                    <a:ext cx="1067405" cy="1067405"/>
                  </a:xfrm>
                  <a:prstGeom prst="ellipse">
                    <a:avLst/>
                  </a:prstGeom>
                  <a:solidFill>
                    <a:srgbClr val="FFE700"/>
                  </a:solidFill>
                  <a:ln w="38100" cap="rnd" cmpd="sng">
                    <a:noFill/>
                    <a:prstDash val="sysDash"/>
                    <a:miter lim="800000"/>
                  </a:ln>
                  <a:effectLst>
                    <a:outerShdw blurRad="38100" dist="12700" dir="5400000" algn="t" rotWithShape="0">
                      <a:prstClr val="black">
                        <a:alpha val="15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0" tIns="0" rIns="0" bIns="0" rtlCol="0" anchor="t">
                    <a:noAutofit/>
                  </a:bodyPr>
                  <a:lstStyle/>
                  <a:p>
                    <a:pPr algn="ctr">
                      <a:spcBef>
                        <a:spcPts val="1000"/>
                      </a:spcBef>
                    </a:pPr>
                    <a:endParaRPr lang="es-ES_tradnl" sz="1600" b="1">
                      <a:solidFill>
                        <a:schemeClr val="tx1"/>
                      </a:solidFill>
                    </a:endParaRPr>
                  </a:p>
                </p:txBody>
              </p:sp>
              <p:pic>
                <p:nvPicPr>
                  <p:cNvPr id="176" name="Imagen 175">
                    <a:extLst>
                      <a:ext uri="{FF2B5EF4-FFF2-40B4-BE49-F238E27FC236}">
                        <a16:creationId xmlns:a16="http://schemas.microsoft.com/office/drawing/2014/main" id="{19E9F617-87E8-F8F5-EC80-39654C07C8E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8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694748" y="1314552"/>
                    <a:ext cx="899903" cy="221021"/>
                  </a:xfrm>
                  <a:prstGeom prst="rect">
                    <a:avLst/>
                  </a:prstGeom>
                </p:spPr>
              </p:pic>
            </p:grpSp>
          </p:grpSp>
          <p:sp>
            <p:nvSpPr>
              <p:cNvPr id="191" name="CuadroTexto 190">
                <a:extLst>
                  <a:ext uri="{FF2B5EF4-FFF2-40B4-BE49-F238E27FC236}">
                    <a16:creationId xmlns:a16="http://schemas.microsoft.com/office/drawing/2014/main" id="{532C8DAE-02FF-0E11-3356-F84725138CAD}"/>
                  </a:ext>
                </a:extLst>
              </p:cNvPr>
              <p:cNvSpPr txBox="1"/>
              <p:nvPr/>
            </p:nvSpPr>
            <p:spPr>
              <a:xfrm>
                <a:off x="6441569" y="2425700"/>
                <a:ext cx="879982" cy="344849"/>
              </a:xfrm>
              <a:prstGeom prst="rect">
                <a:avLst/>
              </a:prstGeom>
              <a:noFill/>
            </p:spPr>
            <p:txBody>
              <a:bodyPr wrap="square" lIns="0" tIns="0" rIns="0" bIns="72000" rtlCol="0" anchor="ctr" anchorCtr="0">
                <a:noAutofit/>
              </a:bodyPr>
              <a:lstStyle/>
              <a:p>
                <a:pPr algn="ctr"/>
                <a:r>
                  <a:rPr lang="es-ES_tradnl" sz="600">
                    <a:solidFill>
                      <a:srgbClr val="2A3276"/>
                    </a:solidFill>
                    <a:latin typeface="Pulso" pitchFamily="2" charset="0"/>
                  </a:rPr>
                  <a:t>MARKETPLACE</a:t>
                </a:r>
              </a:p>
            </p:txBody>
          </p:sp>
          <p:sp>
            <p:nvSpPr>
              <p:cNvPr id="193" name="CuadroTexto 192">
                <a:extLst>
                  <a:ext uri="{FF2B5EF4-FFF2-40B4-BE49-F238E27FC236}">
                    <a16:creationId xmlns:a16="http://schemas.microsoft.com/office/drawing/2014/main" id="{A51AF6D4-0EE1-3E6F-1018-B1FDFD93A405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7191936" y="2778125"/>
                <a:ext cx="877689" cy="344849"/>
              </a:xfrm>
              <a:prstGeom prst="rect">
                <a:avLst/>
              </a:prstGeom>
              <a:noFill/>
            </p:spPr>
            <p:txBody>
              <a:bodyPr wrap="square" lIns="0" tIns="0" rIns="0" bIns="72000" rtlCol="0" anchor="ctr" anchorCtr="0">
                <a:noAutofit/>
              </a:bodyPr>
              <a:lstStyle/>
              <a:p>
                <a:pPr algn="ctr"/>
                <a:r>
                  <a:rPr lang="es-ES_tradnl" sz="600">
                    <a:solidFill>
                      <a:srgbClr val="2A3276"/>
                    </a:solidFill>
                    <a:latin typeface="Pulso" pitchFamily="2" charset="0"/>
                  </a:rPr>
                  <a:t>LOGISTICS</a:t>
                </a:r>
                <a:br>
                  <a:rPr lang="es-ES_tradnl" sz="600">
                    <a:solidFill>
                      <a:srgbClr val="2A3276"/>
                    </a:solidFill>
                    <a:latin typeface="Pulso" pitchFamily="2" charset="0"/>
                  </a:rPr>
                </a:br>
                <a:r>
                  <a:rPr lang="es-ES_tradnl" sz="600">
                    <a:solidFill>
                      <a:srgbClr val="2A3276"/>
                    </a:solidFill>
                    <a:latin typeface="Pulso" pitchFamily="2" charset="0"/>
                  </a:rPr>
                  <a:t>SOLUTIONS</a:t>
                </a:r>
              </a:p>
            </p:txBody>
          </p:sp>
          <p:sp>
            <p:nvSpPr>
              <p:cNvPr id="194" name="CuadroTexto 193">
                <a:extLst>
                  <a:ext uri="{FF2B5EF4-FFF2-40B4-BE49-F238E27FC236}">
                    <a16:creationId xmlns:a16="http://schemas.microsoft.com/office/drawing/2014/main" id="{2F29290B-634C-51E7-4F41-9AC7A57E432F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7366161" y="3579032"/>
                <a:ext cx="877689" cy="344849"/>
              </a:xfrm>
              <a:prstGeom prst="rect">
                <a:avLst/>
              </a:prstGeom>
              <a:noFill/>
            </p:spPr>
            <p:txBody>
              <a:bodyPr wrap="square" lIns="0" tIns="0" rIns="0" bIns="72000" rtlCol="0" anchor="ctr" anchorCtr="0">
                <a:noAutofit/>
              </a:bodyPr>
              <a:lstStyle/>
              <a:p>
                <a:pPr algn="ctr"/>
                <a:r>
                  <a:rPr lang="es-ES_tradnl" sz="600">
                    <a:solidFill>
                      <a:srgbClr val="2A3276"/>
                    </a:solidFill>
                    <a:latin typeface="Pulso" pitchFamily="2" charset="0"/>
                  </a:rPr>
                  <a:t>SAAS STORES</a:t>
                </a:r>
                <a:br>
                  <a:rPr lang="es-ES_tradnl" sz="600">
                    <a:solidFill>
                      <a:srgbClr val="2A3276"/>
                    </a:solidFill>
                    <a:latin typeface="Pulso" pitchFamily="2" charset="0"/>
                  </a:rPr>
                </a:br>
                <a:r>
                  <a:rPr lang="es-ES_tradnl" sz="600">
                    <a:solidFill>
                      <a:srgbClr val="2A3276"/>
                    </a:solidFill>
                    <a:latin typeface="Pulso" pitchFamily="2" charset="0"/>
                  </a:rPr>
                  <a:t>&amp; ERP</a:t>
                </a:r>
              </a:p>
            </p:txBody>
          </p:sp>
          <p:sp>
            <p:nvSpPr>
              <p:cNvPr id="195" name="CuadroTexto 194">
                <a:extLst>
                  <a:ext uri="{FF2B5EF4-FFF2-40B4-BE49-F238E27FC236}">
                    <a16:creationId xmlns:a16="http://schemas.microsoft.com/office/drawing/2014/main" id="{382D73C5-D74D-12D9-E177-2B952A5CFAB5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5524661" y="3579032"/>
                <a:ext cx="877689" cy="344849"/>
              </a:xfrm>
              <a:prstGeom prst="rect">
                <a:avLst/>
              </a:prstGeom>
              <a:noFill/>
            </p:spPr>
            <p:txBody>
              <a:bodyPr wrap="square" lIns="0" tIns="0" rIns="0" bIns="72000" rtlCol="0" anchor="ctr" anchorCtr="0">
                <a:noAutofit/>
              </a:bodyPr>
              <a:lstStyle/>
              <a:p>
                <a:pPr algn="ctr"/>
                <a:r>
                  <a:rPr lang="es-ES_tradnl" sz="600">
                    <a:solidFill>
                      <a:srgbClr val="2A3276"/>
                    </a:solidFill>
                    <a:latin typeface="Pulso" pitchFamily="2" charset="0"/>
                  </a:rPr>
                  <a:t>CREDIT</a:t>
                </a:r>
              </a:p>
            </p:txBody>
          </p:sp>
          <p:sp>
            <p:nvSpPr>
              <p:cNvPr id="196" name="CuadroTexto 195">
                <a:extLst>
                  <a:ext uri="{FF2B5EF4-FFF2-40B4-BE49-F238E27FC236}">
                    <a16:creationId xmlns:a16="http://schemas.microsoft.com/office/drawing/2014/main" id="{77D7A4A3-B4F5-EE45-0953-9CAB40B4ED67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5700527" y="2778125"/>
                <a:ext cx="877689" cy="344849"/>
              </a:xfrm>
              <a:prstGeom prst="rect">
                <a:avLst/>
              </a:prstGeom>
              <a:noFill/>
            </p:spPr>
            <p:txBody>
              <a:bodyPr wrap="square" lIns="0" tIns="0" rIns="0" bIns="72000" rtlCol="0" anchor="ctr" anchorCtr="0">
                <a:noAutofit/>
              </a:bodyPr>
              <a:lstStyle/>
              <a:p>
                <a:pPr algn="ctr"/>
                <a:r>
                  <a:rPr lang="es-ES_tradnl" sz="600">
                    <a:solidFill>
                      <a:srgbClr val="2A3276"/>
                    </a:solidFill>
                    <a:latin typeface="Pulso" pitchFamily="2" charset="0"/>
                  </a:rPr>
                  <a:t>FINTECH</a:t>
                </a:r>
                <a:br>
                  <a:rPr lang="es-ES_tradnl" sz="600">
                    <a:solidFill>
                      <a:srgbClr val="2A3276"/>
                    </a:solidFill>
                    <a:latin typeface="Pulso" pitchFamily="2" charset="0"/>
                  </a:rPr>
                </a:br>
                <a:r>
                  <a:rPr lang="es-ES_tradnl" sz="600">
                    <a:solidFill>
                      <a:srgbClr val="2A3276"/>
                    </a:solidFill>
                    <a:latin typeface="Pulso" pitchFamily="2" charset="0"/>
                  </a:rPr>
                  <a:t>SERVICES</a:t>
                </a:r>
              </a:p>
            </p:txBody>
          </p:sp>
          <p:sp>
            <p:nvSpPr>
              <p:cNvPr id="197" name="CuadroTexto 196">
                <a:extLst>
                  <a:ext uri="{FF2B5EF4-FFF2-40B4-BE49-F238E27FC236}">
                    <a16:creationId xmlns:a16="http://schemas.microsoft.com/office/drawing/2014/main" id="{3D34E080-59C7-F4D4-3510-6FF9DD5D883A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6034388" y="4221875"/>
                <a:ext cx="877689" cy="344849"/>
              </a:xfrm>
              <a:prstGeom prst="rect">
                <a:avLst/>
              </a:prstGeom>
              <a:noFill/>
            </p:spPr>
            <p:txBody>
              <a:bodyPr wrap="square" lIns="0" tIns="0" rIns="0" bIns="72000" rtlCol="0" anchor="ctr" anchorCtr="0">
                <a:noAutofit/>
              </a:bodyPr>
              <a:lstStyle/>
              <a:p>
                <a:pPr algn="ctr"/>
                <a:r>
                  <a:rPr lang="es-ES_tradnl" sz="600">
                    <a:solidFill>
                      <a:srgbClr val="2A3276"/>
                    </a:solidFill>
                    <a:latin typeface="Pulso" pitchFamily="2" charset="0"/>
                  </a:rPr>
                  <a:t>ADVERTISEMENT</a:t>
                </a:r>
              </a:p>
            </p:txBody>
          </p:sp>
          <p:sp>
            <p:nvSpPr>
              <p:cNvPr id="198" name="CuadroTexto 197">
                <a:extLst>
                  <a:ext uri="{FF2B5EF4-FFF2-40B4-BE49-F238E27FC236}">
                    <a16:creationId xmlns:a16="http://schemas.microsoft.com/office/drawing/2014/main" id="{CF08A9F9-B79E-7BF6-B963-4612254AD87D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6859888" y="4221875"/>
                <a:ext cx="877689" cy="344849"/>
              </a:xfrm>
              <a:prstGeom prst="rect">
                <a:avLst/>
              </a:prstGeom>
              <a:noFill/>
            </p:spPr>
            <p:txBody>
              <a:bodyPr wrap="square" lIns="0" tIns="0" rIns="0" bIns="72000" rtlCol="0" anchor="ctr" anchorCtr="0">
                <a:noAutofit/>
              </a:bodyPr>
              <a:lstStyle/>
              <a:p>
                <a:pPr algn="ctr"/>
                <a:r>
                  <a:rPr lang="es-ES_tradnl" sz="600">
                    <a:solidFill>
                      <a:srgbClr val="2A3276"/>
                    </a:solidFill>
                    <a:latin typeface="Pulso" pitchFamily="2" charset="0"/>
                  </a:rPr>
                  <a:t>ENTERTAINMENT</a:t>
                </a:r>
              </a:p>
            </p:txBody>
          </p:sp>
        </p:grpSp>
        <p:pic>
          <p:nvPicPr>
            <p:cNvPr id="201" name="Imagen 200">
              <a:extLst>
                <a:ext uri="{FF2B5EF4-FFF2-40B4-BE49-F238E27FC236}">
                  <a16:creationId xmlns:a16="http://schemas.microsoft.com/office/drawing/2014/main" id="{196FE4A2-1113-C9A7-0DF0-F7FF8988534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9037" y="2973992"/>
              <a:ext cx="674569" cy="475221"/>
            </a:xfrm>
            <a:prstGeom prst="rect">
              <a:avLst/>
            </a:prstGeom>
          </p:spPr>
        </p:pic>
      </p:grpSp>
      <p:sp>
        <p:nvSpPr>
          <p:cNvPr id="13" name="Title 1">
            <a:extLst>
              <a:ext uri="{FF2B5EF4-FFF2-40B4-BE49-F238E27FC236}">
                <a16:creationId xmlns:a16="http://schemas.microsoft.com/office/drawing/2014/main" id="{BC62702D-C478-B4AC-0438-898C5B46C67B}"/>
              </a:ext>
            </a:extLst>
          </p:cNvPr>
          <p:cNvSpPr txBox="1">
            <a:spLocks/>
          </p:cNvSpPr>
          <p:nvPr/>
        </p:nvSpPr>
        <p:spPr>
          <a:xfrm>
            <a:off x="819353" y="568809"/>
            <a:ext cx="7505294" cy="677108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2200" b="0" noProof="0">
                <a:solidFill>
                  <a:srgbClr val="002F6D"/>
                </a:solidFill>
                <a:latin typeface="Pulso Light" pitchFamily="2" charset="0"/>
              </a:rPr>
              <a:t>Atentos al riesgo de otros jugadores de diferentes industrias que</a:t>
            </a:r>
            <a:br>
              <a:rPr lang="es-ES_tradnl" sz="2200" b="0" noProof="0">
                <a:solidFill>
                  <a:srgbClr val="002F6D"/>
                </a:solidFill>
                <a:latin typeface="Pulso Light" pitchFamily="2" charset="0"/>
              </a:rPr>
            </a:br>
            <a:r>
              <a:rPr lang="es-ES_tradnl" sz="2200" noProof="0">
                <a:solidFill>
                  <a:srgbClr val="002F6D"/>
                </a:solidFill>
              </a:rPr>
              <a:t>desafían a los </a:t>
            </a:r>
            <a:r>
              <a:rPr lang="es-ES_tradnl" sz="2200" noProof="0" err="1">
                <a:solidFill>
                  <a:srgbClr val="002F6D"/>
                </a:solidFill>
              </a:rPr>
              <a:t>players</a:t>
            </a:r>
            <a:r>
              <a:rPr lang="es-ES_tradnl" sz="2200" noProof="0">
                <a:solidFill>
                  <a:srgbClr val="002F6D"/>
                </a:solidFill>
              </a:rPr>
              <a:t> incumbentes</a:t>
            </a:r>
          </a:p>
        </p:txBody>
      </p:sp>
      <p:sp>
        <p:nvSpPr>
          <p:cNvPr id="3" name="CuadroTexto 138">
            <a:extLst>
              <a:ext uri="{FF2B5EF4-FFF2-40B4-BE49-F238E27FC236}">
                <a16:creationId xmlns:a16="http://schemas.microsoft.com/office/drawing/2014/main" id="{FB99F912-67C6-F246-FA9A-531D9601FCF1}"/>
              </a:ext>
            </a:extLst>
          </p:cNvPr>
          <p:cNvSpPr txBox="1"/>
          <p:nvPr/>
        </p:nvSpPr>
        <p:spPr>
          <a:xfrm>
            <a:off x="3710911" y="1478827"/>
            <a:ext cx="1269004" cy="641201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>
            <a:defPPr>
              <a:defRPr lang="es-A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u="none" strike="noStrike" kern="1200" cap="none" spc="0" normalizeH="0" baseline="0" noProof="0">
                <a:ln>
                  <a:noFill/>
                </a:ln>
                <a:solidFill>
                  <a:srgbClr val="002F6D"/>
                </a:solidFill>
                <a:effectLst/>
                <a:uLnTx/>
                <a:uFillTx/>
                <a:latin typeface="Pulso" pitchFamily="2" charset="0"/>
                <a:ea typeface="Pulso Bold" pitchFamily="34" charset="-122"/>
                <a:cs typeface="Poppins" panose="00000500000000000000" pitchFamily="2" charset="0"/>
              </a:rPr>
              <a:t>Breakdown</a:t>
            </a:r>
            <a:r>
              <a:rPr kumimoji="0" lang="en-US" sz="1400" u="none" strike="noStrike" kern="1200" cap="none" spc="0" normalizeH="0" baseline="0" noProof="0">
                <a:ln>
                  <a:noFill/>
                </a:ln>
                <a:solidFill>
                  <a:srgbClr val="002F6D"/>
                </a:solidFill>
                <a:effectLst/>
                <a:uLnTx/>
                <a:uFillTx/>
                <a:latin typeface="Pulso" pitchFamily="2" charset="0"/>
                <a:ea typeface="Pulso Bold" pitchFamily="34" charset="-122"/>
                <a:cs typeface="Poppins" panose="00000500000000000000" pitchFamily="2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u="none" strike="noStrike" kern="1200" cap="none" spc="0" normalizeH="0" baseline="0" noProof="0" err="1">
                <a:ln>
                  <a:noFill/>
                </a:ln>
                <a:solidFill>
                  <a:srgbClr val="002F6D"/>
                </a:solidFill>
                <a:effectLst/>
                <a:uLnTx/>
                <a:uFillTx/>
                <a:latin typeface="Pulso" pitchFamily="2" charset="0"/>
                <a:ea typeface="Pulso Bold" pitchFamily="34" charset="-122"/>
                <a:cs typeface="Poppins" panose="00000500000000000000" pitchFamily="2" charset="0"/>
              </a:rPr>
              <a:t>Ingresos</a:t>
            </a:r>
            <a:r>
              <a:rPr kumimoji="0" lang="en-US" sz="1400" u="none" strike="noStrike" kern="1200" cap="none" spc="0" normalizeH="0" baseline="0" noProof="0">
                <a:ln>
                  <a:noFill/>
                </a:ln>
                <a:solidFill>
                  <a:srgbClr val="002F6D"/>
                </a:solidFill>
                <a:effectLst/>
                <a:uLnTx/>
                <a:uFillTx/>
                <a:latin typeface="Pulso" pitchFamily="2" charset="0"/>
                <a:ea typeface="Pulso Bold" pitchFamily="34" charset="-122"/>
                <a:cs typeface="Poppins" panose="00000500000000000000" pitchFamily="2" charset="0"/>
              </a:rPr>
              <a:t> MELI</a:t>
            </a:r>
            <a:br>
              <a:rPr kumimoji="0" lang="en-US" sz="1400" u="none" strike="noStrike" kern="1200" cap="none" spc="0" normalizeH="0" baseline="0" noProof="0">
                <a:ln>
                  <a:noFill/>
                </a:ln>
                <a:solidFill>
                  <a:srgbClr val="002F6D"/>
                </a:solidFill>
                <a:effectLst/>
                <a:uLnTx/>
                <a:uFillTx/>
                <a:latin typeface="Pulso" pitchFamily="2" charset="0"/>
                <a:ea typeface="Pulso Bold" pitchFamily="34" charset="-122"/>
                <a:cs typeface="Poppins" panose="00000500000000000000" pitchFamily="2" charset="0"/>
              </a:rPr>
            </a:br>
            <a:r>
              <a:rPr kumimoji="0" lang="en-US" sz="1200" u="none" strike="noStrike" kern="1200" cap="none" spc="0" normalizeH="0" baseline="0" noProof="0">
                <a:ln>
                  <a:noFill/>
                </a:ln>
                <a:solidFill>
                  <a:srgbClr val="002F6D"/>
                </a:solidFill>
                <a:effectLst/>
                <a:uLnTx/>
                <a:uFillTx/>
                <a:latin typeface="Pulso Light" pitchFamily="2" charset="0"/>
                <a:ea typeface="Pulso Bold" pitchFamily="34" charset="-122"/>
                <a:cs typeface="Poppins" panose="00000500000000000000" pitchFamily="2" charset="0"/>
              </a:rPr>
              <a:t>(Q3’25)</a:t>
            </a:r>
            <a:endParaRPr kumimoji="0" lang="es-AR" sz="1400" u="none" strike="noStrike" kern="1200" cap="none" spc="0" normalizeH="0" baseline="0" noProof="0">
              <a:ln>
                <a:noFill/>
              </a:ln>
              <a:solidFill>
                <a:srgbClr val="002F6D"/>
              </a:solidFill>
              <a:effectLst/>
              <a:uLnTx/>
              <a:uFillTx/>
              <a:latin typeface="Pulso Light" pitchFamily="2" charset="0"/>
              <a:cs typeface="Poppins" panose="00000500000000000000" pitchFamily="2" charset="0"/>
            </a:endParaRPr>
          </a:p>
        </p:txBody>
      </p:sp>
      <p:sp>
        <p:nvSpPr>
          <p:cNvPr id="19" name="Rectángulo redondeado 18">
            <a:extLst>
              <a:ext uri="{FF2B5EF4-FFF2-40B4-BE49-F238E27FC236}">
                <a16:creationId xmlns:a16="http://schemas.microsoft.com/office/drawing/2014/main" id="{6FBCF45A-D05F-C2EF-48B8-2A3D3A2DA0D0}"/>
              </a:ext>
            </a:extLst>
          </p:cNvPr>
          <p:cNvSpPr/>
          <p:nvPr/>
        </p:nvSpPr>
        <p:spPr>
          <a:xfrm>
            <a:off x="3679347" y="2194925"/>
            <a:ext cx="2246144" cy="353680"/>
          </a:xfrm>
          <a:prstGeom prst="roundRect">
            <a:avLst>
              <a:gd name="adj" fmla="val 13333"/>
            </a:avLst>
          </a:prstGeom>
          <a:solidFill>
            <a:srgbClr val="002F6D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0" rIns="0" bIns="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s-ES_tradnl" sz="1000">
                <a:solidFill>
                  <a:srgbClr val="FFFFFF"/>
                </a:solidFill>
                <a:latin typeface="Pulso" pitchFamily="2" charset="0"/>
              </a:rPr>
              <a:t>Mercado Pago / Ecosistema MELI</a:t>
            </a:r>
          </a:p>
        </p:txBody>
      </p:sp>
      <p:sp>
        <p:nvSpPr>
          <p:cNvPr id="20" name="Rectángulo redondeado 19">
            <a:extLst>
              <a:ext uri="{FF2B5EF4-FFF2-40B4-BE49-F238E27FC236}">
                <a16:creationId xmlns:a16="http://schemas.microsoft.com/office/drawing/2014/main" id="{5B273B39-7C2A-3E9D-6C83-A6DA7B0F00CE}"/>
              </a:ext>
            </a:extLst>
          </p:cNvPr>
          <p:cNvSpPr/>
          <p:nvPr/>
        </p:nvSpPr>
        <p:spPr>
          <a:xfrm>
            <a:off x="3679347" y="2583803"/>
            <a:ext cx="2246144" cy="353680"/>
          </a:xfrm>
          <a:prstGeom prst="roundRect">
            <a:avLst>
              <a:gd name="adj" fmla="val 13333"/>
            </a:avLst>
          </a:prstGeom>
          <a:solidFill>
            <a:srgbClr val="002F6D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0" rIns="0" bIns="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s-ES_tradnl" sz="1000">
                <a:solidFill>
                  <a:srgbClr val="FFFFFF"/>
                </a:solidFill>
                <a:latin typeface="Pulso" pitchFamily="2" charset="0"/>
              </a:rPr>
              <a:t>Créditos / Mercado Pago</a:t>
            </a:r>
          </a:p>
        </p:txBody>
      </p:sp>
      <p:sp>
        <p:nvSpPr>
          <p:cNvPr id="21" name="Rectángulo redondeado 20">
            <a:extLst>
              <a:ext uri="{FF2B5EF4-FFF2-40B4-BE49-F238E27FC236}">
                <a16:creationId xmlns:a16="http://schemas.microsoft.com/office/drawing/2014/main" id="{7614BDE2-0C39-B766-9311-13754CFAA156}"/>
              </a:ext>
            </a:extLst>
          </p:cNvPr>
          <p:cNvSpPr/>
          <p:nvPr/>
        </p:nvSpPr>
        <p:spPr>
          <a:xfrm>
            <a:off x="3679347" y="2972681"/>
            <a:ext cx="2246144" cy="782125"/>
          </a:xfrm>
          <a:prstGeom prst="roundRect">
            <a:avLst>
              <a:gd name="adj" fmla="val 6301"/>
            </a:avLst>
          </a:prstGeom>
          <a:solidFill>
            <a:srgbClr val="002F6D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0" rIns="0" bIns="0" rtlCol="0" anchor="ctr" anchorCtr="0">
            <a:noAutofit/>
          </a:bodyPr>
          <a:lstStyle/>
          <a:p>
            <a:pPr>
              <a:spcBef>
                <a:spcPts val="0"/>
              </a:spcBef>
              <a:spcAft>
                <a:spcPts val="800"/>
              </a:spcAft>
            </a:pPr>
            <a:r>
              <a:rPr lang="es-ES_tradnl" sz="1000">
                <a:solidFill>
                  <a:srgbClr val="FFFFFF"/>
                </a:solidFill>
                <a:latin typeface="Pulso" pitchFamily="2" charset="0"/>
              </a:rPr>
              <a:t>País / Ecosistema MELI</a:t>
            </a:r>
          </a:p>
          <a:p>
            <a:pPr marL="171450" indent="-1714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s-ES_tradnl" sz="1000">
                <a:solidFill>
                  <a:srgbClr val="FFFFFF"/>
                </a:solidFill>
                <a:latin typeface="Pulso Light" pitchFamily="2" charset="0"/>
              </a:rPr>
              <a:t>Ingresos</a:t>
            </a:r>
          </a:p>
          <a:p>
            <a:pPr marL="171450" indent="-1714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s-ES_tradnl" sz="1000">
                <a:solidFill>
                  <a:srgbClr val="FFFFFF"/>
                </a:solidFill>
                <a:latin typeface="Pulso Light" pitchFamily="2" charset="0"/>
              </a:rPr>
              <a:t>Contribución Directa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383785F9-C698-A08E-F378-919DDAB8D1C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53535" y="1766244"/>
            <a:ext cx="360000" cy="360000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4BDE463E-46E8-442D-B897-36B0460BC66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589873" y="1766244"/>
            <a:ext cx="360000" cy="360000"/>
          </a:xfrm>
          <a:prstGeom prst="rect">
            <a:avLst/>
          </a:prstGeom>
        </p:spPr>
      </p:pic>
      <p:grpSp>
        <p:nvGrpSpPr>
          <p:cNvPr id="40" name="Grupo 39">
            <a:extLst>
              <a:ext uri="{FF2B5EF4-FFF2-40B4-BE49-F238E27FC236}">
                <a16:creationId xmlns:a16="http://schemas.microsoft.com/office/drawing/2014/main" id="{7133F586-F4E9-4627-9690-725C3EC48DE6}"/>
              </a:ext>
            </a:extLst>
          </p:cNvPr>
          <p:cNvGrpSpPr/>
          <p:nvPr/>
        </p:nvGrpSpPr>
        <p:grpSpPr>
          <a:xfrm>
            <a:off x="5956557" y="1625601"/>
            <a:ext cx="844653" cy="2184550"/>
            <a:chOff x="5844631" y="1638301"/>
            <a:chExt cx="844653" cy="2184550"/>
          </a:xfrm>
        </p:grpSpPr>
        <p:sp>
          <p:nvSpPr>
            <p:cNvPr id="2" name="Rectángulo redondeado 1">
              <a:extLst>
                <a:ext uri="{FF2B5EF4-FFF2-40B4-BE49-F238E27FC236}">
                  <a16:creationId xmlns:a16="http://schemas.microsoft.com/office/drawing/2014/main" id="{FE55DC87-70B7-B700-DEBD-205915C9E2BC}"/>
                </a:ext>
              </a:extLst>
            </p:cNvPr>
            <p:cNvSpPr/>
            <p:nvPr/>
          </p:nvSpPr>
          <p:spPr>
            <a:xfrm>
              <a:off x="5844631" y="1638301"/>
              <a:ext cx="844653" cy="2184550"/>
            </a:xfrm>
            <a:prstGeom prst="roundRect">
              <a:avLst>
                <a:gd name="adj" fmla="val 8551"/>
              </a:avLst>
            </a:prstGeom>
            <a:solidFill>
              <a:srgbClr val="002F6D">
                <a:alpha val="50000"/>
              </a:srgbClr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1400" b="1">
                <a:solidFill>
                  <a:schemeClr val="tx1"/>
                </a:solidFill>
              </a:endParaRPr>
            </a:p>
          </p:txBody>
        </p:sp>
        <p:sp>
          <p:nvSpPr>
            <p:cNvPr id="4" name="Rectángulo redondeado 3">
              <a:extLst>
                <a:ext uri="{FF2B5EF4-FFF2-40B4-BE49-F238E27FC236}">
                  <a16:creationId xmlns:a16="http://schemas.microsoft.com/office/drawing/2014/main" id="{B62825F0-7434-81D8-CE6A-65A6CCE6AB94}"/>
                </a:ext>
              </a:extLst>
            </p:cNvPr>
            <p:cNvSpPr/>
            <p:nvPr/>
          </p:nvSpPr>
          <p:spPr>
            <a:xfrm>
              <a:off x="5903989" y="2207626"/>
              <a:ext cx="725936" cy="359624"/>
            </a:xfrm>
            <a:prstGeom prst="roundRect">
              <a:avLst>
                <a:gd name="adj" fmla="val 13333"/>
              </a:avLst>
            </a:prstGeom>
            <a:solidFill>
              <a:srgbClr val="FFFFFF"/>
            </a:solidFill>
            <a:ln w="12700" cap="rnd" cmpd="sng">
              <a:solidFill>
                <a:srgbClr val="002F6D"/>
              </a:solidFill>
              <a:prstDash val="solid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ES_tradnl" sz="1100">
                  <a:solidFill>
                    <a:srgbClr val="002F6D"/>
                  </a:solidFill>
                  <a:latin typeface="Pulso" pitchFamily="2" charset="0"/>
                </a:rPr>
                <a:t>44%</a:t>
              </a:r>
            </a:p>
          </p:txBody>
        </p:sp>
        <p:sp>
          <p:nvSpPr>
            <p:cNvPr id="12" name="Rectángulo redondeado 11">
              <a:extLst>
                <a:ext uri="{FF2B5EF4-FFF2-40B4-BE49-F238E27FC236}">
                  <a16:creationId xmlns:a16="http://schemas.microsoft.com/office/drawing/2014/main" id="{23BE7B35-E44B-4818-E2ED-E40E5E079748}"/>
                </a:ext>
              </a:extLst>
            </p:cNvPr>
            <p:cNvSpPr/>
            <p:nvPr/>
          </p:nvSpPr>
          <p:spPr>
            <a:xfrm>
              <a:off x="5903989" y="2596504"/>
              <a:ext cx="725936" cy="359624"/>
            </a:xfrm>
            <a:prstGeom prst="roundRect">
              <a:avLst>
                <a:gd name="adj" fmla="val 13333"/>
              </a:avLst>
            </a:prstGeom>
            <a:solidFill>
              <a:srgbClr val="FFFFFF"/>
            </a:solidFill>
            <a:ln w="12700" cap="rnd" cmpd="sng">
              <a:solidFill>
                <a:srgbClr val="002F6D"/>
              </a:solidFill>
              <a:prstDash val="solid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ES_tradnl" sz="1100">
                  <a:solidFill>
                    <a:srgbClr val="002F6D"/>
                  </a:solidFill>
                  <a:latin typeface="Pulso" pitchFamily="2" charset="0"/>
                </a:rPr>
                <a:t>47%</a:t>
              </a:r>
            </a:p>
          </p:txBody>
        </p:sp>
        <p:sp>
          <p:nvSpPr>
            <p:cNvPr id="18" name="Rectángulo redondeado 17">
              <a:extLst>
                <a:ext uri="{FF2B5EF4-FFF2-40B4-BE49-F238E27FC236}">
                  <a16:creationId xmlns:a16="http://schemas.microsoft.com/office/drawing/2014/main" id="{5F6CD67A-43FF-2D8F-89C8-222239477817}"/>
                </a:ext>
              </a:extLst>
            </p:cNvPr>
            <p:cNvSpPr/>
            <p:nvPr/>
          </p:nvSpPr>
          <p:spPr>
            <a:xfrm>
              <a:off x="5903989" y="2985381"/>
              <a:ext cx="725936" cy="782125"/>
            </a:xfrm>
            <a:prstGeom prst="roundRect">
              <a:avLst>
                <a:gd name="adj" fmla="val 7553"/>
              </a:avLst>
            </a:prstGeom>
            <a:solidFill>
              <a:srgbClr val="FFFFFF"/>
            </a:solidFill>
            <a:ln w="12700" cap="rnd" cmpd="sng">
              <a:solidFill>
                <a:srgbClr val="002F6D"/>
              </a:solidFill>
              <a:prstDash val="solid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ES_tradnl" sz="1100">
                  <a:solidFill>
                    <a:srgbClr val="002F6D"/>
                  </a:solidFill>
                  <a:latin typeface="Pulso" pitchFamily="2" charset="0"/>
                </a:rPr>
                <a:t>100%</a:t>
              </a:r>
            </a:p>
          </p:txBody>
        </p:sp>
        <p:grpSp>
          <p:nvGrpSpPr>
            <p:cNvPr id="135" name="Grupo 134">
              <a:extLst>
                <a:ext uri="{FF2B5EF4-FFF2-40B4-BE49-F238E27FC236}">
                  <a16:creationId xmlns:a16="http://schemas.microsoft.com/office/drawing/2014/main" id="{82354525-7358-ABF1-4596-026DBE51EF23}"/>
                </a:ext>
              </a:extLst>
            </p:cNvPr>
            <p:cNvGrpSpPr/>
            <p:nvPr/>
          </p:nvGrpSpPr>
          <p:grpSpPr>
            <a:xfrm>
              <a:off x="5963376" y="1724599"/>
              <a:ext cx="607162" cy="419612"/>
              <a:chOff x="2495169" y="234256"/>
              <a:chExt cx="2128037" cy="1470691"/>
            </a:xfrm>
          </p:grpSpPr>
          <p:sp>
            <p:nvSpPr>
              <p:cNvPr id="54" name="Forma libre 53">
                <a:extLst>
                  <a:ext uri="{FF2B5EF4-FFF2-40B4-BE49-F238E27FC236}">
                    <a16:creationId xmlns:a16="http://schemas.microsoft.com/office/drawing/2014/main" id="{C3773D48-8B01-1042-CA1F-46428726DF06}"/>
                  </a:ext>
                </a:extLst>
              </p:cNvPr>
              <p:cNvSpPr/>
              <p:nvPr/>
            </p:nvSpPr>
            <p:spPr>
              <a:xfrm>
                <a:off x="2515470" y="261854"/>
                <a:ext cx="2088100" cy="1362888"/>
              </a:xfrm>
              <a:custGeom>
                <a:avLst/>
                <a:gdLst>
                  <a:gd name="connsiteX0" fmla="*/ 1044050 w 2088100"/>
                  <a:gd name="connsiteY0" fmla="*/ 0 h 1362888"/>
                  <a:gd name="connsiteX1" fmla="*/ 0 w 2088100"/>
                  <a:gd name="connsiteY1" fmla="*/ 667016 h 1362888"/>
                  <a:gd name="connsiteX2" fmla="*/ 1044050 w 2088100"/>
                  <a:gd name="connsiteY2" fmla="*/ 1362889 h 1362888"/>
                  <a:gd name="connsiteX3" fmla="*/ 2088101 w 2088100"/>
                  <a:gd name="connsiteY3" fmla="*/ 667016 h 1362888"/>
                  <a:gd name="connsiteX4" fmla="*/ 1044050 w 2088100"/>
                  <a:gd name="connsiteY4" fmla="*/ 0 h 1362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88100" h="1362888">
                    <a:moveTo>
                      <a:pt x="1044050" y="0"/>
                    </a:moveTo>
                    <a:cubicBezTo>
                      <a:pt x="467381" y="0"/>
                      <a:pt x="0" y="298622"/>
                      <a:pt x="0" y="667016"/>
                    </a:cubicBezTo>
                    <a:cubicBezTo>
                      <a:pt x="0" y="1035411"/>
                      <a:pt x="467455" y="1362889"/>
                      <a:pt x="1044050" y="1362889"/>
                    </a:cubicBezTo>
                    <a:cubicBezTo>
                      <a:pt x="1620646" y="1362889"/>
                      <a:pt x="2088101" y="1035336"/>
                      <a:pt x="2088101" y="667016"/>
                    </a:cubicBezTo>
                    <a:cubicBezTo>
                      <a:pt x="2088101" y="298696"/>
                      <a:pt x="1620646" y="0"/>
                      <a:pt x="1044050" y="0"/>
                    </a:cubicBezTo>
                    <a:close/>
                  </a:path>
                </a:pathLst>
              </a:custGeom>
              <a:solidFill>
                <a:srgbClr val="00BC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AR"/>
              </a:p>
            </p:txBody>
          </p:sp>
          <p:sp>
            <p:nvSpPr>
              <p:cNvPr id="55" name="Forma libre 54">
                <a:extLst>
                  <a:ext uri="{FF2B5EF4-FFF2-40B4-BE49-F238E27FC236}">
                    <a16:creationId xmlns:a16="http://schemas.microsoft.com/office/drawing/2014/main" id="{A99D0B4D-5472-6A2D-EFB2-412897873A27}"/>
                  </a:ext>
                </a:extLst>
              </p:cNvPr>
              <p:cNvSpPr/>
              <p:nvPr/>
            </p:nvSpPr>
            <p:spPr>
              <a:xfrm>
                <a:off x="3213477" y="486251"/>
                <a:ext cx="1376090" cy="518606"/>
              </a:xfrm>
              <a:custGeom>
                <a:avLst/>
                <a:gdLst>
                  <a:gd name="connsiteX0" fmla="*/ 6326 w 1376090"/>
                  <a:gd name="connsiteY0" fmla="*/ 236410 h 518606"/>
                  <a:gd name="connsiteX1" fmla="*/ 2250 w 1376090"/>
                  <a:gd name="connsiteY1" fmla="*/ 256461 h 518606"/>
                  <a:gd name="connsiteX2" fmla="*/ 118725 w 1376090"/>
                  <a:gd name="connsiteY2" fmla="*/ 277548 h 518606"/>
                  <a:gd name="connsiteX3" fmla="*/ 224531 w 1376090"/>
                  <a:gd name="connsiteY3" fmla="*/ 210736 h 518606"/>
                  <a:gd name="connsiteX4" fmla="*/ 345303 w 1376090"/>
                  <a:gd name="connsiteY4" fmla="*/ 133861 h 518606"/>
                  <a:gd name="connsiteX5" fmla="*/ 433400 w 1376090"/>
                  <a:gd name="connsiteY5" fmla="*/ 131567 h 518606"/>
                  <a:gd name="connsiteX6" fmla="*/ 513717 w 1376090"/>
                  <a:gd name="connsiteY6" fmla="*/ 178328 h 518606"/>
                  <a:gd name="connsiteX7" fmla="*/ 913822 w 1376090"/>
                  <a:gd name="connsiteY7" fmla="*/ 518606 h 518606"/>
                  <a:gd name="connsiteX8" fmla="*/ 1376091 w 1376090"/>
                  <a:gd name="connsiteY8" fmla="*/ 373587 h 518606"/>
                  <a:gd name="connsiteX9" fmla="*/ 1163294 w 1376090"/>
                  <a:gd name="connsiteY9" fmla="*/ 33309 h 518606"/>
                  <a:gd name="connsiteX10" fmla="*/ 595887 w 1376090"/>
                  <a:gd name="connsiteY10" fmla="*/ 47589 h 518606"/>
                  <a:gd name="connsiteX11" fmla="*/ 386573 w 1376090"/>
                  <a:gd name="connsiteY11" fmla="*/ 87 h 518606"/>
                  <a:gd name="connsiteX12" fmla="*/ 95756 w 1376090"/>
                  <a:gd name="connsiteY12" fmla="*/ 140446 h 518606"/>
                  <a:gd name="connsiteX13" fmla="*/ 6474 w 1376090"/>
                  <a:gd name="connsiteY13" fmla="*/ 236558 h 518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76090" h="518606">
                    <a:moveTo>
                      <a:pt x="6326" y="236410"/>
                    </a:moveTo>
                    <a:cubicBezTo>
                      <a:pt x="5807" y="237446"/>
                      <a:pt x="-4418" y="247952"/>
                      <a:pt x="2250" y="256461"/>
                    </a:cubicBezTo>
                    <a:cubicBezTo>
                      <a:pt x="18403" y="277030"/>
                      <a:pt x="68268" y="288869"/>
                      <a:pt x="118725" y="277548"/>
                    </a:cubicBezTo>
                    <a:cubicBezTo>
                      <a:pt x="148733" y="270815"/>
                      <a:pt x="187262" y="240258"/>
                      <a:pt x="224531" y="210736"/>
                    </a:cubicBezTo>
                    <a:cubicBezTo>
                      <a:pt x="264912" y="178698"/>
                      <a:pt x="304996" y="146587"/>
                      <a:pt x="345303" y="133861"/>
                    </a:cubicBezTo>
                    <a:cubicBezTo>
                      <a:pt x="387981" y="120320"/>
                      <a:pt x="415321" y="126092"/>
                      <a:pt x="433400" y="131567"/>
                    </a:cubicBezTo>
                    <a:cubicBezTo>
                      <a:pt x="453183" y="137486"/>
                      <a:pt x="476522" y="150508"/>
                      <a:pt x="513717" y="178328"/>
                    </a:cubicBezTo>
                    <a:cubicBezTo>
                      <a:pt x="583736" y="230861"/>
                      <a:pt x="865142" y="476210"/>
                      <a:pt x="913822" y="518606"/>
                    </a:cubicBezTo>
                    <a:cubicBezTo>
                      <a:pt x="952943" y="500923"/>
                      <a:pt x="1139585" y="425676"/>
                      <a:pt x="1376091" y="373587"/>
                    </a:cubicBezTo>
                    <a:cubicBezTo>
                      <a:pt x="1355493" y="247657"/>
                      <a:pt x="1279695" y="127571"/>
                      <a:pt x="1163294" y="33309"/>
                    </a:cubicBezTo>
                    <a:cubicBezTo>
                      <a:pt x="1001104" y="101305"/>
                      <a:pt x="789715" y="142073"/>
                      <a:pt x="595887" y="47589"/>
                    </a:cubicBezTo>
                    <a:cubicBezTo>
                      <a:pt x="594924" y="47219"/>
                      <a:pt x="490007" y="-2354"/>
                      <a:pt x="386573" y="87"/>
                    </a:cubicBezTo>
                    <a:cubicBezTo>
                      <a:pt x="232829" y="3639"/>
                      <a:pt x="166219" y="70082"/>
                      <a:pt x="95756" y="140446"/>
                    </a:cubicBezTo>
                    <a:lnTo>
                      <a:pt x="6474" y="236558"/>
                    </a:ln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AR"/>
              </a:p>
            </p:txBody>
          </p:sp>
          <p:sp>
            <p:nvSpPr>
              <p:cNvPr id="56" name="Forma libre 55">
                <a:extLst>
                  <a:ext uri="{FF2B5EF4-FFF2-40B4-BE49-F238E27FC236}">
                    <a16:creationId xmlns:a16="http://schemas.microsoft.com/office/drawing/2014/main" id="{5CF83189-08A5-EF17-C355-8B8BEEA4434E}"/>
                  </a:ext>
                </a:extLst>
              </p:cNvPr>
              <p:cNvSpPr/>
              <p:nvPr/>
            </p:nvSpPr>
            <p:spPr>
              <a:xfrm>
                <a:off x="2525325" y="503208"/>
                <a:ext cx="1612279" cy="866598"/>
              </a:xfrm>
              <a:custGeom>
                <a:avLst/>
                <a:gdLst>
                  <a:gd name="connsiteX0" fmla="*/ 1590341 w 1612279"/>
                  <a:gd name="connsiteY0" fmla="*/ 528360 h 866598"/>
                  <a:gd name="connsiteX1" fmla="*/ 1185124 w 1612279"/>
                  <a:gd name="connsiteY1" fmla="*/ 183420 h 866598"/>
                  <a:gd name="connsiteX2" fmla="*/ 1093174 w 1612279"/>
                  <a:gd name="connsiteY2" fmla="*/ 139840 h 866598"/>
                  <a:gd name="connsiteX3" fmla="*/ 1049459 w 1612279"/>
                  <a:gd name="connsiteY3" fmla="*/ 144058 h 866598"/>
                  <a:gd name="connsiteX4" fmla="*/ 929724 w 1612279"/>
                  <a:gd name="connsiteY4" fmla="*/ 215310 h 866598"/>
                  <a:gd name="connsiteX5" fmla="*/ 812731 w 1612279"/>
                  <a:gd name="connsiteY5" fmla="*/ 287524 h 866598"/>
                  <a:gd name="connsiteX6" fmla="*/ 683808 w 1612279"/>
                  <a:gd name="connsiteY6" fmla="*/ 268212 h 866598"/>
                  <a:gd name="connsiteX7" fmla="*/ 662395 w 1612279"/>
                  <a:gd name="connsiteY7" fmla="*/ 244832 h 866598"/>
                  <a:gd name="connsiteX8" fmla="*/ 673361 w 1612279"/>
                  <a:gd name="connsiteY8" fmla="*/ 202066 h 866598"/>
                  <a:gd name="connsiteX9" fmla="*/ 763755 w 1612279"/>
                  <a:gd name="connsiteY9" fmla="*/ 104399 h 866598"/>
                  <a:gd name="connsiteX10" fmla="*/ 795689 w 1612279"/>
                  <a:gd name="connsiteY10" fmla="*/ 73102 h 866598"/>
                  <a:gd name="connsiteX11" fmla="*/ 713297 w 1612279"/>
                  <a:gd name="connsiteY11" fmla="*/ 91599 h 866598"/>
                  <a:gd name="connsiteX12" fmla="*/ 617124 w 1612279"/>
                  <a:gd name="connsiteY12" fmla="*/ 109505 h 866598"/>
                  <a:gd name="connsiteX13" fmla="*/ 518950 w 1612279"/>
                  <a:gd name="connsiteY13" fmla="*/ 94189 h 866598"/>
                  <a:gd name="connsiteX14" fmla="*/ 237099 w 1612279"/>
                  <a:gd name="connsiteY14" fmla="*/ 0 h 866598"/>
                  <a:gd name="connsiteX15" fmla="*/ 0 w 1612279"/>
                  <a:gd name="connsiteY15" fmla="*/ 344496 h 866598"/>
                  <a:gd name="connsiteX16" fmla="*/ 79354 w 1612279"/>
                  <a:gd name="connsiteY16" fmla="*/ 363141 h 866598"/>
                  <a:gd name="connsiteX17" fmla="*/ 477310 w 1612279"/>
                  <a:gd name="connsiteY17" fmla="*/ 508161 h 866598"/>
                  <a:gd name="connsiteX18" fmla="*/ 549403 w 1612279"/>
                  <a:gd name="connsiteY18" fmla="*/ 475901 h 866598"/>
                  <a:gd name="connsiteX19" fmla="*/ 628238 w 1612279"/>
                  <a:gd name="connsiteY19" fmla="*/ 517039 h 866598"/>
                  <a:gd name="connsiteX20" fmla="*/ 697590 w 1612279"/>
                  <a:gd name="connsiteY20" fmla="*/ 492697 h 866598"/>
                  <a:gd name="connsiteX21" fmla="*/ 739230 w 1612279"/>
                  <a:gd name="connsiteY21" fmla="*/ 499948 h 866598"/>
                  <a:gd name="connsiteX22" fmla="*/ 797764 w 1612279"/>
                  <a:gd name="connsiteY22" fmla="*/ 552776 h 866598"/>
                  <a:gd name="connsiteX23" fmla="*/ 838219 w 1612279"/>
                  <a:gd name="connsiteY23" fmla="*/ 544194 h 866598"/>
                  <a:gd name="connsiteX24" fmla="*/ 886602 w 1612279"/>
                  <a:gd name="connsiteY24" fmla="*/ 554848 h 866598"/>
                  <a:gd name="connsiteX25" fmla="*/ 943728 w 1612279"/>
                  <a:gd name="connsiteY25" fmla="*/ 670124 h 866598"/>
                  <a:gd name="connsiteX26" fmla="*/ 955287 w 1612279"/>
                  <a:gd name="connsiteY26" fmla="*/ 669532 h 866598"/>
                  <a:gd name="connsiteX27" fmla="*/ 1070576 w 1612279"/>
                  <a:gd name="connsiteY27" fmla="*/ 784734 h 866598"/>
                  <a:gd name="connsiteX28" fmla="*/ 1056794 w 1612279"/>
                  <a:gd name="connsiteY28" fmla="*/ 839116 h 866598"/>
                  <a:gd name="connsiteX29" fmla="*/ 1156969 w 1612279"/>
                  <a:gd name="connsiteY29" fmla="*/ 865900 h 866598"/>
                  <a:gd name="connsiteX30" fmla="*/ 1203796 w 1612279"/>
                  <a:gd name="connsiteY30" fmla="*/ 845479 h 866598"/>
                  <a:gd name="connsiteX31" fmla="*/ 1206908 w 1612279"/>
                  <a:gd name="connsiteY31" fmla="*/ 833197 h 866598"/>
                  <a:gd name="connsiteX32" fmla="*/ 1124812 w 1612279"/>
                  <a:gd name="connsiteY32" fmla="*/ 742190 h 866598"/>
                  <a:gd name="connsiteX33" fmla="*/ 1115773 w 1612279"/>
                  <a:gd name="connsiteY33" fmla="*/ 724506 h 866598"/>
                  <a:gd name="connsiteX34" fmla="*/ 1134667 w 1612279"/>
                  <a:gd name="connsiteY34" fmla="*/ 731609 h 866598"/>
                  <a:gd name="connsiteX35" fmla="*/ 1227432 w 1612279"/>
                  <a:gd name="connsiteY35" fmla="*/ 818991 h 866598"/>
                  <a:gd name="connsiteX36" fmla="*/ 1250549 w 1612279"/>
                  <a:gd name="connsiteY36" fmla="*/ 829571 h 866598"/>
                  <a:gd name="connsiteX37" fmla="*/ 1315455 w 1612279"/>
                  <a:gd name="connsiteY37" fmla="*/ 814478 h 866598"/>
                  <a:gd name="connsiteX38" fmla="*/ 1329755 w 1612279"/>
                  <a:gd name="connsiteY38" fmla="*/ 799902 h 866598"/>
                  <a:gd name="connsiteX39" fmla="*/ 1328792 w 1612279"/>
                  <a:gd name="connsiteY39" fmla="*/ 800641 h 866598"/>
                  <a:gd name="connsiteX40" fmla="*/ 1326421 w 1612279"/>
                  <a:gd name="connsiteY40" fmla="*/ 746703 h 866598"/>
                  <a:gd name="connsiteX41" fmla="*/ 1230618 w 1612279"/>
                  <a:gd name="connsiteY41" fmla="*/ 639270 h 866598"/>
                  <a:gd name="connsiteX42" fmla="*/ 1221578 w 1612279"/>
                  <a:gd name="connsiteY42" fmla="*/ 621513 h 866598"/>
                  <a:gd name="connsiteX43" fmla="*/ 1240546 w 1612279"/>
                  <a:gd name="connsiteY43" fmla="*/ 628764 h 866598"/>
                  <a:gd name="connsiteX44" fmla="*/ 1354798 w 1612279"/>
                  <a:gd name="connsiteY44" fmla="*/ 737232 h 866598"/>
                  <a:gd name="connsiteX45" fmla="*/ 1446748 w 1612279"/>
                  <a:gd name="connsiteY45" fmla="*/ 734051 h 866598"/>
                  <a:gd name="connsiteX46" fmla="*/ 1480757 w 1612279"/>
                  <a:gd name="connsiteY46" fmla="*/ 674119 h 866598"/>
                  <a:gd name="connsiteX47" fmla="*/ 1460530 w 1612279"/>
                  <a:gd name="connsiteY47" fmla="*/ 634165 h 866598"/>
                  <a:gd name="connsiteX48" fmla="*/ 1329681 w 1612279"/>
                  <a:gd name="connsiteY48" fmla="*/ 502759 h 866598"/>
                  <a:gd name="connsiteX49" fmla="*/ 1320715 w 1612279"/>
                  <a:gd name="connsiteY49" fmla="*/ 485002 h 866598"/>
                  <a:gd name="connsiteX50" fmla="*/ 1339609 w 1612279"/>
                  <a:gd name="connsiteY50" fmla="*/ 492105 h 866598"/>
                  <a:gd name="connsiteX51" fmla="*/ 1494168 w 1612279"/>
                  <a:gd name="connsiteY51" fmla="*/ 630317 h 866598"/>
                  <a:gd name="connsiteX52" fmla="*/ 1583006 w 1612279"/>
                  <a:gd name="connsiteY52" fmla="*/ 628542 h 866598"/>
                  <a:gd name="connsiteX53" fmla="*/ 1612199 w 1612279"/>
                  <a:gd name="connsiteY53" fmla="*/ 581632 h 866598"/>
                  <a:gd name="connsiteX54" fmla="*/ 1590267 w 1612279"/>
                  <a:gd name="connsiteY54" fmla="*/ 528360 h 866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1612279" h="866598">
                    <a:moveTo>
                      <a:pt x="1590341" y="528360"/>
                    </a:moveTo>
                    <a:cubicBezTo>
                      <a:pt x="1587007" y="525400"/>
                      <a:pt x="1259366" y="239134"/>
                      <a:pt x="1185124" y="183420"/>
                    </a:cubicBezTo>
                    <a:cubicBezTo>
                      <a:pt x="1142150" y="151235"/>
                      <a:pt x="1118292" y="143022"/>
                      <a:pt x="1093174" y="139840"/>
                    </a:cubicBezTo>
                    <a:cubicBezTo>
                      <a:pt x="1080134" y="138139"/>
                      <a:pt x="1062055" y="140580"/>
                      <a:pt x="1049459" y="144058"/>
                    </a:cubicBezTo>
                    <a:cubicBezTo>
                      <a:pt x="1014932" y="153454"/>
                      <a:pt x="969809" y="183568"/>
                      <a:pt x="929724" y="215310"/>
                    </a:cubicBezTo>
                    <a:cubicBezTo>
                      <a:pt x="888232" y="248309"/>
                      <a:pt x="849111" y="279385"/>
                      <a:pt x="812731" y="287524"/>
                    </a:cubicBezTo>
                    <a:cubicBezTo>
                      <a:pt x="766348" y="297882"/>
                      <a:pt x="709667" y="285674"/>
                      <a:pt x="683808" y="268212"/>
                    </a:cubicBezTo>
                    <a:cubicBezTo>
                      <a:pt x="673361" y="261183"/>
                      <a:pt x="665952" y="253044"/>
                      <a:pt x="662395" y="244832"/>
                    </a:cubicBezTo>
                    <a:cubicBezTo>
                      <a:pt x="652837" y="222709"/>
                      <a:pt x="670471" y="205025"/>
                      <a:pt x="673361" y="202066"/>
                    </a:cubicBezTo>
                    <a:lnTo>
                      <a:pt x="763755" y="104399"/>
                    </a:lnTo>
                    <a:cubicBezTo>
                      <a:pt x="774276" y="93967"/>
                      <a:pt x="784872" y="83460"/>
                      <a:pt x="795689" y="73102"/>
                    </a:cubicBezTo>
                    <a:cubicBezTo>
                      <a:pt x="766496" y="76875"/>
                      <a:pt x="739526" y="84348"/>
                      <a:pt x="713297" y="91599"/>
                    </a:cubicBezTo>
                    <a:cubicBezTo>
                      <a:pt x="680548" y="100774"/>
                      <a:pt x="648984" y="109505"/>
                      <a:pt x="617124" y="109505"/>
                    </a:cubicBezTo>
                    <a:cubicBezTo>
                      <a:pt x="603787" y="109505"/>
                      <a:pt x="532509" y="97814"/>
                      <a:pt x="518950" y="94189"/>
                    </a:cubicBezTo>
                    <a:cubicBezTo>
                      <a:pt x="437077" y="71844"/>
                      <a:pt x="344386" y="50017"/>
                      <a:pt x="237099" y="0"/>
                    </a:cubicBezTo>
                    <a:cubicBezTo>
                      <a:pt x="108547" y="95521"/>
                      <a:pt x="24821" y="212868"/>
                      <a:pt x="0" y="344496"/>
                    </a:cubicBezTo>
                    <a:cubicBezTo>
                      <a:pt x="18449" y="349379"/>
                      <a:pt x="66832" y="360403"/>
                      <a:pt x="79354" y="363141"/>
                    </a:cubicBezTo>
                    <a:cubicBezTo>
                      <a:pt x="370245" y="427734"/>
                      <a:pt x="460861" y="494251"/>
                      <a:pt x="477310" y="508161"/>
                    </a:cubicBezTo>
                    <a:cubicBezTo>
                      <a:pt x="495092" y="488405"/>
                      <a:pt x="520803" y="475901"/>
                      <a:pt x="549403" y="475901"/>
                    </a:cubicBezTo>
                    <a:cubicBezTo>
                      <a:pt x="581633" y="475901"/>
                      <a:pt x="610604" y="492105"/>
                      <a:pt x="628238" y="517039"/>
                    </a:cubicBezTo>
                    <a:cubicBezTo>
                      <a:pt x="644909" y="503869"/>
                      <a:pt x="667878" y="492623"/>
                      <a:pt x="697590" y="492697"/>
                    </a:cubicBezTo>
                    <a:cubicBezTo>
                      <a:pt x="711075" y="492697"/>
                      <a:pt x="725078" y="495212"/>
                      <a:pt x="739230" y="499948"/>
                    </a:cubicBezTo>
                    <a:cubicBezTo>
                      <a:pt x="772053" y="511194"/>
                      <a:pt x="789021" y="533021"/>
                      <a:pt x="797764" y="552776"/>
                    </a:cubicBezTo>
                    <a:cubicBezTo>
                      <a:pt x="808730" y="547819"/>
                      <a:pt x="822289" y="544120"/>
                      <a:pt x="838219" y="544194"/>
                    </a:cubicBezTo>
                    <a:cubicBezTo>
                      <a:pt x="853927" y="544194"/>
                      <a:pt x="870227" y="547745"/>
                      <a:pt x="886602" y="554848"/>
                    </a:cubicBezTo>
                    <a:cubicBezTo>
                      <a:pt x="940246" y="577859"/>
                      <a:pt x="948544" y="630465"/>
                      <a:pt x="943728" y="670124"/>
                    </a:cubicBezTo>
                    <a:cubicBezTo>
                      <a:pt x="947581" y="669680"/>
                      <a:pt x="951434" y="669532"/>
                      <a:pt x="955287" y="669532"/>
                    </a:cubicBezTo>
                    <a:cubicBezTo>
                      <a:pt x="1018859" y="669532"/>
                      <a:pt x="1070576" y="721177"/>
                      <a:pt x="1070576" y="784734"/>
                    </a:cubicBezTo>
                    <a:cubicBezTo>
                      <a:pt x="1070576" y="804415"/>
                      <a:pt x="1065537" y="822912"/>
                      <a:pt x="1056794" y="839116"/>
                    </a:cubicBezTo>
                    <a:cubicBezTo>
                      <a:pt x="1074132" y="848809"/>
                      <a:pt x="1118218" y="870784"/>
                      <a:pt x="1156969" y="865900"/>
                    </a:cubicBezTo>
                    <a:cubicBezTo>
                      <a:pt x="1187866" y="861979"/>
                      <a:pt x="1199647" y="851472"/>
                      <a:pt x="1203796" y="845479"/>
                    </a:cubicBezTo>
                    <a:cubicBezTo>
                      <a:pt x="1206686" y="841410"/>
                      <a:pt x="1209723" y="836600"/>
                      <a:pt x="1206908" y="833197"/>
                    </a:cubicBezTo>
                    <a:lnTo>
                      <a:pt x="1124812" y="742190"/>
                    </a:lnTo>
                    <a:cubicBezTo>
                      <a:pt x="1124812" y="742190"/>
                      <a:pt x="1111327" y="729390"/>
                      <a:pt x="1115773" y="724506"/>
                    </a:cubicBezTo>
                    <a:cubicBezTo>
                      <a:pt x="1120367" y="719475"/>
                      <a:pt x="1128739" y="726726"/>
                      <a:pt x="1134667" y="731609"/>
                    </a:cubicBezTo>
                    <a:cubicBezTo>
                      <a:pt x="1176455" y="766458"/>
                      <a:pt x="1227432" y="818991"/>
                      <a:pt x="1227432" y="818991"/>
                    </a:cubicBezTo>
                    <a:cubicBezTo>
                      <a:pt x="1228321" y="819583"/>
                      <a:pt x="1231655" y="826242"/>
                      <a:pt x="1250549" y="829571"/>
                    </a:cubicBezTo>
                    <a:cubicBezTo>
                      <a:pt x="1266775" y="832457"/>
                      <a:pt x="1295523" y="830829"/>
                      <a:pt x="1315455" y="814478"/>
                    </a:cubicBezTo>
                    <a:cubicBezTo>
                      <a:pt x="1320419" y="810334"/>
                      <a:pt x="1325457" y="805229"/>
                      <a:pt x="1329755" y="799902"/>
                    </a:cubicBezTo>
                    <a:cubicBezTo>
                      <a:pt x="1329384" y="800198"/>
                      <a:pt x="1329088" y="800494"/>
                      <a:pt x="1328792" y="800641"/>
                    </a:cubicBezTo>
                    <a:cubicBezTo>
                      <a:pt x="1349834" y="773783"/>
                      <a:pt x="1326421" y="746703"/>
                      <a:pt x="1326421" y="746703"/>
                    </a:cubicBezTo>
                    <a:lnTo>
                      <a:pt x="1230618" y="639270"/>
                    </a:lnTo>
                    <a:cubicBezTo>
                      <a:pt x="1230618" y="639270"/>
                      <a:pt x="1216910" y="626618"/>
                      <a:pt x="1221578" y="621513"/>
                    </a:cubicBezTo>
                    <a:cubicBezTo>
                      <a:pt x="1225728" y="617073"/>
                      <a:pt x="1234545" y="623732"/>
                      <a:pt x="1240546" y="628764"/>
                    </a:cubicBezTo>
                    <a:cubicBezTo>
                      <a:pt x="1270850" y="654068"/>
                      <a:pt x="1313750" y="697056"/>
                      <a:pt x="1354798" y="737232"/>
                    </a:cubicBezTo>
                    <a:cubicBezTo>
                      <a:pt x="1362874" y="743078"/>
                      <a:pt x="1398958" y="765348"/>
                      <a:pt x="1446748" y="734051"/>
                    </a:cubicBezTo>
                    <a:cubicBezTo>
                      <a:pt x="1475793" y="715036"/>
                      <a:pt x="1481572" y="691655"/>
                      <a:pt x="1480757" y="674119"/>
                    </a:cubicBezTo>
                    <a:cubicBezTo>
                      <a:pt x="1478757" y="650813"/>
                      <a:pt x="1460530" y="634165"/>
                      <a:pt x="1460530" y="634165"/>
                    </a:cubicBezTo>
                    <a:lnTo>
                      <a:pt x="1329681" y="502759"/>
                    </a:lnTo>
                    <a:cubicBezTo>
                      <a:pt x="1329681" y="502759"/>
                      <a:pt x="1315825" y="490995"/>
                      <a:pt x="1320715" y="485002"/>
                    </a:cubicBezTo>
                    <a:cubicBezTo>
                      <a:pt x="1324716" y="479971"/>
                      <a:pt x="1333682" y="487222"/>
                      <a:pt x="1339609" y="492105"/>
                    </a:cubicBezTo>
                    <a:cubicBezTo>
                      <a:pt x="1381250" y="526954"/>
                      <a:pt x="1494168" y="630317"/>
                      <a:pt x="1494168" y="630317"/>
                    </a:cubicBezTo>
                    <a:cubicBezTo>
                      <a:pt x="1495798" y="631427"/>
                      <a:pt x="1534771" y="659173"/>
                      <a:pt x="1583006" y="628542"/>
                    </a:cubicBezTo>
                    <a:cubicBezTo>
                      <a:pt x="1600270" y="617517"/>
                      <a:pt x="1611236" y="600944"/>
                      <a:pt x="1612199" y="581632"/>
                    </a:cubicBezTo>
                    <a:cubicBezTo>
                      <a:pt x="1613829" y="548189"/>
                      <a:pt x="1590267" y="528360"/>
                      <a:pt x="1590267" y="528360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AR"/>
              </a:p>
            </p:txBody>
          </p:sp>
          <p:sp>
            <p:nvSpPr>
              <p:cNvPr id="57" name="Forma libre 56">
                <a:extLst>
                  <a:ext uri="{FF2B5EF4-FFF2-40B4-BE49-F238E27FC236}">
                    <a16:creationId xmlns:a16="http://schemas.microsoft.com/office/drawing/2014/main" id="{B6109576-9296-4A86-7182-D369AC97C58F}"/>
                  </a:ext>
                </a:extLst>
              </p:cNvPr>
              <p:cNvSpPr/>
              <p:nvPr/>
            </p:nvSpPr>
            <p:spPr>
              <a:xfrm>
                <a:off x="3003450" y="1004635"/>
                <a:ext cx="567111" cy="372981"/>
              </a:xfrm>
              <a:custGeom>
                <a:avLst/>
                <a:gdLst>
                  <a:gd name="connsiteX0" fmla="*/ 477384 w 567111"/>
                  <a:gd name="connsiteY0" fmla="*/ 193483 h 372981"/>
                  <a:gd name="connsiteX1" fmla="*/ 431965 w 567111"/>
                  <a:gd name="connsiteY1" fmla="*/ 203545 h 372981"/>
                  <a:gd name="connsiteX2" fmla="*/ 435076 w 567111"/>
                  <a:gd name="connsiteY2" fmla="*/ 189635 h 372981"/>
                  <a:gd name="connsiteX3" fmla="*/ 398623 w 567111"/>
                  <a:gd name="connsiteY3" fmla="*/ 76801 h 372981"/>
                  <a:gd name="connsiteX4" fmla="*/ 307784 w 567111"/>
                  <a:gd name="connsiteY4" fmla="*/ 90341 h 372981"/>
                  <a:gd name="connsiteX5" fmla="*/ 303487 w 567111"/>
                  <a:gd name="connsiteY5" fmla="*/ 89379 h 372981"/>
                  <a:gd name="connsiteX6" fmla="*/ 252955 w 567111"/>
                  <a:gd name="connsiteY6" fmla="*/ 22641 h 372981"/>
                  <a:gd name="connsiteX7" fmla="*/ 141889 w 567111"/>
                  <a:gd name="connsiteY7" fmla="*/ 62225 h 372981"/>
                  <a:gd name="connsiteX8" fmla="*/ 71500 w 567111"/>
                  <a:gd name="connsiteY8" fmla="*/ 0 h 372981"/>
                  <a:gd name="connsiteX9" fmla="*/ 0 w 567111"/>
                  <a:gd name="connsiteY9" fmla="*/ 71252 h 372981"/>
                  <a:gd name="connsiteX10" fmla="*/ 71426 w 567111"/>
                  <a:gd name="connsiteY10" fmla="*/ 142578 h 372981"/>
                  <a:gd name="connsiteX11" fmla="*/ 120772 w 567111"/>
                  <a:gd name="connsiteY11" fmla="*/ 122675 h 372981"/>
                  <a:gd name="connsiteX12" fmla="*/ 121143 w 567111"/>
                  <a:gd name="connsiteY12" fmla="*/ 125042 h 372981"/>
                  <a:gd name="connsiteX13" fmla="*/ 179825 w 567111"/>
                  <a:gd name="connsiteY13" fmla="*/ 232845 h 372981"/>
                  <a:gd name="connsiteX14" fmla="*/ 248658 w 567111"/>
                  <a:gd name="connsiteY14" fmla="*/ 222265 h 372981"/>
                  <a:gd name="connsiteX15" fmla="*/ 254437 w 567111"/>
                  <a:gd name="connsiteY15" fmla="*/ 225298 h 372981"/>
                  <a:gd name="connsiteX16" fmla="*/ 304598 w 567111"/>
                  <a:gd name="connsiteY16" fmla="*/ 297068 h 372981"/>
                  <a:gd name="connsiteX17" fmla="*/ 379210 w 567111"/>
                  <a:gd name="connsiteY17" fmla="*/ 283232 h 372981"/>
                  <a:gd name="connsiteX18" fmla="*/ 387657 w 567111"/>
                  <a:gd name="connsiteY18" fmla="*/ 287376 h 372981"/>
                  <a:gd name="connsiteX19" fmla="*/ 477236 w 567111"/>
                  <a:gd name="connsiteY19" fmla="*/ 372982 h 372981"/>
                  <a:gd name="connsiteX20" fmla="*/ 567111 w 567111"/>
                  <a:gd name="connsiteY20" fmla="*/ 283454 h 372981"/>
                  <a:gd name="connsiteX21" fmla="*/ 477310 w 567111"/>
                  <a:gd name="connsiteY21" fmla="*/ 193705 h 372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67111" h="372981">
                    <a:moveTo>
                      <a:pt x="477384" y="193483"/>
                    </a:moveTo>
                    <a:cubicBezTo>
                      <a:pt x="457082" y="193261"/>
                      <a:pt x="434854" y="205321"/>
                      <a:pt x="431965" y="203545"/>
                    </a:cubicBezTo>
                    <a:cubicBezTo>
                      <a:pt x="430335" y="202510"/>
                      <a:pt x="433224" y="194371"/>
                      <a:pt x="435076" y="189635"/>
                    </a:cubicBezTo>
                    <a:cubicBezTo>
                      <a:pt x="437077" y="184974"/>
                      <a:pt x="463751" y="104695"/>
                      <a:pt x="398623" y="76801"/>
                    </a:cubicBezTo>
                    <a:cubicBezTo>
                      <a:pt x="348758" y="55418"/>
                      <a:pt x="318231" y="79465"/>
                      <a:pt x="307784" y="90341"/>
                    </a:cubicBezTo>
                    <a:cubicBezTo>
                      <a:pt x="305043" y="93153"/>
                      <a:pt x="303783" y="92931"/>
                      <a:pt x="303487" y="89379"/>
                    </a:cubicBezTo>
                    <a:cubicBezTo>
                      <a:pt x="302449" y="74877"/>
                      <a:pt x="296003" y="35811"/>
                      <a:pt x="252955" y="22641"/>
                    </a:cubicBezTo>
                    <a:cubicBezTo>
                      <a:pt x="191457" y="3847"/>
                      <a:pt x="151892" y="46687"/>
                      <a:pt x="141889" y="62225"/>
                    </a:cubicBezTo>
                    <a:cubicBezTo>
                      <a:pt x="137369" y="27228"/>
                      <a:pt x="107732" y="74"/>
                      <a:pt x="71500" y="0"/>
                    </a:cubicBezTo>
                    <a:cubicBezTo>
                      <a:pt x="32082" y="0"/>
                      <a:pt x="74" y="31816"/>
                      <a:pt x="0" y="71252"/>
                    </a:cubicBezTo>
                    <a:cubicBezTo>
                      <a:pt x="0" y="110614"/>
                      <a:pt x="31934" y="142578"/>
                      <a:pt x="71426" y="142578"/>
                    </a:cubicBezTo>
                    <a:cubicBezTo>
                      <a:pt x="90616" y="142578"/>
                      <a:pt x="107954" y="134957"/>
                      <a:pt x="120772" y="122675"/>
                    </a:cubicBezTo>
                    <a:cubicBezTo>
                      <a:pt x="121217" y="123045"/>
                      <a:pt x="121365" y="123711"/>
                      <a:pt x="121143" y="125042"/>
                    </a:cubicBezTo>
                    <a:cubicBezTo>
                      <a:pt x="118105" y="142726"/>
                      <a:pt x="112622" y="206727"/>
                      <a:pt x="179825" y="232845"/>
                    </a:cubicBezTo>
                    <a:cubicBezTo>
                      <a:pt x="206795" y="243278"/>
                      <a:pt x="229690" y="235509"/>
                      <a:pt x="248658" y="222265"/>
                    </a:cubicBezTo>
                    <a:cubicBezTo>
                      <a:pt x="254289" y="218269"/>
                      <a:pt x="255252" y="219971"/>
                      <a:pt x="254437" y="225298"/>
                    </a:cubicBezTo>
                    <a:cubicBezTo>
                      <a:pt x="251992" y="241798"/>
                      <a:pt x="255104" y="277017"/>
                      <a:pt x="304598" y="297068"/>
                    </a:cubicBezTo>
                    <a:cubicBezTo>
                      <a:pt x="342238" y="312384"/>
                      <a:pt x="364540" y="296772"/>
                      <a:pt x="379210" y="283232"/>
                    </a:cubicBezTo>
                    <a:cubicBezTo>
                      <a:pt x="385582" y="277461"/>
                      <a:pt x="387286" y="278423"/>
                      <a:pt x="387657" y="287376"/>
                    </a:cubicBezTo>
                    <a:cubicBezTo>
                      <a:pt x="389435" y="335025"/>
                      <a:pt x="429075" y="372908"/>
                      <a:pt x="477236" y="372982"/>
                    </a:cubicBezTo>
                    <a:cubicBezTo>
                      <a:pt x="526878" y="372982"/>
                      <a:pt x="567111" y="332953"/>
                      <a:pt x="567111" y="283454"/>
                    </a:cubicBezTo>
                    <a:cubicBezTo>
                      <a:pt x="567111" y="233881"/>
                      <a:pt x="526953" y="194223"/>
                      <a:pt x="477310" y="193705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AR"/>
              </a:p>
            </p:txBody>
          </p:sp>
          <p:sp>
            <p:nvSpPr>
              <p:cNvPr id="58" name="Forma libre 57">
                <a:extLst>
                  <a:ext uri="{FF2B5EF4-FFF2-40B4-BE49-F238E27FC236}">
                    <a16:creationId xmlns:a16="http://schemas.microsoft.com/office/drawing/2014/main" id="{1DD2A2FA-5DCF-FC6D-9E1F-C811A3855172}"/>
                  </a:ext>
                </a:extLst>
              </p:cNvPr>
              <p:cNvSpPr/>
              <p:nvPr/>
            </p:nvSpPr>
            <p:spPr>
              <a:xfrm>
                <a:off x="2495169" y="234256"/>
                <a:ext cx="2128037" cy="1470691"/>
              </a:xfrm>
              <a:custGeom>
                <a:avLst/>
                <a:gdLst>
                  <a:gd name="connsiteX0" fmla="*/ 1064130 w 2128037"/>
                  <a:gd name="connsiteY0" fmla="*/ 0 h 1470691"/>
                  <a:gd name="connsiteX1" fmla="*/ 148 w 2128037"/>
                  <a:gd name="connsiteY1" fmla="*/ 694910 h 1470691"/>
                  <a:gd name="connsiteX2" fmla="*/ 0 w 2128037"/>
                  <a:gd name="connsiteY2" fmla="*/ 735605 h 1470691"/>
                  <a:gd name="connsiteX3" fmla="*/ 1063982 w 2128037"/>
                  <a:gd name="connsiteY3" fmla="*/ 1470691 h 1470691"/>
                  <a:gd name="connsiteX4" fmla="*/ 2128037 w 2128037"/>
                  <a:gd name="connsiteY4" fmla="*/ 735679 h 1470691"/>
                  <a:gd name="connsiteX5" fmla="*/ 2128037 w 2128037"/>
                  <a:gd name="connsiteY5" fmla="*/ 694910 h 1470691"/>
                  <a:gd name="connsiteX6" fmla="*/ 1064130 w 2128037"/>
                  <a:gd name="connsiteY6" fmla="*/ 0 h 1470691"/>
                  <a:gd name="connsiteX7" fmla="*/ 2080099 w 2128037"/>
                  <a:gd name="connsiteY7" fmla="*/ 617887 h 1470691"/>
                  <a:gd name="connsiteX8" fmla="*/ 1633167 w 2128037"/>
                  <a:gd name="connsiteY8" fmla="*/ 762981 h 1470691"/>
                  <a:gd name="connsiteX9" fmla="*/ 1235804 w 2128037"/>
                  <a:gd name="connsiteY9" fmla="*/ 425144 h 1470691"/>
                  <a:gd name="connsiteX10" fmla="*/ 1153412 w 2128037"/>
                  <a:gd name="connsiteY10" fmla="*/ 377273 h 1470691"/>
                  <a:gd name="connsiteX11" fmla="*/ 1113032 w 2128037"/>
                  <a:gd name="connsiteY11" fmla="*/ 370984 h 1470691"/>
                  <a:gd name="connsiteX12" fmla="*/ 1061685 w 2128037"/>
                  <a:gd name="connsiteY12" fmla="*/ 379641 h 1470691"/>
                  <a:gd name="connsiteX13" fmla="*/ 940838 w 2128037"/>
                  <a:gd name="connsiteY13" fmla="*/ 456072 h 1470691"/>
                  <a:gd name="connsiteX14" fmla="*/ 938838 w 2128037"/>
                  <a:gd name="connsiteY14" fmla="*/ 457700 h 1470691"/>
                  <a:gd name="connsiteX15" fmla="*/ 835626 w 2128037"/>
                  <a:gd name="connsiteY15" fmla="*/ 523254 h 1470691"/>
                  <a:gd name="connsiteX16" fmla="*/ 797394 w 2128037"/>
                  <a:gd name="connsiteY16" fmla="*/ 527546 h 1470691"/>
                  <a:gd name="connsiteX17" fmla="*/ 725597 w 2128037"/>
                  <a:gd name="connsiteY17" fmla="*/ 504461 h 1470691"/>
                  <a:gd name="connsiteX18" fmla="*/ 729153 w 2128037"/>
                  <a:gd name="connsiteY18" fmla="*/ 493215 h 1470691"/>
                  <a:gd name="connsiteX19" fmla="*/ 729672 w 2128037"/>
                  <a:gd name="connsiteY19" fmla="*/ 492475 h 1470691"/>
                  <a:gd name="connsiteX20" fmla="*/ 818510 w 2128037"/>
                  <a:gd name="connsiteY20" fmla="*/ 396954 h 1470691"/>
                  <a:gd name="connsiteX21" fmla="*/ 1104955 w 2128037"/>
                  <a:gd name="connsiteY21" fmla="*/ 258446 h 1470691"/>
                  <a:gd name="connsiteX22" fmla="*/ 1112513 w 2128037"/>
                  <a:gd name="connsiteY22" fmla="*/ 258298 h 1470691"/>
                  <a:gd name="connsiteX23" fmla="*/ 1311305 w 2128037"/>
                  <a:gd name="connsiteY23" fmla="*/ 305355 h 1470691"/>
                  <a:gd name="connsiteX24" fmla="*/ 1582191 w 2128037"/>
                  <a:gd name="connsiteY24" fmla="*/ 370244 h 1470691"/>
                  <a:gd name="connsiteX25" fmla="*/ 1878935 w 2128037"/>
                  <a:gd name="connsiteY25" fmla="*/ 299362 h 1470691"/>
                  <a:gd name="connsiteX26" fmla="*/ 2080099 w 2128037"/>
                  <a:gd name="connsiteY26" fmla="*/ 617961 h 1470691"/>
                  <a:gd name="connsiteX27" fmla="*/ 1064278 w 2128037"/>
                  <a:gd name="connsiteY27" fmla="*/ 40990 h 1470691"/>
                  <a:gd name="connsiteX28" fmla="*/ 1842926 w 2128037"/>
                  <a:gd name="connsiteY28" fmla="*/ 270876 h 1470691"/>
                  <a:gd name="connsiteX29" fmla="*/ 1582339 w 2128037"/>
                  <a:gd name="connsiteY29" fmla="*/ 329846 h 1470691"/>
                  <a:gd name="connsiteX30" fmla="*/ 1328866 w 2128037"/>
                  <a:gd name="connsiteY30" fmla="*/ 268952 h 1470691"/>
                  <a:gd name="connsiteX31" fmla="*/ 1112513 w 2128037"/>
                  <a:gd name="connsiteY31" fmla="*/ 217899 h 1470691"/>
                  <a:gd name="connsiteX32" fmla="*/ 1103992 w 2128037"/>
                  <a:gd name="connsiteY32" fmla="*/ 217973 h 1470691"/>
                  <a:gd name="connsiteX33" fmla="*/ 857335 w 2128037"/>
                  <a:gd name="connsiteY33" fmla="*/ 305429 h 1470691"/>
                  <a:gd name="connsiteX34" fmla="*/ 734266 w 2128037"/>
                  <a:gd name="connsiteY34" fmla="*/ 327848 h 1470691"/>
                  <a:gd name="connsiteX35" fmla="*/ 647577 w 2128037"/>
                  <a:gd name="connsiteY35" fmla="*/ 344422 h 1470691"/>
                  <a:gd name="connsiteX36" fmla="*/ 614679 w 2128037"/>
                  <a:gd name="connsiteY36" fmla="*/ 343312 h 1470691"/>
                  <a:gd name="connsiteX37" fmla="*/ 303857 w 2128037"/>
                  <a:gd name="connsiteY37" fmla="*/ 257410 h 1470691"/>
                  <a:gd name="connsiteX38" fmla="*/ 1064352 w 2128037"/>
                  <a:gd name="connsiteY38" fmla="*/ 40916 h 1470691"/>
                  <a:gd name="connsiteX39" fmla="*/ 266959 w 2128037"/>
                  <a:gd name="connsiteY39" fmla="*/ 285230 h 1470691"/>
                  <a:gd name="connsiteX40" fmla="*/ 603936 w 2128037"/>
                  <a:gd name="connsiteY40" fmla="*/ 382378 h 1470691"/>
                  <a:gd name="connsiteX41" fmla="*/ 647428 w 2128037"/>
                  <a:gd name="connsiteY41" fmla="*/ 384894 h 1470691"/>
                  <a:gd name="connsiteX42" fmla="*/ 745306 w 2128037"/>
                  <a:gd name="connsiteY42" fmla="*/ 366766 h 1470691"/>
                  <a:gd name="connsiteX43" fmla="*/ 806803 w 2128037"/>
                  <a:gd name="connsiteY43" fmla="*/ 351599 h 1470691"/>
                  <a:gd name="connsiteX44" fmla="*/ 789243 w 2128037"/>
                  <a:gd name="connsiteY44" fmla="*/ 368986 h 1470691"/>
                  <a:gd name="connsiteX45" fmla="*/ 699072 w 2128037"/>
                  <a:gd name="connsiteY45" fmla="*/ 466430 h 1470691"/>
                  <a:gd name="connsiteX46" fmla="*/ 686698 w 2128037"/>
                  <a:gd name="connsiteY46" fmla="*/ 516225 h 1470691"/>
                  <a:gd name="connsiteX47" fmla="*/ 710408 w 2128037"/>
                  <a:gd name="connsiteY47" fmla="*/ 542492 h 1470691"/>
                  <a:gd name="connsiteX48" fmla="*/ 806136 w 2128037"/>
                  <a:gd name="connsiteY48" fmla="*/ 566760 h 1470691"/>
                  <a:gd name="connsiteX49" fmla="*/ 844295 w 2128037"/>
                  <a:gd name="connsiteY49" fmla="*/ 562765 h 1470691"/>
                  <a:gd name="connsiteX50" fmla="*/ 963807 w 2128037"/>
                  <a:gd name="connsiteY50" fmla="*/ 489367 h 1470691"/>
                  <a:gd name="connsiteX51" fmla="*/ 1081320 w 2128037"/>
                  <a:gd name="connsiteY51" fmla="*/ 419151 h 1470691"/>
                  <a:gd name="connsiteX52" fmla="*/ 1114069 w 2128037"/>
                  <a:gd name="connsiteY52" fmla="*/ 414638 h 1470691"/>
                  <a:gd name="connsiteX53" fmla="*/ 1122516 w 2128037"/>
                  <a:gd name="connsiteY53" fmla="*/ 415156 h 1470691"/>
                  <a:gd name="connsiteX54" fmla="*/ 1211353 w 2128037"/>
                  <a:gd name="connsiteY54" fmla="*/ 457478 h 1470691"/>
                  <a:gd name="connsiteX55" fmla="*/ 1616274 w 2128037"/>
                  <a:gd name="connsiteY55" fmla="*/ 802121 h 1470691"/>
                  <a:gd name="connsiteX56" fmla="*/ 1635909 w 2128037"/>
                  <a:gd name="connsiteY56" fmla="*/ 850214 h 1470691"/>
                  <a:gd name="connsiteX57" fmla="*/ 1609680 w 2128037"/>
                  <a:gd name="connsiteY57" fmla="*/ 892019 h 1470691"/>
                  <a:gd name="connsiteX58" fmla="*/ 1566705 w 2128037"/>
                  <a:gd name="connsiteY58" fmla="*/ 905411 h 1470691"/>
                  <a:gd name="connsiteX59" fmla="*/ 1528695 w 2128037"/>
                  <a:gd name="connsiteY59" fmla="*/ 894460 h 1470691"/>
                  <a:gd name="connsiteX60" fmla="*/ 1373914 w 2128037"/>
                  <a:gd name="connsiteY60" fmla="*/ 756100 h 1470691"/>
                  <a:gd name="connsiteX61" fmla="*/ 1354502 w 2128037"/>
                  <a:gd name="connsiteY61" fmla="*/ 745741 h 1470691"/>
                  <a:gd name="connsiteX62" fmla="*/ 1345907 w 2128037"/>
                  <a:gd name="connsiteY62" fmla="*/ 749811 h 1470691"/>
                  <a:gd name="connsiteX63" fmla="*/ 1355243 w 2128037"/>
                  <a:gd name="connsiteY63" fmla="*/ 776151 h 1470691"/>
                  <a:gd name="connsiteX64" fmla="*/ 1486388 w 2128037"/>
                  <a:gd name="connsiteY64" fmla="*/ 907852 h 1470691"/>
                  <a:gd name="connsiteX65" fmla="*/ 1504541 w 2128037"/>
                  <a:gd name="connsiteY65" fmla="*/ 943293 h 1470691"/>
                  <a:gd name="connsiteX66" fmla="*/ 1473422 w 2128037"/>
                  <a:gd name="connsiteY66" fmla="*/ 997602 h 1470691"/>
                  <a:gd name="connsiteX67" fmla="*/ 1426965 w 2128037"/>
                  <a:gd name="connsiteY67" fmla="*/ 1012918 h 1470691"/>
                  <a:gd name="connsiteX68" fmla="*/ 1389548 w 2128037"/>
                  <a:gd name="connsiteY68" fmla="*/ 1001597 h 1470691"/>
                  <a:gd name="connsiteX69" fmla="*/ 1370728 w 2128037"/>
                  <a:gd name="connsiteY69" fmla="*/ 983100 h 1470691"/>
                  <a:gd name="connsiteX70" fmla="*/ 1274852 w 2128037"/>
                  <a:gd name="connsiteY70" fmla="*/ 892759 h 1470691"/>
                  <a:gd name="connsiteX71" fmla="*/ 1255291 w 2128037"/>
                  <a:gd name="connsiteY71" fmla="*/ 882622 h 1470691"/>
                  <a:gd name="connsiteX72" fmla="*/ 1246992 w 2128037"/>
                  <a:gd name="connsiteY72" fmla="*/ 886173 h 1470691"/>
                  <a:gd name="connsiteX73" fmla="*/ 1249363 w 2128037"/>
                  <a:gd name="connsiteY73" fmla="*/ 905189 h 1470691"/>
                  <a:gd name="connsiteX74" fmla="*/ 1255958 w 2128037"/>
                  <a:gd name="connsiteY74" fmla="*/ 912588 h 1470691"/>
                  <a:gd name="connsiteX75" fmla="*/ 1351612 w 2128037"/>
                  <a:gd name="connsiteY75" fmla="*/ 1019947 h 1470691"/>
                  <a:gd name="connsiteX76" fmla="*/ 1353761 w 2128037"/>
                  <a:gd name="connsiteY76" fmla="*/ 1065746 h 1470691"/>
                  <a:gd name="connsiteX77" fmla="*/ 1350353 w 2128037"/>
                  <a:gd name="connsiteY77" fmla="*/ 1070038 h 1470691"/>
                  <a:gd name="connsiteX78" fmla="*/ 1341461 w 2128037"/>
                  <a:gd name="connsiteY78" fmla="*/ 1078620 h 1470691"/>
                  <a:gd name="connsiteX79" fmla="*/ 1294709 w 2128037"/>
                  <a:gd name="connsiteY79" fmla="*/ 1093418 h 1470691"/>
                  <a:gd name="connsiteX80" fmla="*/ 1281742 w 2128037"/>
                  <a:gd name="connsiteY80" fmla="*/ 1092309 h 1470691"/>
                  <a:gd name="connsiteX81" fmla="*/ 1262848 w 2128037"/>
                  <a:gd name="connsiteY81" fmla="*/ 1084392 h 1470691"/>
                  <a:gd name="connsiteX82" fmla="*/ 1261663 w 2128037"/>
                  <a:gd name="connsiteY82" fmla="*/ 1083208 h 1470691"/>
                  <a:gd name="connsiteX83" fmla="*/ 1168305 w 2128037"/>
                  <a:gd name="connsiteY83" fmla="*/ 995382 h 1470691"/>
                  <a:gd name="connsiteX84" fmla="*/ 1149708 w 2128037"/>
                  <a:gd name="connsiteY84" fmla="*/ 985467 h 1470691"/>
                  <a:gd name="connsiteX85" fmla="*/ 1141039 w 2128037"/>
                  <a:gd name="connsiteY85" fmla="*/ 989315 h 1470691"/>
                  <a:gd name="connsiteX86" fmla="*/ 1150078 w 2128037"/>
                  <a:gd name="connsiteY86" fmla="*/ 1015581 h 1470691"/>
                  <a:gd name="connsiteX87" fmla="*/ 1231655 w 2128037"/>
                  <a:gd name="connsiteY87" fmla="*/ 1105479 h 1470691"/>
                  <a:gd name="connsiteX88" fmla="*/ 1228617 w 2128037"/>
                  <a:gd name="connsiteY88" fmla="*/ 1110954 h 1470691"/>
                  <a:gd name="connsiteX89" fmla="*/ 1186162 w 2128037"/>
                  <a:gd name="connsiteY89" fmla="*/ 1128563 h 1470691"/>
                  <a:gd name="connsiteX90" fmla="*/ 1175344 w 2128037"/>
                  <a:gd name="connsiteY90" fmla="*/ 1129229 h 1470691"/>
                  <a:gd name="connsiteX91" fmla="*/ 1095397 w 2128037"/>
                  <a:gd name="connsiteY91" fmla="*/ 1105553 h 1470691"/>
                  <a:gd name="connsiteX92" fmla="*/ 1107030 w 2128037"/>
                  <a:gd name="connsiteY92" fmla="*/ 1053908 h 1470691"/>
                  <a:gd name="connsiteX93" fmla="*/ 985294 w 2128037"/>
                  <a:gd name="connsiteY93" fmla="*/ 932195 h 1470691"/>
                  <a:gd name="connsiteX94" fmla="*/ 980923 w 2128037"/>
                  <a:gd name="connsiteY94" fmla="*/ 932269 h 1470691"/>
                  <a:gd name="connsiteX95" fmla="*/ 919129 w 2128037"/>
                  <a:gd name="connsiteY95" fmla="*/ 818103 h 1470691"/>
                  <a:gd name="connsiteX96" fmla="*/ 868227 w 2128037"/>
                  <a:gd name="connsiteY96" fmla="*/ 806857 h 1470691"/>
                  <a:gd name="connsiteX97" fmla="*/ 830884 w 2128037"/>
                  <a:gd name="connsiteY97" fmla="*/ 813590 h 1470691"/>
                  <a:gd name="connsiteX98" fmla="*/ 771313 w 2128037"/>
                  <a:gd name="connsiteY98" fmla="*/ 763055 h 1470691"/>
                  <a:gd name="connsiteX99" fmla="*/ 727597 w 2128037"/>
                  <a:gd name="connsiteY99" fmla="*/ 755360 h 1470691"/>
                  <a:gd name="connsiteX100" fmla="*/ 659506 w 2128037"/>
                  <a:gd name="connsiteY100" fmla="*/ 777113 h 1470691"/>
                  <a:gd name="connsiteX101" fmla="*/ 579411 w 2128037"/>
                  <a:gd name="connsiteY101" fmla="*/ 738490 h 1470691"/>
                  <a:gd name="connsiteX102" fmla="*/ 506725 w 2128037"/>
                  <a:gd name="connsiteY102" fmla="*/ 768530 h 1470691"/>
                  <a:gd name="connsiteX103" fmla="*/ 110770 w 2128037"/>
                  <a:gd name="connsiteY103" fmla="*/ 624028 h 1470691"/>
                  <a:gd name="connsiteX104" fmla="*/ 50235 w 2128037"/>
                  <a:gd name="connsiteY104" fmla="*/ 607381 h 1470691"/>
                  <a:gd name="connsiteX105" fmla="*/ 266588 w 2128037"/>
                  <a:gd name="connsiteY105" fmla="*/ 285378 h 1470691"/>
                  <a:gd name="connsiteX106" fmla="*/ 767386 w 2128037"/>
                  <a:gd name="connsiteY106" fmla="*/ 986503 h 1470691"/>
                  <a:gd name="connsiteX107" fmla="*/ 764496 w 2128037"/>
                  <a:gd name="connsiteY107" fmla="*/ 983914 h 1470691"/>
                  <a:gd name="connsiteX108" fmla="*/ 761532 w 2128037"/>
                  <a:gd name="connsiteY108" fmla="*/ 983914 h 1470691"/>
                  <a:gd name="connsiteX109" fmla="*/ 753308 w 2128037"/>
                  <a:gd name="connsiteY109" fmla="*/ 987243 h 1470691"/>
                  <a:gd name="connsiteX110" fmla="*/ 713001 w 2128037"/>
                  <a:gd name="connsiteY110" fmla="*/ 1001597 h 1470691"/>
                  <a:gd name="connsiteX111" fmla="*/ 690477 w 2128037"/>
                  <a:gd name="connsiteY111" fmla="*/ 997232 h 1470691"/>
                  <a:gd name="connsiteX112" fmla="*/ 635944 w 2128037"/>
                  <a:gd name="connsiteY112" fmla="*/ 896236 h 1470691"/>
                  <a:gd name="connsiteX113" fmla="*/ 633202 w 2128037"/>
                  <a:gd name="connsiteY113" fmla="*/ 887949 h 1470691"/>
                  <a:gd name="connsiteX114" fmla="*/ 628757 w 2128037"/>
                  <a:gd name="connsiteY114" fmla="*/ 884324 h 1470691"/>
                  <a:gd name="connsiteX115" fmla="*/ 624608 w 2128037"/>
                  <a:gd name="connsiteY115" fmla="*/ 888245 h 1470691"/>
                  <a:gd name="connsiteX116" fmla="*/ 579707 w 2128037"/>
                  <a:gd name="connsiteY116" fmla="*/ 906373 h 1470691"/>
                  <a:gd name="connsiteX117" fmla="*/ 514801 w 2128037"/>
                  <a:gd name="connsiteY117" fmla="*/ 841484 h 1470691"/>
                  <a:gd name="connsiteX118" fmla="*/ 579855 w 2128037"/>
                  <a:gd name="connsiteY118" fmla="*/ 776743 h 1470691"/>
                  <a:gd name="connsiteX119" fmla="*/ 643872 w 2128037"/>
                  <a:gd name="connsiteY119" fmla="*/ 833345 h 1470691"/>
                  <a:gd name="connsiteX120" fmla="*/ 646095 w 2128037"/>
                  <a:gd name="connsiteY120" fmla="*/ 850732 h 1470691"/>
                  <a:gd name="connsiteX121" fmla="*/ 655653 w 2128037"/>
                  <a:gd name="connsiteY121" fmla="*/ 836009 h 1470691"/>
                  <a:gd name="connsiteX122" fmla="*/ 731228 w 2128037"/>
                  <a:gd name="connsiteY122" fmla="*/ 794722 h 1470691"/>
                  <a:gd name="connsiteX123" fmla="*/ 759458 w 2128037"/>
                  <a:gd name="connsiteY123" fmla="*/ 799162 h 1470691"/>
                  <a:gd name="connsiteX124" fmla="*/ 805396 w 2128037"/>
                  <a:gd name="connsiteY124" fmla="*/ 860203 h 1470691"/>
                  <a:gd name="connsiteX125" fmla="*/ 813250 w 2128037"/>
                  <a:gd name="connsiteY125" fmla="*/ 869082 h 1470691"/>
                  <a:gd name="connsiteX126" fmla="*/ 820733 w 2128037"/>
                  <a:gd name="connsiteY126" fmla="*/ 865160 h 1470691"/>
                  <a:gd name="connsiteX127" fmla="*/ 868523 w 2128037"/>
                  <a:gd name="connsiteY127" fmla="*/ 845035 h 1470691"/>
                  <a:gd name="connsiteX128" fmla="*/ 904310 w 2128037"/>
                  <a:gd name="connsiteY128" fmla="*/ 853100 h 1470691"/>
                  <a:gd name="connsiteX129" fmla="*/ 937430 w 2128037"/>
                  <a:gd name="connsiteY129" fmla="*/ 957647 h 1470691"/>
                  <a:gd name="connsiteX130" fmla="*/ 936911 w 2128037"/>
                  <a:gd name="connsiteY130" fmla="*/ 979474 h 1470691"/>
                  <a:gd name="connsiteX131" fmla="*/ 939282 w 2128037"/>
                  <a:gd name="connsiteY131" fmla="*/ 980584 h 1470691"/>
                  <a:gd name="connsiteX132" fmla="*/ 941061 w 2128037"/>
                  <a:gd name="connsiteY132" fmla="*/ 980584 h 1470691"/>
                  <a:gd name="connsiteX133" fmla="*/ 952916 w 2128037"/>
                  <a:gd name="connsiteY133" fmla="*/ 977477 h 1470691"/>
                  <a:gd name="connsiteX134" fmla="*/ 985517 w 2128037"/>
                  <a:gd name="connsiteY134" fmla="*/ 970300 h 1470691"/>
                  <a:gd name="connsiteX135" fmla="*/ 985517 w 2128037"/>
                  <a:gd name="connsiteY135" fmla="*/ 970300 h 1470691"/>
                  <a:gd name="connsiteX136" fmla="*/ 1068946 w 2128037"/>
                  <a:gd name="connsiteY136" fmla="*/ 1053612 h 1470691"/>
                  <a:gd name="connsiteX137" fmla="*/ 985443 w 2128037"/>
                  <a:gd name="connsiteY137" fmla="*/ 1136776 h 1470691"/>
                  <a:gd name="connsiteX138" fmla="*/ 902236 w 2128037"/>
                  <a:gd name="connsiteY138" fmla="*/ 1057311 h 1470691"/>
                  <a:gd name="connsiteX139" fmla="*/ 893122 w 2128037"/>
                  <a:gd name="connsiteY139" fmla="*/ 1043401 h 1470691"/>
                  <a:gd name="connsiteX140" fmla="*/ 883045 w 2128037"/>
                  <a:gd name="connsiteY140" fmla="*/ 1048729 h 1470691"/>
                  <a:gd name="connsiteX141" fmla="*/ 842146 w 2128037"/>
                  <a:gd name="connsiteY141" fmla="*/ 1067152 h 1470691"/>
                  <a:gd name="connsiteX142" fmla="*/ 815176 w 2128037"/>
                  <a:gd name="connsiteY142" fmla="*/ 1061307 h 1470691"/>
                  <a:gd name="connsiteX143" fmla="*/ 768942 w 2128037"/>
                  <a:gd name="connsiteY143" fmla="*/ 996418 h 1470691"/>
                  <a:gd name="connsiteX144" fmla="*/ 767237 w 2128037"/>
                  <a:gd name="connsiteY144" fmla="*/ 986429 h 1470691"/>
                  <a:gd name="connsiteX145" fmla="*/ 1064278 w 2128037"/>
                  <a:gd name="connsiteY145" fmla="*/ 1348165 h 1470691"/>
                  <a:gd name="connsiteX146" fmla="*/ 41196 w 2128037"/>
                  <a:gd name="connsiteY146" fmla="*/ 694614 h 1470691"/>
                  <a:gd name="connsiteX147" fmla="*/ 43641 w 2128037"/>
                  <a:gd name="connsiteY147" fmla="*/ 651404 h 1470691"/>
                  <a:gd name="connsiteX148" fmla="*/ 102323 w 2128037"/>
                  <a:gd name="connsiteY148" fmla="*/ 665315 h 1470691"/>
                  <a:gd name="connsiteX149" fmla="*/ 484349 w 2128037"/>
                  <a:gd name="connsiteY149" fmla="*/ 802047 h 1470691"/>
                  <a:gd name="connsiteX150" fmla="*/ 476421 w 2128037"/>
                  <a:gd name="connsiteY150" fmla="*/ 841632 h 1470691"/>
                  <a:gd name="connsiteX151" fmla="*/ 579633 w 2128037"/>
                  <a:gd name="connsiteY151" fmla="*/ 944847 h 1470691"/>
                  <a:gd name="connsiteX152" fmla="*/ 598601 w 2128037"/>
                  <a:gd name="connsiteY152" fmla="*/ 943071 h 1470691"/>
                  <a:gd name="connsiteX153" fmla="*/ 676473 w 2128037"/>
                  <a:gd name="connsiteY153" fmla="*/ 1032969 h 1470691"/>
                  <a:gd name="connsiteX154" fmla="*/ 713297 w 2128037"/>
                  <a:gd name="connsiteY154" fmla="*/ 1040072 h 1470691"/>
                  <a:gd name="connsiteX155" fmla="*/ 736785 w 2128037"/>
                  <a:gd name="connsiteY155" fmla="*/ 1037186 h 1470691"/>
                  <a:gd name="connsiteX156" fmla="*/ 800876 w 2128037"/>
                  <a:gd name="connsiteY156" fmla="*/ 1097044 h 1470691"/>
                  <a:gd name="connsiteX157" fmla="*/ 841405 w 2128037"/>
                  <a:gd name="connsiteY157" fmla="*/ 1105405 h 1470691"/>
                  <a:gd name="connsiteX158" fmla="*/ 872895 w 2128037"/>
                  <a:gd name="connsiteY158" fmla="*/ 1099782 h 1470691"/>
                  <a:gd name="connsiteX159" fmla="*/ 985443 w 2128037"/>
                  <a:gd name="connsiteY159" fmla="*/ 1175251 h 1470691"/>
                  <a:gd name="connsiteX160" fmla="*/ 1072725 w 2128037"/>
                  <a:gd name="connsiteY160" fmla="*/ 1138330 h 1470691"/>
                  <a:gd name="connsiteX161" fmla="*/ 1175789 w 2128037"/>
                  <a:gd name="connsiteY161" fmla="*/ 1169110 h 1470691"/>
                  <a:gd name="connsiteX162" fmla="*/ 1191422 w 2128037"/>
                  <a:gd name="connsiteY162" fmla="*/ 1168148 h 1470691"/>
                  <a:gd name="connsiteX163" fmla="*/ 1261292 w 2128037"/>
                  <a:gd name="connsiteY163" fmla="*/ 1133965 h 1470691"/>
                  <a:gd name="connsiteX164" fmla="*/ 1265590 w 2128037"/>
                  <a:gd name="connsiteY164" fmla="*/ 1126936 h 1470691"/>
                  <a:gd name="connsiteX165" fmla="*/ 1298636 w 2128037"/>
                  <a:gd name="connsiteY165" fmla="*/ 1132115 h 1470691"/>
                  <a:gd name="connsiteX166" fmla="*/ 1365245 w 2128037"/>
                  <a:gd name="connsiteY166" fmla="*/ 1108364 h 1470691"/>
                  <a:gd name="connsiteX167" fmla="*/ 1404589 w 2128037"/>
                  <a:gd name="connsiteY167" fmla="*/ 1051244 h 1470691"/>
                  <a:gd name="connsiteX168" fmla="*/ 1404663 w 2128037"/>
                  <a:gd name="connsiteY168" fmla="*/ 1050430 h 1470691"/>
                  <a:gd name="connsiteX169" fmla="*/ 1426965 w 2128037"/>
                  <a:gd name="connsiteY169" fmla="*/ 1052650 h 1470691"/>
                  <a:gd name="connsiteX170" fmla="*/ 1495428 w 2128037"/>
                  <a:gd name="connsiteY170" fmla="*/ 1030971 h 1470691"/>
                  <a:gd name="connsiteX171" fmla="*/ 1544552 w 2128037"/>
                  <a:gd name="connsiteY171" fmla="*/ 943145 h 1470691"/>
                  <a:gd name="connsiteX172" fmla="*/ 1567150 w 2128037"/>
                  <a:gd name="connsiteY172" fmla="*/ 945513 h 1470691"/>
                  <a:gd name="connsiteX173" fmla="*/ 1631241 w 2128037"/>
                  <a:gd name="connsiteY173" fmla="*/ 925832 h 1470691"/>
                  <a:gd name="connsiteX174" fmla="*/ 1675845 w 2128037"/>
                  <a:gd name="connsiteY174" fmla="*/ 853396 h 1470691"/>
                  <a:gd name="connsiteX175" fmla="*/ 1661693 w 2128037"/>
                  <a:gd name="connsiteY175" fmla="*/ 794870 h 1470691"/>
                  <a:gd name="connsiteX176" fmla="*/ 2086026 w 2128037"/>
                  <a:gd name="connsiteY176" fmla="*/ 662207 h 1470691"/>
                  <a:gd name="connsiteX177" fmla="*/ 2087286 w 2128037"/>
                  <a:gd name="connsiteY177" fmla="*/ 694836 h 1470691"/>
                  <a:gd name="connsiteX178" fmla="*/ 1064278 w 2128037"/>
                  <a:gd name="connsiteY178" fmla="*/ 1348387 h 1470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</a:cxnLst>
                <a:rect l="l" t="t" r="r" b="b"/>
                <a:pathLst>
                  <a:path w="2128037" h="1470691">
                    <a:moveTo>
                      <a:pt x="1064130" y="0"/>
                    </a:moveTo>
                    <a:cubicBezTo>
                      <a:pt x="476495" y="0"/>
                      <a:pt x="148" y="312088"/>
                      <a:pt x="148" y="694910"/>
                    </a:cubicBezTo>
                    <a:cubicBezTo>
                      <a:pt x="148" y="704825"/>
                      <a:pt x="0" y="732127"/>
                      <a:pt x="0" y="735605"/>
                    </a:cubicBezTo>
                    <a:cubicBezTo>
                      <a:pt x="0" y="1141808"/>
                      <a:pt x="416331" y="1470691"/>
                      <a:pt x="1063982" y="1470691"/>
                    </a:cubicBezTo>
                    <a:cubicBezTo>
                      <a:pt x="1711632" y="1470691"/>
                      <a:pt x="2128037" y="1141808"/>
                      <a:pt x="2128037" y="735679"/>
                    </a:cubicBezTo>
                    <a:lnTo>
                      <a:pt x="2128037" y="694910"/>
                    </a:lnTo>
                    <a:cubicBezTo>
                      <a:pt x="2128037" y="312088"/>
                      <a:pt x="1651691" y="0"/>
                      <a:pt x="1064130" y="0"/>
                    </a:cubicBezTo>
                    <a:close/>
                    <a:moveTo>
                      <a:pt x="2080099" y="617887"/>
                    </a:moveTo>
                    <a:cubicBezTo>
                      <a:pt x="1848853" y="669236"/>
                      <a:pt x="1676364" y="743743"/>
                      <a:pt x="1633167" y="762981"/>
                    </a:cubicBezTo>
                    <a:cubicBezTo>
                      <a:pt x="1532252" y="675007"/>
                      <a:pt x="1299006" y="472498"/>
                      <a:pt x="1235804" y="425144"/>
                    </a:cubicBezTo>
                    <a:cubicBezTo>
                      <a:pt x="1199721" y="397990"/>
                      <a:pt x="1175048" y="383710"/>
                      <a:pt x="1153412" y="377273"/>
                    </a:cubicBezTo>
                    <a:cubicBezTo>
                      <a:pt x="1143706" y="374313"/>
                      <a:pt x="1130295" y="370984"/>
                      <a:pt x="1113032" y="370984"/>
                    </a:cubicBezTo>
                    <a:cubicBezTo>
                      <a:pt x="1096953" y="370984"/>
                      <a:pt x="1079690" y="373870"/>
                      <a:pt x="1061685" y="379641"/>
                    </a:cubicBezTo>
                    <a:cubicBezTo>
                      <a:pt x="1020859" y="392589"/>
                      <a:pt x="980182" y="424848"/>
                      <a:pt x="940838" y="456072"/>
                    </a:cubicBezTo>
                    <a:lnTo>
                      <a:pt x="938838" y="457700"/>
                    </a:lnTo>
                    <a:cubicBezTo>
                      <a:pt x="902162" y="486778"/>
                      <a:pt x="864300" y="516891"/>
                      <a:pt x="835626" y="523254"/>
                    </a:cubicBezTo>
                    <a:cubicBezTo>
                      <a:pt x="823104" y="526066"/>
                      <a:pt x="810212" y="527546"/>
                      <a:pt x="797394" y="527546"/>
                    </a:cubicBezTo>
                    <a:cubicBezTo>
                      <a:pt x="765237" y="527546"/>
                      <a:pt x="736415" y="518223"/>
                      <a:pt x="725597" y="504461"/>
                    </a:cubicBezTo>
                    <a:cubicBezTo>
                      <a:pt x="723819" y="502167"/>
                      <a:pt x="725004" y="498468"/>
                      <a:pt x="729153" y="493215"/>
                    </a:cubicBezTo>
                    <a:lnTo>
                      <a:pt x="729672" y="492475"/>
                    </a:lnTo>
                    <a:lnTo>
                      <a:pt x="818510" y="396954"/>
                    </a:lnTo>
                    <a:cubicBezTo>
                      <a:pt x="888084" y="327478"/>
                      <a:pt x="953731" y="261923"/>
                      <a:pt x="1104955" y="258446"/>
                    </a:cubicBezTo>
                    <a:cubicBezTo>
                      <a:pt x="1107475" y="258372"/>
                      <a:pt x="1109994" y="258298"/>
                      <a:pt x="1112513" y="258298"/>
                    </a:cubicBezTo>
                    <a:cubicBezTo>
                      <a:pt x="1206611" y="258372"/>
                      <a:pt x="1300710" y="300398"/>
                      <a:pt x="1311305" y="305355"/>
                    </a:cubicBezTo>
                    <a:cubicBezTo>
                      <a:pt x="1399551" y="348343"/>
                      <a:pt x="1490686" y="370170"/>
                      <a:pt x="1582191" y="370244"/>
                    </a:cubicBezTo>
                    <a:cubicBezTo>
                      <a:pt x="1677401" y="370244"/>
                      <a:pt x="1775649" y="346789"/>
                      <a:pt x="1878935" y="299362"/>
                    </a:cubicBezTo>
                    <a:cubicBezTo>
                      <a:pt x="1986815" y="389925"/>
                      <a:pt x="2058315" y="499060"/>
                      <a:pt x="2080099" y="617961"/>
                    </a:cubicBezTo>
                    <a:close/>
                    <a:moveTo>
                      <a:pt x="1064278" y="40990"/>
                    </a:moveTo>
                    <a:cubicBezTo>
                      <a:pt x="1376211" y="40990"/>
                      <a:pt x="1655247" y="130296"/>
                      <a:pt x="1842926" y="270876"/>
                    </a:cubicBezTo>
                    <a:cubicBezTo>
                      <a:pt x="1752235" y="310090"/>
                      <a:pt x="1665768" y="329846"/>
                      <a:pt x="1582339" y="329846"/>
                    </a:cubicBezTo>
                    <a:cubicBezTo>
                      <a:pt x="1496984" y="329772"/>
                      <a:pt x="1411702" y="309277"/>
                      <a:pt x="1328866" y="268952"/>
                    </a:cubicBezTo>
                    <a:cubicBezTo>
                      <a:pt x="1324494" y="266881"/>
                      <a:pt x="1220615" y="217973"/>
                      <a:pt x="1112513" y="217899"/>
                    </a:cubicBezTo>
                    <a:cubicBezTo>
                      <a:pt x="1109697" y="217899"/>
                      <a:pt x="1106808" y="217899"/>
                      <a:pt x="1103992" y="217973"/>
                    </a:cubicBezTo>
                    <a:cubicBezTo>
                      <a:pt x="976996" y="220933"/>
                      <a:pt x="905422" y="265993"/>
                      <a:pt x="857335" y="305429"/>
                    </a:cubicBezTo>
                    <a:cubicBezTo>
                      <a:pt x="810582" y="306613"/>
                      <a:pt x="770201" y="317859"/>
                      <a:pt x="734266" y="327848"/>
                    </a:cubicBezTo>
                    <a:cubicBezTo>
                      <a:pt x="702183" y="336727"/>
                      <a:pt x="674547" y="344422"/>
                      <a:pt x="647577" y="344422"/>
                    </a:cubicBezTo>
                    <a:cubicBezTo>
                      <a:pt x="636463" y="344422"/>
                      <a:pt x="616457" y="343386"/>
                      <a:pt x="614679" y="343312"/>
                    </a:cubicBezTo>
                    <a:cubicBezTo>
                      <a:pt x="583708" y="342350"/>
                      <a:pt x="428112" y="304245"/>
                      <a:pt x="303857" y="257410"/>
                    </a:cubicBezTo>
                    <a:cubicBezTo>
                      <a:pt x="491091" y="124524"/>
                      <a:pt x="762421" y="40916"/>
                      <a:pt x="1064352" y="40916"/>
                    </a:cubicBezTo>
                    <a:close/>
                    <a:moveTo>
                      <a:pt x="266959" y="285230"/>
                    </a:moveTo>
                    <a:cubicBezTo>
                      <a:pt x="396696" y="338206"/>
                      <a:pt x="554145" y="379197"/>
                      <a:pt x="603936" y="382378"/>
                    </a:cubicBezTo>
                    <a:cubicBezTo>
                      <a:pt x="617791" y="383266"/>
                      <a:pt x="632610" y="384894"/>
                      <a:pt x="647428" y="384894"/>
                    </a:cubicBezTo>
                    <a:cubicBezTo>
                      <a:pt x="680474" y="384894"/>
                      <a:pt x="713446" y="375645"/>
                      <a:pt x="745306" y="366766"/>
                    </a:cubicBezTo>
                    <a:cubicBezTo>
                      <a:pt x="764126" y="361513"/>
                      <a:pt x="784946" y="355742"/>
                      <a:pt x="806803" y="351599"/>
                    </a:cubicBezTo>
                    <a:cubicBezTo>
                      <a:pt x="800950" y="357296"/>
                      <a:pt x="795097" y="363141"/>
                      <a:pt x="789243" y="368986"/>
                    </a:cubicBezTo>
                    <a:lnTo>
                      <a:pt x="699072" y="466430"/>
                    </a:lnTo>
                    <a:cubicBezTo>
                      <a:pt x="691958" y="473607"/>
                      <a:pt x="676547" y="492697"/>
                      <a:pt x="686698" y="516225"/>
                    </a:cubicBezTo>
                    <a:cubicBezTo>
                      <a:pt x="690699" y="525696"/>
                      <a:pt x="698923" y="534797"/>
                      <a:pt x="710408" y="542492"/>
                    </a:cubicBezTo>
                    <a:cubicBezTo>
                      <a:pt x="731895" y="556920"/>
                      <a:pt x="770424" y="566760"/>
                      <a:pt x="806136" y="566760"/>
                    </a:cubicBezTo>
                    <a:cubicBezTo>
                      <a:pt x="819696" y="566760"/>
                      <a:pt x="832588" y="565429"/>
                      <a:pt x="844295" y="562765"/>
                    </a:cubicBezTo>
                    <a:cubicBezTo>
                      <a:pt x="882156" y="554330"/>
                      <a:pt x="921796" y="522737"/>
                      <a:pt x="963807" y="489367"/>
                    </a:cubicBezTo>
                    <a:cubicBezTo>
                      <a:pt x="997297" y="462805"/>
                      <a:pt x="1044866" y="429066"/>
                      <a:pt x="1081320" y="419151"/>
                    </a:cubicBezTo>
                    <a:cubicBezTo>
                      <a:pt x="1091544" y="416414"/>
                      <a:pt x="1103992" y="414638"/>
                      <a:pt x="1114069" y="414638"/>
                    </a:cubicBezTo>
                    <a:cubicBezTo>
                      <a:pt x="1117107" y="414638"/>
                      <a:pt x="1119922" y="414786"/>
                      <a:pt x="1122516" y="415156"/>
                    </a:cubicBezTo>
                    <a:cubicBezTo>
                      <a:pt x="1146522" y="418189"/>
                      <a:pt x="1169787" y="426328"/>
                      <a:pt x="1211353" y="457478"/>
                    </a:cubicBezTo>
                    <a:cubicBezTo>
                      <a:pt x="1285447" y="513044"/>
                      <a:pt x="1613088" y="799310"/>
                      <a:pt x="1616274" y="802121"/>
                    </a:cubicBezTo>
                    <a:cubicBezTo>
                      <a:pt x="1616496" y="802269"/>
                      <a:pt x="1637391" y="820323"/>
                      <a:pt x="1635909" y="850214"/>
                    </a:cubicBezTo>
                    <a:cubicBezTo>
                      <a:pt x="1635094" y="866936"/>
                      <a:pt x="1625832" y="881734"/>
                      <a:pt x="1609680" y="892019"/>
                    </a:cubicBezTo>
                    <a:cubicBezTo>
                      <a:pt x="1595676" y="900897"/>
                      <a:pt x="1581302" y="905411"/>
                      <a:pt x="1566705" y="905411"/>
                    </a:cubicBezTo>
                    <a:cubicBezTo>
                      <a:pt x="1544774" y="905411"/>
                      <a:pt x="1529733" y="895126"/>
                      <a:pt x="1528695" y="894460"/>
                    </a:cubicBezTo>
                    <a:cubicBezTo>
                      <a:pt x="1527510" y="893498"/>
                      <a:pt x="1415258" y="790653"/>
                      <a:pt x="1373914" y="756100"/>
                    </a:cubicBezTo>
                    <a:cubicBezTo>
                      <a:pt x="1367320" y="750625"/>
                      <a:pt x="1360948" y="745741"/>
                      <a:pt x="1354502" y="745741"/>
                    </a:cubicBezTo>
                    <a:cubicBezTo>
                      <a:pt x="1351020" y="745741"/>
                      <a:pt x="1347982" y="747221"/>
                      <a:pt x="1345907" y="749811"/>
                    </a:cubicBezTo>
                    <a:cubicBezTo>
                      <a:pt x="1339387" y="757802"/>
                      <a:pt x="1346648" y="768900"/>
                      <a:pt x="1355243" y="776151"/>
                    </a:cubicBezTo>
                    <a:lnTo>
                      <a:pt x="1486388" y="907852"/>
                    </a:lnTo>
                    <a:cubicBezTo>
                      <a:pt x="1486388" y="907852"/>
                      <a:pt x="1502763" y="923094"/>
                      <a:pt x="1504541" y="943293"/>
                    </a:cubicBezTo>
                    <a:cubicBezTo>
                      <a:pt x="1505578" y="965120"/>
                      <a:pt x="1495131" y="983396"/>
                      <a:pt x="1473422" y="997602"/>
                    </a:cubicBezTo>
                    <a:cubicBezTo>
                      <a:pt x="1457936" y="1007812"/>
                      <a:pt x="1442303" y="1012918"/>
                      <a:pt x="1426965" y="1012918"/>
                    </a:cubicBezTo>
                    <a:cubicBezTo>
                      <a:pt x="1406812" y="1012918"/>
                      <a:pt x="1392660" y="1003743"/>
                      <a:pt x="1389548" y="1001597"/>
                    </a:cubicBezTo>
                    <a:lnTo>
                      <a:pt x="1370728" y="983100"/>
                    </a:lnTo>
                    <a:cubicBezTo>
                      <a:pt x="1336349" y="949287"/>
                      <a:pt x="1300858" y="914363"/>
                      <a:pt x="1274852" y="892759"/>
                    </a:cubicBezTo>
                    <a:cubicBezTo>
                      <a:pt x="1268479" y="887505"/>
                      <a:pt x="1261737" y="882622"/>
                      <a:pt x="1255291" y="882622"/>
                    </a:cubicBezTo>
                    <a:cubicBezTo>
                      <a:pt x="1252105" y="882622"/>
                      <a:pt x="1249215" y="883806"/>
                      <a:pt x="1246992" y="886173"/>
                    </a:cubicBezTo>
                    <a:cubicBezTo>
                      <a:pt x="1244029" y="889429"/>
                      <a:pt x="1241954" y="895348"/>
                      <a:pt x="1249363" y="905189"/>
                    </a:cubicBezTo>
                    <a:cubicBezTo>
                      <a:pt x="1252327" y="909258"/>
                      <a:pt x="1255958" y="912588"/>
                      <a:pt x="1255958" y="912588"/>
                    </a:cubicBezTo>
                    <a:lnTo>
                      <a:pt x="1351612" y="1019947"/>
                    </a:lnTo>
                    <a:cubicBezTo>
                      <a:pt x="1352353" y="1020909"/>
                      <a:pt x="1371321" y="1043401"/>
                      <a:pt x="1353761" y="1065746"/>
                    </a:cubicBezTo>
                    <a:lnTo>
                      <a:pt x="1350353" y="1070038"/>
                    </a:lnTo>
                    <a:cubicBezTo>
                      <a:pt x="1347463" y="1073145"/>
                      <a:pt x="1344425" y="1076105"/>
                      <a:pt x="1341461" y="1078620"/>
                    </a:cubicBezTo>
                    <a:cubicBezTo>
                      <a:pt x="1325161" y="1092012"/>
                      <a:pt x="1303378" y="1093418"/>
                      <a:pt x="1294709" y="1093418"/>
                    </a:cubicBezTo>
                    <a:cubicBezTo>
                      <a:pt x="1290041" y="1093418"/>
                      <a:pt x="1285669" y="1093048"/>
                      <a:pt x="1281742" y="1092309"/>
                    </a:cubicBezTo>
                    <a:cubicBezTo>
                      <a:pt x="1272332" y="1090607"/>
                      <a:pt x="1265960" y="1088017"/>
                      <a:pt x="1262848" y="1084392"/>
                    </a:cubicBezTo>
                    <a:lnTo>
                      <a:pt x="1261663" y="1083208"/>
                    </a:lnTo>
                    <a:cubicBezTo>
                      <a:pt x="1256476" y="1077807"/>
                      <a:pt x="1208241" y="1028603"/>
                      <a:pt x="1168305" y="995382"/>
                    </a:cubicBezTo>
                    <a:cubicBezTo>
                      <a:pt x="1163045" y="990943"/>
                      <a:pt x="1156450" y="985467"/>
                      <a:pt x="1149708" y="985467"/>
                    </a:cubicBezTo>
                    <a:cubicBezTo>
                      <a:pt x="1146374" y="985467"/>
                      <a:pt x="1143410" y="986799"/>
                      <a:pt x="1141039" y="989315"/>
                    </a:cubicBezTo>
                    <a:cubicBezTo>
                      <a:pt x="1133185" y="997972"/>
                      <a:pt x="1145040" y="1010846"/>
                      <a:pt x="1150078" y="1015581"/>
                    </a:cubicBezTo>
                    <a:lnTo>
                      <a:pt x="1231655" y="1105479"/>
                    </a:lnTo>
                    <a:cubicBezTo>
                      <a:pt x="1231581" y="1106293"/>
                      <a:pt x="1230544" y="1108142"/>
                      <a:pt x="1228617" y="1110954"/>
                    </a:cubicBezTo>
                    <a:cubicBezTo>
                      <a:pt x="1225653" y="1115023"/>
                      <a:pt x="1215799" y="1124864"/>
                      <a:pt x="1186162" y="1128563"/>
                    </a:cubicBezTo>
                    <a:cubicBezTo>
                      <a:pt x="1182605" y="1129007"/>
                      <a:pt x="1178901" y="1129229"/>
                      <a:pt x="1175344" y="1129229"/>
                    </a:cubicBezTo>
                    <a:cubicBezTo>
                      <a:pt x="1144817" y="1129229"/>
                      <a:pt x="1112216" y="1114431"/>
                      <a:pt x="1095397" y="1105553"/>
                    </a:cubicBezTo>
                    <a:cubicBezTo>
                      <a:pt x="1103029" y="1089423"/>
                      <a:pt x="1107030" y="1071665"/>
                      <a:pt x="1107030" y="1053908"/>
                    </a:cubicBezTo>
                    <a:cubicBezTo>
                      <a:pt x="1107030" y="986799"/>
                      <a:pt x="1052497" y="932269"/>
                      <a:pt x="985294" y="932195"/>
                    </a:cubicBezTo>
                    <a:cubicBezTo>
                      <a:pt x="983887" y="932195"/>
                      <a:pt x="982331" y="932195"/>
                      <a:pt x="980923" y="932269"/>
                    </a:cubicBezTo>
                    <a:cubicBezTo>
                      <a:pt x="983072" y="901637"/>
                      <a:pt x="978774" y="843629"/>
                      <a:pt x="919129" y="818103"/>
                    </a:cubicBezTo>
                    <a:cubicBezTo>
                      <a:pt x="901939" y="810704"/>
                      <a:pt x="884824" y="806857"/>
                      <a:pt x="868227" y="806857"/>
                    </a:cubicBezTo>
                    <a:cubicBezTo>
                      <a:pt x="855186" y="806857"/>
                      <a:pt x="842665" y="809076"/>
                      <a:pt x="830884" y="813590"/>
                    </a:cubicBezTo>
                    <a:cubicBezTo>
                      <a:pt x="818510" y="789617"/>
                      <a:pt x="797986" y="772156"/>
                      <a:pt x="771313" y="763055"/>
                    </a:cubicBezTo>
                    <a:cubicBezTo>
                      <a:pt x="756494" y="757949"/>
                      <a:pt x="741823" y="755360"/>
                      <a:pt x="727597" y="755360"/>
                    </a:cubicBezTo>
                    <a:cubicBezTo>
                      <a:pt x="702776" y="755360"/>
                      <a:pt x="679881" y="762685"/>
                      <a:pt x="659506" y="777113"/>
                    </a:cubicBezTo>
                    <a:cubicBezTo>
                      <a:pt x="639945" y="752844"/>
                      <a:pt x="610456" y="738490"/>
                      <a:pt x="579411" y="738490"/>
                    </a:cubicBezTo>
                    <a:cubicBezTo>
                      <a:pt x="552218" y="738490"/>
                      <a:pt x="526063" y="749367"/>
                      <a:pt x="506725" y="768530"/>
                    </a:cubicBezTo>
                    <a:cubicBezTo>
                      <a:pt x="481311" y="749145"/>
                      <a:pt x="380544" y="685218"/>
                      <a:pt x="110770" y="624028"/>
                    </a:cubicBezTo>
                    <a:cubicBezTo>
                      <a:pt x="97877" y="621143"/>
                      <a:pt x="68611" y="612782"/>
                      <a:pt x="50235" y="607381"/>
                    </a:cubicBezTo>
                    <a:cubicBezTo>
                      <a:pt x="75501" y="486482"/>
                      <a:pt x="152484" y="376015"/>
                      <a:pt x="266588" y="285378"/>
                    </a:cubicBezTo>
                    <a:close/>
                    <a:moveTo>
                      <a:pt x="767386" y="986503"/>
                    </a:moveTo>
                    <a:lnTo>
                      <a:pt x="764496" y="983914"/>
                    </a:lnTo>
                    <a:lnTo>
                      <a:pt x="761532" y="983914"/>
                    </a:lnTo>
                    <a:cubicBezTo>
                      <a:pt x="759161" y="983914"/>
                      <a:pt x="756642" y="984876"/>
                      <a:pt x="753308" y="987243"/>
                    </a:cubicBezTo>
                    <a:cubicBezTo>
                      <a:pt x="739526" y="996936"/>
                      <a:pt x="726412" y="1001597"/>
                      <a:pt x="713001" y="1001597"/>
                    </a:cubicBezTo>
                    <a:cubicBezTo>
                      <a:pt x="705592" y="1001597"/>
                      <a:pt x="698034" y="1000117"/>
                      <a:pt x="690477" y="997232"/>
                    </a:cubicBezTo>
                    <a:cubicBezTo>
                      <a:pt x="627942" y="972889"/>
                      <a:pt x="632832" y="913994"/>
                      <a:pt x="635944" y="896236"/>
                    </a:cubicBezTo>
                    <a:cubicBezTo>
                      <a:pt x="636388" y="892611"/>
                      <a:pt x="635499" y="889873"/>
                      <a:pt x="633202" y="887949"/>
                    </a:cubicBezTo>
                    <a:lnTo>
                      <a:pt x="628757" y="884324"/>
                    </a:lnTo>
                    <a:lnTo>
                      <a:pt x="624608" y="888245"/>
                    </a:lnTo>
                    <a:cubicBezTo>
                      <a:pt x="612382" y="900010"/>
                      <a:pt x="596452" y="906373"/>
                      <a:pt x="579707" y="906373"/>
                    </a:cubicBezTo>
                    <a:cubicBezTo>
                      <a:pt x="543920" y="906373"/>
                      <a:pt x="514727" y="877295"/>
                      <a:pt x="514801" y="841484"/>
                    </a:cubicBezTo>
                    <a:cubicBezTo>
                      <a:pt x="514801" y="805747"/>
                      <a:pt x="543994" y="776669"/>
                      <a:pt x="579855" y="776743"/>
                    </a:cubicBezTo>
                    <a:cubicBezTo>
                      <a:pt x="612234" y="776743"/>
                      <a:pt x="639797" y="801011"/>
                      <a:pt x="643872" y="833345"/>
                    </a:cubicBezTo>
                    <a:lnTo>
                      <a:pt x="646095" y="850732"/>
                    </a:lnTo>
                    <a:lnTo>
                      <a:pt x="655653" y="836009"/>
                    </a:lnTo>
                    <a:cubicBezTo>
                      <a:pt x="656690" y="834307"/>
                      <a:pt x="682993" y="794648"/>
                      <a:pt x="731228" y="794722"/>
                    </a:cubicBezTo>
                    <a:cubicBezTo>
                      <a:pt x="740416" y="794722"/>
                      <a:pt x="749900" y="796202"/>
                      <a:pt x="759458" y="799162"/>
                    </a:cubicBezTo>
                    <a:cubicBezTo>
                      <a:pt x="797912" y="810852"/>
                      <a:pt x="804432" y="845701"/>
                      <a:pt x="805396" y="860203"/>
                    </a:cubicBezTo>
                    <a:cubicBezTo>
                      <a:pt x="806062" y="868638"/>
                      <a:pt x="812138" y="869082"/>
                      <a:pt x="813250" y="869082"/>
                    </a:cubicBezTo>
                    <a:cubicBezTo>
                      <a:pt x="816584" y="869082"/>
                      <a:pt x="819029" y="867010"/>
                      <a:pt x="820733" y="865160"/>
                    </a:cubicBezTo>
                    <a:cubicBezTo>
                      <a:pt x="827994" y="857613"/>
                      <a:pt x="843776" y="845035"/>
                      <a:pt x="868523" y="845035"/>
                    </a:cubicBezTo>
                    <a:cubicBezTo>
                      <a:pt x="879859" y="845035"/>
                      <a:pt x="891863" y="847773"/>
                      <a:pt x="904310" y="853100"/>
                    </a:cubicBezTo>
                    <a:cubicBezTo>
                      <a:pt x="965437" y="879292"/>
                      <a:pt x="937726" y="956834"/>
                      <a:pt x="937430" y="957647"/>
                    </a:cubicBezTo>
                    <a:cubicBezTo>
                      <a:pt x="932169" y="970522"/>
                      <a:pt x="931947" y="976145"/>
                      <a:pt x="936911" y="979474"/>
                    </a:cubicBezTo>
                    <a:lnTo>
                      <a:pt x="939282" y="980584"/>
                    </a:lnTo>
                    <a:lnTo>
                      <a:pt x="941061" y="980584"/>
                    </a:lnTo>
                    <a:cubicBezTo>
                      <a:pt x="943802" y="980584"/>
                      <a:pt x="947210" y="979400"/>
                      <a:pt x="952916" y="977477"/>
                    </a:cubicBezTo>
                    <a:cubicBezTo>
                      <a:pt x="961214" y="974591"/>
                      <a:pt x="973736" y="970300"/>
                      <a:pt x="985517" y="970300"/>
                    </a:cubicBezTo>
                    <a:lnTo>
                      <a:pt x="985517" y="970300"/>
                    </a:lnTo>
                    <a:cubicBezTo>
                      <a:pt x="1031529" y="970818"/>
                      <a:pt x="1068946" y="1008256"/>
                      <a:pt x="1068946" y="1053612"/>
                    </a:cubicBezTo>
                    <a:cubicBezTo>
                      <a:pt x="1068946" y="1099486"/>
                      <a:pt x="1031455" y="1136776"/>
                      <a:pt x="985443" y="1136776"/>
                    </a:cubicBezTo>
                    <a:cubicBezTo>
                      <a:pt x="940468" y="1136776"/>
                      <a:pt x="903866" y="1101779"/>
                      <a:pt x="902236" y="1057311"/>
                    </a:cubicBezTo>
                    <a:cubicBezTo>
                      <a:pt x="902087" y="1053464"/>
                      <a:pt x="901717" y="1043401"/>
                      <a:pt x="893122" y="1043401"/>
                    </a:cubicBezTo>
                    <a:cubicBezTo>
                      <a:pt x="889640" y="1043401"/>
                      <a:pt x="886528" y="1045547"/>
                      <a:pt x="883045" y="1048729"/>
                    </a:cubicBezTo>
                    <a:cubicBezTo>
                      <a:pt x="873117" y="1057903"/>
                      <a:pt x="860521" y="1067152"/>
                      <a:pt x="842146" y="1067152"/>
                    </a:cubicBezTo>
                    <a:cubicBezTo>
                      <a:pt x="833773" y="1067152"/>
                      <a:pt x="824734" y="1065228"/>
                      <a:pt x="815176" y="1061307"/>
                    </a:cubicBezTo>
                    <a:cubicBezTo>
                      <a:pt x="767682" y="1042070"/>
                      <a:pt x="767015" y="1009514"/>
                      <a:pt x="768942" y="996418"/>
                    </a:cubicBezTo>
                    <a:cubicBezTo>
                      <a:pt x="769460" y="992940"/>
                      <a:pt x="769608" y="989315"/>
                      <a:pt x="767237" y="986429"/>
                    </a:cubicBezTo>
                    <a:close/>
                    <a:moveTo>
                      <a:pt x="1064278" y="1348165"/>
                    </a:moveTo>
                    <a:cubicBezTo>
                      <a:pt x="499242" y="1348165"/>
                      <a:pt x="41196" y="1055536"/>
                      <a:pt x="41196" y="694614"/>
                    </a:cubicBezTo>
                    <a:cubicBezTo>
                      <a:pt x="41196" y="680112"/>
                      <a:pt x="42233" y="665684"/>
                      <a:pt x="43641" y="651404"/>
                    </a:cubicBezTo>
                    <a:cubicBezTo>
                      <a:pt x="48161" y="652514"/>
                      <a:pt x="93061" y="663169"/>
                      <a:pt x="102323" y="665315"/>
                    </a:cubicBezTo>
                    <a:cubicBezTo>
                      <a:pt x="377876" y="726430"/>
                      <a:pt x="468937" y="789987"/>
                      <a:pt x="484349" y="802047"/>
                    </a:cubicBezTo>
                    <a:cubicBezTo>
                      <a:pt x="479162" y="814552"/>
                      <a:pt x="476421" y="828018"/>
                      <a:pt x="476421" y="841632"/>
                    </a:cubicBezTo>
                    <a:cubicBezTo>
                      <a:pt x="476421" y="898530"/>
                      <a:pt x="522729" y="944847"/>
                      <a:pt x="579633" y="944847"/>
                    </a:cubicBezTo>
                    <a:cubicBezTo>
                      <a:pt x="586005" y="944847"/>
                      <a:pt x="592377" y="944255"/>
                      <a:pt x="598601" y="943071"/>
                    </a:cubicBezTo>
                    <a:cubicBezTo>
                      <a:pt x="607196" y="984950"/>
                      <a:pt x="634610" y="1016691"/>
                      <a:pt x="676473" y="1032969"/>
                    </a:cubicBezTo>
                    <a:cubicBezTo>
                      <a:pt x="688698" y="1037630"/>
                      <a:pt x="701072" y="1040072"/>
                      <a:pt x="713297" y="1040072"/>
                    </a:cubicBezTo>
                    <a:cubicBezTo>
                      <a:pt x="721151" y="1040072"/>
                      <a:pt x="729079" y="1039110"/>
                      <a:pt x="736785" y="1037186"/>
                    </a:cubicBezTo>
                    <a:cubicBezTo>
                      <a:pt x="744565" y="1056794"/>
                      <a:pt x="761903" y="1081284"/>
                      <a:pt x="800876" y="1097044"/>
                    </a:cubicBezTo>
                    <a:cubicBezTo>
                      <a:pt x="814509" y="1102519"/>
                      <a:pt x="828142" y="1105405"/>
                      <a:pt x="841405" y="1105405"/>
                    </a:cubicBezTo>
                    <a:cubicBezTo>
                      <a:pt x="852223" y="1105405"/>
                      <a:pt x="862818" y="1103481"/>
                      <a:pt x="872895" y="1099782"/>
                    </a:cubicBezTo>
                    <a:cubicBezTo>
                      <a:pt x="891566" y="1145137"/>
                      <a:pt x="935948" y="1175251"/>
                      <a:pt x="985443" y="1175251"/>
                    </a:cubicBezTo>
                    <a:cubicBezTo>
                      <a:pt x="1018266" y="1175251"/>
                      <a:pt x="1049756" y="1161933"/>
                      <a:pt x="1072725" y="1138330"/>
                    </a:cubicBezTo>
                    <a:cubicBezTo>
                      <a:pt x="1092359" y="1149281"/>
                      <a:pt x="1133852" y="1169036"/>
                      <a:pt x="1175789" y="1169110"/>
                    </a:cubicBezTo>
                    <a:cubicBezTo>
                      <a:pt x="1181197" y="1169110"/>
                      <a:pt x="1186236" y="1168740"/>
                      <a:pt x="1191422" y="1168148"/>
                    </a:cubicBezTo>
                    <a:cubicBezTo>
                      <a:pt x="1233063" y="1162895"/>
                      <a:pt x="1252401" y="1146617"/>
                      <a:pt x="1261292" y="1133965"/>
                    </a:cubicBezTo>
                    <a:cubicBezTo>
                      <a:pt x="1262922" y="1131745"/>
                      <a:pt x="1264330" y="1129377"/>
                      <a:pt x="1265590" y="1126936"/>
                    </a:cubicBezTo>
                    <a:cubicBezTo>
                      <a:pt x="1275370" y="1129747"/>
                      <a:pt x="1286188" y="1132041"/>
                      <a:pt x="1298636" y="1132115"/>
                    </a:cubicBezTo>
                    <a:cubicBezTo>
                      <a:pt x="1321382" y="1132115"/>
                      <a:pt x="1343166" y="1124346"/>
                      <a:pt x="1365245" y="1108364"/>
                    </a:cubicBezTo>
                    <a:cubicBezTo>
                      <a:pt x="1386955" y="1092752"/>
                      <a:pt x="1402366" y="1070334"/>
                      <a:pt x="1404589" y="1051244"/>
                    </a:cubicBezTo>
                    <a:cubicBezTo>
                      <a:pt x="1404589" y="1051022"/>
                      <a:pt x="1404589" y="1050726"/>
                      <a:pt x="1404663" y="1050430"/>
                    </a:cubicBezTo>
                    <a:cubicBezTo>
                      <a:pt x="1411998" y="1051910"/>
                      <a:pt x="1419482" y="1052650"/>
                      <a:pt x="1426965" y="1052650"/>
                    </a:cubicBezTo>
                    <a:cubicBezTo>
                      <a:pt x="1450379" y="1052650"/>
                      <a:pt x="1473422" y="1045399"/>
                      <a:pt x="1495428" y="1030971"/>
                    </a:cubicBezTo>
                    <a:cubicBezTo>
                      <a:pt x="1537883" y="1003225"/>
                      <a:pt x="1545218" y="966896"/>
                      <a:pt x="1544552" y="943145"/>
                    </a:cubicBezTo>
                    <a:cubicBezTo>
                      <a:pt x="1552035" y="944699"/>
                      <a:pt x="1559593" y="945513"/>
                      <a:pt x="1567150" y="945513"/>
                    </a:cubicBezTo>
                    <a:cubicBezTo>
                      <a:pt x="1589082" y="945513"/>
                      <a:pt x="1610717" y="938928"/>
                      <a:pt x="1631241" y="925832"/>
                    </a:cubicBezTo>
                    <a:cubicBezTo>
                      <a:pt x="1657544" y="909036"/>
                      <a:pt x="1673400" y="883288"/>
                      <a:pt x="1675845" y="853396"/>
                    </a:cubicBezTo>
                    <a:cubicBezTo>
                      <a:pt x="1677401" y="833049"/>
                      <a:pt x="1672363" y="812480"/>
                      <a:pt x="1661693" y="794870"/>
                    </a:cubicBezTo>
                    <a:cubicBezTo>
                      <a:pt x="1732675" y="764313"/>
                      <a:pt x="1894939" y="705195"/>
                      <a:pt x="2086026" y="662207"/>
                    </a:cubicBezTo>
                    <a:cubicBezTo>
                      <a:pt x="2086841" y="673009"/>
                      <a:pt x="2087286" y="683886"/>
                      <a:pt x="2087286" y="694836"/>
                    </a:cubicBezTo>
                    <a:cubicBezTo>
                      <a:pt x="2087286" y="1055758"/>
                      <a:pt x="1629240" y="1348387"/>
                      <a:pt x="1064278" y="1348387"/>
                    </a:cubicBezTo>
                    <a:close/>
                  </a:path>
                </a:pathLst>
              </a:custGeom>
              <a:solidFill>
                <a:srgbClr val="0A0080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AR"/>
              </a:p>
            </p:txBody>
          </p:sp>
        </p:grpSp>
      </p:grpSp>
      <p:sp>
        <p:nvSpPr>
          <p:cNvPr id="136" name="Rectángulo: esquinas diagonales redondeadas 12">
            <a:extLst>
              <a:ext uri="{FF2B5EF4-FFF2-40B4-BE49-F238E27FC236}">
                <a16:creationId xmlns:a16="http://schemas.microsoft.com/office/drawing/2014/main" id="{A31054B1-E040-769B-CBA0-FB94DCD39284}"/>
              </a:ext>
            </a:extLst>
          </p:cNvPr>
          <p:cNvSpPr/>
          <p:nvPr/>
        </p:nvSpPr>
        <p:spPr>
          <a:xfrm>
            <a:off x="4482822" y="3999579"/>
            <a:ext cx="961559" cy="507831"/>
          </a:xfrm>
          <a:prstGeom prst="round2DiagRect">
            <a:avLst>
              <a:gd name="adj1" fmla="val 0"/>
              <a:gd name="adj2" fmla="val 0"/>
            </a:avLst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es-AR" sz="1100">
                <a:solidFill>
                  <a:srgbClr val="2B327B"/>
                </a:solidFill>
                <a:latin typeface="Pulso" pitchFamily="2" charset="0"/>
                <a:ea typeface="Roboto" panose="02000000000000000000" pitchFamily="2" charset="0"/>
              </a:rPr>
              <a:t>Beneficios para fidelizar el ecosistema</a:t>
            </a:r>
          </a:p>
        </p:txBody>
      </p:sp>
      <p:grpSp>
        <p:nvGrpSpPr>
          <p:cNvPr id="41" name="Grupo 40">
            <a:extLst>
              <a:ext uri="{FF2B5EF4-FFF2-40B4-BE49-F238E27FC236}">
                <a16:creationId xmlns:a16="http://schemas.microsoft.com/office/drawing/2014/main" id="{BD0F4520-C8B2-5069-5466-A3E954D2B246}"/>
              </a:ext>
            </a:extLst>
          </p:cNvPr>
          <p:cNvGrpSpPr/>
          <p:nvPr/>
        </p:nvGrpSpPr>
        <p:grpSpPr>
          <a:xfrm>
            <a:off x="6838984" y="2226517"/>
            <a:ext cx="1870618" cy="1444961"/>
            <a:chOff x="6727282" y="2239217"/>
            <a:chExt cx="2030812" cy="1444961"/>
          </a:xfrm>
        </p:grpSpPr>
        <p:sp>
          <p:nvSpPr>
            <p:cNvPr id="16" name="Rectángulo redondeado 15">
              <a:extLst>
                <a:ext uri="{FF2B5EF4-FFF2-40B4-BE49-F238E27FC236}">
                  <a16:creationId xmlns:a16="http://schemas.microsoft.com/office/drawing/2014/main" id="{E6A06AED-E62C-A3CB-17DF-A2D3D37FC0F4}"/>
                </a:ext>
              </a:extLst>
            </p:cNvPr>
            <p:cNvSpPr/>
            <p:nvPr/>
          </p:nvSpPr>
          <p:spPr>
            <a:xfrm>
              <a:off x="6727282" y="2239217"/>
              <a:ext cx="639552" cy="296443"/>
            </a:xfrm>
            <a:prstGeom prst="roundRect">
              <a:avLst>
                <a:gd name="adj" fmla="val 13333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ES_tradnl" sz="900">
                  <a:solidFill>
                    <a:srgbClr val="002F6D"/>
                  </a:solidFill>
                  <a:latin typeface="Pulso" pitchFamily="2" charset="0"/>
                </a:rPr>
                <a:t>40%</a:t>
              </a:r>
            </a:p>
          </p:txBody>
        </p:sp>
        <p:sp>
          <p:nvSpPr>
            <p:cNvPr id="35" name="Rectángulo redondeado 34">
              <a:extLst>
                <a:ext uri="{FF2B5EF4-FFF2-40B4-BE49-F238E27FC236}">
                  <a16:creationId xmlns:a16="http://schemas.microsoft.com/office/drawing/2014/main" id="{EC048CA1-5F6D-1C2E-126B-A24B1F5EB3EA}"/>
                </a:ext>
              </a:extLst>
            </p:cNvPr>
            <p:cNvSpPr/>
            <p:nvPr/>
          </p:nvSpPr>
          <p:spPr>
            <a:xfrm>
              <a:off x="7422912" y="2239217"/>
              <a:ext cx="639552" cy="296443"/>
            </a:xfrm>
            <a:prstGeom prst="roundRect">
              <a:avLst>
                <a:gd name="adj" fmla="val 13333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ES_tradnl" sz="900">
                  <a:solidFill>
                    <a:srgbClr val="002F6D"/>
                  </a:solidFill>
                  <a:latin typeface="Pulso" pitchFamily="2" charset="0"/>
                </a:rPr>
                <a:t>66%</a:t>
              </a:r>
            </a:p>
          </p:txBody>
        </p:sp>
        <p:sp>
          <p:nvSpPr>
            <p:cNvPr id="17" name="Rectángulo redondeado 16">
              <a:extLst>
                <a:ext uri="{FF2B5EF4-FFF2-40B4-BE49-F238E27FC236}">
                  <a16:creationId xmlns:a16="http://schemas.microsoft.com/office/drawing/2014/main" id="{9F740599-96FE-68ED-EE07-912EA23E1695}"/>
                </a:ext>
              </a:extLst>
            </p:cNvPr>
            <p:cNvSpPr/>
            <p:nvPr/>
          </p:nvSpPr>
          <p:spPr>
            <a:xfrm>
              <a:off x="6727282" y="2628095"/>
              <a:ext cx="639552" cy="296443"/>
            </a:xfrm>
            <a:prstGeom prst="roundRect">
              <a:avLst>
                <a:gd name="adj" fmla="val 13333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ES_tradnl" sz="900">
                  <a:solidFill>
                    <a:srgbClr val="002F6D"/>
                  </a:solidFill>
                  <a:latin typeface="Pulso" pitchFamily="2" charset="0"/>
                </a:rPr>
                <a:t>53%</a:t>
              </a:r>
            </a:p>
          </p:txBody>
        </p:sp>
        <p:sp>
          <p:nvSpPr>
            <p:cNvPr id="47" name="Rectángulo redondeado 46">
              <a:extLst>
                <a:ext uri="{FF2B5EF4-FFF2-40B4-BE49-F238E27FC236}">
                  <a16:creationId xmlns:a16="http://schemas.microsoft.com/office/drawing/2014/main" id="{57B0F49C-F51A-A635-5F00-79C027BD92CD}"/>
                </a:ext>
              </a:extLst>
            </p:cNvPr>
            <p:cNvSpPr/>
            <p:nvPr/>
          </p:nvSpPr>
          <p:spPr>
            <a:xfrm>
              <a:off x="7422912" y="2628095"/>
              <a:ext cx="639552" cy="296443"/>
            </a:xfrm>
            <a:prstGeom prst="roundRect">
              <a:avLst>
                <a:gd name="adj" fmla="val 13333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ES_tradnl" sz="900">
                  <a:solidFill>
                    <a:srgbClr val="002F6D"/>
                  </a:solidFill>
                  <a:latin typeface="Pulso" pitchFamily="2" charset="0"/>
                </a:rPr>
                <a:t>35%</a:t>
              </a:r>
            </a:p>
          </p:txBody>
        </p:sp>
        <p:sp>
          <p:nvSpPr>
            <p:cNvPr id="34" name="Rectángulo redondeado 33">
              <a:extLst>
                <a:ext uri="{FF2B5EF4-FFF2-40B4-BE49-F238E27FC236}">
                  <a16:creationId xmlns:a16="http://schemas.microsoft.com/office/drawing/2014/main" id="{C03ED12D-46FC-FF6A-6412-6CBA4A3661EC}"/>
                </a:ext>
              </a:extLst>
            </p:cNvPr>
            <p:cNvSpPr/>
            <p:nvPr/>
          </p:nvSpPr>
          <p:spPr>
            <a:xfrm>
              <a:off x="6727282" y="3319245"/>
              <a:ext cx="639552" cy="177064"/>
            </a:xfrm>
            <a:prstGeom prst="roundRect">
              <a:avLst>
                <a:gd name="adj" fmla="val 21099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ES_tradnl" sz="900">
                  <a:solidFill>
                    <a:srgbClr val="002F6D"/>
                  </a:solidFill>
                  <a:latin typeface="Pulso" pitchFamily="2" charset="0"/>
                </a:rPr>
                <a:t>52%</a:t>
              </a:r>
            </a:p>
          </p:txBody>
        </p:sp>
        <p:sp>
          <p:nvSpPr>
            <p:cNvPr id="48" name="Rectángulo redondeado 47">
              <a:extLst>
                <a:ext uri="{FF2B5EF4-FFF2-40B4-BE49-F238E27FC236}">
                  <a16:creationId xmlns:a16="http://schemas.microsoft.com/office/drawing/2014/main" id="{C3F66044-6C5A-B678-47E8-6B7907B68486}"/>
                </a:ext>
              </a:extLst>
            </p:cNvPr>
            <p:cNvSpPr/>
            <p:nvPr/>
          </p:nvSpPr>
          <p:spPr>
            <a:xfrm>
              <a:off x="7422912" y="3319245"/>
              <a:ext cx="639552" cy="177064"/>
            </a:xfrm>
            <a:prstGeom prst="roundRect">
              <a:avLst>
                <a:gd name="adj" fmla="val 13333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ES_tradnl" sz="900">
                  <a:solidFill>
                    <a:srgbClr val="002F6D"/>
                  </a:solidFill>
                  <a:latin typeface="Pulso" pitchFamily="2" charset="0"/>
                </a:rPr>
                <a:t>22%</a:t>
              </a:r>
            </a:p>
          </p:txBody>
        </p:sp>
        <p:sp>
          <p:nvSpPr>
            <p:cNvPr id="42" name="Rectángulo redondeado 41">
              <a:extLst>
                <a:ext uri="{FF2B5EF4-FFF2-40B4-BE49-F238E27FC236}">
                  <a16:creationId xmlns:a16="http://schemas.microsoft.com/office/drawing/2014/main" id="{917D03B4-44B6-C665-EED4-247288AA5B7F}"/>
                </a:ext>
              </a:extLst>
            </p:cNvPr>
            <p:cNvSpPr/>
            <p:nvPr/>
          </p:nvSpPr>
          <p:spPr>
            <a:xfrm>
              <a:off x="8118542" y="2239217"/>
              <a:ext cx="639552" cy="296443"/>
            </a:xfrm>
            <a:prstGeom prst="roundRect">
              <a:avLst>
                <a:gd name="adj" fmla="val 13333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ES_tradnl" sz="900">
                  <a:solidFill>
                    <a:srgbClr val="002F6D"/>
                  </a:solidFill>
                  <a:latin typeface="Pulso" pitchFamily="2" charset="0"/>
                </a:rPr>
                <a:t>36%</a:t>
              </a:r>
            </a:p>
          </p:txBody>
        </p:sp>
        <p:sp>
          <p:nvSpPr>
            <p:cNvPr id="43" name="Rectángulo redondeado 42">
              <a:extLst>
                <a:ext uri="{FF2B5EF4-FFF2-40B4-BE49-F238E27FC236}">
                  <a16:creationId xmlns:a16="http://schemas.microsoft.com/office/drawing/2014/main" id="{DEA79FFF-9B47-1450-7682-D99CCAF54614}"/>
                </a:ext>
              </a:extLst>
            </p:cNvPr>
            <p:cNvSpPr/>
            <p:nvPr/>
          </p:nvSpPr>
          <p:spPr>
            <a:xfrm>
              <a:off x="8118542" y="2628095"/>
              <a:ext cx="639552" cy="296443"/>
            </a:xfrm>
            <a:prstGeom prst="roundRect">
              <a:avLst>
                <a:gd name="adj" fmla="val 13333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ES_tradnl" sz="900">
                  <a:solidFill>
                    <a:srgbClr val="002F6D"/>
                  </a:solidFill>
                  <a:latin typeface="Pulso" pitchFamily="2" charset="0"/>
                </a:rPr>
                <a:t>60%</a:t>
              </a:r>
            </a:p>
          </p:txBody>
        </p:sp>
        <p:sp>
          <p:nvSpPr>
            <p:cNvPr id="44" name="Rectángulo redondeado 43">
              <a:extLst>
                <a:ext uri="{FF2B5EF4-FFF2-40B4-BE49-F238E27FC236}">
                  <a16:creationId xmlns:a16="http://schemas.microsoft.com/office/drawing/2014/main" id="{AC301CD1-C291-035B-78FA-150914C0A30A}"/>
                </a:ext>
              </a:extLst>
            </p:cNvPr>
            <p:cNvSpPr/>
            <p:nvPr/>
          </p:nvSpPr>
          <p:spPr>
            <a:xfrm>
              <a:off x="8118542" y="3319245"/>
              <a:ext cx="639552" cy="177064"/>
            </a:xfrm>
            <a:prstGeom prst="roundRect">
              <a:avLst>
                <a:gd name="adj" fmla="val 13333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ES_tradnl" sz="900">
                  <a:solidFill>
                    <a:srgbClr val="002F6D"/>
                  </a:solidFill>
                  <a:latin typeface="Pulso" pitchFamily="2" charset="0"/>
                </a:rPr>
                <a:t>22%</a:t>
              </a:r>
            </a:p>
          </p:txBody>
        </p:sp>
        <p:sp>
          <p:nvSpPr>
            <p:cNvPr id="49" name="Rectángulo redondeado 48">
              <a:extLst>
                <a:ext uri="{FF2B5EF4-FFF2-40B4-BE49-F238E27FC236}">
                  <a16:creationId xmlns:a16="http://schemas.microsoft.com/office/drawing/2014/main" id="{5860284C-EF41-A61F-CE6D-7CEAEF37CF5F}"/>
                </a:ext>
              </a:extLst>
            </p:cNvPr>
            <p:cNvSpPr/>
            <p:nvPr/>
          </p:nvSpPr>
          <p:spPr>
            <a:xfrm>
              <a:off x="6727282" y="3512287"/>
              <a:ext cx="639552" cy="171891"/>
            </a:xfrm>
            <a:prstGeom prst="roundRect">
              <a:avLst>
                <a:gd name="adj" fmla="val 13333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ES_tradnl" sz="900">
                  <a:solidFill>
                    <a:srgbClr val="002F6D"/>
                  </a:solidFill>
                  <a:latin typeface="Pulso" pitchFamily="2" charset="0"/>
                </a:rPr>
                <a:t>36%</a:t>
              </a:r>
            </a:p>
          </p:txBody>
        </p:sp>
        <p:sp>
          <p:nvSpPr>
            <p:cNvPr id="50" name="Rectángulo redondeado 49">
              <a:extLst>
                <a:ext uri="{FF2B5EF4-FFF2-40B4-BE49-F238E27FC236}">
                  <a16:creationId xmlns:a16="http://schemas.microsoft.com/office/drawing/2014/main" id="{07B98F97-2152-D1B4-9FA8-77BE78C44EF5}"/>
                </a:ext>
              </a:extLst>
            </p:cNvPr>
            <p:cNvSpPr/>
            <p:nvPr/>
          </p:nvSpPr>
          <p:spPr>
            <a:xfrm>
              <a:off x="7422912" y="3512287"/>
              <a:ext cx="639552" cy="171891"/>
            </a:xfrm>
            <a:prstGeom prst="roundRect">
              <a:avLst>
                <a:gd name="adj" fmla="val 13333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ES_tradnl" sz="900">
                  <a:solidFill>
                    <a:srgbClr val="002F6D"/>
                  </a:solidFill>
                  <a:latin typeface="Pulso" pitchFamily="2" charset="0"/>
                </a:rPr>
                <a:t>43%</a:t>
              </a:r>
            </a:p>
          </p:txBody>
        </p:sp>
        <p:sp>
          <p:nvSpPr>
            <p:cNvPr id="51" name="Rectángulo redondeado 50">
              <a:extLst>
                <a:ext uri="{FF2B5EF4-FFF2-40B4-BE49-F238E27FC236}">
                  <a16:creationId xmlns:a16="http://schemas.microsoft.com/office/drawing/2014/main" id="{5EB71534-4BB0-77E2-8B88-89B85B52B4B5}"/>
                </a:ext>
              </a:extLst>
            </p:cNvPr>
            <p:cNvSpPr/>
            <p:nvPr/>
          </p:nvSpPr>
          <p:spPr>
            <a:xfrm>
              <a:off x="8118542" y="3512287"/>
              <a:ext cx="639552" cy="171891"/>
            </a:xfrm>
            <a:prstGeom prst="roundRect">
              <a:avLst>
                <a:gd name="adj" fmla="val 13333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ES_tradnl" sz="900">
                  <a:solidFill>
                    <a:srgbClr val="002F6D"/>
                  </a:solidFill>
                  <a:latin typeface="Pulso" pitchFamily="2" charset="0"/>
                </a:rPr>
                <a:t>18%</a:t>
              </a:r>
            </a:p>
          </p:txBody>
        </p:sp>
      </p:grpSp>
      <p:pic>
        <p:nvPicPr>
          <p:cNvPr id="60" name="Imagen 59">
            <a:extLst>
              <a:ext uri="{FF2B5EF4-FFF2-40B4-BE49-F238E27FC236}">
                <a16:creationId xmlns:a16="http://schemas.microsoft.com/office/drawing/2014/main" id="{E135A8A8-2DD8-97FB-2805-7793AA5ED53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235050" y="1772090"/>
            <a:ext cx="360000" cy="360000"/>
          </a:xfrm>
          <a:prstGeom prst="rect">
            <a:avLst/>
          </a:prstGeom>
        </p:spPr>
      </p:pic>
      <p:sp>
        <p:nvSpPr>
          <p:cNvPr id="130" name="Rectángulo redondeado 129">
            <a:extLst>
              <a:ext uri="{FF2B5EF4-FFF2-40B4-BE49-F238E27FC236}">
                <a16:creationId xmlns:a16="http://schemas.microsoft.com/office/drawing/2014/main" id="{CC0B3194-ECB0-E733-53BF-6A624949F768}"/>
              </a:ext>
            </a:extLst>
          </p:cNvPr>
          <p:cNvSpPr/>
          <p:nvPr/>
        </p:nvSpPr>
        <p:spPr>
          <a:xfrm>
            <a:off x="3682642" y="3930329"/>
            <a:ext cx="5026960" cy="646331"/>
          </a:xfrm>
          <a:prstGeom prst="roundRect">
            <a:avLst>
              <a:gd name="adj" fmla="val 13333"/>
            </a:avLst>
          </a:prstGeom>
          <a:noFill/>
          <a:ln w="12700" cap="rnd" cmpd="sng">
            <a:solidFill>
              <a:srgbClr val="FFFFFF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000">
              <a:solidFill>
                <a:srgbClr val="002F6D"/>
              </a:solidFill>
              <a:latin typeface="Pulso" pitchFamily="2" charset="0"/>
            </a:endParaRPr>
          </a:p>
        </p:txBody>
      </p:sp>
      <p:sp>
        <p:nvSpPr>
          <p:cNvPr id="131" name="Google Shape;705;g12666ebc771_0_73">
            <a:extLst>
              <a:ext uri="{FF2B5EF4-FFF2-40B4-BE49-F238E27FC236}">
                <a16:creationId xmlns:a16="http://schemas.microsoft.com/office/drawing/2014/main" id="{1173ABB6-BFC2-4A6A-3C12-D692755D73FC}"/>
              </a:ext>
            </a:extLst>
          </p:cNvPr>
          <p:cNvSpPr/>
          <p:nvPr/>
        </p:nvSpPr>
        <p:spPr>
          <a:xfrm>
            <a:off x="5521046" y="4022661"/>
            <a:ext cx="1911537" cy="461665"/>
          </a:xfrm>
          <a:prstGeom prst="roundRect">
            <a:avLst>
              <a:gd name="adj" fmla="val 0"/>
            </a:avLst>
          </a:prstGeom>
          <a:noFill/>
          <a:ln w="28575" cap="rnd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ctr">
            <a:spAutoFit/>
          </a:bodyPr>
          <a:lstStyle/>
          <a:p>
            <a:pPr defTabSz="685783">
              <a:buClr>
                <a:srgbClr val="000000"/>
              </a:buClr>
              <a:buSzPts val="1500"/>
            </a:pPr>
            <a:r>
              <a:rPr lang="es-AR" sz="1000">
                <a:solidFill>
                  <a:srgbClr val="002F6D"/>
                </a:solidFill>
                <a:latin typeface="Pulso Light" pitchFamily="2" charset="0"/>
                <a:ea typeface="Roboto Light" panose="02000000000000000000" pitchFamily="2" charset="0"/>
                <a:cs typeface="Poppins"/>
              </a:rPr>
              <a:t>En Argentina </a:t>
            </a:r>
            <a:r>
              <a:rPr lang="es-AR" sz="1000">
                <a:solidFill>
                  <a:srgbClr val="002F6D"/>
                </a:solidFill>
                <a:latin typeface="Pulso Light" pitchFamily="2" charset="0"/>
                <a:ea typeface="Roboto Medium" panose="02000000000000000000" pitchFamily="2" charset="0"/>
                <a:cs typeface="Poppins"/>
              </a:rPr>
              <a:t>50%</a:t>
            </a:r>
            <a:r>
              <a:rPr lang="es-AR" sz="1000">
                <a:solidFill>
                  <a:srgbClr val="002F6D"/>
                </a:solidFill>
                <a:latin typeface="Pulso Light" pitchFamily="2" charset="0"/>
                <a:ea typeface="Roboto Light" panose="02000000000000000000" pitchFamily="2" charset="0"/>
                <a:cs typeface="Poppins"/>
              </a:rPr>
              <a:t> de las recargas del mercado y de Telecom se pagan con </a:t>
            </a:r>
            <a:r>
              <a:rPr lang="es-AR" sz="1000">
                <a:solidFill>
                  <a:srgbClr val="002F6D"/>
                </a:solidFill>
                <a:latin typeface="Pulso" pitchFamily="2" charset="0"/>
                <a:ea typeface="Roboto Medium" panose="02000000000000000000" pitchFamily="2" charset="0"/>
                <a:cs typeface="Poppins"/>
              </a:rPr>
              <a:t>Mercado Pago</a:t>
            </a:r>
            <a:endParaRPr lang="es-ES" sz="1000">
              <a:solidFill>
                <a:srgbClr val="002F6D"/>
              </a:solidFill>
              <a:latin typeface="Pulso" pitchFamily="2" charset="0"/>
              <a:ea typeface="Roboto Medium" panose="02000000000000000000" pitchFamily="2" charset="0"/>
              <a:cs typeface="Poppins"/>
            </a:endParaRPr>
          </a:p>
        </p:txBody>
      </p:sp>
      <p:pic>
        <p:nvPicPr>
          <p:cNvPr id="132" name="Imagen 131">
            <a:extLst>
              <a:ext uri="{FF2B5EF4-FFF2-40B4-BE49-F238E27FC236}">
                <a16:creationId xmlns:a16="http://schemas.microsoft.com/office/drawing/2014/main" id="{83927962-9FBA-31B6-2342-3EE5471DF63E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 l="44574"/>
          <a:stretch/>
        </p:blipFill>
        <p:spPr>
          <a:xfrm>
            <a:off x="3729319" y="3964937"/>
            <a:ext cx="648000" cy="577114"/>
          </a:xfrm>
          <a:prstGeom prst="roundRect">
            <a:avLst>
              <a:gd name="adj" fmla="val 9663"/>
            </a:avLst>
          </a:prstGeom>
        </p:spPr>
      </p:pic>
    </p:spTree>
    <p:extLst>
      <p:ext uri="{BB962C8B-B14F-4D97-AF65-F5344CB8AC3E}">
        <p14:creationId xmlns:p14="http://schemas.microsoft.com/office/powerpoint/2010/main" val="4108397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1ECBD2-1E51-5F00-D628-E05639EAE7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n 21">
            <a:extLst>
              <a:ext uri="{FF2B5EF4-FFF2-40B4-BE49-F238E27FC236}">
                <a16:creationId xmlns:a16="http://schemas.microsoft.com/office/drawing/2014/main" id="{A6D88B33-E25B-E2B5-2C66-011FD7DFD5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762" y="112623"/>
            <a:ext cx="8916476" cy="2322000"/>
          </a:xfrm>
          <a:prstGeom prst="roundRect">
            <a:avLst>
              <a:gd name="adj" fmla="val 5984"/>
            </a:avLst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CDD87C82-1FA6-7780-130B-025735A9103E}"/>
              </a:ext>
            </a:extLst>
          </p:cNvPr>
          <p:cNvSpPr/>
          <p:nvPr/>
        </p:nvSpPr>
        <p:spPr>
          <a:xfrm>
            <a:off x="606581" y="3026815"/>
            <a:ext cx="3965419" cy="11520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n-US" sz="4400" spc="-7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Visión y</a:t>
            </a:r>
            <a:br>
              <a:rPr lang="en-US" sz="4400" spc="-7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</a:br>
            <a:r>
              <a:rPr lang="en-US" sz="4400" spc="-7" err="1">
                <a:solidFill>
                  <a:schemeClr val="bg2"/>
                </a:solidFill>
                <a:latin typeface="Pulso Light" pitchFamily="2" charset="0"/>
                <a:ea typeface="Inter Light BETA" panose="020B0402030000000004" pitchFamily="34" charset="0"/>
              </a:rPr>
              <a:t>Propósito</a:t>
            </a:r>
            <a:endParaRPr lang="en-US" sz="4400" spc="-7">
              <a:solidFill>
                <a:schemeClr val="bg2"/>
              </a:solidFill>
              <a:latin typeface="Pulso Light" pitchFamily="2" charset="0"/>
              <a:ea typeface="Inter Light BETA" panose="020B0402030000000004" pitchFamily="34" charset="0"/>
            </a:endParaRPr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14D2AF88-5883-35C2-8767-344617875B55}"/>
              </a:ext>
            </a:extLst>
          </p:cNvPr>
          <p:cNvGrpSpPr/>
          <p:nvPr/>
        </p:nvGrpSpPr>
        <p:grpSpPr>
          <a:xfrm>
            <a:off x="8005009" y="3813781"/>
            <a:ext cx="515318" cy="112191"/>
            <a:chOff x="5588723" y="3144791"/>
            <a:chExt cx="515318" cy="112191"/>
          </a:xfrm>
        </p:grpSpPr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40495F61-0C52-EAB5-40CD-7C3939434F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88723" y="3190086"/>
              <a:ext cx="21600" cy="21600"/>
            </a:xfrm>
            <a:prstGeom prst="ellipse">
              <a:avLst/>
            </a:pr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43543" tIns="21771" rIns="43543" bIns="2177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700">
                <a:solidFill>
                  <a:srgbClr val="808080"/>
                </a:solidFill>
                <a:latin typeface="Pulso Light" pitchFamily="2" charset="0"/>
              </a:endParaRPr>
            </a:p>
          </p:txBody>
        </p:sp>
        <p:sp>
          <p:nvSpPr>
            <p:cNvPr id="19" name="Rectángulo 61">
              <a:extLst>
                <a:ext uri="{FF2B5EF4-FFF2-40B4-BE49-F238E27FC236}">
                  <a16:creationId xmlns:a16="http://schemas.microsoft.com/office/drawing/2014/main" id="{E689467E-2742-5CAB-449F-9952E54D7994}"/>
                </a:ext>
              </a:extLst>
            </p:cNvPr>
            <p:cNvSpPr/>
            <p:nvPr/>
          </p:nvSpPr>
          <p:spPr>
            <a:xfrm rot="2700000">
              <a:off x="5968614" y="3144791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1905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>
                <a:solidFill>
                  <a:schemeClr val="tx1"/>
                </a:solidFill>
                <a:latin typeface="Pulso Light" pitchFamily="2" charset="0"/>
              </a:endParaRPr>
            </a:p>
          </p:txBody>
        </p:sp>
        <p:cxnSp>
          <p:nvCxnSpPr>
            <p:cNvPr id="20" name="Conector recto 19">
              <a:extLst>
                <a:ext uri="{FF2B5EF4-FFF2-40B4-BE49-F238E27FC236}">
                  <a16:creationId xmlns:a16="http://schemas.microsoft.com/office/drawing/2014/main" id="{F394FD42-FE99-FC65-AFD2-51ED3F4F221F}"/>
                </a:ext>
              </a:extLst>
            </p:cNvPr>
            <p:cNvCxnSpPr>
              <a:cxnSpLocks/>
            </p:cNvCxnSpPr>
            <p:nvPr/>
          </p:nvCxnSpPr>
          <p:spPr>
            <a:xfrm>
              <a:off x="5670299" y="3200886"/>
              <a:ext cx="433742" cy="0"/>
            </a:xfrm>
            <a:prstGeom prst="line">
              <a:avLst/>
            </a:prstGeom>
            <a:ln w="1905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Rectángulo 4">
            <a:extLst>
              <a:ext uri="{FF2B5EF4-FFF2-40B4-BE49-F238E27FC236}">
                <a16:creationId xmlns:a16="http://schemas.microsoft.com/office/drawing/2014/main" id="{761B0024-0161-326F-8548-5999A5402FA8}"/>
              </a:ext>
            </a:extLst>
          </p:cNvPr>
          <p:cNvSpPr/>
          <p:nvPr/>
        </p:nvSpPr>
        <p:spPr>
          <a:xfrm>
            <a:off x="-2388985" y="4178862"/>
            <a:ext cx="2003284" cy="5232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s-ES_tradnl" sz="200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Contexto de </a:t>
            </a:r>
            <a:r>
              <a:rPr lang="es-ES_tradnl" sz="2000" b="1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Negocio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08FC30FA-94CF-84D1-8332-69FEBC1EB3BA}"/>
              </a:ext>
            </a:extLst>
          </p:cNvPr>
          <p:cNvSpPr/>
          <p:nvPr/>
        </p:nvSpPr>
        <p:spPr>
          <a:xfrm>
            <a:off x="-2388985" y="4879092"/>
            <a:ext cx="2003284" cy="130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5000"/>
              </a:lnSpc>
              <a:spcAft>
                <a:spcPts val="1000"/>
              </a:spcAft>
            </a:pPr>
            <a:r>
              <a:rPr lang="es-ES_tradnl" sz="1000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INTERNACIONAL  ·  LOCAL</a:t>
            </a:r>
          </a:p>
        </p:txBody>
      </p:sp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id="{4F26B2BA-44CE-7C7D-409B-1A1320119E68}"/>
              </a:ext>
            </a:extLst>
          </p:cNvPr>
          <p:cNvSpPr/>
          <p:nvPr/>
        </p:nvSpPr>
        <p:spPr>
          <a:xfrm>
            <a:off x="118800" y="112623"/>
            <a:ext cx="8906400" cy="2322000"/>
          </a:xfrm>
          <a:prstGeom prst="roundRect">
            <a:avLst>
              <a:gd name="adj" fmla="val 5534"/>
            </a:avLst>
          </a:prstGeom>
          <a:gradFill>
            <a:gsLst>
              <a:gs pos="0">
                <a:schemeClr val="bg2">
                  <a:alpha val="34828"/>
                </a:schemeClr>
              </a:gs>
              <a:gs pos="49000">
                <a:schemeClr val="bg2">
                  <a:alpha val="0"/>
                </a:scheme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AR" sz="800" b="1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13101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A58DAF-5751-5D49-EA18-D4A619086A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5C3A3185-CEF5-F6FB-0726-D4AA3B7DD0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660441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9" progId="TCLayout.ActiveDocument.1">
                  <p:embed/>
                </p:oleObj>
              </mc:Choice>
              <mc:Fallback>
                <p:oleObj name="Diapositiva de think-cell" r:id="rId4" imgW="378" imgH="379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3A3185-CEF5-F6FB-0726-D4AA3B7DD0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Marcador de texto 8">
            <a:extLst>
              <a:ext uri="{FF2B5EF4-FFF2-40B4-BE49-F238E27FC236}">
                <a16:creationId xmlns:a16="http://schemas.microsoft.com/office/drawing/2014/main" id="{41E6AB8B-08FF-ADB2-E0AF-4AD2D9F11104}"/>
              </a:ext>
            </a:extLst>
          </p:cNvPr>
          <p:cNvSpPr txBox="1">
            <a:spLocks/>
          </p:cNvSpPr>
          <p:nvPr/>
        </p:nvSpPr>
        <p:spPr>
          <a:xfrm>
            <a:off x="533542" y="1359420"/>
            <a:ext cx="6134462" cy="39100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Potenciar la experiencia de las personas a través de un </a:t>
            </a:r>
            <a:r>
              <a:rPr lang="es-ES_tradnl" sz="1100" b="1" noProof="0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COSISTEMA de servicios relevantes</a:t>
            </a:r>
            <a:r>
              <a:rPr lang="es-ES_tradnl" sz="1100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, apalancado en la conexión.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36060EE9-8C48-1561-FC02-D47319369F93}"/>
              </a:ext>
            </a:extLst>
          </p:cNvPr>
          <p:cNvGrpSpPr/>
          <p:nvPr/>
        </p:nvGrpSpPr>
        <p:grpSpPr>
          <a:xfrm>
            <a:off x="533540" y="1247915"/>
            <a:ext cx="6298859" cy="628790"/>
            <a:chOff x="540657" y="2426374"/>
            <a:chExt cx="2651007" cy="628790"/>
          </a:xfrm>
        </p:grpSpPr>
        <p:cxnSp>
          <p:nvCxnSpPr>
            <p:cNvPr id="18" name="Conector recto 17">
              <a:extLst>
                <a:ext uri="{FF2B5EF4-FFF2-40B4-BE49-F238E27FC236}">
                  <a16:creationId xmlns:a16="http://schemas.microsoft.com/office/drawing/2014/main" id="{9264B726-963B-AC88-058B-F3EC300E8B70}"/>
                </a:ext>
              </a:extLst>
            </p:cNvPr>
            <p:cNvCxnSpPr>
              <a:cxnSpLocks/>
            </p:cNvCxnSpPr>
            <p:nvPr/>
          </p:nvCxnSpPr>
          <p:spPr>
            <a:xfrm>
              <a:off x="540657" y="2426374"/>
              <a:ext cx="2651007" cy="0"/>
            </a:xfrm>
            <a:prstGeom prst="line">
              <a:avLst/>
            </a:prstGeom>
            <a:ln w="12700" cap="rnd">
              <a:solidFill>
                <a:schemeClr val="tx2">
                  <a:alpha val="49589"/>
                </a:schemeClr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ector recto 20">
              <a:extLst>
                <a:ext uri="{FF2B5EF4-FFF2-40B4-BE49-F238E27FC236}">
                  <a16:creationId xmlns:a16="http://schemas.microsoft.com/office/drawing/2014/main" id="{CB85906F-5DBF-B9A8-FBB0-2474C787D542}"/>
                </a:ext>
              </a:extLst>
            </p:cNvPr>
            <p:cNvCxnSpPr>
              <a:cxnSpLocks/>
            </p:cNvCxnSpPr>
            <p:nvPr/>
          </p:nvCxnSpPr>
          <p:spPr>
            <a:xfrm>
              <a:off x="540657" y="3055164"/>
              <a:ext cx="2651007" cy="0"/>
            </a:xfrm>
            <a:prstGeom prst="line">
              <a:avLst/>
            </a:prstGeom>
            <a:ln w="12700" cap="rnd">
              <a:solidFill>
                <a:schemeClr val="tx2">
                  <a:alpha val="49589"/>
                </a:schemeClr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id="{3FEB1F17-E094-7B77-BB38-9EA3D5DC689F}"/>
              </a:ext>
            </a:extLst>
          </p:cNvPr>
          <p:cNvSpPr txBox="1">
            <a:spLocks/>
          </p:cNvSpPr>
          <p:nvPr/>
        </p:nvSpPr>
        <p:spPr>
          <a:xfrm>
            <a:off x="540657" y="563342"/>
            <a:ext cx="1979068" cy="393377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200"/>
              </a:lnSpc>
            </a:pP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Nuestra visión</a:t>
            </a:r>
          </a:p>
        </p:txBody>
      </p:sp>
      <p:sp>
        <p:nvSpPr>
          <p:cNvPr id="6" name="Redondear rectángulo de esquina del mismo lado 5">
            <a:extLst>
              <a:ext uri="{FF2B5EF4-FFF2-40B4-BE49-F238E27FC236}">
                <a16:creationId xmlns:a16="http://schemas.microsoft.com/office/drawing/2014/main" id="{97F8C387-913A-2DC4-FFFA-781753FA3E91}"/>
              </a:ext>
            </a:extLst>
          </p:cNvPr>
          <p:cNvSpPr/>
          <p:nvPr/>
        </p:nvSpPr>
        <p:spPr>
          <a:xfrm rot="5400000">
            <a:off x="3261906" y="-245649"/>
            <a:ext cx="660989" cy="6480000"/>
          </a:xfrm>
          <a:prstGeom prst="round2SameRect">
            <a:avLst>
              <a:gd name="adj1" fmla="val 12432"/>
              <a:gd name="adj2" fmla="val 0"/>
            </a:avLst>
          </a:prstGeom>
          <a:gradFill>
            <a:gsLst>
              <a:gs pos="0">
                <a:srgbClr val="FFFFFF"/>
              </a:gs>
              <a:gs pos="99000">
                <a:srgbClr val="F0F0F0">
                  <a:alpha val="0"/>
                </a:srgbClr>
              </a:gs>
            </a:gsLst>
            <a:lin ang="5400000" scaled="0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sp>
        <p:nvSpPr>
          <p:cNvPr id="7" name="Redondear rectángulo de esquina del mismo lado 6">
            <a:extLst>
              <a:ext uri="{FF2B5EF4-FFF2-40B4-BE49-F238E27FC236}">
                <a16:creationId xmlns:a16="http://schemas.microsoft.com/office/drawing/2014/main" id="{ADC1C5E4-8773-5023-E64B-4A8630279618}"/>
              </a:ext>
            </a:extLst>
          </p:cNvPr>
          <p:cNvSpPr/>
          <p:nvPr/>
        </p:nvSpPr>
        <p:spPr>
          <a:xfrm rot="5400000">
            <a:off x="3345881" y="-945444"/>
            <a:ext cx="493038" cy="6480000"/>
          </a:xfrm>
          <a:prstGeom prst="round2SameRect">
            <a:avLst/>
          </a:prstGeom>
          <a:gradFill>
            <a:gsLst>
              <a:gs pos="0">
                <a:srgbClr val="FFFFFF"/>
              </a:gs>
              <a:gs pos="99000">
                <a:srgbClr val="F0F0F0">
                  <a:alpha val="0"/>
                </a:srgbClr>
              </a:gs>
            </a:gsLst>
            <a:lin ang="5400000" scaled="0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sp>
        <p:nvSpPr>
          <p:cNvPr id="8" name="Redondear rectángulo de esquina del mismo lado 7">
            <a:extLst>
              <a:ext uri="{FF2B5EF4-FFF2-40B4-BE49-F238E27FC236}">
                <a16:creationId xmlns:a16="http://schemas.microsoft.com/office/drawing/2014/main" id="{D23D0C6B-54A8-B4DF-E2A6-5AE4954E2781}"/>
              </a:ext>
            </a:extLst>
          </p:cNvPr>
          <p:cNvSpPr/>
          <p:nvPr/>
        </p:nvSpPr>
        <p:spPr>
          <a:xfrm rot="5400000">
            <a:off x="3345881" y="449482"/>
            <a:ext cx="493038" cy="6480000"/>
          </a:xfrm>
          <a:prstGeom prst="round2SameRect">
            <a:avLst/>
          </a:prstGeom>
          <a:gradFill>
            <a:gsLst>
              <a:gs pos="0">
                <a:srgbClr val="FFFFFF"/>
              </a:gs>
              <a:gs pos="99000">
                <a:srgbClr val="F0F0F0">
                  <a:alpha val="0"/>
                </a:srgbClr>
              </a:gs>
            </a:gsLst>
            <a:lin ang="5400000" scaled="0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sp>
        <p:nvSpPr>
          <p:cNvPr id="10" name="Redondear rectángulo de esquina del mismo lado 9">
            <a:extLst>
              <a:ext uri="{FF2B5EF4-FFF2-40B4-BE49-F238E27FC236}">
                <a16:creationId xmlns:a16="http://schemas.microsoft.com/office/drawing/2014/main" id="{53D501BA-F474-1558-66BD-F7AC733ABE85}"/>
              </a:ext>
            </a:extLst>
          </p:cNvPr>
          <p:cNvSpPr/>
          <p:nvPr/>
        </p:nvSpPr>
        <p:spPr>
          <a:xfrm rot="5400000">
            <a:off x="3345881" y="1065303"/>
            <a:ext cx="493038" cy="6480000"/>
          </a:xfrm>
          <a:prstGeom prst="round2SameRect">
            <a:avLst/>
          </a:prstGeom>
          <a:gradFill>
            <a:gsLst>
              <a:gs pos="0">
                <a:srgbClr val="FFFFFF"/>
              </a:gs>
              <a:gs pos="99000">
                <a:srgbClr val="F0F0F0">
                  <a:alpha val="0"/>
                </a:srgbClr>
              </a:gs>
            </a:gsLst>
            <a:lin ang="5400000" scaled="0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sp>
        <p:nvSpPr>
          <p:cNvPr id="11" name="Marcador de texto 8">
            <a:extLst>
              <a:ext uri="{FF2B5EF4-FFF2-40B4-BE49-F238E27FC236}">
                <a16:creationId xmlns:a16="http://schemas.microsoft.com/office/drawing/2014/main" id="{5148EA67-6C39-F71B-2918-ADA011CD2186}"/>
              </a:ext>
            </a:extLst>
          </p:cNvPr>
          <p:cNvSpPr txBox="1">
            <a:spLocks/>
          </p:cNvSpPr>
          <p:nvPr/>
        </p:nvSpPr>
        <p:spPr>
          <a:xfrm>
            <a:off x="573890" y="2220896"/>
            <a:ext cx="4577389" cy="219290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3600"/>
              </a:spcAft>
              <a:buClr>
                <a:schemeClr val="accent3"/>
              </a:buClr>
              <a:buFont typeface="Letra del sistema regular"/>
              <a:buChar char="●"/>
            </a:pPr>
            <a:r>
              <a:rPr lang="es-AR" sz="105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"/>
              </a:rPr>
              <a:t>Ser líderes en NPS, </a:t>
            </a:r>
            <a:r>
              <a:rPr lang="es-AR" sz="1050" err="1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"/>
              </a:rPr>
              <a:t>revenue</a:t>
            </a:r>
            <a:r>
              <a:rPr lang="es-AR" sz="105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"/>
              </a:rPr>
              <a:t> share y </a:t>
            </a:r>
            <a:r>
              <a:rPr lang="es-AR" sz="1050" err="1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"/>
              </a:rPr>
              <a:t>market</a:t>
            </a:r>
            <a:r>
              <a:rPr lang="es-AR" sz="105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"/>
              </a:rPr>
              <a:t> share en donde operamos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600"/>
              </a:spcAft>
              <a:buClr>
                <a:schemeClr val="accent3"/>
              </a:buClr>
              <a:buFont typeface="Letra del sistema regular"/>
              <a:buChar char="●"/>
            </a:pPr>
            <a:r>
              <a:rPr lang="es-AR" sz="105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"/>
              </a:rPr>
              <a:t>Construir valor desde la conectividad, potenciándonos en el ecosistema como habilitador para proveer soluciones digitales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600"/>
              </a:spcAft>
              <a:buClr>
                <a:schemeClr val="accent3"/>
              </a:buClr>
              <a:buFont typeface="Letra del sistema regular"/>
              <a:buChar char="●"/>
            </a:pPr>
            <a:r>
              <a:rPr lang="es-AR" sz="105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"/>
              </a:rPr>
              <a:t>Ágiles, eficientes y digitales. El mejor lugar para desarrollarse y trabajar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600"/>
              </a:spcAft>
              <a:buClr>
                <a:schemeClr val="accent3"/>
              </a:buClr>
              <a:buFont typeface="Letra del sistema regular"/>
              <a:buChar char="●"/>
            </a:pPr>
            <a:r>
              <a:rPr lang="es-AR" sz="105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"/>
              </a:rPr>
              <a:t>Regionalización.</a:t>
            </a:r>
          </a:p>
        </p:txBody>
      </p:sp>
      <p:sp>
        <p:nvSpPr>
          <p:cNvPr id="12" name="Marcador de texto 8">
            <a:extLst>
              <a:ext uri="{FF2B5EF4-FFF2-40B4-BE49-F238E27FC236}">
                <a16:creationId xmlns:a16="http://schemas.microsoft.com/office/drawing/2014/main" id="{0AA29171-AE22-3149-BB3B-6DAD8B991DFA}"/>
              </a:ext>
            </a:extLst>
          </p:cNvPr>
          <p:cNvSpPr txBox="1">
            <a:spLocks/>
          </p:cNvSpPr>
          <p:nvPr/>
        </p:nvSpPr>
        <p:spPr>
          <a:xfrm>
            <a:off x="5436158" y="2212897"/>
            <a:ext cx="1152035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228600" indent="-228600" defTabSz="914400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Clr>
                <a:schemeClr val="accent3"/>
              </a:buClr>
              <a:buFont typeface="Letra del sistema regular"/>
              <a:buChar char="●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 algn="r">
              <a:buNone/>
            </a:pPr>
            <a:r>
              <a:rPr lang="es-AR" sz="1200" b="1">
                <a:solidFill>
                  <a:schemeClr val="accent3"/>
                </a:solidFill>
                <a:latin typeface="Pulso" pitchFamily="2" charset="0"/>
                <a:ea typeface="Roboto" panose="02000000000000000000" pitchFamily="2" charset="0"/>
              </a:rPr>
              <a:t>Sostener</a:t>
            </a:r>
          </a:p>
        </p:txBody>
      </p:sp>
      <p:sp>
        <p:nvSpPr>
          <p:cNvPr id="13" name="Marcador de texto 8">
            <a:extLst>
              <a:ext uri="{FF2B5EF4-FFF2-40B4-BE49-F238E27FC236}">
                <a16:creationId xmlns:a16="http://schemas.microsoft.com/office/drawing/2014/main" id="{1511D628-3A99-5B1D-D07F-7C98DDCAA7F5}"/>
              </a:ext>
            </a:extLst>
          </p:cNvPr>
          <p:cNvSpPr txBox="1">
            <a:spLocks/>
          </p:cNvSpPr>
          <p:nvPr/>
        </p:nvSpPr>
        <p:spPr>
          <a:xfrm>
            <a:off x="5436158" y="2916013"/>
            <a:ext cx="1152035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228600" indent="-228600" defTabSz="914400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Clr>
                <a:schemeClr val="accent3"/>
              </a:buClr>
              <a:buFont typeface="Letra del sistema regular"/>
              <a:buChar char="●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 algn="r">
              <a:buNone/>
            </a:pPr>
            <a:r>
              <a:rPr lang="es-AR" sz="1200" b="1">
                <a:solidFill>
                  <a:schemeClr val="accent3"/>
                </a:solidFill>
                <a:latin typeface="Pulso" pitchFamily="2" charset="0"/>
                <a:ea typeface="Roboto" panose="02000000000000000000" pitchFamily="2" charset="0"/>
              </a:rPr>
              <a:t>Crecer</a:t>
            </a:r>
          </a:p>
        </p:txBody>
      </p:sp>
      <p:sp>
        <p:nvSpPr>
          <p:cNvPr id="14" name="Marcador de texto 8">
            <a:extLst>
              <a:ext uri="{FF2B5EF4-FFF2-40B4-BE49-F238E27FC236}">
                <a16:creationId xmlns:a16="http://schemas.microsoft.com/office/drawing/2014/main" id="{027707B5-A3FB-FC1F-E23D-CE3E1B2A712C}"/>
              </a:ext>
            </a:extLst>
          </p:cNvPr>
          <p:cNvSpPr txBox="1">
            <a:spLocks/>
          </p:cNvSpPr>
          <p:nvPr/>
        </p:nvSpPr>
        <p:spPr>
          <a:xfrm>
            <a:off x="5345642" y="3603157"/>
            <a:ext cx="1242551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228600" indent="-228600" defTabSz="914400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Clr>
                <a:schemeClr val="accent3"/>
              </a:buClr>
              <a:buFont typeface="Letra del sistema regular"/>
              <a:buChar char="●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 algn="r">
              <a:buNone/>
            </a:pPr>
            <a:r>
              <a:rPr lang="es-AR" sz="1200" b="1">
                <a:solidFill>
                  <a:schemeClr val="accent3"/>
                </a:solidFill>
                <a:latin typeface="Pulso" pitchFamily="2" charset="0"/>
                <a:ea typeface="Roboto" panose="02000000000000000000" pitchFamily="2" charset="0"/>
              </a:rPr>
              <a:t>Transformarnos</a:t>
            </a:r>
          </a:p>
        </p:txBody>
      </p:sp>
      <p:sp>
        <p:nvSpPr>
          <p:cNvPr id="15" name="Marcador de texto 8">
            <a:extLst>
              <a:ext uri="{FF2B5EF4-FFF2-40B4-BE49-F238E27FC236}">
                <a16:creationId xmlns:a16="http://schemas.microsoft.com/office/drawing/2014/main" id="{88DE1BAB-AA08-D2EB-4934-A6211DCFE3D4}"/>
              </a:ext>
            </a:extLst>
          </p:cNvPr>
          <p:cNvSpPr txBox="1">
            <a:spLocks/>
          </p:cNvSpPr>
          <p:nvPr/>
        </p:nvSpPr>
        <p:spPr>
          <a:xfrm>
            <a:off x="5436158" y="4218977"/>
            <a:ext cx="1152035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228600" indent="-228600" defTabSz="914400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Clr>
                <a:schemeClr val="accent3"/>
              </a:buClr>
              <a:buFont typeface="Letra del sistema regular"/>
              <a:buChar char="●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 algn="r">
              <a:buNone/>
            </a:pPr>
            <a:r>
              <a:rPr lang="es-AR" sz="1200" b="1">
                <a:solidFill>
                  <a:schemeClr val="accent3"/>
                </a:solidFill>
                <a:latin typeface="Pulso" pitchFamily="2" charset="0"/>
                <a:ea typeface="Roboto" panose="02000000000000000000" pitchFamily="2" charset="0"/>
              </a:rPr>
              <a:t>Soñar</a:t>
            </a:r>
          </a:p>
        </p:txBody>
      </p:sp>
      <p:grpSp>
        <p:nvGrpSpPr>
          <p:cNvPr id="25" name="Grupo 24">
            <a:extLst>
              <a:ext uri="{FF2B5EF4-FFF2-40B4-BE49-F238E27FC236}">
                <a16:creationId xmlns:a16="http://schemas.microsoft.com/office/drawing/2014/main" id="{AD3CB6F5-0D23-0CC9-7E20-9FF7E25C7C1D}"/>
              </a:ext>
            </a:extLst>
          </p:cNvPr>
          <p:cNvGrpSpPr/>
          <p:nvPr/>
        </p:nvGrpSpPr>
        <p:grpSpPr>
          <a:xfrm>
            <a:off x="7596161" y="703386"/>
            <a:ext cx="1243635" cy="3848435"/>
            <a:chOff x="7596161" y="440729"/>
            <a:chExt cx="1328514" cy="4111093"/>
          </a:xfrm>
        </p:grpSpPr>
        <p:pic>
          <p:nvPicPr>
            <p:cNvPr id="22" name="Imagen 21">
              <a:extLst>
                <a:ext uri="{FF2B5EF4-FFF2-40B4-BE49-F238E27FC236}">
                  <a16:creationId xmlns:a16="http://schemas.microsoft.com/office/drawing/2014/main" id="{3296752A-AD81-DC78-6E03-312387DB25F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86" r="16586"/>
            <a:stretch/>
          </p:blipFill>
          <p:spPr>
            <a:xfrm>
              <a:off x="7598645" y="1834494"/>
              <a:ext cx="1326030" cy="1325468"/>
            </a:xfrm>
            <a:prstGeom prst="roundRect">
              <a:avLst>
                <a:gd name="adj" fmla="val 5947"/>
              </a:avLst>
            </a:prstGeom>
            <a:solidFill>
              <a:srgbClr val="FFFFFF"/>
            </a:solidFill>
            <a:ln>
              <a:noFill/>
            </a:ln>
            <a:effectLst>
              <a:outerShdw blurRad="38100" dist="12700" dir="5400000" algn="ctr" rotWithShape="0">
                <a:prstClr val="black">
                  <a:alpha val="15000"/>
                </a:prstClr>
              </a:outerShdw>
            </a:effectLst>
          </p:spPr>
        </p:pic>
        <p:pic>
          <p:nvPicPr>
            <p:cNvPr id="23" name="Imagen 22">
              <a:extLst>
                <a:ext uri="{FF2B5EF4-FFF2-40B4-BE49-F238E27FC236}">
                  <a16:creationId xmlns:a16="http://schemas.microsoft.com/office/drawing/2014/main" id="{778B5F0F-7E08-08E7-3F96-AC60825B16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27" r="16627"/>
            <a:stretch/>
          </p:blipFill>
          <p:spPr>
            <a:xfrm>
              <a:off x="7596161" y="3226695"/>
              <a:ext cx="1326030" cy="1325127"/>
            </a:xfrm>
            <a:prstGeom prst="roundRect">
              <a:avLst>
                <a:gd name="adj" fmla="val 5948"/>
              </a:avLst>
            </a:prstGeom>
            <a:solidFill>
              <a:srgbClr val="FFFFFF"/>
            </a:solidFill>
            <a:ln>
              <a:noFill/>
            </a:ln>
            <a:effectLst>
              <a:outerShdw blurRad="38100" dist="12700" dir="5400000" algn="ctr" rotWithShape="0">
                <a:prstClr val="black">
                  <a:alpha val="15000"/>
                </a:prstClr>
              </a:outerShdw>
            </a:effectLst>
          </p:spPr>
        </p:pic>
        <p:pic>
          <p:nvPicPr>
            <p:cNvPr id="24" name="Imagen 23">
              <a:extLst>
                <a:ext uri="{FF2B5EF4-FFF2-40B4-BE49-F238E27FC236}">
                  <a16:creationId xmlns:a16="http://schemas.microsoft.com/office/drawing/2014/main" id="{6FE6CA87-8F41-BB4F-4F9C-5A0C04BB828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92" r="16692"/>
            <a:stretch/>
          </p:blipFill>
          <p:spPr>
            <a:xfrm>
              <a:off x="7598645" y="440729"/>
              <a:ext cx="1326030" cy="1327031"/>
            </a:xfrm>
            <a:prstGeom prst="roundRect">
              <a:avLst>
                <a:gd name="adj" fmla="val 5552"/>
              </a:avLst>
            </a:prstGeom>
            <a:solidFill>
              <a:srgbClr val="FFFFFF"/>
            </a:solidFill>
            <a:ln>
              <a:noFill/>
            </a:ln>
            <a:effectLst>
              <a:outerShdw blurRad="38100" dist="12700" dir="5400000" algn="ctr" rotWithShape="0">
                <a:prstClr val="black">
                  <a:alpha val="15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1456459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rma libre 7">
            <a:extLst>
              <a:ext uri="{FF2B5EF4-FFF2-40B4-BE49-F238E27FC236}">
                <a16:creationId xmlns:a16="http://schemas.microsoft.com/office/drawing/2014/main" id="{5EFAE5BB-3E38-B7A1-FD95-5A5B1BCD12C3}"/>
              </a:ext>
            </a:extLst>
          </p:cNvPr>
          <p:cNvSpPr/>
          <p:nvPr/>
        </p:nvSpPr>
        <p:spPr>
          <a:xfrm>
            <a:off x="2849675" y="1938430"/>
            <a:ext cx="3444651" cy="2547513"/>
          </a:xfrm>
          <a:custGeom>
            <a:avLst/>
            <a:gdLst>
              <a:gd name="connsiteX0" fmla="*/ 8016915 w 8016915"/>
              <a:gd name="connsiteY0" fmla="*/ 2985222 h 5970443"/>
              <a:gd name="connsiteX1" fmla="*/ 4008458 w 8016915"/>
              <a:gd name="connsiteY1" fmla="*/ 5970444 h 5970443"/>
              <a:gd name="connsiteX2" fmla="*/ 0 w 8016915"/>
              <a:gd name="connsiteY2" fmla="*/ 2985222 h 5970443"/>
              <a:gd name="connsiteX3" fmla="*/ 4008458 w 8016915"/>
              <a:gd name="connsiteY3" fmla="*/ 0 h 5970443"/>
              <a:gd name="connsiteX4" fmla="*/ 8016915 w 8016915"/>
              <a:gd name="connsiteY4" fmla="*/ 2985222 h 5970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16915" h="5970443">
                <a:moveTo>
                  <a:pt x="8016915" y="2985222"/>
                </a:moveTo>
                <a:cubicBezTo>
                  <a:pt x="8016915" y="4633914"/>
                  <a:pt x="6222268" y="5970444"/>
                  <a:pt x="4008458" y="5970444"/>
                </a:cubicBezTo>
                <a:cubicBezTo>
                  <a:pt x="1794648" y="5970444"/>
                  <a:pt x="0" y="4633915"/>
                  <a:pt x="0" y="2985222"/>
                </a:cubicBezTo>
                <a:cubicBezTo>
                  <a:pt x="0" y="1336529"/>
                  <a:pt x="1794648" y="0"/>
                  <a:pt x="4008458" y="0"/>
                </a:cubicBezTo>
                <a:cubicBezTo>
                  <a:pt x="6222268" y="0"/>
                  <a:pt x="8016915" y="1336529"/>
                  <a:pt x="8016915" y="2985222"/>
                </a:cubicBezTo>
                <a:close/>
              </a:path>
            </a:pathLst>
          </a:custGeom>
          <a:solidFill>
            <a:srgbClr val="FFFFFF"/>
          </a:solidFill>
          <a:ln w="7367" cap="flat">
            <a:noFill/>
            <a:prstDash val="solid"/>
            <a:miter/>
          </a:ln>
          <a:effectLst>
            <a:innerShdw blurRad="114300" dist="25400" dir="5400000">
              <a:prstClr val="black">
                <a:alpha val="50000"/>
              </a:prstClr>
            </a:inn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">
              <a:latin typeface="Akzidenz-Grotesk BQ" pitchFamily="2" charset="0"/>
            </a:endParaRPr>
          </a:p>
        </p:txBody>
      </p:sp>
      <p:grpSp>
        <p:nvGrpSpPr>
          <p:cNvPr id="38" name="Grupo 37">
            <a:extLst>
              <a:ext uri="{FF2B5EF4-FFF2-40B4-BE49-F238E27FC236}">
                <a16:creationId xmlns:a16="http://schemas.microsoft.com/office/drawing/2014/main" id="{FFEC7ACE-868D-787F-E14F-FF345CC146F0}"/>
              </a:ext>
            </a:extLst>
          </p:cNvPr>
          <p:cNvGrpSpPr/>
          <p:nvPr/>
        </p:nvGrpSpPr>
        <p:grpSpPr>
          <a:xfrm>
            <a:off x="2598133" y="2457552"/>
            <a:ext cx="3947735" cy="1509269"/>
            <a:chOff x="2617917" y="2452057"/>
            <a:chExt cx="3947735" cy="1509269"/>
          </a:xfrm>
        </p:grpSpPr>
        <p:sp>
          <p:nvSpPr>
            <p:cNvPr id="4" name="Forma libre 8">
              <a:extLst>
                <a:ext uri="{FF2B5EF4-FFF2-40B4-BE49-F238E27FC236}">
                  <a16:creationId xmlns:a16="http://schemas.microsoft.com/office/drawing/2014/main" id="{EF244C3C-91B2-4438-918E-DE1E47848218}"/>
                </a:ext>
              </a:extLst>
            </p:cNvPr>
            <p:cNvSpPr/>
            <p:nvPr/>
          </p:nvSpPr>
          <p:spPr>
            <a:xfrm>
              <a:off x="2617917" y="2452057"/>
              <a:ext cx="408201" cy="1509269"/>
            </a:xfrm>
            <a:custGeom>
              <a:avLst/>
              <a:gdLst>
                <a:gd name="connsiteX0" fmla="*/ 156121 w 924560"/>
                <a:gd name="connsiteY0" fmla="*/ 1709220 h 3418440"/>
                <a:gd name="connsiteX1" fmla="*/ 924561 w 924560"/>
                <a:gd name="connsiteY1" fmla="*/ 0 h 3418440"/>
                <a:gd name="connsiteX2" fmla="*/ 0 w 924560"/>
                <a:gd name="connsiteY2" fmla="*/ 1709220 h 3418440"/>
                <a:gd name="connsiteX3" fmla="*/ 924561 w 924560"/>
                <a:gd name="connsiteY3" fmla="*/ 3418441 h 3418440"/>
                <a:gd name="connsiteX4" fmla="*/ 156121 w 924560"/>
                <a:gd name="connsiteY4" fmla="*/ 1709220 h 3418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4560" h="3418440">
                  <a:moveTo>
                    <a:pt x="156121" y="1709220"/>
                  </a:moveTo>
                  <a:cubicBezTo>
                    <a:pt x="156121" y="1065137"/>
                    <a:pt x="443357" y="471742"/>
                    <a:pt x="924561" y="0"/>
                  </a:cubicBezTo>
                  <a:cubicBezTo>
                    <a:pt x="348738" y="458225"/>
                    <a:pt x="0" y="1055675"/>
                    <a:pt x="0" y="1709220"/>
                  </a:cubicBezTo>
                  <a:cubicBezTo>
                    <a:pt x="0" y="2362766"/>
                    <a:pt x="348738" y="2960215"/>
                    <a:pt x="924561" y="3418441"/>
                  </a:cubicBezTo>
                  <a:cubicBezTo>
                    <a:pt x="442681" y="2946698"/>
                    <a:pt x="156121" y="2353980"/>
                    <a:pt x="156121" y="170922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">
                <a:latin typeface="Akzidenz-Grotesk BQ" pitchFamily="2" charset="0"/>
              </a:endParaRPr>
            </a:p>
          </p:txBody>
        </p:sp>
        <p:sp>
          <p:nvSpPr>
            <p:cNvPr id="5" name="Forma libre 9">
              <a:extLst>
                <a:ext uri="{FF2B5EF4-FFF2-40B4-BE49-F238E27FC236}">
                  <a16:creationId xmlns:a16="http://schemas.microsoft.com/office/drawing/2014/main" id="{F00F958A-F3EA-8FF4-7A64-BA298FB763A0}"/>
                </a:ext>
              </a:extLst>
            </p:cNvPr>
            <p:cNvSpPr/>
            <p:nvPr/>
          </p:nvSpPr>
          <p:spPr>
            <a:xfrm>
              <a:off x="6157451" y="2452057"/>
              <a:ext cx="408201" cy="1509269"/>
            </a:xfrm>
            <a:custGeom>
              <a:avLst/>
              <a:gdLst>
                <a:gd name="connsiteX0" fmla="*/ 924560 w 924560"/>
                <a:gd name="connsiteY0" fmla="*/ 1709220 h 3418440"/>
                <a:gd name="connsiteX1" fmla="*/ 0 w 924560"/>
                <a:gd name="connsiteY1" fmla="*/ 0 h 3418440"/>
                <a:gd name="connsiteX2" fmla="*/ 768440 w 924560"/>
                <a:gd name="connsiteY2" fmla="*/ 1709220 h 3418440"/>
                <a:gd name="connsiteX3" fmla="*/ 0 w 924560"/>
                <a:gd name="connsiteY3" fmla="*/ 3418441 h 3418440"/>
                <a:gd name="connsiteX4" fmla="*/ 924560 w 924560"/>
                <a:gd name="connsiteY4" fmla="*/ 1709220 h 3418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4560" h="3418440">
                  <a:moveTo>
                    <a:pt x="924560" y="1709220"/>
                  </a:moveTo>
                  <a:cubicBezTo>
                    <a:pt x="924560" y="1055675"/>
                    <a:pt x="575823" y="458225"/>
                    <a:pt x="0" y="0"/>
                  </a:cubicBezTo>
                  <a:cubicBezTo>
                    <a:pt x="481880" y="471742"/>
                    <a:pt x="768440" y="1064461"/>
                    <a:pt x="768440" y="1709220"/>
                  </a:cubicBezTo>
                  <a:cubicBezTo>
                    <a:pt x="768440" y="2353980"/>
                    <a:pt x="481204" y="2946698"/>
                    <a:pt x="0" y="3418441"/>
                  </a:cubicBezTo>
                  <a:cubicBezTo>
                    <a:pt x="576498" y="2960215"/>
                    <a:pt x="924560" y="2362766"/>
                    <a:pt x="924560" y="170922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">
                <a:latin typeface="Akzidenz-Grotesk BQ" pitchFamily="2" charset="0"/>
              </a:endParaRPr>
            </a:p>
          </p:txBody>
        </p:sp>
      </p:grpSp>
      <p:sp>
        <p:nvSpPr>
          <p:cNvPr id="6" name="Forma libre 10">
            <a:extLst>
              <a:ext uri="{FF2B5EF4-FFF2-40B4-BE49-F238E27FC236}">
                <a16:creationId xmlns:a16="http://schemas.microsoft.com/office/drawing/2014/main" id="{94A117AB-EBFC-8798-D078-B32080E85A60}"/>
              </a:ext>
            </a:extLst>
          </p:cNvPr>
          <p:cNvSpPr/>
          <p:nvPr/>
        </p:nvSpPr>
        <p:spPr>
          <a:xfrm>
            <a:off x="3021235" y="1988015"/>
            <a:ext cx="3101530" cy="2448342"/>
          </a:xfrm>
          <a:custGeom>
            <a:avLst/>
            <a:gdLst>
              <a:gd name="connsiteX0" fmla="*/ 6886897 w 6886896"/>
              <a:gd name="connsiteY0" fmla="*/ 2660815 h 5321629"/>
              <a:gd name="connsiteX1" fmla="*/ 3443448 w 6886896"/>
              <a:gd name="connsiteY1" fmla="*/ 5321630 h 5321629"/>
              <a:gd name="connsiteX2" fmla="*/ 0 w 6886896"/>
              <a:gd name="connsiteY2" fmla="*/ 2660815 h 5321629"/>
              <a:gd name="connsiteX3" fmla="*/ 3443448 w 6886896"/>
              <a:gd name="connsiteY3" fmla="*/ 0 h 5321629"/>
              <a:gd name="connsiteX4" fmla="*/ 6886897 w 6886896"/>
              <a:gd name="connsiteY4" fmla="*/ 2660815 h 532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86896" h="5321629">
                <a:moveTo>
                  <a:pt x="6886897" y="2660815"/>
                </a:moveTo>
                <a:cubicBezTo>
                  <a:pt x="6886897" y="4130342"/>
                  <a:pt x="5345213" y="5321630"/>
                  <a:pt x="3443448" y="5321630"/>
                </a:cubicBezTo>
                <a:cubicBezTo>
                  <a:pt x="1541684" y="5321630"/>
                  <a:pt x="0" y="4130342"/>
                  <a:pt x="0" y="2660815"/>
                </a:cubicBezTo>
                <a:cubicBezTo>
                  <a:pt x="0" y="1191287"/>
                  <a:pt x="1541684" y="0"/>
                  <a:pt x="3443448" y="0"/>
                </a:cubicBezTo>
                <a:cubicBezTo>
                  <a:pt x="5345213" y="0"/>
                  <a:pt x="6886897" y="1191287"/>
                  <a:pt x="6886897" y="2660815"/>
                </a:cubicBezTo>
                <a:close/>
              </a:path>
            </a:pathLst>
          </a:custGeom>
          <a:solidFill>
            <a:srgbClr val="16053F"/>
          </a:solidFill>
          <a:ln cap="rnd">
            <a:noFill/>
            <a:round/>
          </a:ln>
          <a:effectLst>
            <a:outerShdw blurRad="38100" dist="12700" dir="5400000" algn="ctr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latin typeface="Akzidenz-Grotesk BQ" pitchFamily="2" charset="0"/>
            </a:endParaRPr>
          </a:p>
        </p:txBody>
      </p:sp>
      <p:grpSp>
        <p:nvGrpSpPr>
          <p:cNvPr id="8" name="Grupo 7">
            <a:extLst>
              <a:ext uri="{FF2B5EF4-FFF2-40B4-BE49-F238E27FC236}">
                <a16:creationId xmlns:a16="http://schemas.microsoft.com/office/drawing/2014/main" id="{4C4D2BAC-06F7-E233-AE38-88C2A9E0FDF0}"/>
              </a:ext>
            </a:extLst>
          </p:cNvPr>
          <p:cNvGrpSpPr/>
          <p:nvPr/>
        </p:nvGrpSpPr>
        <p:grpSpPr>
          <a:xfrm>
            <a:off x="3082870" y="2491175"/>
            <a:ext cx="2978260" cy="1879484"/>
            <a:chOff x="14521594" y="2018633"/>
            <a:chExt cx="5801753" cy="3661299"/>
          </a:xfrm>
        </p:grpSpPr>
        <p:sp>
          <p:nvSpPr>
            <p:cNvPr id="9" name="Forma libre 12">
              <a:extLst>
                <a:ext uri="{FF2B5EF4-FFF2-40B4-BE49-F238E27FC236}">
                  <a16:creationId xmlns:a16="http://schemas.microsoft.com/office/drawing/2014/main" id="{8CAB4EE3-044C-AF46-ACD1-1143EF5E17D2}"/>
                </a:ext>
              </a:extLst>
            </p:cNvPr>
            <p:cNvSpPr/>
            <p:nvPr/>
          </p:nvSpPr>
          <p:spPr>
            <a:xfrm>
              <a:off x="16441479" y="4721176"/>
              <a:ext cx="1962575" cy="958756"/>
            </a:xfrm>
            <a:custGeom>
              <a:avLst/>
              <a:gdLst>
                <a:gd name="connsiteX0" fmla="*/ 1118529 w 2237058"/>
                <a:gd name="connsiteY0" fmla="*/ 937402 h 1092846"/>
                <a:gd name="connsiteX1" fmla="*/ 0 w 2237058"/>
                <a:gd name="connsiteY1" fmla="*/ 0 h 1092846"/>
                <a:gd name="connsiteX2" fmla="*/ 1118529 w 2237058"/>
                <a:gd name="connsiteY2" fmla="*/ 1092847 h 1092846"/>
                <a:gd name="connsiteX3" fmla="*/ 2237059 w 2237058"/>
                <a:gd name="connsiteY3" fmla="*/ 0 h 1092846"/>
                <a:gd name="connsiteX4" fmla="*/ 1118529 w 2237058"/>
                <a:gd name="connsiteY4" fmla="*/ 937402 h 1092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37058" h="1092846">
                  <a:moveTo>
                    <a:pt x="1118529" y="937402"/>
                  </a:moveTo>
                  <a:cubicBezTo>
                    <a:pt x="679904" y="937402"/>
                    <a:pt x="283181" y="521755"/>
                    <a:pt x="0" y="0"/>
                  </a:cubicBezTo>
                  <a:cubicBezTo>
                    <a:pt x="266960" y="595423"/>
                    <a:pt x="660304" y="1092847"/>
                    <a:pt x="1118529" y="1092847"/>
                  </a:cubicBezTo>
                  <a:cubicBezTo>
                    <a:pt x="1576755" y="1092847"/>
                    <a:pt x="1969423" y="595423"/>
                    <a:pt x="2237059" y="0"/>
                  </a:cubicBezTo>
                  <a:cubicBezTo>
                    <a:pt x="1953878" y="521755"/>
                    <a:pt x="1557155" y="937402"/>
                    <a:pt x="1118529" y="937402"/>
                  </a:cubicBezTo>
                  <a:close/>
                </a:path>
              </a:pathLst>
            </a:custGeom>
            <a:solidFill>
              <a:schemeClr val="bg2"/>
            </a:solidFill>
            <a:ln w="7367" cap="flat">
              <a:noFill/>
              <a:prstDash val="solid"/>
              <a:miter/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">
                <a:latin typeface="Akzidenz-Grotesk BQ" pitchFamily="2" charset="0"/>
              </a:endParaRPr>
            </a:p>
          </p:txBody>
        </p:sp>
        <p:sp>
          <p:nvSpPr>
            <p:cNvPr id="10" name="Forma libre 13">
              <a:extLst>
                <a:ext uri="{FF2B5EF4-FFF2-40B4-BE49-F238E27FC236}">
                  <a16:creationId xmlns:a16="http://schemas.microsoft.com/office/drawing/2014/main" id="{2B8E3D4B-672A-C205-5E61-D1FE1041014E}"/>
                </a:ext>
              </a:extLst>
            </p:cNvPr>
            <p:cNvSpPr/>
            <p:nvPr/>
          </p:nvSpPr>
          <p:spPr>
            <a:xfrm>
              <a:off x="19168333" y="2453246"/>
              <a:ext cx="1155014" cy="1864150"/>
            </a:xfrm>
            <a:custGeom>
              <a:avLst/>
              <a:gdLst>
                <a:gd name="connsiteX0" fmla="*/ 1316553 w 1316553"/>
                <a:gd name="connsiteY0" fmla="*/ 1062434 h 2124867"/>
                <a:gd name="connsiteX1" fmla="*/ 0 w 1316553"/>
                <a:gd name="connsiteY1" fmla="*/ 0 h 2124867"/>
                <a:gd name="connsiteX2" fmla="*/ 1161108 w 1316553"/>
                <a:gd name="connsiteY2" fmla="*/ 1062434 h 2124867"/>
                <a:gd name="connsiteX3" fmla="*/ 0 w 1316553"/>
                <a:gd name="connsiteY3" fmla="*/ 2124867 h 2124867"/>
                <a:gd name="connsiteX4" fmla="*/ 1316553 w 1316553"/>
                <a:gd name="connsiteY4" fmla="*/ 1062434 h 212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6553" h="2124867">
                  <a:moveTo>
                    <a:pt x="1316553" y="1062434"/>
                  </a:moveTo>
                  <a:cubicBezTo>
                    <a:pt x="1316553" y="635297"/>
                    <a:pt x="713020" y="264257"/>
                    <a:pt x="0" y="0"/>
                  </a:cubicBezTo>
                  <a:cubicBezTo>
                    <a:pt x="639353" y="278450"/>
                    <a:pt x="1161108" y="652194"/>
                    <a:pt x="1161108" y="1062434"/>
                  </a:cubicBezTo>
                  <a:cubicBezTo>
                    <a:pt x="1161108" y="1472674"/>
                    <a:pt x="639353" y="1847093"/>
                    <a:pt x="0" y="2124867"/>
                  </a:cubicBezTo>
                  <a:cubicBezTo>
                    <a:pt x="713020" y="1859935"/>
                    <a:pt x="1316553" y="1489570"/>
                    <a:pt x="1316553" y="1062434"/>
                  </a:cubicBezTo>
                  <a:close/>
                </a:path>
              </a:pathLst>
            </a:custGeom>
            <a:solidFill>
              <a:schemeClr val="bg2"/>
            </a:solidFill>
            <a:ln w="7367" cap="flat">
              <a:noFill/>
              <a:prstDash val="solid"/>
              <a:miter/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">
                <a:latin typeface="Akzidenz-Grotesk BQ" pitchFamily="2" charset="0"/>
              </a:endParaRPr>
            </a:p>
          </p:txBody>
        </p:sp>
        <p:sp>
          <p:nvSpPr>
            <p:cNvPr id="11" name="Forma libre 14">
              <a:extLst>
                <a:ext uri="{FF2B5EF4-FFF2-40B4-BE49-F238E27FC236}">
                  <a16:creationId xmlns:a16="http://schemas.microsoft.com/office/drawing/2014/main" id="{3C01FA73-96FF-78FC-966D-1CB117207957}"/>
                </a:ext>
              </a:extLst>
            </p:cNvPr>
            <p:cNvSpPr/>
            <p:nvPr/>
          </p:nvSpPr>
          <p:spPr>
            <a:xfrm>
              <a:off x="14521594" y="2453246"/>
              <a:ext cx="1155014" cy="1864150"/>
            </a:xfrm>
            <a:custGeom>
              <a:avLst/>
              <a:gdLst>
                <a:gd name="connsiteX0" fmla="*/ 155445 w 1316553"/>
                <a:gd name="connsiteY0" fmla="*/ 1062434 h 2124867"/>
                <a:gd name="connsiteX1" fmla="*/ 1316553 w 1316553"/>
                <a:gd name="connsiteY1" fmla="*/ 0 h 2124867"/>
                <a:gd name="connsiteX2" fmla="*/ 0 w 1316553"/>
                <a:gd name="connsiteY2" fmla="*/ 1062434 h 2124867"/>
                <a:gd name="connsiteX3" fmla="*/ 1316553 w 1316553"/>
                <a:gd name="connsiteY3" fmla="*/ 2124867 h 2124867"/>
                <a:gd name="connsiteX4" fmla="*/ 155445 w 1316553"/>
                <a:gd name="connsiteY4" fmla="*/ 1062434 h 212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6553" h="2124867">
                  <a:moveTo>
                    <a:pt x="155445" y="1062434"/>
                  </a:moveTo>
                  <a:cubicBezTo>
                    <a:pt x="155445" y="651518"/>
                    <a:pt x="677200" y="277774"/>
                    <a:pt x="1316553" y="0"/>
                  </a:cubicBezTo>
                  <a:cubicBezTo>
                    <a:pt x="603533" y="264933"/>
                    <a:pt x="0" y="635297"/>
                    <a:pt x="0" y="1062434"/>
                  </a:cubicBezTo>
                  <a:cubicBezTo>
                    <a:pt x="0" y="1489570"/>
                    <a:pt x="603533" y="1860610"/>
                    <a:pt x="1316553" y="2124867"/>
                  </a:cubicBezTo>
                  <a:cubicBezTo>
                    <a:pt x="677200" y="1846418"/>
                    <a:pt x="155445" y="1472674"/>
                    <a:pt x="155445" y="1062434"/>
                  </a:cubicBezTo>
                  <a:close/>
                </a:path>
              </a:pathLst>
            </a:custGeom>
            <a:solidFill>
              <a:schemeClr val="bg2"/>
            </a:solidFill>
            <a:ln w="7367" cap="flat">
              <a:noFill/>
              <a:prstDash val="solid"/>
              <a:miter/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">
                <a:latin typeface="Akzidenz-Grotesk BQ" pitchFamily="2" charset="0"/>
              </a:endParaRPr>
            </a:p>
          </p:txBody>
        </p:sp>
        <p:sp>
          <p:nvSpPr>
            <p:cNvPr id="12" name="Forma libre 15">
              <a:extLst>
                <a:ext uri="{FF2B5EF4-FFF2-40B4-BE49-F238E27FC236}">
                  <a16:creationId xmlns:a16="http://schemas.microsoft.com/office/drawing/2014/main" id="{C72A8F30-CE6E-3428-0141-3E54B42D7EBA}"/>
                </a:ext>
              </a:extLst>
            </p:cNvPr>
            <p:cNvSpPr/>
            <p:nvPr/>
          </p:nvSpPr>
          <p:spPr>
            <a:xfrm>
              <a:off x="16056079" y="2018633"/>
              <a:ext cx="2733375" cy="3524334"/>
            </a:xfrm>
            <a:custGeom>
              <a:avLst/>
              <a:gdLst>
                <a:gd name="connsiteX0" fmla="*/ 3115662 w 3115661"/>
                <a:gd name="connsiteY0" fmla="*/ 1557830 h 4017242"/>
                <a:gd name="connsiteX1" fmla="*/ 1557831 w 3115661"/>
                <a:gd name="connsiteY1" fmla="*/ 4017242 h 4017242"/>
                <a:gd name="connsiteX2" fmla="*/ 0 w 3115661"/>
                <a:gd name="connsiteY2" fmla="*/ 1557830 h 4017242"/>
                <a:gd name="connsiteX3" fmla="*/ 1557831 w 3115661"/>
                <a:gd name="connsiteY3" fmla="*/ 0 h 4017242"/>
                <a:gd name="connsiteX4" fmla="*/ 3115662 w 3115661"/>
                <a:gd name="connsiteY4" fmla="*/ 1557830 h 4017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5661" h="4017242">
                  <a:moveTo>
                    <a:pt x="3115662" y="1557830"/>
                  </a:moveTo>
                  <a:cubicBezTo>
                    <a:pt x="3115662" y="2418185"/>
                    <a:pt x="2418186" y="4017242"/>
                    <a:pt x="1557831" y="4017242"/>
                  </a:cubicBezTo>
                  <a:cubicBezTo>
                    <a:pt x="697476" y="4017242"/>
                    <a:pt x="0" y="2418185"/>
                    <a:pt x="0" y="1557830"/>
                  </a:cubicBezTo>
                  <a:cubicBezTo>
                    <a:pt x="0" y="697476"/>
                    <a:pt x="697476" y="0"/>
                    <a:pt x="1557831" y="0"/>
                  </a:cubicBezTo>
                  <a:cubicBezTo>
                    <a:pt x="2418186" y="0"/>
                    <a:pt x="3115662" y="697476"/>
                    <a:pt x="3115662" y="1557830"/>
                  </a:cubicBezTo>
                  <a:close/>
                </a:path>
              </a:pathLst>
            </a:custGeom>
            <a:solidFill>
              <a:schemeClr val="tx2">
                <a:lumMod val="75000"/>
                <a:lumOff val="25000"/>
                <a:alpha val="65000"/>
              </a:schemeClr>
            </a:solidFill>
            <a:ln w="38100" cap="flat">
              <a:noFill/>
              <a:prstDash val="solid"/>
              <a:miter/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">
                <a:latin typeface="Akzidenz-Grotesk BQ" pitchFamily="2" charset="0"/>
              </a:endParaRPr>
            </a:p>
          </p:txBody>
        </p:sp>
        <p:sp>
          <p:nvSpPr>
            <p:cNvPr id="13" name="Forma libre 16">
              <a:extLst>
                <a:ext uri="{FF2B5EF4-FFF2-40B4-BE49-F238E27FC236}">
                  <a16:creationId xmlns:a16="http://schemas.microsoft.com/office/drawing/2014/main" id="{F20DAE94-61D2-2A87-FCD9-C1399368E1BA}"/>
                </a:ext>
              </a:extLst>
            </p:cNvPr>
            <p:cNvSpPr/>
            <p:nvPr/>
          </p:nvSpPr>
          <p:spPr>
            <a:xfrm>
              <a:off x="16055486" y="2018633"/>
              <a:ext cx="4130895" cy="2733374"/>
            </a:xfrm>
            <a:custGeom>
              <a:avLst/>
              <a:gdLst>
                <a:gd name="connsiteX0" fmla="*/ 0 w 4708636"/>
                <a:gd name="connsiteY0" fmla="*/ 1557830 h 3115660"/>
                <a:gd name="connsiteX1" fmla="*/ 1557831 w 4708636"/>
                <a:gd name="connsiteY1" fmla="*/ 3115661 h 3115660"/>
                <a:gd name="connsiteX2" fmla="*/ 4708637 w 4708636"/>
                <a:gd name="connsiteY2" fmla="*/ 1557830 h 3115660"/>
                <a:gd name="connsiteX3" fmla="*/ 1557831 w 4708636"/>
                <a:gd name="connsiteY3" fmla="*/ 0 h 3115660"/>
                <a:gd name="connsiteX4" fmla="*/ 0 w 4708636"/>
                <a:gd name="connsiteY4" fmla="*/ 1557830 h 3115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08636" h="3115660">
                  <a:moveTo>
                    <a:pt x="0" y="1557830"/>
                  </a:moveTo>
                  <a:cubicBezTo>
                    <a:pt x="0" y="2418185"/>
                    <a:pt x="697476" y="3115661"/>
                    <a:pt x="1557831" y="3115661"/>
                  </a:cubicBezTo>
                  <a:cubicBezTo>
                    <a:pt x="2418186" y="3115661"/>
                    <a:pt x="4708637" y="2418185"/>
                    <a:pt x="4708637" y="1557830"/>
                  </a:cubicBezTo>
                  <a:cubicBezTo>
                    <a:pt x="4708637" y="697476"/>
                    <a:pt x="2418186" y="0"/>
                    <a:pt x="1557831" y="0"/>
                  </a:cubicBezTo>
                  <a:cubicBezTo>
                    <a:pt x="697476" y="0"/>
                    <a:pt x="0" y="697476"/>
                    <a:pt x="0" y="1557830"/>
                  </a:cubicBezTo>
                  <a:close/>
                </a:path>
              </a:pathLst>
            </a:custGeom>
            <a:solidFill>
              <a:schemeClr val="tx2">
                <a:lumMod val="75000"/>
                <a:lumOff val="25000"/>
                <a:alpha val="65000"/>
              </a:schemeClr>
            </a:solidFill>
            <a:ln w="38100" cap="flat">
              <a:noFill/>
              <a:prstDash val="solid"/>
              <a:miter/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">
                <a:latin typeface="Akzidenz-Grotesk BQ" pitchFamily="2" charset="0"/>
              </a:endParaRPr>
            </a:p>
          </p:txBody>
        </p:sp>
        <p:sp>
          <p:nvSpPr>
            <p:cNvPr id="14" name="Forma libre 17">
              <a:extLst>
                <a:ext uri="{FF2B5EF4-FFF2-40B4-BE49-F238E27FC236}">
                  <a16:creationId xmlns:a16="http://schemas.microsoft.com/office/drawing/2014/main" id="{EDB2A125-A646-5A74-3FF8-75118A6BD203}"/>
                </a:ext>
              </a:extLst>
            </p:cNvPr>
            <p:cNvSpPr/>
            <p:nvPr/>
          </p:nvSpPr>
          <p:spPr>
            <a:xfrm>
              <a:off x="14658558" y="2018633"/>
              <a:ext cx="4130895" cy="2733374"/>
            </a:xfrm>
            <a:custGeom>
              <a:avLst/>
              <a:gdLst>
                <a:gd name="connsiteX0" fmla="*/ 4708637 w 4708636"/>
                <a:gd name="connsiteY0" fmla="*/ 1557830 h 3115660"/>
                <a:gd name="connsiteX1" fmla="*/ 3150806 w 4708636"/>
                <a:gd name="connsiteY1" fmla="*/ 3115661 h 3115660"/>
                <a:gd name="connsiteX2" fmla="*/ 0 w 4708636"/>
                <a:gd name="connsiteY2" fmla="*/ 1557830 h 3115660"/>
                <a:gd name="connsiteX3" fmla="*/ 3150806 w 4708636"/>
                <a:gd name="connsiteY3" fmla="*/ 0 h 3115660"/>
                <a:gd name="connsiteX4" fmla="*/ 4708637 w 4708636"/>
                <a:gd name="connsiteY4" fmla="*/ 1557830 h 3115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08636" h="3115660">
                  <a:moveTo>
                    <a:pt x="4708637" y="1557830"/>
                  </a:moveTo>
                  <a:cubicBezTo>
                    <a:pt x="4708637" y="2418185"/>
                    <a:pt x="4011162" y="3115661"/>
                    <a:pt x="3150806" y="3115661"/>
                  </a:cubicBezTo>
                  <a:cubicBezTo>
                    <a:pt x="2290451" y="3115661"/>
                    <a:pt x="0" y="2418185"/>
                    <a:pt x="0" y="1557830"/>
                  </a:cubicBezTo>
                  <a:cubicBezTo>
                    <a:pt x="0" y="697476"/>
                    <a:pt x="2290451" y="0"/>
                    <a:pt x="3150806" y="0"/>
                  </a:cubicBezTo>
                  <a:cubicBezTo>
                    <a:pt x="4011162" y="0"/>
                    <a:pt x="4708637" y="697476"/>
                    <a:pt x="4708637" y="1557830"/>
                  </a:cubicBezTo>
                  <a:close/>
                </a:path>
              </a:pathLst>
            </a:custGeom>
            <a:solidFill>
              <a:schemeClr val="tx2">
                <a:lumMod val="75000"/>
                <a:lumOff val="25000"/>
                <a:alpha val="65000"/>
              </a:schemeClr>
            </a:solidFill>
            <a:ln w="38100" cap="flat">
              <a:noFill/>
              <a:prstDash val="solid"/>
              <a:miter/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">
                <a:latin typeface="Akzidenz-Grotesk BQ" pitchFamily="2" charset="0"/>
              </a:endParaRPr>
            </a:p>
          </p:txBody>
        </p:sp>
        <p:sp>
          <p:nvSpPr>
            <p:cNvPr id="15" name="Forma libre 54">
              <a:extLst>
                <a:ext uri="{FF2B5EF4-FFF2-40B4-BE49-F238E27FC236}">
                  <a16:creationId xmlns:a16="http://schemas.microsoft.com/office/drawing/2014/main" id="{D5E0D8E5-831C-F1B5-565A-12EB0FDFEF32}"/>
                </a:ext>
              </a:extLst>
            </p:cNvPr>
            <p:cNvSpPr/>
            <p:nvPr/>
          </p:nvSpPr>
          <p:spPr>
            <a:xfrm>
              <a:off x="16056078" y="2018633"/>
              <a:ext cx="2733375" cy="3524334"/>
            </a:xfrm>
            <a:custGeom>
              <a:avLst/>
              <a:gdLst>
                <a:gd name="connsiteX0" fmla="*/ 3115662 w 3115661"/>
                <a:gd name="connsiteY0" fmla="*/ 1557830 h 4017242"/>
                <a:gd name="connsiteX1" fmla="*/ 1557831 w 3115661"/>
                <a:gd name="connsiteY1" fmla="*/ 4017242 h 4017242"/>
                <a:gd name="connsiteX2" fmla="*/ 0 w 3115661"/>
                <a:gd name="connsiteY2" fmla="*/ 1557830 h 4017242"/>
                <a:gd name="connsiteX3" fmla="*/ 1557831 w 3115661"/>
                <a:gd name="connsiteY3" fmla="*/ 0 h 4017242"/>
                <a:gd name="connsiteX4" fmla="*/ 3115662 w 3115661"/>
                <a:gd name="connsiteY4" fmla="*/ 1557830 h 4017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5661" h="4017242">
                  <a:moveTo>
                    <a:pt x="3115662" y="1557830"/>
                  </a:moveTo>
                  <a:cubicBezTo>
                    <a:pt x="3115662" y="2418185"/>
                    <a:pt x="2418186" y="4017242"/>
                    <a:pt x="1557831" y="4017242"/>
                  </a:cubicBezTo>
                  <a:cubicBezTo>
                    <a:pt x="697476" y="4017242"/>
                    <a:pt x="0" y="2418185"/>
                    <a:pt x="0" y="1557830"/>
                  </a:cubicBezTo>
                  <a:cubicBezTo>
                    <a:pt x="0" y="697476"/>
                    <a:pt x="697476" y="0"/>
                    <a:pt x="1557831" y="0"/>
                  </a:cubicBezTo>
                  <a:cubicBezTo>
                    <a:pt x="2418186" y="0"/>
                    <a:pt x="3115662" y="697476"/>
                    <a:pt x="3115662" y="1557830"/>
                  </a:cubicBezTo>
                  <a:close/>
                </a:path>
              </a:pathLst>
            </a:custGeom>
            <a:noFill/>
            <a:ln w="38100" cap="flat">
              <a:solidFill>
                <a:srgbClr val="EEEEEE"/>
              </a:solidFill>
              <a:prstDash val="solid"/>
              <a:miter/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">
                <a:latin typeface="Akzidenz-Grotesk BQ" pitchFamily="2" charset="0"/>
              </a:endParaRPr>
            </a:p>
          </p:txBody>
        </p:sp>
        <p:sp>
          <p:nvSpPr>
            <p:cNvPr id="16" name="Forma libre 55">
              <a:extLst>
                <a:ext uri="{FF2B5EF4-FFF2-40B4-BE49-F238E27FC236}">
                  <a16:creationId xmlns:a16="http://schemas.microsoft.com/office/drawing/2014/main" id="{209D90E9-DFF0-7296-22E4-A507A48BC9C3}"/>
                </a:ext>
              </a:extLst>
            </p:cNvPr>
            <p:cNvSpPr/>
            <p:nvPr/>
          </p:nvSpPr>
          <p:spPr>
            <a:xfrm>
              <a:off x="16055486" y="2018633"/>
              <a:ext cx="4130895" cy="2733374"/>
            </a:xfrm>
            <a:custGeom>
              <a:avLst/>
              <a:gdLst>
                <a:gd name="connsiteX0" fmla="*/ 0 w 4708636"/>
                <a:gd name="connsiteY0" fmla="*/ 1557830 h 3115660"/>
                <a:gd name="connsiteX1" fmla="*/ 1557831 w 4708636"/>
                <a:gd name="connsiteY1" fmla="*/ 3115661 h 3115660"/>
                <a:gd name="connsiteX2" fmla="*/ 4708637 w 4708636"/>
                <a:gd name="connsiteY2" fmla="*/ 1557830 h 3115660"/>
                <a:gd name="connsiteX3" fmla="*/ 1557831 w 4708636"/>
                <a:gd name="connsiteY3" fmla="*/ 0 h 3115660"/>
                <a:gd name="connsiteX4" fmla="*/ 0 w 4708636"/>
                <a:gd name="connsiteY4" fmla="*/ 1557830 h 3115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08636" h="3115660">
                  <a:moveTo>
                    <a:pt x="0" y="1557830"/>
                  </a:moveTo>
                  <a:cubicBezTo>
                    <a:pt x="0" y="2418185"/>
                    <a:pt x="697476" y="3115661"/>
                    <a:pt x="1557831" y="3115661"/>
                  </a:cubicBezTo>
                  <a:cubicBezTo>
                    <a:pt x="2418186" y="3115661"/>
                    <a:pt x="4708637" y="2418185"/>
                    <a:pt x="4708637" y="1557830"/>
                  </a:cubicBezTo>
                  <a:cubicBezTo>
                    <a:pt x="4708637" y="697476"/>
                    <a:pt x="2418186" y="0"/>
                    <a:pt x="1557831" y="0"/>
                  </a:cubicBezTo>
                  <a:cubicBezTo>
                    <a:pt x="697476" y="0"/>
                    <a:pt x="0" y="697476"/>
                    <a:pt x="0" y="1557830"/>
                  </a:cubicBezTo>
                  <a:close/>
                </a:path>
              </a:pathLst>
            </a:custGeom>
            <a:noFill/>
            <a:ln w="38100" cap="flat">
              <a:solidFill>
                <a:srgbClr val="EEEEEE"/>
              </a:solidFill>
              <a:prstDash val="solid"/>
              <a:miter/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">
                <a:latin typeface="Akzidenz-Grotesk BQ" pitchFamily="2" charset="0"/>
              </a:endParaRPr>
            </a:p>
          </p:txBody>
        </p:sp>
        <p:sp>
          <p:nvSpPr>
            <p:cNvPr id="17" name="Forma libre 56">
              <a:extLst>
                <a:ext uri="{FF2B5EF4-FFF2-40B4-BE49-F238E27FC236}">
                  <a16:creationId xmlns:a16="http://schemas.microsoft.com/office/drawing/2014/main" id="{60C2AB97-4437-B6A8-0AE3-E6BB8AB73F1E}"/>
                </a:ext>
              </a:extLst>
            </p:cNvPr>
            <p:cNvSpPr/>
            <p:nvPr/>
          </p:nvSpPr>
          <p:spPr>
            <a:xfrm>
              <a:off x="14658558" y="2018633"/>
              <a:ext cx="4130895" cy="2733374"/>
            </a:xfrm>
            <a:custGeom>
              <a:avLst/>
              <a:gdLst>
                <a:gd name="connsiteX0" fmla="*/ 4708637 w 4708636"/>
                <a:gd name="connsiteY0" fmla="*/ 1557830 h 3115660"/>
                <a:gd name="connsiteX1" fmla="*/ 3150806 w 4708636"/>
                <a:gd name="connsiteY1" fmla="*/ 3115661 h 3115660"/>
                <a:gd name="connsiteX2" fmla="*/ 0 w 4708636"/>
                <a:gd name="connsiteY2" fmla="*/ 1557830 h 3115660"/>
                <a:gd name="connsiteX3" fmla="*/ 3150806 w 4708636"/>
                <a:gd name="connsiteY3" fmla="*/ 0 h 3115660"/>
                <a:gd name="connsiteX4" fmla="*/ 4708637 w 4708636"/>
                <a:gd name="connsiteY4" fmla="*/ 1557830 h 3115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08636" h="3115660">
                  <a:moveTo>
                    <a:pt x="4708637" y="1557830"/>
                  </a:moveTo>
                  <a:cubicBezTo>
                    <a:pt x="4708637" y="2418185"/>
                    <a:pt x="4011162" y="3115661"/>
                    <a:pt x="3150806" y="3115661"/>
                  </a:cubicBezTo>
                  <a:cubicBezTo>
                    <a:pt x="2290451" y="3115661"/>
                    <a:pt x="0" y="2418185"/>
                    <a:pt x="0" y="1557830"/>
                  </a:cubicBezTo>
                  <a:cubicBezTo>
                    <a:pt x="0" y="697476"/>
                    <a:pt x="2290451" y="0"/>
                    <a:pt x="3150806" y="0"/>
                  </a:cubicBezTo>
                  <a:cubicBezTo>
                    <a:pt x="4011162" y="0"/>
                    <a:pt x="4708637" y="697476"/>
                    <a:pt x="4708637" y="1557830"/>
                  </a:cubicBezTo>
                  <a:close/>
                </a:path>
              </a:pathLst>
            </a:custGeom>
            <a:noFill/>
            <a:ln w="38100" cap="flat">
              <a:solidFill>
                <a:srgbClr val="EEEEEE"/>
              </a:solidFill>
              <a:prstDash val="solid"/>
              <a:miter/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">
                <a:latin typeface="Akzidenz-Grotesk BQ" pitchFamily="2" charset="0"/>
              </a:endParaRPr>
            </a:p>
          </p:txBody>
        </p:sp>
        <p:sp>
          <p:nvSpPr>
            <p:cNvPr id="18" name="CuadroTexto 51">
              <a:extLst>
                <a:ext uri="{FF2B5EF4-FFF2-40B4-BE49-F238E27FC236}">
                  <a16:creationId xmlns:a16="http://schemas.microsoft.com/office/drawing/2014/main" id="{61B3DAEA-F5F3-E93E-26F6-5A32A7C589B0}"/>
                </a:ext>
              </a:extLst>
            </p:cNvPr>
            <p:cNvSpPr txBox="1"/>
            <p:nvPr/>
          </p:nvSpPr>
          <p:spPr>
            <a:xfrm>
              <a:off x="16103678" y="3085536"/>
              <a:ext cx="2638172" cy="59956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>
              <a:defPPr>
                <a:defRPr lang="es-A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30">
                <a:buClr>
                  <a:srgbClr val="000000"/>
                </a:buClr>
                <a:buSzPts val="2200"/>
                <a:defRPr/>
              </a:pPr>
              <a:r>
                <a:rPr lang="es-AR" sz="1000" kern="0" spc="50">
                  <a:solidFill>
                    <a:srgbClr val="FFFFFF"/>
                  </a:solidFill>
                  <a:latin typeface="Pulso" pitchFamily="2" charset="0"/>
                  <a:ea typeface="Roboto Light" pitchFamily="2" charset="0"/>
                  <a:cs typeface="Roboto"/>
                  <a:sym typeface="Roboto"/>
                </a:rPr>
                <a:t>CONECTIVIDAD</a:t>
              </a:r>
              <a:br>
                <a:rPr lang="es-AR" sz="1000" kern="0" spc="50">
                  <a:solidFill>
                    <a:srgbClr val="FFFFFF"/>
                  </a:solidFill>
                  <a:latin typeface="Pulso" pitchFamily="2" charset="0"/>
                  <a:ea typeface="Roboto Light" pitchFamily="2" charset="0"/>
                  <a:cs typeface="Roboto"/>
                  <a:sym typeface="Roboto"/>
                </a:rPr>
              </a:br>
              <a:r>
                <a:rPr lang="es-AR" sz="1000" kern="0" spc="50">
                  <a:solidFill>
                    <a:srgbClr val="FFFFFF"/>
                  </a:solidFill>
                  <a:latin typeface="Pulso" pitchFamily="2" charset="0"/>
                  <a:ea typeface="Roboto Light" pitchFamily="2" charset="0"/>
                  <a:cs typeface="Roboto"/>
                  <a:sym typeface="Roboto"/>
                </a:rPr>
                <a:t>PERSONAL</a:t>
              </a:r>
              <a:endParaRPr lang="es-AR" sz="1000" kern="0" spc="50">
                <a:solidFill>
                  <a:srgbClr val="FFFFFF"/>
                </a:solidFill>
                <a:latin typeface="Pulso" pitchFamily="2" charset="0"/>
                <a:ea typeface="Roboto Light" pitchFamily="2" charset="0"/>
                <a:sym typeface="Arial"/>
              </a:endParaRPr>
            </a:p>
          </p:txBody>
        </p:sp>
        <p:sp>
          <p:nvSpPr>
            <p:cNvPr id="19" name="Forma libre 61">
              <a:extLst>
                <a:ext uri="{FF2B5EF4-FFF2-40B4-BE49-F238E27FC236}">
                  <a16:creationId xmlns:a16="http://schemas.microsoft.com/office/drawing/2014/main" id="{7C34EC38-B53C-AA1A-A1A2-906E461803B0}"/>
                </a:ext>
              </a:extLst>
            </p:cNvPr>
            <p:cNvSpPr/>
            <p:nvPr/>
          </p:nvSpPr>
          <p:spPr>
            <a:xfrm>
              <a:off x="16150801" y="2113356"/>
              <a:ext cx="2543930" cy="2543928"/>
            </a:xfrm>
            <a:custGeom>
              <a:avLst/>
              <a:gdLst>
                <a:gd name="connsiteX0" fmla="*/ 3115662 w 3115661"/>
                <a:gd name="connsiteY0" fmla="*/ 1557830 h 3115660"/>
                <a:gd name="connsiteX1" fmla="*/ 1557831 w 3115661"/>
                <a:gd name="connsiteY1" fmla="*/ 3115661 h 3115660"/>
                <a:gd name="connsiteX2" fmla="*/ 0 w 3115661"/>
                <a:gd name="connsiteY2" fmla="*/ 1557830 h 3115660"/>
                <a:gd name="connsiteX3" fmla="*/ 1557831 w 3115661"/>
                <a:gd name="connsiteY3" fmla="*/ 0 h 3115660"/>
                <a:gd name="connsiteX4" fmla="*/ 3115662 w 3115661"/>
                <a:gd name="connsiteY4" fmla="*/ 1557830 h 3115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5661" h="3115660">
                  <a:moveTo>
                    <a:pt x="3115662" y="1557830"/>
                  </a:moveTo>
                  <a:cubicBezTo>
                    <a:pt x="3115662" y="2418196"/>
                    <a:pt x="2418197" y="3115661"/>
                    <a:pt x="1557831" y="3115661"/>
                  </a:cubicBezTo>
                  <a:cubicBezTo>
                    <a:pt x="697465" y="3115661"/>
                    <a:pt x="0" y="2418196"/>
                    <a:pt x="0" y="1557830"/>
                  </a:cubicBezTo>
                  <a:cubicBezTo>
                    <a:pt x="0" y="697464"/>
                    <a:pt x="697465" y="0"/>
                    <a:pt x="1557831" y="0"/>
                  </a:cubicBezTo>
                  <a:cubicBezTo>
                    <a:pt x="2418197" y="0"/>
                    <a:pt x="3115662" y="697464"/>
                    <a:pt x="3115662" y="1557830"/>
                  </a:cubicBezTo>
                  <a:close/>
                </a:path>
              </a:pathLst>
            </a:custGeom>
            <a:noFill/>
            <a:ln w="38100" cap="rnd">
              <a:solidFill>
                <a:srgbClr val="FFFFFF"/>
              </a:solidFill>
              <a:prstDash val="sysDot"/>
              <a:round/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">
                <a:latin typeface="Akzidenz-Grotesk BQ" pitchFamily="2" charset="0"/>
              </a:endParaRPr>
            </a:p>
          </p:txBody>
        </p:sp>
        <p:sp>
          <p:nvSpPr>
            <p:cNvPr id="20" name="CuadroTexto 66">
              <a:extLst>
                <a:ext uri="{FF2B5EF4-FFF2-40B4-BE49-F238E27FC236}">
                  <a16:creationId xmlns:a16="http://schemas.microsoft.com/office/drawing/2014/main" id="{12ED01B1-922F-A9F6-0871-3C53BB7AF205}"/>
                </a:ext>
              </a:extLst>
            </p:cNvPr>
            <p:cNvSpPr txBox="1"/>
            <p:nvPr/>
          </p:nvSpPr>
          <p:spPr>
            <a:xfrm>
              <a:off x="14853658" y="3244465"/>
              <a:ext cx="1034241" cy="29977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>
              <a:defPPr>
                <a:defRPr lang="en-US"/>
              </a:defPPr>
              <a:lvl1pPr marR="0" lvl="0" indent="0" algn="ctr" defTabSz="91433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200"/>
                <a:buFont typeface="Arial"/>
                <a:buNone/>
                <a:tabLst/>
                <a:defRPr kumimoji="0" sz="2600" b="1" u="none" strike="noStrike" kern="0" cap="none" spc="50" normalizeH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lash Display Semibold" pitchFamily="2" charset="0"/>
                  <a:ea typeface="Roboto Light" pitchFamily="2" charset="0"/>
                  <a:cs typeface="Roboto"/>
                </a:defRPr>
              </a:lvl1pPr>
              <a:lvl2pPr defTabSz="914400"/>
              <a:lvl3pPr defTabSz="914400"/>
              <a:lvl4pPr defTabSz="914400"/>
              <a:lvl5pPr defTabSz="914400"/>
              <a:lvl6pPr defTabSz="914400"/>
              <a:lvl7pPr defTabSz="914400"/>
              <a:lvl8pPr defTabSz="914400"/>
              <a:lvl9pPr defTabSz="914400"/>
            </a:lstStyle>
            <a:p>
              <a:r>
                <a:rPr lang="es-AR" sz="1000" b="0" spc="20">
                  <a:latin typeface="Pulso" pitchFamily="2" charset="0"/>
                </a:rPr>
                <a:t>ENTRET.</a:t>
              </a:r>
            </a:p>
          </p:txBody>
        </p:sp>
        <p:sp>
          <p:nvSpPr>
            <p:cNvPr id="21" name="CuadroTexto 66">
              <a:extLst>
                <a:ext uri="{FF2B5EF4-FFF2-40B4-BE49-F238E27FC236}">
                  <a16:creationId xmlns:a16="http://schemas.microsoft.com/office/drawing/2014/main" id="{166D1029-220E-3F62-B7A1-D34583C33E9B}"/>
                </a:ext>
              </a:extLst>
            </p:cNvPr>
            <p:cNvSpPr txBox="1"/>
            <p:nvPr/>
          </p:nvSpPr>
          <p:spPr>
            <a:xfrm>
              <a:off x="19143724" y="3220194"/>
              <a:ext cx="536479" cy="31476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>
              <a:defPPr>
                <a:defRPr lang="en-US"/>
              </a:defPPr>
              <a:lvl1pPr marR="0" lvl="0" indent="0" algn="ctr" defTabSz="91433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200"/>
                <a:buFont typeface="Arial"/>
                <a:buNone/>
                <a:tabLst/>
                <a:defRPr kumimoji="0" sz="2600" b="1" u="none" strike="noStrike" kern="0" cap="none" spc="50" normalizeH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lash Display Semibold" pitchFamily="2" charset="0"/>
                  <a:ea typeface="Roboto Light" pitchFamily="2" charset="0"/>
                  <a:cs typeface="Roboto"/>
                </a:defRPr>
              </a:lvl1pPr>
              <a:lvl2pPr defTabSz="914400"/>
              <a:lvl3pPr defTabSz="914400"/>
              <a:lvl4pPr defTabSz="914400"/>
              <a:lvl5pPr defTabSz="914400"/>
              <a:lvl6pPr defTabSz="914400"/>
              <a:lvl7pPr defTabSz="914400"/>
              <a:lvl8pPr defTabSz="914400"/>
              <a:lvl9pPr defTabSz="914400"/>
            </a:lstStyle>
            <a:p>
              <a:r>
                <a:rPr lang="es-AR" sz="1050" b="0" spc="20">
                  <a:latin typeface="Pulso" pitchFamily="2" charset="0"/>
                </a:rPr>
                <a:t>PAY</a:t>
              </a:r>
            </a:p>
          </p:txBody>
        </p:sp>
        <p:sp>
          <p:nvSpPr>
            <p:cNvPr id="22" name="CuadroTexto 66">
              <a:extLst>
                <a:ext uri="{FF2B5EF4-FFF2-40B4-BE49-F238E27FC236}">
                  <a16:creationId xmlns:a16="http://schemas.microsoft.com/office/drawing/2014/main" id="{4146049F-B62E-F61A-652D-AD4B65450505}"/>
                </a:ext>
              </a:extLst>
            </p:cNvPr>
            <p:cNvSpPr txBox="1"/>
            <p:nvPr/>
          </p:nvSpPr>
          <p:spPr>
            <a:xfrm>
              <a:off x="17177910" y="4952717"/>
              <a:ext cx="495886" cy="31476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>
              <a:defPPr>
                <a:defRPr lang="en-US"/>
              </a:defPPr>
              <a:lvl1pPr marR="0" lvl="0" indent="0" algn="ctr" defTabSz="91433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200"/>
                <a:buFont typeface="Arial"/>
                <a:buNone/>
                <a:tabLst/>
                <a:defRPr kumimoji="0" sz="2600" b="1" u="none" strike="noStrike" kern="0" cap="none" spc="50" normalizeH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lash Display Semibold" pitchFamily="2" charset="0"/>
                  <a:ea typeface="Roboto Light" pitchFamily="2" charset="0"/>
                  <a:cs typeface="Roboto"/>
                </a:defRPr>
              </a:lvl1pPr>
              <a:lvl2pPr defTabSz="914400"/>
              <a:lvl3pPr defTabSz="914400"/>
              <a:lvl4pPr defTabSz="914400"/>
              <a:lvl5pPr defTabSz="914400"/>
              <a:lvl6pPr defTabSz="914400"/>
              <a:lvl7pPr defTabSz="914400"/>
              <a:lvl8pPr defTabSz="914400"/>
              <a:lvl9pPr defTabSz="914400"/>
            </a:lstStyle>
            <a:p>
              <a:r>
                <a:rPr lang="es-AR" sz="1050" b="0" spc="20">
                  <a:latin typeface="Pulso" pitchFamily="2" charset="0"/>
                </a:rPr>
                <a:t>B2B</a:t>
              </a:r>
            </a:p>
          </p:txBody>
        </p:sp>
      </p:grpSp>
      <p:sp>
        <p:nvSpPr>
          <p:cNvPr id="24" name="CuadroTexto 51">
            <a:extLst>
              <a:ext uri="{FF2B5EF4-FFF2-40B4-BE49-F238E27FC236}">
                <a16:creationId xmlns:a16="http://schemas.microsoft.com/office/drawing/2014/main" id="{21DB25B6-C438-D0AE-2A04-5D8DE0B6FE33}"/>
              </a:ext>
            </a:extLst>
          </p:cNvPr>
          <p:cNvSpPr txBox="1"/>
          <p:nvPr/>
        </p:nvSpPr>
        <p:spPr>
          <a:xfrm>
            <a:off x="1161115" y="3031038"/>
            <a:ext cx="1038798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R="0" lvl="0" indent="0" algn="ctr" defTabSz="91433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tabLst/>
              <a:defRPr kumimoji="0" sz="2800" u="none" strike="noStrike" kern="0" cap="none" spc="20" normalizeH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lash Display Medium" pitchFamily="2" charset="0"/>
                <a:ea typeface="Roboto Light" pitchFamily="2" charset="0"/>
                <a:cs typeface="Roboto"/>
              </a:defRPr>
            </a:lvl1pPr>
            <a:lvl2pPr defTabSz="914400"/>
            <a:lvl3pPr defTabSz="914400"/>
            <a:lvl4pPr defTabSz="914400"/>
            <a:lvl5pPr defTabSz="914400"/>
            <a:lvl6pPr defTabSz="914400"/>
            <a:lvl7pPr defTabSz="914400"/>
            <a:lvl8pPr defTabSz="914400"/>
            <a:lvl9pPr defTabSz="914400"/>
          </a:lstStyle>
          <a:p>
            <a:pPr algn="r"/>
            <a:r>
              <a:rPr lang="es-AR" sz="1000">
                <a:solidFill>
                  <a:schemeClr val="accent1">
                    <a:lumMod val="50000"/>
                  </a:schemeClr>
                </a:solidFill>
                <a:latin typeface="Pulso" pitchFamily="2" charset="0"/>
              </a:rPr>
              <a:t>Salud </a:t>
            </a:r>
            <a:r>
              <a:rPr lang="es-AR" sz="1000">
                <a:solidFill>
                  <a:schemeClr val="accent1">
                    <a:lumMod val="50000"/>
                  </a:schemeClr>
                </a:solidFill>
                <a:latin typeface="Pulso" pitchFamily="2" charset="0"/>
                <a:sym typeface="Arial"/>
              </a:rPr>
              <a:t>Financiera</a:t>
            </a:r>
          </a:p>
        </p:txBody>
      </p:sp>
      <p:grpSp>
        <p:nvGrpSpPr>
          <p:cNvPr id="39" name="Grupo 38">
            <a:extLst>
              <a:ext uri="{FF2B5EF4-FFF2-40B4-BE49-F238E27FC236}">
                <a16:creationId xmlns:a16="http://schemas.microsoft.com/office/drawing/2014/main" id="{EA9B4B11-0CEB-CEBE-8BBA-43370785E4F7}"/>
              </a:ext>
            </a:extLst>
          </p:cNvPr>
          <p:cNvGrpSpPr/>
          <p:nvPr/>
        </p:nvGrpSpPr>
        <p:grpSpPr>
          <a:xfrm>
            <a:off x="2290248" y="3107982"/>
            <a:ext cx="4563505" cy="0"/>
            <a:chOff x="2349879" y="3107982"/>
            <a:chExt cx="4563505" cy="0"/>
          </a:xfrm>
        </p:grpSpPr>
        <p:cxnSp>
          <p:nvCxnSpPr>
            <p:cNvPr id="27" name="Conector recto 26">
              <a:extLst>
                <a:ext uri="{FF2B5EF4-FFF2-40B4-BE49-F238E27FC236}">
                  <a16:creationId xmlns:a16="http://schemas.microsoft.com/office/drawing/2014/main" id="{A598472E-1ED9-EEB0-EAAC-F7B8A5452C5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49879" y="3107982"/>
              <a:ext cx="324000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ysDot"/>
              <a:round/>
              <a:tailEnd type="oval"/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</p:cxnSp>
        <p:cxnSp>
          <p:nvCxnSpPr>
            <p:cNvPr id="28" name="Conector recto 27">
              <a:extLst>
                <a:ext uri="{FF2B5EF4-FFF2-40B4-BE49-F238E27FC236}">
                  <a16:creationId xmlns:a16="http://schemas.microsoft.com/office/drawing/2014/main" id="{7245A2BD-06DC-573D-1470-CF6EDEE22D04}"/>
                </a:ext>
              </a:extLst>
            </p:cNvPr>
            <p:cNvCxnSpPr>
              <a:cxnSpLocks/>
            </p:cNvCxnSpPr>
            <p:nvPr/>
          </p:nvCxnSpPr>
          <p:spPr>
            <a:xfrm>
              <a:off x="6589384" y="3107982"/>
              <a:ext cx="324000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ysDot"/>
              <a:round/>
              <a:tailEnd type="oval"/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</p:cxnSp>
      </p:grpSp>
      <p:grpSp>
        <p:nvGrpSpPr>
          <p:cNvPr id="40" name="Grupo 39">
            <a:extLst>
              <a:ext uri="{FF2B5EF4-FFF2-40B4-BE49-F238E27FC236}">
                <a16:creationId xmlns:a16="http://schemas.microsoft.com/office/drawing/2014/main" id="{37A21F93-00E7-E056-A48D-7B73D9E2D7E9}"/>
              </a:ext>
            </a:extLst>
          </p:cNvPr>
          <p:cNvGrpSpPr/>
          <p:nvPr/>
        </p:nvGrpSpPr>
        <p:grpSpPr>
          <a:xfrm>
            <a:off x="2468830" y="3733172"/>
            <a:ext cx="4206341" cy="0"/>
            <a:chOff x="2384267" y="2571750"/>
            <a:chExt cx="4206341" cy="0"/>
          </a:xfrm>
        </p:grpSpPr>
        <p:cxnSp>
          <p:nvCxnSpPr>
            <p:cNvPr id="26" name="Conector recto 25">
              <a:extLst>
                <a:ext uri="{FF2B5EF4-FFF2-40B4-BE49-F238E27FC236}">
                  <a16:creationId xmlns:a16="http://schemas.microsoft.com/office/drawing/2014/main" id="{79850F1C-3835-1520-FB0A-1B605A92C9C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84267" y="2571750"/>
              <a:ext cx="324000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ysDot"/>
              <a:round/>
              <a:tailEnd type="oval"/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</p:cxnSp>
        <p:cxnSp>
          <p:nvCxnSpPr>
            <p:cNvPr id="29" name="Conector recto 28">
              <a:extLst>
                <a:ext uri="{FF2B5EF4-FFF2-40B4-BE49-F238E27FC236}">
                  <a16:creationId xmlns:a16="http://schemas.microsoft.com/office/drawing/2014/main" id="{91180C5D-9CB7-FD65-011F-EBD5021742A6}"/>
                </a:ext>
              </a:extLst>
            </p:cNvPr>
            <p:cNvCxnSpPr>
              <a:cxnSpLocks/>
            </p:cNvCxnSpPr>
            <p:nvPr/>
          </p:nvCxnSpPr>
          <p:spPr>
            <a:xfrm>
              <a:off x="6266608" y="2571750"/>
              <a:ext cx="324000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ysDot"/>
              <a:round/>
              <a:tailEnd type="oval"/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</p:cxnSp>
      </p:grpSp>
      <p:sp>
        <p:nvSpPr>
          <p:cNvPr id="31" name="Elipse 30">
            <a:extLst>
              <a:ext uri="{FF2B5EF4-FFF2-40B4-BE49-F238E27FC236}">
                <a16:creationId xmlns:a16="http://schemas.microsoft.com/office/drawing/2014/main" id="{98DB9A95-7E6E-9D9F-4598-EEA6E9545802}"/>
              </a:ext>
            </a:extLst>
          </p:cNvPr>
          <p:cNvSpPr/>
          <p:nvPr/>
        </p:nvSpPr>
        <p:spPr>
          <a:xfrm>
            <a:off x="2796811" y="1894187"/>
            <a:ext cx="3550379" cy="2635999"/>
          </a:xfrm>
          <a:prstGeom prst="ellipse">
            <a:avLst/>
          </a:prstGeom>
          <a:noFill/>
          <a:ln w="57150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00"/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id="{3F54A4ED-5F7F-0A6D-9414-8189143FA86A}"/>
              </a:ext>
            </a:extLst>
          </p:cNvPr>
          <p:cNvSpPr/>
          <p:nvPr/>
        </p:nvSpPr>
        <p:spPr>
          <a:xfrm>
            <a:off x="4341389" y="1663488"/>
            <a:ext cx="461222" cy="461222"/>
          </a:xfrm>
          <a:prstGeom prst="ellipse">
            <a:avLst/>
          </a:prstGeom>
          <a:blipFill>
            <a:blip r:embed="rId2"/>
            <a:stretch>
              <a:fillRect/>
            </a:stretch>
          </a:blipFill>
          <a:ln>
            <a:solidFill>
              <a:schemeClr val="bg2"/>
            </a:solidFill>
          </a:ln>
          <a:effectLst>
            <a:outerShdw blurRad="321592" sx="174000" sy="174000" algn="ctr" rotWithShape="0">
              <a:schemeClr val="bg2"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AR" sz="1050" b="1">
                <a:solidFill>
                  <a:srgbClr val="FFFFFF"/>
                </a:solidFill>
                <a:latin typeface="Pulso" pitchFamily="2" charset="0"/>
              </a:rPr>
              <a:t>IA</a:t>
            </a:r>
          </a:p>
        </p:txBody>
      </p:sp>
      <p:sp>
        <p:nvSpPr>
          <p:cNvPr id="34" name="Marcador de texto 8">
            <a:extLst>
              <a:ext uri="{FF2B5EF4-FFF2-40B4-BE49-F238E27FC236}">
                <a16:creationId xmlns:a16="http://schemas.microsoft.com/office/drawing/2014/main" id="{B6E9A59A-F351-5233-4FA0-A24311F2D9EA}"/>
              </a:ext>
            </a:extLst>
          </p:cNvPr>
          <p:cNvSpPr txBox="1">
            <a:spLocks/>
          </p:cNvSpPr>
          <p:nvPr/>
        </p:nvSpPr>
        <p:spPr>
          <a:xfrm>
            <a:off x="2002288" y="1223028"/>
            <a:ext cx="5139430" cy="20499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>
                <a:schemeClr val="bg2"/>
              </a:buClr>
              <a:buNone/>
            </a:pPr>
            <a:r>
              <a:rPr lang="es-AR" sz="1200" spc="-15">
                <a:solidFill>
                  <a:schemeClr val="tx2"/>
                </a:solidFill>
                <a:latin typeface="Pulso Light" pitchFamily="2" charset="0"/>
                <a:ea typeface="Open Sans Light"/>
                <a:cs typeface="Open Sans Light"/>
              </a:rPr>
              <a:t>Apalancado en </a:t>
            </a:r>
            <a:r>
              <a:rPr lang="es-AR" sz="1200" b="1" spc="-15">
                <a:solidFill>
                  <a:schemeClr val="tx2"/>
                </a:solidFill>
                <a:latin typeface="Pulso" pitchFamily="2" charset="0"/>
                <a:ea typeface="Open Sans Light"/>
                <a:cs typeface="Open Sans Light"/>
              </a:rPr>
              <a:t>Conectividad + IA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830BB39E-9422-2877-2BD1-CD772DEA8E60}"/>
              </a:ext>
            </a:extLst>
          </p:cNvPr>
          <p:cNvSpPr txBox="1">
            <a:spLocks/>
          </p:cNvSpPr>
          <p:nvPr/>
        </p:nvSpPr>
        <p:spPr>
          <a:xfrm>
            <a:off x="1779379" y="454784"/>
            <a:ext cx="5585248" cy="718145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ts val="3200"/>
              </a:lnSpc>
              <a:spcAft>
                <a:spcPts val="0"/>
              </a:spcAft>
              <a:buNone/>
              <a:defRPr sz="2800" b="0" i="0" spc="-70" baseline="0">
                <a:solidFill>
                  <a:schemeClr val="tx2"/>
                </a:solidFill>
                <a:latin typeface="Pulso Light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ts val="2800"/>
              </a:lnSpc>
            </a:pPr>
            <a:r>
              <a:rPr lang="es-ES_tradnl" sz="2500">
                <a:solidFill>
                  <a:schemeClr val="bg2"/>
                </a:solidFill>
              </a:rPr>
              <a:t>Potenciar la​ experiencia Cliente a través de un Ecosistema relevante​</a:t>
            </a:r>
          </a:p>
        </p:txBody>
      </p:sp>
      <p:sp>
        <p:nvSpPr>
          <p:cNvPr id="37" name="CuadroTexto 66">
            <a:extLst>
              <a:ext uri="{FF2B5EF4-FFF2-40B4-BE49-F238E27FC236}">
                <a16:creationId xmlns:a16="http://schemas.microsoft.com/office/drawing/2014/main" id="{1F7E4651-4CEF-586A-0F24-A0AC5B981A94}"/>
              </a:ext>
            </a:extLst>
          </p:cNvPr>
          <p:cNvSpPr txBox="1"/>
          <p:nvPr/>
        </p:nvSpPr>
        <p:spPr>
          <a:xfrm>
            <a:off x="4054641" y="2212657"/>
            <a:ext cx="1034718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R="0" lvl="0" indent="0" algn="ctr" defTabSz="91433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tabLst/>
              <a:defRPr kumimoji="0" sz="2600" b="1" u="none" strike="noStrike" kern="0" cap="none" spc="50" normalizeH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lash Display Semibold" pitchFamily="2" charset="0"/>
                <a:ea typeface="Roboto Light" pitchFamily="2" charset="0"/>
                <a:cs typeface="Roboto"/>
              </a:defRPr>
            </a:lvl1pPr>
            <a:lvl2pPr defTabSz="914400"/>
            <a:lvl3pPr defTabSz="914400"/>
            <a:lvl4pPr defTabSz="914400"/>
            <a:lvl5pPr defTabSz="914400"/>
            <a:lvl6pPr defTabSz="914400"/>
            <a:lvl7pPr defTabSz="914400"/>
            <a:lvl8pPr defTabSz="914400"/>
            <a:lvl9pPr defTabSz="914400"/>
          </a:lstStyle>
          <a:p>
            <a:r>
              <a:rPr lang="es-AR" sz="1050" spc="20">
                <a:latin typeface="Pulso" pitchFamily="2" charset="0"/>
                <a:ea typeface="Roboto Light"/>
              </a:rPr>
              <a:t>ESCALAR</a:t>
            </a:r>
            <a:endParaRPr lang="es-AR" sz="1050" spc="20">
              <a:latin typeface="Pulso" pitchFamily="2" charset="0"/>
            </a:endParaRPr>
          </a:p>
        </p:txBody>
      </p:sp>
      <p:sp>
        <p:nvSpPr>
          <p:cNvPr id="42" name="CuadroTexto 51">
            <a:extLst>
              <a:ext uri="{FF2B5EF4-FFF2-40B4-BE49-F238E27FC236}">
                <a16:creationId xmlns:a16="http://schemas.microsoft.com/office/drawing/2014/main" id="{311B59C1-45AB-7B81-99AA-9617B4E203FD}"/>
              </a:ext>
            </a:extLst>
          </p:cNvPr>
          <p:cNvSpPr txBox="1"/>
          <p:nvPr/>
        </p:nvSpPr>
        <p:spPr>
          <a:xfrm>
            <a:off x="6944028" y="2877150"/>
            <a:ext cx="1291922" cy="4616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R="0" lvl="0" indent="0" algn="ctr" defTabSz="91433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tabLst/>
              <a:defRPr kumimoji="0" sz="2800" u="none" strike="noStrike" kern="0" cap="none" spc="20" normalizeH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lash Display Medium" pitchFamily="2" charset="0"/>
                <a:ea typeface="Roboto Light" pitchFamily="2" charset="0"/>
                <a:cs typeface="Roboto"/>
              </a:defRPr>
            </a:lvl1pPr>
            <a:lvl2pPr defTabSz="914400"/>
            <a:lvl3pPr defTabSz="914400"/>
            <a:lvl4pPr defTabSz="914400"/>
            <a:lvl5pPr defTabSz="914400"/>
            <a:lvl6pPr defTabSz="914400"/>
            <a:lvl7pPr defTabSz="914400"/>
            <a:lvl8pPr defTabSz="914400"/>
            <a:lvl9pPr defTabSz="914400"/>
          </a:lstStyle>
          <a:p>
            <a:pPr algn="l"/>
            <a:r>
              <a:rPr lang="es-AR" sz="1000">
                <a:solidFill>
                  <a:schemeClr val="accent1">
                    <a:lumMod val="50000"/>
                  </a:schemeClr>
                </a:solidFill>
                <a:latin typeface="Pulso" pitchFamily="2" charset="0"/>
              </a:rPr>
              <a:t>Data | Cloud + IA</a:t>
            </a:r>
            <a:br>
              <a:rPr lang="es-AR" sz="1000">
                <a:solidFill>
                  <a:schemeClr val="accent1">
                    <a:lumMod val="50000"/>
                  </a:schemeClr>
                </a:solidFill>
                <a:latin typeface="Pulso" pitchFamily="2" charset="0"/>
              </a:rPr>
            </a:br>
            <a:r>
              <a:rPr lang="es-AR" sz="1000">
                <a:solidFill>
                  <a:schemeClr val="accent1">
                    <a:lumMod val="50000"/>
                  </a:schemeClr>
                </a:solidFill>
                <a:latin typeface="Pulso" pitchFamily="2" charset="0"/>
              </a:rPr>
              <a:t>Como habilitador de negocios</a:t>
            </a:r>
          </a:p>
        </p:txBody>
      </p:sp>
      <p:sp>
        <p:nvSpPr>
          <p:cNvPr id="43" name="CuadroTexto 51">
            <a:extLst>
              <a:ext uri="{FF2B5EF4-FFF2-40B4-BE49-F238E27FC236}">
                <a16:creationId xmlns:a16="http://schemas.microsoft.com/office/drawing/2014/main" id="{E158E97C-C782-FBBD-851A-FBC910359AD6}"/>
              </a:ext>
            </a:extLst>
          </p:cNvPr>
          <p:cNvSpPr txBox="1"/>
          <p:nvPr/>
        </p:nvSpPr>
        <p:spPr>
          <a:xfrm>
            <a:off x="6759014" y="3576740"/>
            <a:ext cx="1413849" cy="3077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R="0" lvl="0" indent="0" algn="ctr" defTabSz="91433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tabLst/>
              <a:defRPr kumimoji="0" sz="2800" u="none" strike="noStrike" kern="0" cap="none" spc="20" normalizeH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lash Display Medium" pitchFamily="2" charset="0"/>
                <a:ea typeface="Roboto Light" pitchFamily="2" charset="0"/>
                <a:cs typeface="Roboto"/>
              </a:defRPr>
            </a:lvl1pPr>
            <a:lvl2pPr defTabSz="914400"/>
            <a:lvl3pPr defTabSz="914400"/>
            <a:lvl4pPr defTabSz="914400"/>
            <a:lvl5pPr defTabSz="914400"/>
            <a:lvl6pPr defTabSz="914400"/>
            <a:lvl7pPr defTabSz="914400"/>
            <a:lvl8pPr defTabSz="914400"/>
            <a:lvl9pPr defTabSz="914400"/>
          </a:lstStyle>
          <a:p>
            <a:pPr algn="l"/>
            <a:r>
              <a:rPr lang="es-AR" sz="1000">
                <a:solidFill>
                  <a:schemeClr val="accent1">
                    <a:lumMod val="50000"/>
                  </a:schemeClr>
                </a:solidFill>
                <a:latin typeface="Pulso" pitchFamily="2" charset="0"/>
              </a:rPr>
              <a:t>Transformación Cultural +</a:t>
            </a:r>
            <a:br>
              <a:rPr lang="es-AR" sz="1000">
                <a:solidFill>
                  <a:schemeClr val="accent1">
                    <a:lumMod val="50000"/>
                  </a:schemeClr>
                </a:solidFill>
                <a:latin typeface="Pulso" pitchFamily="2" charset="0"/>
              </a:rPr>
            </a:br>
            <a:r>
              <a:rPr lang="es-AR" sz="1000">
                <a:solidFill>
                  <a:schemeClr val="accent1">
                    <a:lumMod val="50000"/>
                  </a:schemeClr>
                </a:solidFill>
                <a:latin typeface="Pulso" pitchFamily="2" charset="0"/>
              </a:rPr>
              <a:t> Integración con TMA</a:t>
            </a:r>
          </a:p>
        </p:txBody>
      </p:sp>
      <p:sp>
        <p:nvSpPr>
          <p:cNvPr id="44" name="CuadroTexto 51">
            <a:extLst>
              <a:ext uri="{FF2B5EF4-FFF2-40B4-BE49-F238E27FC236}">
                <a16:creationId xmlns:a16="http://schemas.microsoft.com/office/drawing/2014/main" id="{09073E4D-71B0-5F85-98D5-0AC38720751C}"/>
              </a:ext>
            </a:extLst>
          </p:cNvPr>
          <p:cNvSpPr txBox="1"/>
          <p:nvPr/>
        </p:nvSpPr>
        <p:spPr>
          <a:xfrm>
            <a:off x="908050" y="3576740"/>
            <a:ext cx="1472981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R="0" lvl="0" indent="0" algn="ctr" defTabSz="91433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tabLst/>
              <a:defRPr kumimoji="0" sz="2800" u="none" strike="noStrike" kern="0" cap="none" spc="20" normalizeH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lash Display Medium" pitchFamily="2" charset="0"/>
                <a:ea typeface="Roboto Light" pitchFamily="2" charset="0"/>
                <a:cs typeface="Roboto"/>
              </a:defRPr>
            </a:lvl1pPr>
            <a:lvl2pPr defTabSz="914400"/>
            <a:lvl3pPr defTabSz="914400"/>
            <a:lvl4pPr defTabSz="914400"/>
            <a:lvl5pPr defTabSz="914400"/>
            <a:lvl6pPr defTabSz="914400"/>
            <a:lvl7pPr defTabSz="914400"/>
            <a:lvl8pPr defTabSz="914400"/>
            <a:lvl9pPr defTabSz="914400"/>
          </a:lstStyle>
          <a:p>
            <a:pPr algn="r"/>
            <a:r>
              <a:rPr lang="es-AR" sz="1000">
                <a:solidFill>
                  <a:schemeClr val="accent1">
                    <a:lumMod val="50000"/>
                  </a:schemeClr>
                </a:solidFill>
                <a:latin typeface="Pulso" pitchFamily="2" charset="0"/>
              </a:rPr>
              <a:t>Regulación + Aprobación Fusión</a:t>
            </a:r>
            <a:endParaRPr lang="es-AR" sz="1000">
              <a:solidFill>
                <a:schemeClr val="accent1">
                  <a:lumMod val="50000"/>
                </a:schemeClr>
              </a:solidFill>
              <a:latin typeface="Pulso" pitchFamily="2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04201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75115F-E234-D121-44BE-C9FF906B2C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n 21">
            <a:extLst>
              <a:ext uri="{FF2B5EF4-FFF2-40B4-BE49-F238E27FC236}">
                <a16:creationId xmlns:a16="http://schemas.microsoft.com/office/drawing/2014/main" id="{FD751FF3-C9C3-8667-1B21-6C1B4B8CF9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62" y="112623"/>
            <a:ext cx="8916476" cy="2322000"/>
          </a:xfrm>
          <a:prstGeom prst="roundRect">
            <a:avLst>
              <a:gd name="adj" fmla="val 5984"/>
            </a:avLst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040A2EE4-7E74-4757-BC77-5C98EFD9A651}"/>
              </a:ext>
            </a:extLst>
          </p:cNvPr>
          <p:cNvSpPr/>
          <p:nvPr/>
        </p:nvSpPr>
        <p:spPr>
          <a:xfrm>
            <a:off x="606581" y="3026815"/>
            <a:ext cx="3965419" cy="11520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ES_tradnl" sz="440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Contexto de </a:t>
            </a:r>
            <a:r>
              <a:rPr lang="es-ES_tradnl" sz="4400" spc="-7" noProof="0">
                <a:solidFill>
                  <a:schemeClr val="bg2"/>
                </a:solidFill>
                <a:latin typeface="Pulso Light" pitchFamily="2" charset="0"/>
                <a:ea typeface="Inter Light BETA" panose="020B0402030000000004" pitchFamily="34" charset="0"/>
              </a:rPr>
              <a:t>Negocio</a:t>
            </a:r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99220AE8-735B-2941-F35C-E42826728D0B}"/>
              </a:ext>
            </a:extLst>
          </p:cNvPr>
          <p:cNvGrpSpPr/>
          <p:nvPr/>
        </p:nvGrpSpPr>
        <p:grpSpPr>
          <a:xfrm>
            <a:off x="8005009" y="3813781"/>
            <a:ext cx="515318" cy="112191"/>
            <a:chOff x="5588723" y="3144791"/>
            <a:chExt cx="515318" cy="112191"/>
          </a:xfrm>
        </p:grpSpPr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506EFEC5-8752-F0BB-C475-B2E137A524E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88723" y="3190086"/>
              <a:ext cx="21600" cy="21600"/>
            </a:xfrm>
            <a:prstGeom prst="ellipse">
              <a:avLst/>
            </a:pr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43543" tIns="21771" rIns="43543" bIns="2177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_tradnl" sz="700" noProof="0">
                <a:solidFill>
                  <a:srgbClr val="808080"/>
                </a:solidFill>
                <a:latin typeface="Pulso Light" pitchFamily="2" charset="0"/>
              </a:endParaRPr>
            </a:p>
          </p:txBody>
        </p:sp>
        <p:sp>
          <p:nvSpPr>
            <p:cNvPr id="19" name="Rectángulo 61">
              <a:extLst>
                <a:ext uri="{FF2B5EF4-FFF2-40B4-BE49-F238E27FC236}">
                  <a16:creationId xmlns:a16="http://schemas.microsoft.com/office/drawing/2014/main" id="{4B389131-76C1-8FD8-5C6A-8E3A21A68762}"/>
                </a:ext>
              </a:extLst>
            </p:cNvPr>
            <p:cNvSpPr/>
            <p:nvPr/>
          </p:nvSpPr>
          <p:spPr>
            <a:xfrm rot="2700000">
              <a:off x="5968614" y="3144791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1905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1400" noProof="0">
                <a:solidFill>
                  <a:schemeClr val="tx1"/>
                </a:solidFill>
                <a:latin typeface="Pulso Light" pitchFamily="2" charset="0"/>
              </a:endParaRPr>
            </a:p>
          </p:txBody>
        </p:sp>
        <p:cxnSp>
          <p:nvCxnSpPr>
            <p:cNvPr id="20" name="Conector recto 19">
              <a:extLst>
                <a:ext uri="{FF2B5EF4-FFF2-40B4-BE49-F238E27FC236}">
                  <a16:creationId xmlns:a16="http://schemas.microsoft.com/office/drawing/2014/main" id="{CC56E096-0421-5D8C-BABF-FB72726DECFF}"/>
                </a:ext>
              </a:extLst>
            </p:cNvPr>
            <p:cNvCxnSpPr>
              <a:cxnSpLocks/>
            </p:cNvCxnSpPr>
            <p:nvPr/>
          </p:nvCxnSpPr>
          <p:spPr>
            <a:xfrm>
              <a:off x="5670299" y="3200886"/>
              <a:ext cx="433742" cy="0"/>
            </a:xfrm>
            <a:prstGeom prst="line">
              <a:avLst/>
            </a:prstGeom>
            <a:ln w="1905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id="{6AAE599C-C1DD-482F-7B82-CC8C1695BC49}"/>
              </a:ext>
            </a:extLst>
          </p:cNvPr>
          <p:cNvSpPr/>
          <p:nvPr/>
        </p:nvSpPr>
        <p:spPr>
          <a:xfrm>
            <a:off x="118800" y="112623"/>
            <a:ext cx="8906400" cy="2322000"/>
          </a:xfrm>
          <a:prstGeom prst="roundRect">
            <a:avLst>
              <a:gd name="adj" fmla="val 5534"/>
            </a:avLst>
          </a:prstGeom>
          <a:gradFill>
            <a:gsLst>
              <a:gs pos="0">
                <a:schemeClr val="bg2">
                  <a:alpha val="34828"/>
                </a:schemeClr>
              </a:gs>
              <a:gs pos="49000">
                <a:schemeClr val="bg2">
                  <a:alpha val="0"/>
                </a:scheme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 noProof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81079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2AF1DC-6ABB-0D7A-714A-165B243A7D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ángulo: esquinas redondeadas 4">
            <a:extLst>
              <a:ext uri="{FF2B5EF4-FFF2-40B4-BE49-F238E27FC236}">
                <a16:creationId xmlns:a16="http://schemas.microsoft.com/office/drawing/2014/main" id="{59A128D7-C081-519D-B2E8-2CF323AB02A0}"/>
              </a:ext>
            </a:extLst>
          </p:cNvPr>
          <p:cNvSpPr>
            <a:spLocks/>
          </p:cNvSpPr>
          <p:nvPr/>
        </p:nvSpPr>
        <p:spPr>
          <a:xfrm>
            <a:off x="540657" y="1779491"/>
            <a:ext cx="8062686" cy="2699452"/>
          </a:xfrm>
          <a:prstGeom prst="roundRect">
            <a:avLst>
              <a:gd name="adj" fmla="val 1975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pic>
        <p:nvPicPr>
          <p:cNvPr id="3" name="Picture 2" descr="A group of circular icons&#10;&#10;AI-generated content may be incorrect.">
            <a:extLst>
              <a:ext uri="{FF2B5EF4-FFF2-40B4-BE49-F238E27FC236}">
                <a16:creationId xmlns:a16="http://schemas.microsoft.com/office/drawing/2014/main" id="{0B7D8B06-5174-B896-3916-648E34A90A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8619" y="2128984"/>
            <a:ext cx="2284630" cy="200046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F20C0B3-3C68-75A8-581C-2C0BCA46E6CC}"/>
              </a:ext>
            </a:extLst>
          </p:cNvPr>
          <p:cNvSpPr txBox="1">
            <a:spLocks/>
          </p:cNvSpPr>
          <p:nvPr/>
        </p:nvSpPr>
        <p:spPr>
          <a:xfrm>
            <a:off x="540657" y="563342"/>
            <a:ext cx="1677382" cy="393377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200"/>
              </a:lnSpc>
            </a:pP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Primer paso</a:t>
            </a:r>
          </a:p>
        </p:txBody>
      </p:sp>
      <p:sp>
        <p:nvSpPr>
          <p:cNvPr id="4" name="Marcador de texto 8">
            <a:extLst>
              <a:ext uri="{FF2B5EF4-FFF2-40B4-BE49-F238E27FC236}">
                <a16:creationId xmlns:a16="http://schemas.microsoft.com/office/drawing/2014/main" id="{84092F98-E860-E5E5-7B2F-AEE59C62849A}"/>
              </a:ext>
            </a:extLst>
          </p:cNvPr>
          <p:cNvSpPr txBox="1">
            <a:spLocks/>
          </p:cNvSpPr>
          <p:nvPr/>
        </p:nvSpPr>
        <p:spPr>
          <a:xfrm>
            <a:off x="540657" y="1172250"/>
            <a:ext cx="5560597" cy="45006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ts val="178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s-ES_tradnl" sz="1400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Para la construcción de un ECOSISTEMA de productos y servicios, no solo se necesitan las diferentes partes que lo componen. 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838A4EC0-67FD-CBC7-A5C4-524438E61B4F}"/>
              </a:ext>
            </a:extLst>
          </p:cNvPr>
          <p:cNvCxnSpPr>
            <a:cxnSpLocks/>
          </p:cNvCxnSpPr>
          <p:nvPr/>
        </p:nvCxnSpPr>
        <p:spPr>
          <a:xfrm>
            <a:off x="889382" y="3290492"/>
            <a:ext cx="4500000" cy="0"/>
          </a:xfrm>
          <a:prstGeom prst="line">
            <a:avLst/>
          </a:prstGeom>
          <a:ln w="12700" cap="rnd">
            <a:solidFill>
              <a:schemeClr val="tx2">
                <a:lumMod val="75000"/>
                <a:lumOff val="25000"/>
                <a:alpha val="49589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uadroTexto 20">
            <a:extLst>
              <a:ext uri="{FF2B5EF4-FFF2-40B4-BE49-F238E27FC236}">
                <a16:creationId xmlns:a16="http://schemas.microsoft.com/office/drawing/2014/main" id="{E4704717-0D3A-7CEF-5D0C-4BCE8A516593}"/>
              </a:ext>
            </a:extLst>
          </p:cNvPr>
          <p:cNvSpPr txBox="1"/>
          <p:nvPr/>
        </p:nvSpPr>
        <p:spPr>
          <a:xfrm>
            <a:off x="889382" y="2083058"/>
            <a:ext cx="4572000" cy="204639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8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Se necesita un SISTEMA MARCARIO basado en </a:t>
            </a:r>
            <a:r>
              <a:rPr lang="es-ES_tradnl" sz="1800" b="1" noProof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UNA Marca Madre:</a:t>
            </a:r>
            <a:r>
              <a:rPr lang="es-ES_tradnl" sz="1800" noProof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</a:t>
            </a:r>
            <a:r>
              <a:rPr lang="es-ES_tradnl" sz="18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Un ecosistema que tenga una identidad clara y única.  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s-ES_tradnl" sz="1800">
              <a:solidFill>
                <a:schemeClr val="bg1">
                  <a:lumMod val="25000"/>
                </a:schemeClr>
              </a:solidFill>
              <a:latin typeface="Pulso Light" pitchFamily="2" charset="0"/>
              <a:ea typeface="Roboto" panose="02000000000000000000" pitchFamily="2" charset="0"/>
              <a:cs typeface="Open Sans" pitchFamily="2" charset="0"/>
            </a:endParaRP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8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Que una sola marca lo represente: </a:t>
            </a:r>
            <a:br>
              <a:rPr lang="es-ES_tradnl" sz="18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</a:br>
            <a:r>
              <a:rPr lang="es-ES_tradnl" sz="1800" b="1" noProof="0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Personal en el centro del Ecosistema</a:t>
            </a:r>
            <a:r>
              <a:rPr lang="es-ES_tradnl" sz="18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19862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0C6596-20CB-0E12-4593-16A5286D97DF}"/>
              </a:ext>
            </a:extLst>
          </p:cNvPr>
          <p:cNvSpPr txBox="1">
            <a:spLocks/>
          </p:cNvSpPr>
          <p:nvPr/>
        </p:nvSpPr>
        <p:spPr>
          <a:xfrm>
            <a:off x="540657" y="563342"/>
            <a:ext cx="2669320" cy="393377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200"/>
              </a:lnSpc>
            </a:pP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¿Por qué Personal?</a:t>
            </a:r>
          </a:p>
        </p:txBody>
      </p:sp>
      <p:sp>
        <p:nvSpPr>
          <p:cNvPr id="4" name="Marcador de texto 8">
            <a:extLst>
              <a:ext uri="{FF2B5EF4-FFF2-40B4-BE49-F238E27FC236}">
                <a16:creationId xmlns:a16="http://schemas.microsoft.com/office/drawing/2014/main" id="{CD439C20-3385-529C-F504-F087AB4A9756}"/>
              </a:ext>
            </a:extLst>
          </p:cNvPr>
          <p:cNvSpPr txBox="1">
            <a:spLocks/>
          </p:cNvSpPr>
          <p:nvPr/>
        </p:nvSpPr>
        <p:spPr>
          <a:xfrm>
            <a:off x="540657" y="1172250"/>
            <a:ext cx="6100217" cy="5948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None/>
              <a:defRPr/>
            </a:pPr>
            <a:r>
              <a:rPr lang="es-ES_tradnl" sz="1100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Personal como marca madre por </a:t>
            </a:r>
            <a:r>
              <a:rPr lang="es-ES_tradnl" sz="1100" b="1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2 grandes razones</a:t>
            </a:r>
            <a:r>
              <a:rPr lang="es-ES_tradnl" sz="1100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: porque originariamente es la marca que </a:t>
            </a:r>
            <a:r>
              <a:rPr lang="es-ES_tradnl" sz="1100" noProof="0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representa la conectividad </a:t>
            </a:r>
            <a:r>
              <a:rPr lang="es-ES_tradnl" sz="1100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(base del ecosistema) y porque su mismo nombre representa un </a:t>
            </a:r>
            <a:r>
              <a:rPr lang="es-ES_tradnl" sz="1100" noProof="0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valor diferencial </a:t>
            </a:r>
            <a:r>
              <a:rPr lang="es-ES_tradnl" sz="1100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para la propuesta de valor: </a:t>
            </a:r>
            <a:r>
              <a:rPr lang="es-ES_tradnl" sz="1100" b="1" noProof="0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Personalización</a:t>
            </a:r>
            <a:r>
              <a:rPr lang="es-ES_tradnl" sz="1100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 </a:t>
            </a:r>
          </a:p>
        </p:txBody>
      </p:sp>
      <p:sp>
        <p:nvSpPr>
          <p:cNvPr id="5" name="Rectángulo redondeado 4">
            <a:extLst>
              <a:ext uri="{FF2B5EF4-FFF2-40B4-BE49-F238E27FC236}">
                <a16:creationId xmlns:a16="http://schemas.microsoft.com/office/drawing/2014/main" id="{6990EBBE-3A0A-2AB6-63D7-08314ECE43A3}"/>
              </a:ext>
            </a:extLst>
          </p:cNvPr>
          <p:cNvSpPr/>
          <p:nvPr/>
        </p:nvSpPr>
        <p:spPr>
          <a:xfrm>
            <a:off x="540657" y="2132817"/>
            <a:ext cx="3399383" cy="1838433"/>
          </a:xfrm>
          <a:prstGeom prst="roundRect">
            <a:avLst>
              <a:gd name="adj" fmla="val 7257"/>
            </a:avLst>
          </a:prstGeom>
          <a:solidFill>
            <a:schemeClr val="tx2">
              <a:lumMod val="75000"/>
              <a:lumOff val="25000"/>
            </a:schemeClr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51999" tIns="180000" rIns="180000" bIns="183600" rtlCol="0" anchor="t">
            <a:noAutofit/>
          </a:bodyPr>
          <a:lstStyle/>
          <a:p>
            <a:pPr>
              <a:spcBef>
                <a:spcPts val="1000"/>
              </a:spcBef>
            </a:pPr>
            <a:r>
              <a:rPr lang="es-ES_tradnl" sz="2400">
                <a:solidFill>
                  <a:srgbClr val="FFFFFF"/>
                </a:solidFill>
                <a:latin typeface="Pulso" pitchFamily="2" charset="0"/>
              </a:rPr>
              <a:t>1  Conexión</a:t>
            </a:r>
          </a:p>
          <a:p>
            <a:pPr>
              <a:spcBef>
                <a:spcPts val="1000"/>
              </a:spcBef>
            </a:pPr>
            <a:r>
              <a:rPr lang="es-ES_tradnl" sz="1400">
                <a:solidFill>
                  <a:srgbClr val="FFFFFF"/>
                </a:solidFill>
                <a:latin typeface="Pulso Light" pitchFamily="2" charset="0"/>
              </a:rPr>
              <a:t>Nuestro ecosistema está apalancado en la conexión y en nuestra compañía la marca de la conectividad es Personal.</a:t>
            </a:r>
          </a:p>
        </p:txBody>
      </p:sp>
      <p:sp>
        <p:nvSpPr>
          <p:cNvPr id="9" name="Rectángulo redondeado 8">
            <a:extLst>
              <a:ext uri="{FF2B5EF4-FFF2-40B4-BE49-F238E27FC236}">
                <a16:creationId xmlns:a16="http://schemas.microsoft.com/office/drawing/2014/main" id="{B9CE7E95-D779-D1A0-9BDD-794469EDF3B1}"/>
              </a:ext>
            </a:extLst>
          </p:cNvPr>
          <p:cNvSpPr/>
          <p:nvPr/>
        </p:nvSpPr>
        <p:spPr>
          <a:xfrm>
            <a:off x="4241612" y="2132817"/>
            <a:ext cx="3399383" cy="1838433"/>
          </a:xfrm>
          <a:prstGeom prst="roundRect">
            <a:avLst>
              <a:gd name="adj" fmla="val 7257"/>
            </a:avLst>
          </a:prstGeom>
          <a:solidFill>
            <a:schemeClr val="tx2">
              <a:lumMod val="75000"/>
              <a:lumOff val="25000"/>
            </a:schemeClr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51999" tIns="180000" rIns="180000" bIns="183600" rtlCol="0" anchor="t">
            <a:noAutofit/>
          </a:bodyPr>
          <a:lstStyle/>
          <a:p>
            <a:pPr>
              <a:spcBef>
                <a:spcPts val="1000"/>
              </a:spcBef>
            </a:pPr>
            <a:r>
              <a:rPr lang="es-ES_tradnl" sz="2400">
                <a:solidFill>
                  <a:srgbClr val="FFFFFF"/>
                </a:solidFill>
                <a:latin typeface="Pulso" pitchFamily="2" charset="0"/>
              </a:rPr>
              <a:t>2  Personalización</a:t>
            </a:r>
          </a:p>
          <a:p>
            <a:pPr>
              <a:spcBef>
                <a:spcPts val="1000"/>
              </a:spcBef>
            </a:pPr>
            <a:r>
              <a:rPr lang="es-ES_tradnl" sz="1400">
                <a:solidFill>
                  <a:srgbClr val="FFFFFF"/>
                </a:solidFill>
                <a:latin typeface="Pulso Light" pitchFamily="2" charset="0"/>
              </a:rPr>
              <a:t>La manera de que nuestra conexión sea superadora es personalizar la experiencia y la personalización está en el ADN de Personal.</a:t>
            </a:r>
          </a:p>
        </p:txBody>
      </p:sp>
    </p:spTree>
    <p:extLst>
      <p:ext uri="{BB962C8B-B14F-4D97-AF65-F5344CB8AC3E}">
        <p14:creationId xmlns:p14="http://schemas.microsoft.com/office/powerpoint/2010/main" val="1456103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91A3AA-F3E7-DEB0-B779-A43559FE64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19DDA3-45D2-FDA0-D0EA-394C55C37170}"/>
              </a:ext>
            </a:extLst>
          </p:cNvPr>
          <p:cNvSpPr txBox="1">
            <a:spLocks/>
          </p:cNvSpPr>
          <p:nvPr/>
        </p:nvSpPr>
        <p:spPr>
          <a:xfrm>
            <a:off x="540657" y="563342"/>
            <a:ext cx="3098284" cy="393377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200"/>
              </a:lnSpc>
            </a:pP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Arquitectura marcaria 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D0F4BCD4-BC8D-FD37-7576-05E287DC8A1F}"/>
              </a:ext>
            </a:extLst>
          </p:cNvPr>
          <p:cNvSpPr txBox="1"/>
          <p:nvPr/>
        </p:nvSpPr>
        <p:spPr>
          <a:xfrm>
            <a:off x="4184189" y="1255870"/>
            <a:ext cx="16575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s-ES_tradnl" sz="1200">
                <a:solidFill>
                  <a:srgbClr val="36059B"/>
                </a:solidFill>
                <a:latin typeface="Pulso" pitchFamily="2" charset="0"/>
              </a:rPr>
              <a:t>Telecom Argentina S.A.</a:t>
            </a:r>
          </a:p>
        </p:txBody>
      </p:sp>
      <p:grpSp>
        <p:nvGrpSpPr>
          <p:cNvPr id="15" name="Gráfico 3">
            <a:extLst>
              <a:ext uri="{FF2B5EF4-FFF2-40B4-BE49-F238E27FC236}">
                <a16:creationId xmlns:a16="http://schemas.microsoft.com/office/drawing/2014/main" id="{D77AADD9-5115-EEDB-8A5D-EB46B535E82A}"/>
              </a:ext>
            </a:extLst>
          </p:cNvPr>
          <p:cNvGrpSpPr/>
          <p:nvPr/>
        </p:nvGrpSpPr>
        <p:grpSpPr>
          <a:xfrm>
            <a:off x="4340318" y="1524275"/>
            <a:ext cx="1342852" cy="308061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5A325BB-68DB-30B9-5A86-2B2DE2962A7A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553BA766-B920-16B0-3F0C-B1EB8C0538B8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8" name="Forma libre 17">
              <a:extLst>
                <a:ext uri="{FF2B5EF4-FFF2-40B4-BE49-F238E27FC236}">
                  <a16:creationId xmlns:a16="http://schemas.microsoft.com/office/drawing/2014/main" id="{69B5B3E3-5059-E1E0-349E-CBA1BB7C3E25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D52B224D-5469-3EDB-AEC9-65A494D4094B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985B09D8-757F-20E0-27DC-34ECD1EEBF96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2" name="Forma libre 21">
              <a:extLst>
                <a:ext uri="{FF2B5EF4-FFF2-40B4-BE49-F238E27FC236}">
                  <a16:creationId xmlns:a16="http://schemas.microsoft.com/office/drawing/2014/main" id="{162716C1-411E-36BA-7A7B-EF17DBD51408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C85F09C0-87C8-E596-6915-543316EF6BFB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4" name="Forma libre 23">
              <a:extLst>
                <a:ext uri="{FF2B5EF4-FFF2-40B4-BE49-F238E27FC236}">
                  <a16:creationId xmlns:a16="http://schemas.microsoft.com/office/drawing/2014/main" id="{6C85C534-E897-CDE5-DE1F-D015E04FEED5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5" name="CuadroTexto 24">
            <a:extLst>
              <a:ext uri="{FF2B5EF4-FFF2-40B4-BE49-F238E27FC236}">
                <a16:creationId xmlns:a16="http://schemas.microsoft.com/office/drawing/2014/main" id="{4E51D04B-7510-B840-6718-7FDFC3721C23}"/>
              </a:ext>
            </a:extLst>
          </p:cNvPr>
          <p:cNvSpPr txBox="1"/>
          <p:nvPr/>
        </p:nvSpPr>
        <p:spPr>
          <a:xfrm>
            <a:off x="545372" y="1255870"/>
            <a:ext cx="90409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33350" indent="-1333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s-ES_tradnl" sz="105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Razón social: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86893ADE-2E57-705B-B627-7B6861B4326C}"/>
              </a:ext>
            </a:extLst>
          </p:cNvPr>
          <p:cNvSpPr txBox="1"/>
          <p:nvPr/>
        </p:nvSpPr>
        <p:spPr>
          <a:xfrm>
            <a:off x="545371" y="1591535"/>
            <a:ext cx="233397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33350" indent="-1333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s-ES_tradnl" sz="105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Única marca Compañía y Comercial: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9F3BE2E9-0F94-A53F-BA19-64D34795D6F1}"/>
              </a:ext>
            </a:extLst>
          </p:cNvPr>
          <p:cNvSpPr txBox="1"/>
          <p:nvPr/>
        </p:nvSpPr>
        <p:spPr>
          <a:xfrm>
            <a:off x="540657" y="2560773"/>
            <a:ext cx="990397" cy="4847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s-ES_tradnl" sz="105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Naming</a:t>
            </a:r>
            <a:r>
              <a:rPr lang="es-ES_tradnl" sz="105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Productos y/o Servicios:</a:t>
            </a:r>
          </a:p>
        </p:txBody>
      </p:sp>
      <p:grpSp>
        <p:nvGrpSpPr>
          <p:cNvPr id="96" name="Grupo 95">
            <a:extLst>
              <a:ext uri="{FF2B5EF4-FFF2-40B4-BE49-F238E27FC236}">
                <a16:creationId xmlns:a16="http://schemas.microsoft.com/office/drawing/2014/main" id="{B440AEFD-6D49-98CD-604C-B6A3626D14A2}"/>
              </a:ext>
            </a:extLst>
          </p:cNvPr>
          <p:cNvGrpSpPr/>
          <p:nvPr/>
        </p:nvGrpSpPr>
        <p:grpSpPr>
          <a:xfrm>
            <a:off x="1874215" y="2585488"/>
            <a:ext cx="825734" cy="270326"/>
            <a:chOff x="2068351" y="2765383"/>
            <a:chExt cx="825734" cy="270326"/>
          </a:xfrm>
        </p:grpSpPr>
        <p:grpSp>
          <p:nvGrpSpPr>
            <p:cNvPr id="6" name="Gráfico 3">
              <a:extLst>
                <a:ext uri="{FF2B5EF4-FFF2-40B4-BE49-F238E27FC236}">
                  <a16:creationId xmlns:a16="http://schemas.microsoft.com/office/drawing/2014/main" id="{CE9A7EED-1795-EEB6-D4D0-780EEDC84D9D}"/>
                </a:ext>
              </a:extLst>
            </p:cNvPr>
            <p:cNvGrpSpPr/>
            <p:nvPr/>
          </p:nvGrpSpPr>
          <p:grpSpPr>
            <a:xfrm>
              <a:off x="2204117" y="2765383"/>
              <a:ext cx="554202" cy="127138"/>
              <a:chOff x="3835717" y="2907982"/>
              <a:chExt cx="4521517" cy="1037272"/>
            </a:xfrm>
            <a:solidFill>
              <a:schemeClr val="accent2"/>
            </a:solidFill>
          </p:grpSpPr>
          <p:sp>
            <p:nvSpPr>
              <p:cNvPr id="7" name="Forma libre 6">
                <a:extLst>
                  <a:ext uri="{FF2B5EF4-FFF2-40B4-BE49-F238E27FC236}">
                    <a16:creationId xmlns:a16="http://schemas.microsoft.com/office/drawing/2014/main" id="{5F828144-5000-6269-D6E4-C57FF74EB1B5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8" name="Forma libre 7">
                <a:extLst>
                  <a:ext uri="{FF2B5EF4-FFF2-40B4-BE49-F238E27FC236}">
                    <a16:creationId xmlns:a16="http://schemas.microsoft.com/office/drawing/2014/main" id="{7FD9CBF3-B7AF-81CC-3CBC-E15610AA7F11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9" name="Forma libre 8">
                <a:extLst>
                  <a:ext uri="{FF2B5EF4-FFF2-40B4-BE49-F238E27FC236}">
                    <a16:creationId xmlns:a16="http://schemas.microsoft.com/office/drawing/2014/main" id="{D9BC9CEF-6B27-5E0B-6934-DEC051BCC6EE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0" name="Forma libre 9">
                <a:extLst>
                  <a:ext uri="{FF2B5EF4-FFF2-40B4-BE49-F238E27FC236}">
                    <a16:creationId xmlns:a16="http://schemas.microsoft.com/office/drawing/2014/main" id="{CD433CDA-F56C-6973-CE79-1DB3E38ECBB0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6C3DC0FE-C480-432E-916F-5EF4EFF9D6F4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DE14B4CD-B484-E07B-5AFD-C93F5CC47576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3" name="Forma libre 12">
                <a:extLst>
                  <a:ext uri="{FF2B5EF4-FFF2-40B4-BE49-F238E27FC236}">
                    <a16:creationId xmlns:a16="http://schemas.microsoft.com/office/drawing/2014/main" id="{5AF02DBD-494D-804F-F2B2-455774787820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4" name="Forma libre 13">
                <a:extLst>
                  <a:ext uri="{FF2B5EF4-FFF2-40B4-BE49-F238E27FC236}">
                    <a16:creationId xmlns:a16="http://schemas.microsoft.com/office/drawing/2014/main" id="{73BF3F63-FF97-EACC-37C7-3B1754CE188A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28" name="CuadroTexto 27">
              <a:extLst>
                <a:ext uri="{FF2B5EF4-FFF2-40B4-BE49-F238E27FC236}">
                  <a16:creationId xmlns:a16="http://schemas.microsoft.com/office/drawing/2014/main" id="{9FF7BA38-BDC9-9133-66AA-4554528BDA5A}"/>
                </a:ext>
              </a:extLst>
            </p:cNvPr>
            <p:cNvSpPr txBox="1"/>
            <p:nvPr/>
          </p:nvSpPr>
          <p:spPr>
            <a:xfrm>
              <a:off x="2068351" y="2866432"/>
              <a:ext cx="82573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buClr>
                  <a:schemeClr val="bg2"/>
                </a:buClr>
              </a:pPr>
              <a:r>
                <a:rPr lang="es-ES_tradnl" sz="1100">
                  <a:solidFill>
                    <a:schemeClr val="bg2"/>
                  </a:solidFill>
                  <a:latin typeface="Pulso Light" pitchFamily="2" charset="0"/>
                </a:rPr>
                <a:t>móvil</a:t>
              </a:r>
            </a:p>
          </p:txBody>
        </p:sp>
      </p:grpSp>
      <p:grpSp>
        <p:nvGrpSpPr>
          <p:cNvPr id="94" name="Grupo 93">
            <a:extLst>
              <a:ext uri="{FF2B5EF4-FFF2-40B4-BE49-F238E27FC236}">
                <a16:creationId xmlns:a16="http://schemas.microsoft.com/office/drawing/2014/main" id="{FB4C0D1C-01DA-9DD8-E511-E578E5F1802D}"/>
              </a:ext>
            </a:extLst>
          </p:cNvPr>
          <p:cNvGrpSpPr/>
          <p:nvPr/>
        </p:nvGrpSpPr>
        <p:grpSpPr>
          <a:xfrm>
            <a:off x="2778899" y="2585488"/>
            <a:ext cx="825734" cy="270326"/>
            <a:chOff x="2591794" y="2765383"/>
            <a:chExt cx="825734" cy="270326"/>
          </a:xfrm>
        </p:grpSpPr>
        <p:grpSp>
          <p:nvGrpSpPr>
            <p:cNvPr id="30" name="Gráfico 3">
              <a:extLst>
                <a:ext uri="{FF2B5EF4-FFF2-40B4-BE49-F238E27FC236}">
                  <a16:creationId xmlns:a16="http://schemas.microsoft.com/office/drawing/2014/main" id="{6D3829E1-4A37-BC72-477F-79B610EEBC62}"/>
                </a:ext>
              </a:extLst>
            </p:cNvPr>
            <p:cNvGrpSpPr/>
            <p:nvPr/>
          </p:nvGrpSpPr>
          <p:grpSpPr>
            <a:xfrm>
              <a:off x="2727560" y="2765383"/>
              <a:ext cx="554202" cy="127138"/>
              <a:chOff x="3835717" y="2907982"/>
              <a:chExt cx="4521517" cy="1037272"/>
            </a:xfrm>
            <a:solidFill>
              <a:schemeClr val="accent2"/>
            </a:solidFill>
          </p:grpSpPr>
          <p:sp>
            <p:nvSpPr>
              <p:cNvPr id="31" name="Forma libre 30">
                <a:extLst>
                  <a:ext uri="{FF2B5EF4-FFF2-40B4-BE49-F238E27FC236}">
                    <a16:creationId xmlns:a16="http://schemas.microsoft.com/office/drawing/2014/main" id="{F79D1183-1552-DDA7-899F-2FF006B26AAA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32" name="Forma libre 31">
                <a:extLst>
                  <a:ext uri="{FF2B5EF4-FFF2-40B4-BE49-F238E27FC236}">
                    <a16:creationId xmlns:a16="http://schemas.microsoft.com/office/drawing/2014/main" id="{93E4CEEA-85D1-B3A1-EC13-2CBEF97BE6AE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33" name="Forma libre 32">
                <a:extLst>
                  <a:ext uri="{FF2B5EF4-FFF2-40B4-BE49-F238E27FC236}">
                    <a16:creationId xmlns:a16="http://schemas.microsoft.com/office/drawing/2014/main" id="{12CC3937-DFD4-3582-67E0-845EC4E14B2F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34" name="Forma libre 33">
                <a:extLst>
                  <a:ext uri="{FF2B5EF4-FFF2-40B4-BE49-F238E27FC236}">
                    <a16:creationId xmlns:a16="http://schemas.microsoft.com/office/drawing/2014/main" id="{6E06F941-6DF5-ABFC-9891-A48708D8E616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35" name="Forma libre 34">
                <a:extLst>
                  <a:ext uri="{FF2B5EF4-FFF2-40B4-BE49-F238E27FC236}">
                    <a16:creationId xmlns:a16="http://schemas.microsoft.com/office/drawing/2014/main" id="{45F932B7-21C4-C04C-8705-08EEE0B7AD64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36" name="Forma libre 35">
                <a:extLst>
                  <a:ext uri="{FF2B5EF4-FFF2-40B4-BE49-F238E27FC236}">
                    <a16:creationId xmlns:a16="http://schemas.microsoft.com/office/drawing/2014/main" id="{7FD8E5BB-E02B-BC78-F009-238556BCA887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37" name="Forma libre 36">
                <a:extLst>
                  <a:ext uri="{FF2B5EF4-FFF2-40B4-BE49-F238E27FC236}">
                    <a16:creationId xmlns:a16="http://schemas.microsoft.com/office/drawing/2014/main" id="{895E6419-DC45-86B0-5E0A-ACB94AD06808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38" name="Forma libre 37">
                <a:extLst>
                  <a:ext uri="{FF2B5EF4-FFF2-40B4-BE49-F238E27FC236}">
                    <a16:creationId xmlns:a16="http://schemas.microsoft.com/office/drawing/2014/main" id="{F5CC2F2E-E92F-037B-8481-42228EF658C3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39" name="CuadroTexto 38">
              <a:extLst>
                <a:ext uri="{FF2B5EF4-FFF2-40B4-BE49-F238E27FC236}">
                  <a16:creationId xmlns:a16="http://schemas.microsoft.com/office/drawing/2014/main" id="{FE7DB39F-6A5D-9892-F5DC-2264AA2D101A}"/>
                </a:ext>
              </a:extLst>
            </p:cNvPr>
            <p:cNvSpPr txBox="1"/>
            <p:nvPr/>
          </p:nvSpPr>
          <p:spPr>
            <a:xfrm>
              <a:off x="2591794" y="2866432"/>
              <a:ext cx="82573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buClr>
                  <a:schemeClr val="bg2"/>
                </a:buClr>
              </a:pPr>
              <a:r>
                <a:rPr lang="es-ES_tradnl" sz="1100">
                  <a:solidFill>
                    <a:schemeClr val="bg2"/>
                  </a:solidFill>
                  <a:latin typeface="Pulso Light" pitchFamily="2" charset="0"/>
                </a:rPr>
                <a:t>fibra</a:t>
              </a:r>
            </a:p>
          </p:txBody>
        </p:sp>
      </p:grpSp>
      <p:grpSp>
        <p:nvGrpSpPr>
          <p:cNvPr id="95" name="Grupo 94">
            <a:extLst>
              <a:ext uri="{FF2B5EF4-FFF2-40B4-BE49-F238E27FC236}">
                <a16:creationId xmlns:a16="http://schemas.microsoft.com/office/drawing/2014/main" id="{5FFA2D4E-8455-FD0A-89E1-22E9166B1E1B}"/>
              </a:ext>
            </a:extLst>
          </p:cNvPr>
          <p:cNvGrpSpPr/>
          <p:nvPr/>
        </p:nvGrpSpPr>
        <p:grpSpPr>
          <a:xfrm>
            <a:off x="3683583" y="2585488"/>
            <a:ext cx="825734" cy="270326"/>
            <a:chOff x="3559150" y="2765383"/>
            <a:chExt cx="825734" cy="270326"/>
          </a:xfrm>
        </p:grpSpPr>
        <p:grpSp>
          <p:nvGrpSpPr>
            <p:cNvPr id="40" name="Gráfico 3">
              <a:extLst>
                <a:ext uri="{FF2B5EF4-FFF2-40B4-BE49-F238E27FC236}">
                  <a16:creationId xmlns:a16="http://schemas.microsoft.com/office/drawing/2014/main" id="{F2AC2F05-BA9B-31A1-528E-BA9556A5D98B}"/>
                </a:ext>
              </a:extLst>
            </p:cNvPr>
            <p:cNvGrpSpPr/>
            <p:nvPr/>
          </p:nvGrpSpPr>
          <p:grpSpPr>
            <a:xfrm>
              <a:off x="3694916" y="2765383"/>
              <a:ext cx="554202" cy="127138"/>
              <a:chOff x="3835717" y="2907982"/>
              <a:chExt cx="4521517" cy="1037272"/>
            </a:xfrm>
            <a:solidFill>
              <a:schemeClr val="accent2"/>
            </a:solidFill>
          </p:grpSpPr>
          <p:sp>
            <p:nvSpPr>
              <p:cNvPr id="41" name="Forma libre 40">
                <a:extLst>
                  <a:ext uri="{FF2B5EF4-FFF2-40B4-BE49-F238E27FC236}">
                    <a16:creationId xmlns:a16="http://schemas.microsoft.com/office/drawing/2014/main" id="{6D9D4C40-AB81-1C62-CDBC-90F8879EBA59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42" name="Forma libre 41">
                <a:extLst>
                  <a:ext uri="{FF2B5EF4-FFF2-40B4-BE49-F238E27FC236}">
                    <a16:creationId xmlns:a16="http://schemas.microsoft.com/office/drawing/2014/main" id="{A198AF76-DFA1-F4A3-EE0B-E42712690CCF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43" name="Forma libre 42">
                <a:extLst>
                  <a:ext uri="{FF2B5EF4-FFF2-40B4-BE49-F238E27FC236}">
                    <a16:creationId xmlns:a16="http://schemas.microsoft.com/office/drawing/2014/main" id="{889E9418-B498-154F-856D-12DDEFF34ECE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44" name="Forma libre 43">
                <a:extLst>
                  <a:ext uri="{FF2B5EF4-FFF2-40B4-BE49-F238E27FC236}">
                    <a16:creationId xmlns:a16="http://schemas.microsoft.com/office/drawing/2014/main" id="{F2D9F951-D83B-4DD0-3CC8-023C9D0CC664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45" name="Forma libre 44">
                <a:extLst>
                  <a:ext uri="{FF2B5EF4-FFF2-40B4-BE49-F238E27FC236}">
                    <a16:creationId xmlns:a16="http://schemas.microsoft.com/office/drawing/2014/main" id="{B9B6F52B-AAFE-36E2-77F1-21A6FBCC9095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46" name="Forma libre 45">
                <a:extLst>
                  <a:ext uri="{FF2B5EF4-FFF2-40B4-BE49-F238E27FC236}">
                    <a16:creationId xmlns:a16="http://schemas.microsoft.com/office/drawing/2014/main" id="{2217D4C2-4310-8BAD-FAAB-628775084DD1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47" name="Forma libre 46">
                <a:extLst>
                  <a:ext uri="{FF2B5EF4-FFF2-40B4-BE49-F238E27FC236}">
                    <a16:creationId xmlns:a16="http://schemas.microsoft.com/office/drawing/2014/main" id="{70BB57DE-D9AC-2C08-7453-72CFED2E75F1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48" name="Forma libre 47">
                <a:extLst>
                  <a:ext uri="{FF2B5EF4-FFF2-40B4-BE49-F238E27FC236}">
                    <a16:creationId xmlns:a16="http://schemas.microsoft.com/office/drawing/2014/main" id="{6F9C0088-89FB-0819-E3AD-BBD0B6CBE2BA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49" name="CuadroTexto 48">
              <a:extLst>
                <a:ext uri="{FF2B5EF4-FFF2-40B4-BE49-F238E27FC236}">
                  <a16:creationId xmlns:a16="http://schemas.microsoft.com/office/drawing/2014/main" id="{1FF5FB75-7726-A4E0-E051-DA5DC2ABF553}"/>
                </a:ext>
              </a:extLst>
            </p:cNvPr>
            <p:cNvSpPr txBox="1"/>
            <p:nvPr/>
          </p:nvSpPr>
          <p:spPr>
            <a:xfrm>
              <a:off x="3559150" y="2866432"/>
              <a:ext cx="82573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buClr>
                  <a:schemeClr val="bg2"/>
                </a:buClr>
              </a:pPr>
              <a:r>
                <a:rPr lang="es-ES_tradnl" sz="1100" err="1">
                  <a:solidFill>
                    <a:schemeClr val="bg2"/>
                  </a:solidFill>
                  <a:latin typeface="Pulso Light" pitchFamily="2" charset="0"/>
                </a:rPr>
                <a:t>flow</a:t>
              </a:r>
              <a:endParaRPr lang="es-ES_tradnl" sz="1100">
                <a:solidFill>
                  <a:schemeClr val="bg2"/>
                </a:solidFill>
                <a:latin typeface="Pulso Light" pitchFamily="2" charset="0"/>
              </a:endParaRPr>
            </a:p>
          </p:txBody>
        </p:sp>
      </p:grpSp>
      <p:grpSp>
        <p:nvGrpSpPr>
          <p:cNvPr id="98" name="Grupo 97">
            <a:extLst>
              <a:ext uri="{FF2B5EF4-FFF2-40B4-BE49-F238E27FC236}">
                <a16:creationId xmlns:a16="http://schemas.microsoft.com/office/drawing/2014/main" id="{9B5DA9B1-6BD4-7DB1-2D7C-7E393588B83A}"/>
              </a:ext>
            </a:extLst>
          </p:cNvPr>
          <p:cNvGrpSpPr/>
          <p:nvPr/>
        </p:nvGrpSpPr>
        <p:grpSpPr>
          <a:xfrm>
            <a:off x="4588267" y="2553419"/>
            <a:ext cx="825734" cy="286304"/>
            <a:chOff x="4522023" y="2733314"/>
            <a:chExt cx="825734" cy="286304"/>
          </a:xfrm>
        </p:grpSpPr>
        <p:sp>
          <p:nvSpPr>
            <p:cNvPr id="50" name="CuadroTexto 49">
              <a:extLst>
                <a:ext uri="{FF2B5EF4-FFF2-40B4-BE49-F238E27FC236}">
                  <a16:creationId xmlns:a16="http://schemas.microsoft.com/office/drawing/2014/main" id="{CC87ADA9-FEAC-FCD4-B555-3E39F42D3B17}"/>
                </a:ext>
              </a:extLst>
            </p:cNvPr>
            <p:cNvSpPr txBox="1"/>
            <p:nvPr/>
          </p:nvSpPr>
          <p:spPr>
            <a:xfrm>
              <a:off x="4522023" y="2733314"/>
              <a:ext cx="82573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buClr>
                  <a:schemeClr val="bg2"/>
                </a:buClr>
              </a:pPr>
              <a:r>
                <a:rPr lang="es-ES_tradnl" sz="1100">
                  <a:solidFill>
                    <a:schemeClr val="bg2"/>
                  </a:solidFill>
                  <a:latin typeface="Pulso Light" pitchFamily="2" charset="0"/>
                </a:rPr>
                <a:t>tienda</a:t>
              </a:r>
            </a:p>
          </p:txBody>
        </p:sp>
        <p:grpSp>
          <p:nvGrpSpPr>
            <p:cNvPr id="51" name="Gráfico 3">
              <a:extLst>
                <a:ext uri="{FF2B5EF4-FFF2-40B4-BE49-F238E27FC236}">
                  <a16:creationId xmlns:a16="http://schemas.microsoft.com/office/drawing/2014/main" id="{A87FFFBF-0E55-0AEC-DA05-9D7D3C4B03F6}"/>
                </a:ext>
              </a:extLst>
            </p:cNvPr>
            <p:cNvGrpSpPr/>
            <p:nvPr/>
          </p:nvGrpSpPr>
          <p:grpSpPr>
            <a:xfrm>
              <a:off x="4657789" y="2892480"/>
              <a:ext cx="554202" cy="127138"/>
              <a:chOff x="3835717" y="2907982"/>
              <a:chExt cx="4521517" cy="1037272"/>
            </a:xfrm>
            <a:solidFill>
              <a:schemeClr val="accent2"/>
            </a:solidFill>
          </p:grpSpPr>
          <p:sp>
            <p:nvSpPr>
              <p:cNvPr id="52" name="Forma libre 51">
                <a:extLst>
                  <a:ext uri="{FF2B5EF4-FFF2-40B4-BE49-F238E27FC236}">
                    <a16:creationId xmlns:a16="http://schemas.microsoft.com/office/drawing/2014/main" id="{88FDFB83-C56F-94AF-6034-0A401EDAF2CE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3" name="Forma libre 52">
                <a:extLst>
                  <a:ext uri="{FF2B5EF4-FFF2-40B4-BE49-F238E27FC236}">
                    <a16:creationId xmlns:a16="http://schemas.microsoft.com/office/drawing/2014/main" id="{B41CB6A8-5A0B-D34B-766F-FEA7434FC4D2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4" name="Forma libre 53">
                <a:extLst>
                  <a:ext uri="{FF2B5EF4-FFF2-40B4-BE49-F238E27FC236}">
                    <a16:creationId xmlns:a16="http://schemas.microsoft.com/office/drawing/2014/main" id="{121794CB-FAB9-C510-0262-63686EC5F901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5" name="Forma libre 54">
                <a:extLst>
                  <a:ext uri="{FF2B5EF4-FFF2-40B4-BE49-F238E27FC236}">
                    <a16:creationId xmlns:a16="http://schemas.microsoft.com/office/drawing/2014/main" id="{B410AC4C-F40E-C341-13AD-4B46A39597D3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6" name="Forma libre 55">
                <a:extLst>
                  <a:ext uri="{FF2B5EF4-FFF2-40B4-BE49-F238E27FC236}">
                    <a16:creationId xmlns:a16="http://schemas.microsoft.com/office/drawing/2014/main" id="{E3E41964-4C8D-D11E-CFB5-3F675B8489D6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7" name="Forma libre 56">
                <a:extLst>
                  <a:ext uri="{FF2B5EF4-FFF2-40B4-BE49-F238E27FC236}">
                    <a16:creationId xmlns:a16="http://schemas.microsoft.com/office/drawing/2014/main" id="{546E588E-52CF-9C7D-E42A-FC73A2B2AC54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8" name="Forma libre 57">
                <a:extLst>
                  <a:ext uri="{FF2B5EF4-FFF2-40B4-BE49-F238E27FC236}">
                    <a16:creationId xmlns:a16="http://schemas.microsoft.com/office/drawing/2014/main" id="{F5267848-4A11-5A89-610B-FF3906D3371E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9" name="Forma libre 58">
                <a:extLst>
                  <a:ext uri="{FF2B5EF4-FFF2-40B4-BE49-F238E27FC236}">
                    <a16:creationId xmlns:a16="http://schemas.microsoft.com/office/drawing/2014/main" id="{8732A787-145A-12E1-F8A1-93CEBE80CBD7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</p:grpSp>
      <p:grpSp>
        <p:nvGrpSpPr>
          <p:cNvPr id="100" name="Grupo 99">
            <a:extLst>
              <a:ext uri="{FF2B5EF4-FFF2-40B4-BE49-F238E27FC236}">
                <a16:creationId xmlns:a16="http://schemas.microsoft.com/office/drawing/2014/main" id="{E0883DD0-8D2B-82CA-F8B5-9C63DB74A70F}"/>
              </a:ext>
            </a:extLst>
          </p:cNvPr>
          <p:cNvGrpSpPr/>
          <p:nvPr/>
        </p:nvGrpSpPr>
        <p:grpSpPr>
          <a:xfrm>
            <a:off x="6397633" y="2585488"/>
            <a:ext cx="825734" cy="270326"/>
            <a:chOff x="6502937" y="2765383"/>
            <a:chExt cx="825734" cy="270326"/>
          </a:xfrm>
        </p:grpSpPr>
        <p:grpSp>
          <p:nvGrpSpPr>
            <p:cNvPr id="70" name="Gráfico 3">
              <a:extLst>
                <a:ext uri="{FF2B5EF4-FFF2-40B4-BE49-F238E27FC236}">
                  <a16:creationId xmlns:a16="http://schemas.microsoft.com/office/drawing/2014/main" id="{5DE0FA7A-1ED7-7647-FF81-063CE8B3E942}"/>
                </a:ext>
              </a:extLst>
            </p:cNvPr>
            <p:cNvGrpSpPr/>
            <p:nvPr/>
          </p:nvGrpSpPr>
          <p:grpSpPr>
            <a:xfrm>
              <a:off x="6638703" y="2765383"/>
              <a:ext cx="554202" cy="127138"/>
              <a:chOff x="3835717" y="2907982"/>
              <a:chExt cx="4521517" cy="1037272"/>
            </a:xfrm>
            <a:solidFill>
              <a:schemeClr val="accent2"/>
            </a:solidFill>
          </p:grpSpPr>
          <p:sp>
            <p:nvSpPr>
              <p:cNvPr id="71" name="Forma libre 70">
                <a:extLst>
                  <a:ext uri="{FF2B5EF4-FFF2-40B4-BE49-F238E27FC236}">
                    <a16:creationId xmlns:a16="http://schemas.microsoft.com/office/drawing/2014/main" id="{35BD46E2-52EA-452B-BC1B-4779A6AA99CB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72" name="Forma libre 71">
                <a:extLst>
                  <a:ext uri="{FF2B5EF4-FFF2-40B4-BE49-F238E27FC236}">
                    <a16:creationId xmlns:a16="http://schemas.microsoft.com/office/drawing/2014/main" id="{195FFCC0-3A63-2136-A4E2-BAE29B5EC2E7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73" name="Forma libre 72">
                <a:extLst>
                  <a:ext uri="{FF2B5EF4-FFF2-40B4-BE49-F238E27FC236}">
                    <a16:creationId xmlns:a16="http://schemas.microsoft.com/office/drawing/2014/main" id="{79B9FBAF-365B-917A-CAA1-D64C2C7FF183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74" name="Forma libre 73">
                <a:extLst>
                  <a:ext uri="{FF2B5EF4-FFF2-40B4-BE49-F238E27FC236}">
                    <a16:creationId xmlns:a16="http://schemas.microsoft.com/office/drawing/2014/main" id="{A745AE81-544B-94C2-525A-B45155E03C01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75" name="Forma libre 74">
                <a:extLst>
                  <a:ext uri="{FF2B5EF4-FFF2-40B4-BE49-F238E27FC236}">
                    <a16:creationId xmlns:a16="http://schemas.microsoft.com/office/drawing/2014/main" id="{62BE0E06-3815-77A2-0EDD-9245C629F49C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76" name="Forma libre 75">
                <a:extLst>
                  <a:ext uri="{FF2B5EF4-FFF2-40B4-BE49-F238E27FC236}">
                    <a16:creationId xmlns:a16="http://schemas.microsoft.com/office/drawing/2014/main" id="{D2991503-311D-8947-52F3-C4C5BCBD4C93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77" name="Forma libre 76">
                <a:extLst>
                  <a:ext uri="{FF2B5EF4-FFF2-40B4-BE49-F238E27FC236}">
                    <a16:creationId xmlns:a16="http://schemas.microsoft.com/office/drawing/2014/main" id="{679CBA97-B0F0-786A-09D4-18E189AECB9D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78" name="Forma libre 77">
                <a:extLst>
                  <a:ext uri="{FF2B5EF4-FFF2-40B4-BE49-F238E27FC236}">
                    <a16:creationId xmlns:a16="http://schemas.microsoft.com/office/drawing/2014/main" id="{B9A91FA1-2A47-5D28-EE66-6501FA44DC38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79" name="CuadroTexto 78">
              <a:extLst>
                <a:ext uri="{FF2B5EF4-FFF2-40B4-BE49-F238E27FC236}">
                  <a16:creationId xmlns:a16="http://schemas.microsoft.com/office/drawing/2014/main" id="{488DC095-851B-AB18-D8C8-0A9351AA02FA}"/>
                </a:ext>
              </a:extLst>
            </p:cNvPr>
            <p:cNvSpPr txBox="1"/>
            <p:nvPr/>
          </p:nvSpPr>
          <p:spPr>
            <a:xfrm>
              <a:off x="6502937" y="2866432"/>
              <a:ext cx="82573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buClr>
                  <a:schemeClr val="bg2"/>
                </a:buClr>
              </a:pPr>
              <a:r>
                <a:rPr lang="es-ES_tradnl" sz="1100" err="1">
                  <a:solidFill>
                    <a:schemeClr val="bg2"/>
                  </a:solidFill>
                  <a:latin typeface="Pulso Light" pitchFamily="2" charset="0"/>
                </a:rPr>
                <a:t>pay</a:t>
              </a:r>
              <a:endParaRPr lang="es-ES_tradnl" sz="1100">
                <a:solidFill>
                  <a:schemeClr val="bg2"/>
                </a:solidFill>
                <a:latin typeface="Pulso Light" pitchFamily="2" charset="0"/>
              </a:endParaRPr>
            </a:p>
          </p:txBody>
        </p:sp>
      </p:grpSp>
      <p:grpSp>
        <p:nvGrpSpPr>
          <p:cNvPr id="102" name="Grupo 101">
            <a:extLst>
              <a:ext uri="{FF2B5EF4-FFF2-40B4-BE49-F238E27FC236}">
                <a16:creationId xmlns:a16="http://schemas.microsoft.com/office/drawing/2014/main" id="{1715C739-A147-C821-F81A-98480B8789BF}"/>
              </a:ext>
            </a:extLst>
          </p:cNvPr>
          <p:cNvGrpSpPr/>
          <p:nvPr/>
        </p:nvGrpSpPr>
        <p:grpSpPr>
          <a:xfrm>
            <a:off x="7302316" y="2585488"/>
            <a:ext cx="825734" cy="270326"/>
            <a:chOff x="7302316" y="2765383"/>
            <a:chExt cx="825734" cy="270326"/>
          </a:xfrm>
        </p:grpSpPr>
        <p:grpSp>
          <p:nvGrpSpPr>
            <p:cNvPr id="80" name="Gráfico 3">
              <a:extLst>
                <a:ext uri="{FF2B5EF4-FFF2-40B4-BE49-F238E27FC236}">
                  <a16:creationId xmlns:a16="http://schemas.microsoft.com/office/drawing/2014/main" id="{1C0E5D05-FA06-4C79-C9EF-4A66134F39BC}"/>
                </a:ext>
              </a:extLst>
            </p:cNvPr>
            <p:cNvGrpSpPr/>
            <p:nvPr/>
          </p:nvGrpSpPr>
          <p:grpSpPr>
            <a:xfrm>
              <a:off x="7438082" y="2765383"/>
              <a:ext cx="554202" cy="127138"/>
              <a:chOff x="3835717" y="2907982"/>
              <a:chExt cx="4521517" cy="1037272"/>
            </a:xfrm>
            <a:solidFill>
              <a:srgbClr val="989898"/>
            </a:solidFill>
          </p:grpSpPr>
          <p:sp>
            <p:nvSpPr>
              <p:cNvPr id="81" name="Forma libre 80">
                <a:extLst>
                  <a:ext uri="{FF2B5EF4-FFF2-40B4-BE49-F238E27FC236}">
                    <a16:creationId xmlns:a16="http://schemas.microsoft.com/office/drawing/2014/main" id="{5CD89F0A-CA26-D4A7-4C3A-F0D8A4EAF700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solidFill>
                    <a:srgbClr val="989898"/>
                  </a:solidFill>
                </a:endParaRPr>
              </a:p>
            </p:txBody>
          </p:sp>
          <p:sp>
            <p:nvSpPr>
              <p:cNvPr id="82" name="Forma libre 81">
                <a:extLst>
                  <a:ext uri="{FF2B5EF4-FFF2-40B4-BE49-F238E27FC236}">
                    <a16:creationId xmlns:a16="http://schemas.microsoft.com/office/drawing/2014/main" id="{A83033ED-951E-A7C9-245F-B91E2279C4EF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solidFill>
                    <a:srgbClr val="989898"/>
                  </a:solidFill>
                </a:endParaRPr>
              </a:p>
            </p:txBody>
          </p:sp>
          <p:sp>
            <p:nvSpPr>
              <p:cNvPr id="83" name="Forma libre 82">
                <a:extLst>
                  <a:ext uri="{FF2B5EF4-FFF2-40B4-BE49-F238E27FC236}">
                    <a16:creationId xmlns:a16="http://schemas.microsoft.com/office/drawing/2014/main" id="{D8FC8FAD-D341-B8E6-E27A-E1F0D0E3176F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solidFill>
                    <a:srgbClr val="989898"/>
                  </a:solidFill>
                </a:endParaRPr>
              </a:p>
            </p:txBody>
          </p:sp>
          <p:sp>
            <p:nvSpPr>
              <p:cNvPr id="84" name="Forma libre 83">
                <a:extLst>
                  <a:ext uri="{FF2B5EF4-FFF2-40B4-BE49-F238E27FC236}">
                    <a16:creationId xmlns:a16="http://schemas.microsoft.com/office/drawing/2014/main" id="{CB82D4C6-9A92-445E-7B5D-DD37074BBAD3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solidFill>
                    <a:srgbClr val="989898"/>
                  </a:solidFill>
                </a:endParaRPr>
              </a:p>
            </p:txBody>
          </p:sp>
          <p:sp>
            <p:nvSpPr>
              <p:cNvPr id="85" name="Forma libre 84">
                <a:extLst>
                  <a:ext uri="{FF2B5EF4-FFF2-40B4-BE49-F238E27FC236}">
                    <a16:creationId xmlns:a16="http://schemas.microsoft.com/office/drawing/2014/main" id="{353A3AA4-F684-E907-B18A-492D5DE60349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solidFill>
                    <a:srgbClr val="989898"/>
                  </a:solidFill>
                </a:endParaRPr>
              </a:p>
            </p:txBody>
          </p:sp>
          <p:sp>
            <p:nvSpPr>
              <p:cNvPr id="86" name="Forma libre 85">
                <a:extLst>
                  <a:ext uri="{FF2B5EF4-FFF2-40B4-BE49-F238E27FC236}">
                    <a16:creationId xmlns:a16="http://schemas.microsoft.com/office/drawing/2014/main" id="{7D0E522B-D3B4-546A-CC40-D7143DFD5DC3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solidFill>
                    <a:srgbClr val="989898"/>
                  </a:solidFill>
                </a:endParaRPr>
              </a:p>
            </p:txBody>
          </p:sp>
          <p:sp>
            <p:nvSpPr>
              <p:cNvPr id="87" name="Forma libre 86">
                <a:extLst>
                  <a:ext uri="{FF2B5EF4-FFF2-40B4-BE49-F238E27FC236}">
                    <a16:creationId xmlns:a16="http://schemas.microsoft.com/office/drawing/2014/main" id="{8185AD86-7C95-1A8C-285B-225F69439294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solidFill>
                    <a:srgbClr val="989898"/>
                  </a:solidFill>
                </a:endParaRPr>
              </a:p>
            </p:txBody>
          </p:sp>
          <p:sp>
            <p:nvSpPr>
              <p:cNvPr id="88" name="Forma libre 87">
                <a:extLst>
                  <a:ext uri="{FF2B5EF4-FFF2-40B4-BE49-F238E27FC236}">
                    <a16:creationId xmlns:a16="http://schemas.microsoft.com/office/drawing/2014/main" id="{0624F5BD-AA31-552B-DB59-FDD7BB6349C8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solidFill>
                    <a:srgbClr val="989898"/>
                  </a:solidFill>
                </a:endParaRPr>
              </a:p>
            </p:txBody>
          </p:sp>
        </p:grpSp>
        <p:sp>
          <p:nvSpPr>
            <p:cNvPr id="89" name="CuadroTexto 88">
              <a:extLst>
                <a:ext uri="{FF2B5EF4-FFF2-40B4-BE49-F238E27FC236}">
                  <a16:creationId xmlns:a16="http://schemas.microsoft.com/office/drawing/2014/main" id="{69084890-572C-FC76-B71A-2C91DCE6DB86}"/>
                </a:ext>
              </a:extLst>
            </p:cNvPr>
            <p:cNvSpPr txBox="1"/>
            <p:nvPr/>
          </p:nvSpPr>
          <p:spPr>
            <a:xfrm>
              <a:off x="7302316" y="2866432"/>
              <a:ext cx="82573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buClr>
                  <a:schemeClr val="bg2"/>
                </a:buClr>
              </a:pPr>
              <a:r>
                <a:rPr lang="es-ES_tradnl" sz="1100">
                  <a:solidFill>
                    <a:srgbClr val="989898"/>
                  </a:solidFill>
                  <a:latin typeface="Pulso Light" pitchFamily="2" charset="0"/>
                </a:rPr>
                <a:t>Tech</a:t>
              </a:r>
            </a:p>
          </p:txBody>
        </p:sp>
      </p:grpSp>
      <p:grpSp>
        <p:nvGrpSpPr>
          <p:cNvPr id="99" name="Grupo 98">
            <a:extLst>
              <a:ext uri="{FF2B5EF4-FFF2-40B4-BE49-F238E27FC236}">
                <a16:creationId xmlns:a16="http://schemas.microsoft.com/office/drawing/2014/main" id="{9A85A31B-BDF6-E4C2-546E-9051FCB18335}"/>
              </a:ext>
            </a:extLst>
          </p:cNvPr>
          <p:cNvGrpSpPr/>
          <p:nvPr/>
        </p:nvGrpSpPr>
        <p:grpSpPr>
          <a:xfrm>
            <a:off x="5492950" y="2585488"/>
            <a:ext cx="825734" cy="270326"/>
            <a:chOff x="5518576" y="2765383"/>
            <a:chExt cx="825734" cy="270326"/>
          </a:xfrm>
        </p:grpSpPr>
        <p:grpSp>
          <p:nvGrpSpPr>
            <p:cNvPr id="60" name="Gráfico 3">
              <a:extLst>
                <a:ext uri="{FF2B5EF4-FFF2-40B4-BE49-F238E27FC236}">
                  <a16:creationId xmlns:a16="http://schemas.microsoft.com/office/drawing/2014/main" id="{C1174EA8-4035-F69C-AECE-122693ADEAD1}"/>
                </a:ext>
              </a:extLst>
            </p:cNvPr>
            <p:cNvGrpSpPr/>
            <p:nvPr/>
          </p:nvGrpSpPr>
          <p:grpSpPr>
            <a:xfrm>
              <a:off x="5654342" y="2765383"/>
              <a:ext cx="554202" cy="127138"/>
              <a:chOff x="3835717" y="2907982"/>
              <a:chExt cx="4521517" cy="1037272"/>
            </a:xfrm>
            <a:solidFill>
              <a:schemeClr val="accent2"/>
            </a:solidFill>
          </p:grpSpPr>
          <p:sp>
            <p:nvSpPr>
              <p:cNvPr id="61" name="Forma libre 60">
                <a:extLst>
                  <a:ext uri="{FF2B5EF4-FFF2-40B4-BE49-F238E27FC236}">
                    <a16:creationId xmlns:a16="http://schemas.microsoft.com/office/drawing/2014/main" id="{D85E2102-23AA-0AD2-862D-1D5A63287011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2" name="Forma libre 61">
                <a:extLst>
                  <a:ext uri="{FF2B5EF4-FFF2-40B4-BE49-F238E27FC236}">
                    <a16:creationId xmlns:a16="http://schemas.microsoft.com/office/drawing/2014/main" id="{77234478-324B-0C6C-4B47-3498A15F7F45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3" name="Forma libre 62">
                <a:extLst>
                  <a:ext uri="{FF2B5EF4-FFF2-40B4-BE49-F238E27FC236}">
                    <a16:creationId xmlns:a16="http://schemas.microsoft.com/office/drawing/2014/main" id="{24DCACDB-C902-767A-F21A-D8A906B50065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4" name="Forma libre 63">
                <a:extLst>
                  <a:ext uri="{FF2B5EF4-FFF2-40B4-BE49-F238E27FC236}">
                    <a16:creationId xmlns:a16="http://schemas.microsoft.com/office/drawing/2014/main" id="{F848DF83-D0A2-EFC5-B892-89B39DAA8BE6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5" name="Forma libre 64">
                <a:extLst>
                  <a:ext uri="{FF2B5EF4-FFF2-40B4-BE49-F238E27FC236}">
                    <a16:creationId xmlns:a16="http://schemas.microsoft.com/office/drawing/2014/main" id="{084C59A0-56E2-DC70-F9D6-C4D64D54457F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6" name="Forma libre 65">
                <a:extLst>
                  <a:ext uri="{FF2B5EF4-FFF2-40B4-BE49-F238E27FC236}">
                    <a16:creationId xmlns:a16="http://schemas.microsoft.com/office/drawing/2014/main" id="{94CAA351-2580-FA25-8F88-83ED55003F66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7" name="Forma libre 66">
                <a:extLst>
                  <a:ext uri="{FF2B5EF4-FFF2-40B4-BE49-F238E27FC236}">
                    <a16:creationId xmlns:a16="http://schemas.microsoft.com/office/drawing/2014/main" id="{8ABF30AC-30CB-5025-A7C7-D3D08B3FA912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8" name="Forma libre 67">
                <a:extLst>
                  <a:ext uri="{FF2B5EF4-FFF2-40B4-BE49-F238E27FC236}">
                    <a16:creationId xmlns:a16="http://schemas.microsoft.com/office/drawing/2014/main" id="{D5BB7F2F-75A2-EDD2-2623-B893194C7524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69" name="CuadroTexto 68">
              <a:extLst>
                <a:ext uri="{FF2B5EF4-FFF2-40B4-BE49-F238E27FC236}">
                  <a16:creationId xmlns:a16="http://schemas.microsoft.com/office/drawing/2014/main" id="{8B59E3EF-BD55-5624-E5CC-6315A76B8CC2}"/>
                </a:ext>
              </a:extLst>
            </p:cNvPr>
            <p:cNvSpPr txBox="1"/>
            <p:nvPr/>
          </p:nvSpPr>
          <p:spPr>
            <a:xfrm>
              <a:off x="5518576" y="2866432"/>
              <a:ext cx="82573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buClr>
                  <a:schemeClr val="bg2"/>
                </a:buClr>
              </a:pPr>
              <a:r>
                <a:rPr lang="es-ES_tradnl" sz="1100" err="1">
                  <a:solidFill>
                    <a:schemeClr val="bg2"/>
                  </a:solidFill>
                  <a:latin typeface="Pulso Light" pitchFamily="2" charset="0"/>
                </a:rPr>
                <a:t>smarthome</a:t>
              </a:r>
              <a:endParaRPr lang="es-ES_tradnl" sz="1100">
                <a:solidFill>
                  <a:schemeClr val="bg2"/>
                </a:solidFill>
                <a:latin typeface="Pulso Light" pitchFamily="2" charset="0"/>
              </a:endParaRPr>
            </a:p>
          </p:txBody>
        </p:sp>
      </p:grpSp>
      <p:grpSp>
        <p:nvGrpSpPr>
          <p:cNvPr id="121" name="Grupo 120">
            <a:extLst>
              <a:ext uri="{FF2B5EF4-FFF2-40B4-BE49-F238E27FC236}">
                <a16:creationId xmlns:a16="http://schemas.microsoft.com/office/drawing/2014/main" id="{10FB4307-3254-E32F-EC2B-30BA38AA592E}"/>
              </a:ext>
            </a:extLst>
          </p:cNvPr>
          <p:cNvGrpSpPr/>
          <p:nvPr/>
        </p:nvGrpSpPr>
        <p:grpSpPr>
          <a:xfrm>
            <a:off x="2287082" y="1916076"/>
            <a:ext cx="5430027" cy="604421"/>
            <a:chOff x="2287082" y="2095971"/>
            <a:chExt cx="5430027" cy="604421"/>
          </a:xfrm>
        </p:grpSpPr>
        <p:cxnSp>
          <p:nvCxnSpPr>
            <p:cNvPr id="97" name="Conector recto de flecha 96">
              <a:extLst>
                <a:ext uri="{FF2B5EF4-FFF2-40B4-BE49-F238E27FC236}">
                  <a16:creationId xmlns:a16="http://schemas.microsoft.com/office/drawing/2014/main" id="{AE233B5D-0B15-9FEA-4718-26285FA4A904}"/>
                </a:ext>
              </a:extLst>
            </p:cNvPr>
            <p:cNvCxnSpPr>
              <a:cxnSpLocks/>
            </p:cNvCxnSpPr>
            <p:nvPr/>
          </p:nvCxnSpPr>
          <p:spPr>
            <a:xfrm>
              <a:off x="2287082" y="2095971"/>
              <a:ext cx="0" cy="604421"/>
            </a:xfrm>
            <a:prstGeom prst="straightConnector1">
              <a:avLst/>
            </a:prstGeom>
            <a:ln cap="rnd">
              <a:solidFill>
                <a:schemeClr val="tx2"/>
              </a:solidFill>
              <a:round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Conector recto de flecha 102">
              <a:extLst>
                <a:ext uri="{FF2B5EF4-FFF2-40B4-BE49-F238E27FC236}">
                  <a16:creationId xmlns:a16="http://schemas.microsoft.com/office/drawing/2014/main" id="{F8FC9E83-1D06-347A-DE29-EAE832D20E3B}"/>
                </a:ext>
              </a:extLst>
            </p:cNvPr>
            <p:cNvCxnSpPr>
              <a:cxnSpLocks/>
            </p:cNvCxnSpPr>
            <p:nvPr/>
          </p:nvCxnSpPr>
          <p:spPr>
            <a:xfrm>
              <a:off x="3191766" y="2095971"/>
              <a:ext cx="0" cy="604421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Conector recto de flecha 103">
              <a:extLst>
                <a:ext uri="{FF2B5EF4-FFF2-40B4-BE49-F238E27FC236}">
                  <a16:creationId xmlns:a16="http://schemas.microsoft.com/office/drawing/2014/main" id="{5C53BA27-8FF6-9A9C-F860-638FA1280D48}"/>
                </a:ext>
              </a:extLst>
            </p:cNvPr>
            <p:cNvCxnSpPr>
              <a:cxnSpLocks/>
            </p:cNvCxnSpPr>
            <p:nvPr/>
          </p:nvCxnSpPr>
          <p:spPr>
            <a:xfrm>
              <a:off x="4096450" y="2095971"/>
              <a:ext cx="0" cy="604421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Conector recto de flecha 104">
              <a:extLst>
                <a:ext uri="{FF2B5EF4-FFF2-40B4-BE49-F238E27FC236}">
                  <a16:creationId xmlns:a16="http://schemas.microsoft.com/office/drawing/2014/main" id="{FA78922C-3CED-38B4-182C-8FC5AC7CBB79}"/>
                </a:ext>
              </a:extLst>
            </p:cNvPr>
            <p:cNvCxnSpPr>
              <a:cxnSpLocks/>
            </p:cNvCxnSpPr>
            <p:nvPr/>
          </p:nvCxnSpPr>
          <p:spPr>
            <a:xfrm>
              <a:off x="5001134" y="2095971"/>
              <a:ext cx="0" cy="604421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Conector recto de flecha 105">
              <a:extLst>
                <a:ext uri="{FF2B5EF4-FFF2-40B4-BE49-F238E27FC236}">
                  <a16:creationId xmlns:a16="http://schemas.microsoft.com/office/drawing/2014/main" id="{ABCE6974-9A8D-A3E9-4CA8-364B4ADE8713}"/>
                </a:ext>
              </a:extLst>
            </p:cNvPr>
            <p:cNvCxnSpPr>
              <a:cxnSpLocks/>
            </p:cNvCxnSpPr>
            <p:nvPr/>
          </p:nvCxnSpPr>
          <p:spPr>
            <a:xfrm>
              <a:off x="6810500" y="2095971"/>
              <a:ext cx="0" cy="604421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Conector recto de flecha 107">
              <a:extLst>
                <a:ext uri="{FF2B5EF4-FFF2-40B4-BE49-F238E27FC236}">
                  <a16:creationId xmlns:a16="http://schemas.microsoft.com/office/drawing/2014/main" id="{F94C8C88-84D5-D594-F266-E1E525EFC6AD}"/>
                </a:ext>
              </a:extLst>
            </p:cNvPr>
            <p:cNvCxnSpPr>
              <a:cxnSpLocks/>
            </p:cNvCxnSpPr>
            <p:nvPr/>
          </p:nvCxnSpPr>
          <p:spPr>
            <a:xfrm>
              <a:off x="7715183" y="2095971"/>
              <a:ext cx="0" cy="604421"/>
            </a:xfrm>
            <a:prstGeom prst="straightConnector1">
              <a:avLst/>
            </a:prstGeom>
            <a:ln cap="rnd">
              <a:solidFill>
                <a:schemeClr val="tx2"/>
              </a:solidFill>
              <a:round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Conector recto de flecha 111">
              <a:extLst>
                <a:ext uri="{FF2B5EF4-FFF2-40B4-BE49-F238E27FC236}">
                  <a16:creationId xmlns:a16="http://schemas.microsoft.com/office/drawing/2014/main" id="{D6867097-0A1C-49A5-1D9A-D46BA7ED5C8D}"/>
                </a:ext>
              </a:extLst>
            </p:cNvPr>
            <p:cNvCxnSpPr>
              <a:cxnSpLocks/>
            </p:cNvCxnSpPr>
            <p:nvPr/>
          </p:nvCxnSpPr>
          <p:spPr>
            <a:xfrm>
              <a:off x="5905817" y="2095971"/>
              <a:ext cx="0" cy="604421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Conector recto 118">
              <a:extLst>
                <a:ext uri="{FF2B5EF4-FFF2-40B4-BE49-F238E27FC236}">
                  <a16:creationId xmlns:a16="http://schemas.microsoft.com/office/drawing/2014/main" id="{4CF9DA10-C49A-6D6A-05D5-D5089A59EAA4}"/>
                </a:ext>
              </a:extLst>
            </p:cNvPr>
            <p:cNvCxnSpPr/>
            <p:nvPr/>
          </p:nvCxnSpPr>
          <p:spPr>
            <a:xfrm>
              <a:off x="2289658" y="2095971"/>
              <a:ext cx="5427451" cy="0"/>
            </a:xfrm>
            <a:prstGeom prst="line">
              <a:avLst/>
            </a:prstGeom>
            <a:ln cap="rnd">
              <a:solidFill>
                <a:schemeClr val="tx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3" name="Grupo 122">
            <a:extLst>
              <a:ext uri="{FF2B5EF4-FFF2-40B4-BE49-F238E27FC236}">
                <a16:creationId xmlns:a16="http://schemas.microsoft.com/office/drawing/2014/main" id="{5D8559BD-E34B-CC03-794C-7BD775DAEC81}"/>
              </a:ext>
            </a:extLst>
          </p:cNvPr>
          <p:cNvGrpSpPr/>
          <p:nvPr/>
        </p:nvGrpSpPr>
        <p:grpSpPr>
          <a:xfrm>
            <a:off x="2287082" y="3093070"/>
            <a:ext cx="5428101" cy="1307662"/>
            <a:chOff x="1794820" y="3045521"/>
            <a:chExt cx="6384904" cy="1538162"/>
          </a:xfrm>
        </p:grpSpPr>
        <p:pic>
          <p:nvPicPr>
            <p:cNvPr id="5" name="Picture 4" descr="A person sitting on a bench&#10;&#10;AI-generated content may be incorrect.">
              <a:extLst>
                <a:ext uri="{FF2B5EF4-FFF2-40B4-BE49-F238E27FC236}">
                  <a16:creationId xmlns:a16="http://schemas.microsoft.com/office/drawing/2014/main" id="{7571F9B2-0256-1635-2247-63E5252493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r="51284"/>
            <a:stretch>
              <a:fillRect/>
            </a:stretch>
          </p:blipFill>
          <p:spPr>
            <a:xfrm>
              <a:off x="1794820" y="3045521"/>
              <a:ext cx="3128310" cy="1538162"/>
            </a:xfrm>
            <a:prstGeom prst="rect">
              <a:avLst/>
            </a:prstGeom>
          </p:spPr>
        </p:pic>
        <p:pic>
          <p:nvPicPr>
            <p:cNvPr id="122" name="Picture 4" descr="A person sitting on a bench&#10;&#10;AI-generated content may be incorrect.">
              <a:extLst>
                <a:ext uri="{FF2B5EF4-FFF2-40B4-BE49-F238E27FC236}">
                  <a16:creationId xmlns:a16="http://schemas.microsoft.com/office/drawing/2014/main" id="{5AA389AD-209E-A5E7-3953-3351E312D5D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51279"/>
            <a:stretch>
              <a:fillRect/>
            </a:stretch>
          </p:blipFill>
          <p:spPr>
            <a:xfrm>
              <a:off x="5051146" y="3045521"/>
              <a:ext cx="3128578" cy="153816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2038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B94DA3-0826-136E-F0BA-C0C5709A2E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n 21">
            <a:extLst>
              <a:ext uri="{FF2B5EF4-FFF2-40B4-BE49-F238E27FC236}">
                <a16:creationId xmlns:a16="http://schemas.microsoft.com/office/drawing/2014/main" id="{4E06CB20-4B13-445F-2A7F-9E7F63C365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762" y="112623"/>
            <a:ext cx="8916476" cy="2322000"/>
          </a:xfrm>
          <a:prstGeom prst="roundRect">
            <a:avLst>
              <a:gd name="adj" fmla="val 5984"/>
            </a:avLst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CC1E0C21-8F58-9A6A-D353-2027EE6AA409}"/>
              </a:ext>
            </a:extLst>
          </p:cNvPr>
          <p:cNvSpPr/>
          <p:nvPr/>
        </p:nvSpPr>
        <p:spPr>
          <a:xfrm>
            <a:off x="606581" y="3026815"/>
            <a:ext cx="7005653" cy="11520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n-US" sz="4400" spc="-7" err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Desafíos</a:t>
            </a:r>
            <a:br>
              <a:rPr lang="en-US" sz="4400" spc="-7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</a:br>
            <a:r>
              <a:rPr lang="en-US" sz="4400" spc="-7" err="1">
                <a:solidFill>
                  <a:schemeClr val="bg2"/>
                </a:solidFill>
                <a:latin typeface="Pulso Light" pitchFamily="2" charset="0"/>
                <a:ea typeface="Inter Light BETA" panose="020B0402030000000004" pitchFamily="34" charset="0"/>
              </a:rPr>
              <a:t>Estratégicos</a:t>
            </a:r>
            <a:r>
              <a:rPr lang="en-US" sz="4400" spc="-7">
                <a:solidFill>
                  <a:schemeClr val="bg2"/>
                </a:solidFill>
                <a:latin typeface="Pulso Light" pitchFamily="2" charset="0"/>
                <a:ea typeface="Inter Light BETA" panose="020B0402030000000004" pitchFamily="34" charset="0"/>
              </a:rPr>
              <a:t> </a:t>
            </a:r>
            <a:r>
              <a:rPr lang="en-US" sz="4400" spc="-7" err="1">
                <a:solidFill>
                  <a:schemeClr val="bg2"/>
                </a:solidFill>
                <a:latin typeface="Pulso Light" pitchFamily="2" charset="0"/>
                <a:ea typeface="Inter Light BETA" panose="020B0402030000000004" pitchFamily="34" charset="0"/>
              </a:rPr>
              <a:t>Planteados</a:t>
            </a:r>
            <a:endParaRPr lang="en-US" sz="4400" spc="-7">
              <a:solidFill>
                <a:schemeClr val="bg2"/>
              </a:solidFill>
              <a:latin typeface="Pulso Light" pitchFamily="2" charset="0"/>
              <a:ea typeface="Inter Light BETA" panose="020B0402030000000004" pitchFamily="34" charset="0"/>
            </a:endParaRPr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A2505DED-F6E2-145D-BC48-9471CC74BFBD}"/>
              </a:ext>
            </a:extLst>
          </p:cNvPr>
          <p:cNvGrpSpPr/>
          <p:nvPr/>
        </p:nvGrpSpPr>
        <p:grpSpPr>
          <a:xfrm>
            <a:off x="8005009" y="3813781"/>
            <a:ext cx="515318" cy="112191"/>
            <a:chOff x="5588723" y="3144791"/>
            <a:chExt cx="515318" cy="112191"/>
          </a:xfrm>
        </p:grpSpPr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D575BB69-0C16-F26B-56C2-7A56A3C4A3A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88723" y="3190086"/>
              <a:ext cx="21600" cy="21600"/>
            </a:xfrm>
            <a:prstGeom prst="ellipse">
              <a:avLst/>
            </a:pr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43543" tIns="21771" rIns="43543" bIns="2177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700">
                <a:solidFill>
                  <a:srgbClr val="808080"/>
                </a:solidFill>
                <a:latin typeface="Pulso Light" pitchFamily="2" charset="0"/>
              </a:endParaRPr>
            </a:p>
          </p:txBody>
        </p:sp>
        <p:sp>
          <p:nvSpPr>
            <p:cNvPr id="19" name="Rectángulo 61">
              <a:extLst>
                <a:ext uri="{FF2B5EF4-FFF2-40B4-BE49-F238E27FC236}">
                  <a16:creationId xmlns:a16="http://schemas.microsoft.com/office/drawing/2014/main" id="{7EAA3A4C-6DE0-BB9A-C06E-C1728A87F1DB}"/>
                </a:ext>
              </a:extLst>
            </p:cNvPr>
            <p:cNvSpPr/>
            <p:nvPr/>
          </p:nvSpPr>
          <p:spPr>
            <a:xfrm rot="2700000">
              <a:off x="5968614" y="3144791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1905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>
                <a:solidFill>
                  <a:schemeClr val="tx1"/>
                </a:solidFill>
                <a:latin typeface="Pulso Light" pitchFamily="2" charset="0"/>
              </a:endParaRPr>
            </a:p>
          </p:txBody>
        </p:sp>
        <p:cxnSp>
          <p:nvCxnSpPr>
            <p:cNvPr id="20" name="Conector recto 19">
              <a:extLst>
                <a:ext uri="{FF2B5EF4-FFF2-40B4-BE49-F238E27FC236}">
                  <a16:creationId xmlns:a16="http://schemas.microsoft.com/office/drawing/2014/main" id="{58979BF0-A77B-5267-8F1B-A488E4F52B2A}"/>
                </a:ext>
              </a:extLst>
            </p:cNvPr>
            <p:cNvCxnSpPr>
              <a:cxnSpLocks/>
            </p:cNvCxnSpPr>
            <p:nvPr/>
          </p:nvCxnSpPr>
          <p:spPr>
            <a:xfrm>
              <a:off x="5670299" y="3200886"/>
              <a:ext cx="433742" cy="0"/>
            </a:xfrm>
            <a:prstGeom prst="line">
              <a:avLst/>
            </a:prstGeom>
            <a:ln w="1905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id="{69AA2F20-C1B1-D46D-A1B9-531F89BC4050}"/>
              </a:ext>
            </a:extLst>
          </p:cNvPr>
          <p:cNvSpPr/>
          <p:nvPr/>
        </p:nvSpPr>
        <p:spPr>
          <a:xfrm>
            <a:off x="118800" y="112623"/>
            <a:ext cx="8906400" cy="2322000"/>
          </a:xfrm>
          <a:prstGeom prst="roundRect">
            <a:avLst>
              <a:gd name="adj" fmla="val 5534"/>
            </a:avLst>
          </a:prstGeom>
          <a:gradFill>
            <a:gsLst>
              <a:gs pos="0">
                <a:schemeClr val="bg2">
                  <a:alpha val="34828"/>
                </a:schemeClr>
              </a:gs>
              <a:gs pos="49000">
                <a:schemeClr val="bg2">
                  <a:alpha val="0"/>
                </a:scheme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AR" sz="800" b="1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77733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upo 35">
            <a:extLst>
              <a:ext uri="{FF2B5EF4-FFF2-40B4-BE49-F238E27FC236}">
                <a16:creationId xmlns:a16="http://schemas.microsoft.com/office/drawing/2014/main" id="{42F5C4B1-66B0-17A3-0701-F7C34056CA01}"/>
              </a:ext>
            </a:extLst>
          </p:cNvPr>
          <p:cNvGrpSpPr/>
          <p:nvPr/>
        </p:nvGrpSpPr>
        <p:grpSpPr>
          <a:xfrm>
            <a:off x="3358904" y="1385450"/>
            <a:ext cx="2426366" cy="2423858"/>
            <a:chOff x="693054" y="918098"/>
            <a:chExt cx="549422" cy="548854"/>
          </a:xfrm>
          <a:solidFill>
            <a:schemeClr val="bg2"/>
          </a:solidFill>
        </p:grpSpPr>
        <p:sp>
          <p:nvSpPr>
            <p:cNvPr id="37" name="Forma libre 36">
              <a:extLst>
                <a:ext uri="{FF2B5EF4-FFF2-40B4-BE49-F238E27FC236}">
                  <a16:creationId xmlns:a16="http://schemas.microsoft.com/office/drawing/2014/main" id="{5A48CFBE-A965-FAEF-34CA-CA9256B6F69B}"/>
                </a:ext>
              </a:extLst>
            </p:cNvPr>
            <p:cNvSpPr/>
            <p:nvPr/>
          </p:nvSpPr>
          <p:spPr>
            <a:xfrm>
              <a:off x="803484" y="1028267"/>
              <a:ext cx="328561" cy="328560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8" name="Forma libre 37">
              <a:extLst>
                <a:ext uri="{FF2B5EF4-FFF2-40B4-BE49-F238E27FC236}">
                  <a16:creationId xmlns:a16="http://schemas.microsoft.com/office/drawing/2014/main" id="{9614210C-17F7-A521-4C8A-5F438BE87693}"/>
                </a:ext>
              </a:extLst>
            </p:cNvPr>
            <p:cNvSpPr/>
            <p:nvPr/>
          </p:nvSpPr>
          <p:spPr>
            <a:xfrm>
              <a:off x="973898" y="1288263"/>
              <a:ext cx="226177" cy="178689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9" name="Forma libre 38">
              <a:extLst>
                <a:ext uri="{FF2B5EF4-FFF2-40B4-BE49-F238E27FC236}">
                  <a16:creationId xmlns:a16="http://schemas.microsoft.com/office/drawing/2014/main" id="{02A8872F-131E-3234-E659-610986911309}"/>
                </a:ext>
              </a:extLst>
            </p:cNvPr>
            <p:cNvSpPr/>
            <p:nvPr/>
          </p:nvSpPr>
          <p:spPr>
            <a:xfrm>
              <a:off x="735455" y="918098"/>
              <a:ext cx="226177" cy="178715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0" name="Forma libre 39">
              <a:extLst>
                <a:ext uri="{FF2B5EF4-FFF2-40B4-BE49-F238E27FC236}">
                  <a16:creationId xmlns:a16="http://schemas.microsoft.com/office/drawing/2014/main" id="{87ADEF1D-48A0-6D3B-024D-7F3D858D69D0}"/>
                </a:ext>
              </a:extLst>
            </p:cNvPr>
            <p:cNvSpPr/>
            <p:nvPr/>
          </p:nvSpPr>
          <p:spPr>
            <a:xfrm>
              <a:off x="1125736" y="1062956"/>
              <a:ext cx="116740" cy="259183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1" name="Forma libre 40">
              <a:extLst>
                <a:ext uri="{FF2B5EF4-FFF2-40B4-BE49-F238E27FC236}">
                  <a16:creationId xmlns:a16="http://schemas.microsoft.com/office/drawing/2014/main" id="{DB6552BB-DA89-7DA0-95B7-56FC6ABE3C23}"/>
                </a:ext>
              </a:extLst>
            </p:cNvPr>
            <p:cNvSpPr/>
            <p:nvPr/>
          </p:nvSpPr>
          <p:spPr>
            <a:xfrm>
              <a:off x="973942" y="918187"/>
              <a:ext cx="226197" cy="178657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2" name="Forma libre 41">
              <a:extLst>
                <a:ext uri="{FF2B5EF4-FFF2-40B4-BE49-F238E27FC236}">
                  <a16:creationId xmlns:a16="http://schemas.microsoft.com/office/drawing/2014/main" id="{E335F7E8-B16F-9FFB-C7E4-3DC0EDCC8E7E}"/>
                </a:ext>
              </a:extLst>
            </p:cNvPr>
            <p:cNvSpPr/>
            <p:nvPr/>
          </p:nvSpPr>
          <p:spPr>
            <a:xfrm>
              <a:off x="735391" y="1288251"/>
              <a:ext cx="226197" cy="178657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3" name="Forma libre 42">
              <a:extLst>
                <a:ext uri="{FF2B5EF4-FFF2-40B4-BE49-F238E27FC236}">
                  <a16:creationId xmlns:a16="http://schemas.microsoft.com/office/drawing/2014/main" id="{6956DC41-B01D-277A-916A-2DCE7F3E3EF5}"/>
                </a:ext>
              </a:extLst>
            </p:cNvPr>
            <p:cNvSpPr/>
            <p:nvPr/>
          </p:nvSpPr>
          <p:spPr>
            <a:xfrm>
              <a:off x="693054" y="1062956"/>
              <a:ext cx="116740" cy="259183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" name="Elipse 1">
            <a:extLst>
              <a:ext uri="{FF2B5EF4-FFF2-40B4-BE49-F238E27FC236}">
                <a16:creationId xmlns:a16="http://schemas.microsoft.com/office/drawing/2014/main" id="{716C602F-A13B-F918-0765-1CEEECFEB954}"/>
              </a:ext>
            </a:extLst>
          </p:cNvPr>
          <p:cNvSpPr/>
          <p:nvPr/>
        </p:nvSpPr>
        <p:spPr>
          <a:xfrm>
            <a:off x="3413959" y="1439210"/>
            <a:ext cx="2319300" cy="23193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9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650C61B2-4EFA-982D-F492-2A22663D2406}"/>
              </a:ext>
            </a:extLst>
          </p:cNvPr>
          <p:cNvGrpSpPr/>
          <p:nvPr/>
        </p:nvGrpSpPr>
        <p:grpSpPr>
          <a:xfrm rot="5400000">
            <a:off x="3260462" y="1060120"/>
            <a:ext cx="2613916" cy="3050699"/>
            <a:chOff x="4574321" y="1797080"/>
            <a:chExt cx="2613916" cy="3504363"/>
          </a:xfrm>
        </p:grpSpPr>
        <p:cxnSp>
          <p:nvCxnSpPr>
            <p:cNvPr id="4" name="Conector recto 3">
              <a:extLst>
                <a:ext uri="{FF2B5EF4-FFF2-40B4-BE49-F238E27FC236}">
                  <a16:creationId xmlns:a16="http://schemas.microsoft.com/office/drawing/2014/main" id="{F94ED2A2-8062-681A-9CAC-B56E81B2D767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4059040" y="3474465"/>
              <a:ext cx="3504363" cy="149593"/>
            </a:xfrm>
            <a:prstGeom prst="line">
              <a:avLst/>
            </a:prstGeom>
            <a:noFill/>
            <a:ln w="12700" cap="rnd">
              <a:solidFill>
                <a:schemeClr val="tx2">
                  <a:lumMod val="75000"/>
                  <a:lumOff val="25000"/>
                </a:schemeClr>
              </a:solidFill>
              <a:prstDash val="sysDot"/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Conector recto 4">
              <a:extLst>
                <a:ext uri="{FF2B5EF4-FFF2-40B4-BE49-F238E27FC236}">
                  <a16:creationId xmlns:a16="http://schemas.microsoft.com/office/drawing/2014/main" id="{B334B42D-BB2C-06B9-ADE0-A68D8947828C}"/>
                </a:ext>
              </a:extLst>
            </p:cNvPr>
            <p:cNvCxnSpPr>
              <a:cxnSpLocks/>
            </p:cNvCxnSpPr>
            <p:nvPr/>
          </p:nvCxnSpPr>
          <p:spPr>
            <a:xfrm rot="16200000" flipH="1" flipV="1">
              <a:off x="4865041" y="2362298"/>
              <a:ext cx="2032475" cy="2613916"/>
            </a:xfrm>
            <a:prstGeom prst="line">
              <a:avLst/>
            </a:prstGeom>
            <a:noFill/>
            <a:ln w="12700" cap="rnd">
              <a:solidFill>
                <a:schemeClr val="tx2">
                  <a:lumMod val="75000"/>
                  <a:lumOff val="25000"/>
                </a:schemeClr>
              </a:solidFill>
              <a:prstDash val="sysDot"/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Conector recto 5">
              <a:extLst>
                <a:ext uri="{FF2B5EF4-FFF2-40B4-BE49-F238E27FC236}">
                  <a16:creationId xmlns:a16="http://schemas.microsoft.com/office/drawing/2014/main" id="{3E1CB44C-6D5A-B91A-F009-116D09287808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731003" y="2177575"/>
              <a:ext cx="2215162" cy="2528526"/>
            </a:xfrm>
            <a:prstGeom prst="line">
              <a:avLst/>
            </a:prstGeom>
            <a:noFill/>
            <a:ln w="12700" cap="rnd">
              <a:solidFill>
                <a:schemeClr val="tx2">
                  <a:lumMod val="75000"/>
                  <a:lumOff val="25000"/>
                </a:schemeClr>
              </a:solidFill>
              <a:prstDash val="sysDot"/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itle 3">
            <a:extLst>
              <a:ext uri="{FF2B5EF4-FFF2-40B4-BE49-F238E27FC236}">
                <a16:creationId xmlns:a16="http://schemas.microsoft.com/office/drawing/2014/main" id="{3306121D-22F4-9F50-F225-039466E6FC54}"/>
              </a:ext>
            </a:extLst>
          </p:cNvPr>
          <p:cNvSpPr txBox="1">
            <a:spLocks/>
          </p:cNvSpPr>
          <p:nvPr/>
        </p:nvSpPr>
        <p:spPr>
          <a:xfrm>
            <a:off x="5455058" y="3831857"/>
            <a:ext cx="2756131" cy="14542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cap="none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225"/>
              </a:spcAft>
            </a:pPr>
            <a:r>
              <a:rPr lang="es-AR" sz="105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</a:rPr>
              <a:t>Transformación tecnológica y cultural</a:t>
            </a:r>
          </a:p>
        </p:txBody>
      </p:sp>
      <p:sp>
        <p:nvSpPr>
          <p:cNvPr id="8" name="Marcador de texto 8">
            <a:extLst>
              <a:ext uri="{FF2B5EF4-FFF2-40B4-BE49-F238E27FC236}">
                <a16:creationId xmlns:a16="http://schemas.microsoft.com/office/drawing/2014/main" id="{FEEA2F7B-1256-8EFE-215F-EC20150B47CE}"/>
              </a:ext>
            </a:extLst>
          </p:cNvPr>
          <p:cNvSpPr txBox="1">
            <a:spLocks/>
          </p:cNvSpPr>
          <p:nvPr/>
        </p:nvSpPr>
        <p:spPr>
          <a:xfrm>
            <a:off x="5448443" y="4033732"/>
            <a:ext cx="3589540" cy="46461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AR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t>Nuevo modelo de trabajo</a:t>
            </a:r>
          </a:p>
          <a:p>
            <a:pPr marL="0" indent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AR" sz="900" err="1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t>ntegración</a:t>
            </a:r>
            <a:r>
              <a:rPr lang="es-AR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t> cultural con TMA</a:t>
            </a:r>
          </a:p>
          <a:p>
            <a:pPr marL="0" indent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t>La IA como acelerador de la evolución tecnológica.</a:t>
            </a:r>
            <a:endParaRPr lang="es-AR" sz="900">
              <a:solidFill>
                <a:schemeClr val="tx1">
                  <a:lumMod val="75000"/>
                  <a:lumOff val="25000"/>
                </a:schemeClr>
              </a:solidFill>
              <a:latin typeface="Pulso Light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6D7B8EF6-060B-D7F5-10F2-B1A24DAFAF24}"/>
              </a:ext>
            </a:extLst>
          </p:cNvPr>
          <p:cNvSpPr txBox="1">
            <a:spLocks/>
          </p:cNvSpPr>
          <p:nvPr/>
        </p:nvSpPr>
        <p:spPr>
          <a:xfrm>
            <a:off x="2012041" y="3736673"/>
            <a:ext cx="1594088" cy="14542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cap="none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spcAft>
                <a:spcPts val="225"/>
              </a:spcAft>
            </a:pPr>
            <a:r>
              <a:rPr lang="es-AR" sz="105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</a:rPr>
              <a:t>Regulación</a:t>
            </a:r>
          </a:p>
        </p:txBody>
      </p:sp>
      <p:sp>
        <p:nvSpPr>
          <p:cNvPr id="10" name="Marcador de texto 8">
            <a:extLst>
              <a:ext uri="{FF2B5EF4-FFF2-40B4-BE49-F238E27FC236}">
                <a16:creationId xmlns:a16="http://schemas.microsoft.com/office/drawing/2014/main" id="{6038B2DD-D7E7-ABE0-4589-589369C4F789}"/>
              </a:ext>
            </a:extLst>
          </p:cNvPr>
          <p:cNvSpPr txBox="1">
            <a:spLocks/>
          </p:cNvSpPr>
          <p:nvPr/>
        </p:nvSpPr>
        <p:spPr>
          <a:xfrm>
            <a:off x="1768098" y="3938548"/>
            <a:ext cx="1838031" cy="61510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14000"/>
              </a:lnSpc>
              <a:spcBef>
                <a:spcPts val="0"/>
              </a:spcBef>
              <a:buNone/>
            </a:pPr>
            <a:r>
              <a:rPr lang="es-ES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t>Desafíos de la regulación 2030 </a:t>
            </a:r>
          </a:p>
          <a:p>
            <a:pPr marL="0" indent="0" algn="r">
              <a:lnSpc>
                <a:spcPct val="114000"/>
              </a:lnSpc>
              <a:spcBef>
                <a:spcPts val="0"/>
              </a:spcBef>
              <a:buNone/>
            </a:pPr>
            <a:r>
              <a:rPr lang="es-ES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t>Infraestructura y Espectro</a:t>
            </a:r>
          </a:p>
          <a:p>
            <a:pPr marL="0" indent="0" algn="r">
              <a:lnSpc>
                <a:spcPct val="114000"/>
              </a:lnSpc>
              <a:spcBef>
                <a:spcPts val="0"/>
              </a:spcBef>
              <a:buNone/>
            </a:pPr>
            <a:r>
              <a:rPr lang="es-ES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t>Ecosistema digital y datos</a:t>
            </a:r>
          </a:p>
          <a:p>
            <a:pPr marL="0" indent="0" algn="r">
              <a:lnSpc>
                <a:spcPct val="114000"/>
              </a:lnSpc>
              <a:spcBef>
                <a:spcPts val="0"/>
              </a:spcBef>
              <a:buNone/>
            </a:pPr>
            <a:r>
              <a:rPr lang="es-ES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t>Lograr la aprobación de la fusión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E85CF2BA-34C2-EB16-AE48-4C5E0BCA9C3F}"/>
              </a:ext>
            </a:extLst>
          </p:cNvPr>
          <p:cNvSpPr txBox="1">
            <a:spLocks/>
          </p:cNvSpPr>
          <p:nvPr/>
        </p:nvSpPr>
        <p:spPr>
          <a:xfrm>
            <a:off x="5737144" y="1208065"/>
            <a:ext cx="2177449" cy="14542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cap="none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225"/>
              </a:spcAft>
            </a:pPr>
            <a:r>
              <a:rPr lang="es-AR" sz="105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</a:rPr>
              <a:t>Nuevos Negocios</a:t>
            </a:r>
            <a:endParaRPr lang="es-AR" sz="1050" strike="sngStrike">
              <a:solidFill>
                <a:schemeClr val="tx2">
                  <a:lumMod val="75000"/>
                  <a:lumOff val="25000"/>
                </a:schemeClr>
              </a:solidFill>
              <a:latin typeface="Pulso" pitchFamily="2" charset="0"/>
            </a:endParaRPr>
          </a:p>
        </p:txBody>
      </p:sp>
      <p:sp>
        <p:nvSpPr>
          <p:cNvPr id="12" name="Marcador de texto 8">
            <a:extLst>
              <a:ext uri="{FF2B5EF4-FFF2-40B4-BE49-F238E27FC236}">
                <a16:creationId xmlns:a16="http://schemas.microsoft.com/office/drawing/2014/main" id="{D8755ED3-EAB6-D241-25D7-A2BCCDE54473}"/>
              </a:ext>
            </a:extLst>
          </p:cNvPr>
          <p:cNvSpPr txBox="1">
            <a:spLocks/>
          </p:cNvSpPr>
          <p:nvPr/>
        </p:nvSpPr>
        <p:spPr>
          <a:xfrm>
            <a:off x="5737144" y="1409940"/>
            <a:ext cx="2609138" cy="30514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None/>
            </a:pPr>
            <a:r>
              <a:rPr lang="es-AR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t>Generación de nuevos negocios que potencien el valor al cliente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0CCA749D-76E8-7B6F-7AAB-3635E78B6699}"/>
              </a:ext>
            </a:extLst>
          </p:cNvPr>
          <p:cNvSpPr txBox="1">
            <a:spLocks/>
          </p:cNvSpPr>
          <p:nvPr/>
        </p:nvSpPr>
        <p:spPr>
          <a:xfrm>
            <a:off x="774484" y="1208065"/>
            <a:ext cx="2700181" cy="14542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cap="none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spcAft>
                <a:spcPts val="225"/>
              </a:spcAft>
            </a:pPr>
            <a:r>
              <a:rPr lang="es-AR" sz="105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</a:rPr>
              <a:t>Evolucionar nuestro negocio core</a:t>
            </a:r>
          </a:p>
        </p:txBody>
      </p:sp>
      <p:sp>
        <p:nvSpPr>
          <p:cNvPr id="14" name="Marcador de texto 8">
            <a:extLst>
              <a:ext uri="{FF2B5EF4-FFF2-40B4-BE49-F238E27FC236}">
                <a16:creationId xmlns:a16="http://schemas.microsoft.com/office/drawing/2014/main" id="{5251BDBA-3D01-3933-014B-2F6E462ACD5B}"/>
              </a:ext>
            </a:extLst>
          </p:cNvPr>
          <p:cNvSpPr txBox="1">
            <a:spLocks/>
          </p:cNvSpPr>
          <p:nvPr/>
        </p:nvSpPr>
        <p:spPr>
          <a:xfrm>
            <a:off x="370896" y="1409940"/>
            <a:ext cx="3103769" cy="46378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None/>
            </a:pPr>
            <a:r>
              <a:rPr lang="es-AR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t>Fidelización de cartera en el Negocio Core con mejora de NPS y manteniendo </a:t>
            </a:r>
            <a:r>
              <a:rPr lang="es-AR" sz="900" err="1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t>Value</a:t>
            </a:r>
            <a:r>
              <a:rPr lang="es-AR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t> Share - Eficiencia en la operación.</a:t>
            </a:r>
            <a:br>
              <a:rPr lang="es-AR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</a:br>
            <a:r>
              <a:rPr lang="es-AR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t>Alcanzar la fusión con TMA y generar valor en las sinergias</a:t>
            </a:r>
          </a:p>
        </p:txBody>
      </p:sp>
      <p:sp>
        <p:nvSpPr>
          <p:cNvPr id="15" name="Marcador de texto 8">
            <a:extLst>
              <a:ext uri="{FF2B5EF4-FFF2-40B4-BE49-F238E27FC236}">
                <a16:creationId xmlns:a16="http://schemas.microsoft.com/office/drawing/2014/main" id="{34D78C59-1CDB-0C8C-18E4-B8CA48CA786A}"/>
              </a:ext>
            </a:extLst>
          </p:cNvPr>
          <p:cNvSpPr txBox="1">
            <a:spLocks/>
          </p:cNvSpPr>
          <p:nvPr/>
        </p:nvSpPr>
        <p:spPr>
          <a:xfrm>
            <a:off x="1352247" y="2726543"/>
            <a:ext cx="1594088" cy="30675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None/>
            </a:pPr>
            <a:r>
              <a:rPr lang="es-AR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t>Optimizar la estructura entre deuda y patrimonio</a:t>
            </a:r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2A97825B-CFC7-89FD-34ED-E69E4198E658}"/>
              </a:ext>
            </a:extLst>
          </p:cNvPr>
          <p:cNvSpPr txBox="1">
            <a:spLocks/>
          </p:cNvSpPr>
          <p:nvPr/>
        </p:nvSpPr>
        <p:spPr>
          <a:xfrm>
            <a:off x="6196386" y="2377163"/>
            <a:ext cx="2357618" cy="14542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cap="none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225"/>
              </a:spcAft>
            </a:pPr>
            <a:r>
              <a:rPr lang="es-AR" sz="105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</a:rPr>
              <a:t>Despliegue de Valor Tech</a:t>
            </a:r>
          </a:p>
        </p:txBody>
      </p:sp>
      <p:sp>
        <p:nvSpPr>
          <p:cNvPr id="17" name="Marcador de texto 8">
            <a:extLst>
              <a:ext uri="{FF2B5EF4-FFF2-40B4-BE49-F238E27FC236}">
                <a16:creationId xmlns:a16="http://schemas.microsoft.com/office/drawing/2014/main" id="{5F17A7A4-892A-BED5-547F-C6F8790C6530}"/>
              </a:ext>
            </a:extLst>
          </p:cNvPr>
          <p:cNvSpPr txBox="1">
            <a:spLocks/>
          </p:cNvSpPr>
          <p:nvPr/>
        </p:nvSpPr>
        <p:spPr>
          <a:xfrm>
            <a:off x="6196386" y="2579038"/>
            <a:ext cx="2081033" cy="100450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spcBef>
                <a:spcPts val="0"/>
              </a:spcBef>
              <a:spcAft>
                <a:spcPts val="300"/>
              </a:spcAft>
              <a:buNone/>
            </a:pPr>
            <a:r>
              <a:rPr lang="es-AR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t>Creación de valor agregado al Negocio Core tradicional de conectividad de Telecom y TMA</a:t>
            </a:r>
          </a:p>
          <a:p>
            <a:pPr marL="201216" indent="-133350">
              <a:lnSpc>
                <a:spcPct val="100000"/>
              </a:lnSpc>
              <a:spcBef>
                <a:spcPts val="150"/>
              </a:spcBef>
              <a:buClr>
                <a:schemeClr val="accent4">
                  <a:lumMod val="75000"/>
                </a:schemeClr>
              </a:buClr>
              <a:defRPr/>
            </a:pPr>
            <a:r>
              <a:rPr lang="es-MX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t>Sostener</a:t>
            </a:r>
          </a:p>
          <a:p>
            <a:pPr marL="201216" indent="-133350">
              <a:lnSpc>
                <a:spcPct val="100000"/>
              </a:lnSpc>
              <a:spcBef>
                <a:spcPts val="150"/>
              </a:spcBef>
              <a:buClr>
                <a:schemeClr val="accent4">
                  <a:lumMod val="75000"/>
                </a:schemeClr>
              </a:buClr>
              <a:defRPr/>
            </a:pPr>
            <a:r>
              <a:rPr lang="es-MX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t>Evolucionar</a:t>
            </a:r>
          </a:p>
          <a:p>
            <a:pPr marL="201216" indent="-133350">
              <a:lnSpc>
                <a:spcPct val="100000"/>
              </a:lnSpc>
              <a:spcBef>
                <a:spcPts val="150"/>
              </a:spcBef>
              <a:buClr>
                <a:schemeClr val="accent4">
                  <a:lumMod val="75000"/>
                </a:schemeClr>
              </a:buClr>
              <a:defRPr/>
            </a:pPr>
            <a:r>
              <a:rPr lang="es-MX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t>Crear valor Nuevo</a:t>
            </a:r>
            <a:endParaRPr lang="es-AR" sz="900">
              <a:solidFill>
                <a:schemeClr val="tx1">
                  <a:lumMod val="75000"/>
                  <a:lumOff val="25000"/>
                </a:schemeClr>
              </a:solidFill>
              <a:latin typeface="Pulso Light" pitchFamily="2" charset="0"/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1EDC7FF2-E25B-C3D9-0CF9-12097C04785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" b="21"/>
          <a:stretch/>
        </p:blipFill>
        <p:spPr>
          <a:xfrm>
            <a:off x="3529029" y="1554836"/>
            <a:ext cx="2085942" cy="2085086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D321B1D4-4F09-388A-45B3-F04DE97E1736}"/>
              </a:ext>
            </a:extLst>
          </p:cNvPr>
          <p:cNvSpPr txBox="1">
            <a:spLocks/>
          </p:cNvSpPr>
          <p:nvPr/>
        </p:nvSpPr>
        <p:spPr>
          <a:xfrm>
            <a:off x="768887" y="2524667"/>
            <a:ext cx="2177449" cy="14542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cap="none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spcAft>
                <a:spcPts val="225"/>
              </a:spcAft>
            </a:pPr>
            <a:r>
              <a:rPr lang="es-AR" sz="105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</a:rPr>
              <a:t>Adecuar el capital</a:t>
            </a:r>
          </a:p>
        </p:txBody>
      </p:sp>
      <p:grpSp>
        <p:nvGrpSpPr>
          <p:cNvPr id="33" name="Grupo 32">
            <a:extLst>
              <a:ext uri="{FF2B5EF4-FFF2-40B4-BE49-F238E27FC236}">
                <a16:creationId xmlns:a16="http://schemas.microsoft.com/office/drawing/2014/main" id="{F2E56884-3F95-E3EE-0DC9-ED014989222C}"/>
              </a:ext>
            </a:extLst>
          </p:cNvPr>
          <p:cNvGrpSpPr/>
          <p:nvPr/>
        </p:nvGrpSpPr>
        <p:grpSpPr>
          <a:xfrm>
            <a:off x="5737142" y="1826858"/>
            <a:ext cx="2537999" cy="201025"/>
            <a:chOff x="8031969" y="2781342"/>
            <a:chExt cx="2623722" cy="268033"/>
          </a:xfrm>
        </p:grpSpPr>
        <p:sp>
          <p:nvSpPr>
            <p:cNvPr id="27" name="Rectángulo redondeado 26">
              <a:extLst>
                <a:ext uri="{FF2B5EF4-FFF2-40B4-BE49-F238E27FC236}">
                  <a16:creationId xmlns:a16="http://schemas.microsoft.com/office/drawing/2014/main" id="{D509E47A-FC95-3F77-66F1-3D53D22BCAA7}"/>
                </a:ext>
              </a:extLst>
            </p:cNvPr>
            <p:cNvSpPr/>
            <p:nvPr/>
          </p:nvSpPr>
          <p:spPr>
            <a:xfrm>
              <a:off x="8031969" y="2781342"/>
              <a:ext cx="709005" cy="268033"/>
            </a:xfrm>
            <a:prstGeom prst="roundRect">
              <a:avLst>
                <a:gd name="adj" fmla="val 23696"/>
              </a:avLst>
            </a:prstGeom>
            <a:solidFill>
              <a:srgbClr val="FFFFFF"/>
            </a:solidFill>
            <a:ln>
              <a:noFill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AR" sz="900">
                  <a:solidFill>
                    <a:schemeClr val="tx2">
                      <a:lumMod val="75000"/>
                      <a:lumOff val="25000"/>
                    </a:schemeClr>
                  </a:solidFill>
                  <a:latin typeface="Pulso" pitchFamily="2" charset="0"/>
                </a:rPr>
                <a:t>Explorar</a:t>
              </a:r>
            </a:p>
          </p:txBody>
        </p:sp>
        <p:sp>
          <p:nvSpPr>
            <p:cNvPr id="28" name="Rectángulo redondeado 27">
              <a:extLst>
                <a:ext uri="{FF2B5EF4-FFF2-40B4-BE49-F238E27FC236}">
                  <a16:creationId xmlns:a16="http://schemas.microsoft.com/office/drawing/2014/main" id="{5A6F1965-FBF5-F4BA-39C3-D1F9990151BF}"/>
                </a:ext>
              </a:extLst>
            </p:cNvPr>
            <p:cNvSpPr/>
            <p:nvPr/>
          </p:nvSpPr>
          <p:spPr>
            <a:xfrm>
              <a:off x="8989328" y="2781342"/>
              <a:ext cx="709004" cy="268033"/>
            </a:xfrm>
            <a:prstGeom prst="roundRect">
              <a:avLst>
                <a:gd name="adj" fmla="val 23696"/>
              </a:avLst>
            </a:prstGeom>
            <a:solidFill>
              <a:srgbClr val="FFFFFF"/>
            </a:solidFill>
            <a:ln>
              <a:noFill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AR" sz="900">
                  <a:solidFill>
                    <a:schemeClr val="tx2">
                      <a:lumMod val="75000"/>
                      <a:lumOff val="25000"/>
                    </a:schemeClr>
                  </a:solidFill>
                  <a:latin typeface="Pulso" pitchFamily="2" charset="0"/>
                </a:rPr>
                <a:t>Incubar</a:t>
              </a:r>
            </a:p>
          </p:txBody>
        </p:sp>
        <p:sp>
          <p:nvSpPr>
            <p:cNvPr id="29" name="Rectángulo redondeado 28">
              <a:extLst>
                <a:ext uri="{FF2B5EF4-FFF2-40B4-BE49-F238E27FC236}">
                  <a16:creationId xmlns:a16="http://schemas.microsoft.com/office/drawing/2014/main" id="{88210E36-A123-681F-FCF0-BD6DF68DB0ED}"/>
                </a:ext>
              </a:extLst>
            </p:cNvPr>
            <p:cNvSpPr/>
            <p:nvPr/>
          </p:nvSpPr>
          <p:spPr>
            <a:xfrm>
              <a:off x="9946686" y="2781342"/>
              <a:ext cx="709005" cy="268033"/>
            </a:xfrm>
            <a:prstGeom prst="roundRect">
              <a:avLst>
                <a:gd name="adj" fmla="val 23696"/>
              </a:avLst>
            </a:prstGeom>
            <a:solidFill>
              <a:srgbClr val="FFFFFF"/>
            </a:solidFill>
            <a:ln>
              <a:noFill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AR" sz="900">
                  <a:solidFill>
                    <a:schemeClr val="tx2">
                      <a:lumMod val="75000"/>
                      <a:lumOff val="25000"/>
                    </a:schemeClr>
                  </a:solidFill>
                  <a:latin typeface="Pulso" pitchFamily="2" charset="0"/>
                </a:rPr>
                <a:t>Escalar</a:t>
              </a:r>
            </a:p>
          </p:txBody>
        </p:sp>
        <p:sp>
          <p:nvSpPr>
            <p:cNvPr id="30" name="Gráfico 7">
              <a:extLst>
                <a:ext uri="{FF2B5EF4-FFF2-40B4-BE49-F238E27FC236}">
                  <a16:creationId xmlns:a16="http://schemas.microsoft.com/office/drawing/2014/main" id="{BC23B4A6-0324-A87A-3D9D-9539FFE4D47D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8801687" y="2879358"/>
              <a:ext cx="126927" cy="72000"/>
            </a:xfrm>
            <a:custGeom>
              <a:avLst/>
              <a:gdLst>
                <a:gd name="connsiteX0" fmla="*/ 14771 w 219527"/>
                <a:gd name="connsiteY0" fmla="*/ 0 h 124528"/>
                <a:gd name="connsiteX1" fmla="*/ 204757 w 219527"/>
                <a:gd name="connsiteY1" fmla="*/ 0 h 124528"/>
                <a:gd name="connsiteX2" fmla="*/ 215168 w 219527"/>
                <a:gd name="connsiteY2" fmla="*/ 25179 h 124528"/>
                <a:gd name="connsiteX3" fmla="*/ 120212 w 219527"/>
                <a:gd name="connsiteY3" fmla="*/ 120209 h 124528"/>
                <a:gd name="connsiteX4" fmla="*/ 99316 w 219527"/>
                <a:gd name="connsiteY4" fmla="*/ 120209 h 124528"/>
                <a:gd name="connsiteX5" fmla="*/ 4360 w 219527"/>
                <a:gd name="connsiteY5" fmla="*/ 25179 h 124528"/>
                <a:gd name="connsiteX6" fmla="*/ 14771 w 219527"/>
                <a:gd name="connsiteY6" fmla="*/ 0 h 12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527" h="124528">
                  <a:moveTo>
                    <a:pt x="14771" y="0"/>
                  </a:moveTo>
                  <a:lnTo>
                    <a:pt x="204757" y="0"/>
                  </a:lnTo>
                  <a:cubicBezTo>
                    <a:pt x="217900" y="0"/>
                    <a:pt x="224471" y="15875"/>
                    <a:pt x="215168" y="25179"/>
                  </a:cubicBezTo>
                  <a:lnTo>
                    <a:pt x="120212" y="120209"/>
                  </a:lnTo>
                  <a:cubicBezTo>
                    <a:pt x="114453" y="125968"/>
                    <a:pt x="105075" y="125968"/>
                    <a:pt x="99316" y="120209"/>
                  </a:cubicBezTo>
                  <a:lnTo>
                    <a:pt x="4360" y="25179"/>
                  </a:lnTo>
                  <a:cubicBezTo>
                    <a:pt x="-4944" y="15875"/>
                    <a:pt x="1628" y="0"/>
                    <a:pt x="14771" y="0"/>
                  </a:cubicBezTo>
                  <a:close/>
                </a:path>
              </a:pathLst>
            </a:custGeom>
            <a:solidFill>
              <a:schemeClr val="tx2">
                <a:lumMod val="75000"/>
                <a:lumOff val="25000"/>
              </a:schemeClr>
            </a:solidFill>
            <a:ln w="7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AR" sz="900">
                <a:latin typeface="Pulso" pitchFamily="2" charset="0"/>
              </a:endParaRPr>
            </a:p>
          </p:txBody>
        </p:sp>
        <p:sp>
          <p:nvSpPr>
            <p:cNvPr id="31" name="Gráfico 7">
              <a:extLst>
                <a:ext uri="{FF2B5EF4-FFF2-40B4-BE49-F238E27FC236}">
                  <a16:creationId xmlns:a16="http://schemas.microsoft.com/office/drawing/2014/main" id="{1CF3B0BF-E5C2-6348-E958-9E5E10E277C2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9759045" y="2879358"/>
              <a:ext cx="126927" cy="72000"/>
            </a:xfrm>
            <a:custGeom>
              <a:avLst/>
              <a:gdLst>
                <a:gd name="connsiteX0" fmla="*/ 14771 w 219527"/>
                <a:gd name="connsiteY0" fmla="*/ 0 h 124528"/>
                <a:gd name="connsiteX1" fmla="*/ 204757 w 219527"/>
                <a:gd name="connsiteY1" fmla="*/ 0 h 124528"/>
                <a:gd name="connsiteX2" fmla="*/ 215168 w 219527"/>
                <a:gd name="connsiteY2" fmla="*/ 25179 h 124528"/>
                <a:gd name="connsiteX3" fmla="*/ 120212 w 219527"/>
                <a:gd name="connsiteY3" fmla="*/ 120209 h 124528"/>
                <a:gd name="connsiteX4" fmla="*/ 99316 w 219527"/>
                <a:gd name="connsiteY4" fmla="*/ 120209 h 124528"/>
                <a:gd name="connsiteX5" fmla="*/ 4360 w 219527"/>
                <a:gd name="connsiteY5" fmla="*/ 25179 h 124528"/>
                <a:gd name="connsiteX6" fmla="*/ 14771 w 219527"/>
                <a:gd name="connsiteY6" fmla="*/ 0 h 12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527" h="124528">
                  <a:moveTo>
                    <a:pt x="14771" y="0"/>
                  </a:moveTo>
                  <a:lnTo>
                    <a:pt x="204757" y="0"/>
                  </a:lnTo>
                  <a:cubicBezTo>
                    <a:pt x="217900" y="0"/>
                    <a:pt x="224471" y="15875"/>
                    <a:pt x="215168" y="25179"/>
                  </a:cubicBezTo>
                  <a:lnTo>
                    <a:pt x="120212" y="120209"/>
                  </a:lnTo>
                  <a:cubicBezTo>
                    <a:pt x="114453" y="125968"/>
                    <a:pt x="105075" y="125968"/>
                    <a:pt x="99316" y="120209"/>
                  </a:cubicBezTo>
                  <a:lnTo>
                    <a:pt x="4360" y="25179"/>
                  </a:lnTo>
                  <a:cubicBezTo>
                    <a:pt x="-4944" y="15875"/>
                    <a:pt x="1628" y="0"/>
                    <a:pt x="14771" y="0"/>
                  </a:cubicBezTo>
                  <a:close/>
                </a:path>
              </a:pathLst>
            </a:custGeom>
            <a:solidFill>
              <a:schemeClr val="tx2">
                <a:lumMod val="75000"/>
                <a:lumOff val="25000"/>
              </a:schemeClr>
            </a:solidFill>
            <a:ln w="7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AR" sz="900">
                <a:latin typeface="Pulso" pitchFamily="2" charset="0"/>
              </a:endParaRPr>
            </a:p>
          </p:txBody>
        </p:sp>
      </p:grpSp>
      <p:sp>
        <p:nvSpPr>
          <p:cNvPr id="18" name="Title 1">
            <a:extLst>
              <a:ext uri="{FF2B5EF4-FFF2-40B4-BE49-F238E27FC236}">
                <a16:creationId xmlns:a16="http://schemas.microsoft.com/office/drawing/2014/main" id="{A3DA244E-954A-6701-ABDD-C9FA3BF255E7}"/>
              </a:ext>
            </a:extLst>
          </p:cNvPr>
          <p:cNvSpPr txBox="1">
            <a:spLocks/>
          </p:cNvSpPr>
          <p:nvPr/>
        </p:nvSpPr>
        <p:spPr>
          <a:xfrm>
            <a:off x="3051231" y="550861"/>
            <a:ext cx="3041538" cy="374461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ts val="3200"/>
              </a:lnSpc>
            </a:pP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Desafíos Estratégicos</a:t>
            </a:r>
          </a:p>
        </p:txBody>
      </p:sp>
    </p:spTree>
    <p:extLst>
      <p:ext uri="{BB962C8B-B14F-4D97-AF65-F5344CB8AC3E}">
        <p14:creationId xmlns:p14="http://schemas.microsoft.com/office/powerpoint/2010/main" val="3579909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Marcador de texto 8">
            <a:extLst>
              <a:ext uri="{FF2B5EF4-FFF2-40B4-BE49-F238E27FC236}">
                <a16:creationId xmlns:a16="http://schemas.microsoft.com/office/drawing/2014/main" id="{15011765-DFE3-60DA-5E25-DFC497416C46}"/>
              </a:ext>
            </a:extLst>
          </p:cNvPr>
          <p:cNvSpPr txBox="1">
            <a:spLocks/>
          </p:cNvSpPr>
          <p:nvPr/>
        </p:nvSpPr>
        <p:spPr>
          <a:xfrm>
            <a:off x="1252627" y="1573440"/>
            <a:ext cx="3189865" cy="280692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>
                <a:latin typeface="Pulso Light" pitchFamily="2" charset="0"/>
                <a:ea typeface="Open Sans Light"/>
                <a:cs typeface="Open Sans Light"/>
              </a:rPr>
              <a:t>Consolidar posiciones estratégicas en Negocio Core.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>
                <a:latin typeface="Pulso Light" pitchFamily="2" charset="0"/>
                <a:ea typeface="Open Sans Light"/>
                <a:cs typeface="Open Sans Light"/>
              </a:rPr>
              <a:t>Invertir para sostener el negocio actual y apalancar futuros negocios.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>
                <a:latin typeface="Pulso Light" pitchFamily="2" charset="0"/>
                <a:ea typeface="Open Sans Light"/>
                <a:cs typeface="Open Sans Light"/>
              </a:rPr>
              <a:t>Evolucionar y potenciar nuestra plataforma de entretenimiento.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>
                <a:latin typeface="Pulso Light" pitchFamily="2" charset="0"/>
                <a:ea typeface="Open Sans Light"/>
                <a:cs typeface="Open Sans Light"/>
              </a:rPr>
              <a:t>Eficientizar la operación.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>
                <a:latin typeface="Pulso Light" pitchFamily="2" charset="0"/>
                <a:ea typeface="Open Sans Light"/>
                <a:cs typeface="Open Sans Light"/>
              </a:rPr>
              <a:t>Fusión: Generación de valor.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>
                <a:latin typeface="Pulso Light" pitchFamily="2" charset="0"/>
                <a:ea typeface="Open Sans Light"/>
                <a:cs typeface="Open Sans Light"/>
              </a:rPr>
              <a:t>Personal Pay.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200" spc="-15">
                <a:latin typeface="Pulso Light" pitchFamily="2" charset="0"/>
                <a:ea typeface="Open Sans Light"/>
                <a:cs typeface="Open Sans Light"/>
              </a:rPr>
              <a:t>Regionalización.</a:t>
            </a: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99FD1D1B-1E38-3C99-38F4-FA9CA7779EA0}"/>
              </a:ext>
            </a:extLst>
          </p:cNvPr>
          <p:cNvGrpSpPr/>
          <p:nvPr/>
        </p:nvGrpSpPr>
        <p:grpSpPr>
          <a:xfrm>
            <a:off x="540651" y="704103"/>
            <a:ext cx="4356109" cy="718147"/>
            <a:chOff x="1186436" y="701273"/>
            <a:chExt cx="1874891" cy="309093"/>
          </a:xfrm>
        </p:grpSpPr>
        <p:grpSp>
          <p:nvGrpSpPr>
            <p:cNvPr id="7" name="Grupo 6">
              <a:extLst>
                <a:ext uri="{FF2B5EF4-FFF2-40B4-BE49-F238E27FC236}">
                  <a16:creationId xmlns:a16="http://schemas.microsoft.com/office/drawing/2014/main" id="{9B698485-8335-FA14-3709-3F1F4237E7F9}"/>
                </a:ext>
              </a:extLst>
            </p:cNvPr>
            <p:cNvGrpSpPr/>
            <p:nvPr/>
          </p:nvGrpSpPr>
          <p:grpSpPr>
            <a:xfrm>
              <a:off x="1186436" y="727786"/>
              <a:ext cx="236474" cy="236229"/>
              <a:chOff x="3955161" y="1943655"/>
              <a:chExt cx="1169097" cy="1167892"/>
            </a:xfrm>
          </p:grpSpPr>
          <p:sp>
            <p:nvSpPr>
              <p:cNvPr id="9" name="Forma libre 8">
                <a:extLst>
                  <a:ext uri="{FF2B5EF4-FFF2-40B4-BE49-F238E27FC236}">
                    <a16:creationId xmlns:a16="http://schemas.microsoft.com/office/drawing/2014/main" id="{39D8E642-AAAD-B544-C394-10170710BE36}"/>
                  </a:ext>
                </a:extLst>
              </p:cNvPr>
              <p:cNvSpPr/>
              <p:nvPr/>
            </p:nvSpPr>
            <p:spPr>
              <a:xfrm>
                <a:off x="4190142" y="2178081"/>
                <a:ext cx="699134" cy="699134"/>
              </a:xfrm>
              <a:custGeom>
                <a:avLst/>
                <a:gdLst>
                  <a:gd name="connsiteX0" fmla="*/ 699135 w 699134"/>
                  <a:gd name="connsiteY0" fmla="*/ 349567 h 699134"/>
                  <a:gd name="connsiteX1" fmla="*/ 349568 w 699134"/>
                  <a:gd name="connsiteY1" fmla="*/ 699135 h 699134"/>
                  <a:gd name="connsiteX2" fmla="*/ 0 w 699134"/>
                  <a:gd name="connsiteY2" fmla="*/ 349568 h 699134"/>
                  <a:gd name="connsiteX3" fmla="*/ 349568 w 699134"/>
                  <a:gd name="connsiteY3" fmla="*/ 0 h 699134"/>
                  <a:gd name="connsiteX4" fmla="*/ 699135 w 699134"/>
                  <a:gd name="connsiteY4" fmla="*/ 349567 h 699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134" h="699134">
                    <a:moveTo>
                      <a:pt x="699135" y="349567"/>
                    </a:moveTo>
                    <a:cubicBezTo>
                      <a:pt x="699135" y="542628"/>
                      <a:pt x="542628" y="699135"/>
                      <a:pt x="349568" y="699135"/>
                    </a:cubicBezTo>
                    <a:cubicBezTo>
                      <a:pt x="156507" y="699135"/>
                      <a:pt x="0" y="542628"/>
                      <a:pt x="0" y="349568"/>
                    </a:cubicBezTo>
                    <a:cubicBezTo>
                      <a:pt x="0" y="156507"/>
                      <a:pt x="156507" y="0"/>
                      <a:pt x="349568" y="0"/>
                    </a:cubicBezTo>
                    <a:cubicBezTo>
                      <a:pt x="542628" y="0"/>
                      <a:pt x="699135" y="156507"/>
                      <a:pt x="699135" y="349567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0" name="Forma libre 9">
                <a:extLst>
                  <a:ext uri="{FF2B5EF4-FFF2-40B4-BE49-F238E27FC236}">
                    <a16:creationId xmlns:a16="http://schemas.microsoft.com/office/drawing/2014/main" id="{DA0C26CD-2F5F-71F8-7450-9E433094AF37}"/>
                  </a:ext>
                </a:extLst>
              </p:cNvPr>
              <p:cNvSpPr/>
              <p:nvPr/>
            </p:nvSpPr>
            <p:spPr>
              <a:xfrm>
                <a:off x="4552759" y="2731320"/>
                <a:ext cx="481275" cy="380227"/>
              </a:xfrm>
              <a:custGeom>
                <a:avLst/>
                <a:gdLst>
                  <a:gd name="connsiteX0" fmla="*/ 298704 w 481275"/>
                  <a:gd name="connsiteY0" fmla="*/ 6070 h 380227"/>
                  <a:gd name="connsiteX1" fmla="*/ 12764 w 481275"/>
                  <a:gd name="connsiteY1" fmla="*/ 171138 h 380227"/>
                  <a:gd name="connsiteX2" fmla="*/ 0 w 481275"/>
                  <a:gd name="connsiteY2" fmla="*/ 184568 h 380227"/>
                  <a:gd name="connsiteX3" fmla="*/ 0 w 481275"/>
                  <a:gd name="connsiteY3" fmla="*/ 366686 h 380227"/>
                  <a:gd name="connsiteX4" fmla="*/ 14002 w 481275"/>
                  <a:gd name="connsiteY4" fmla="*/ 380212 h 380227"/>
                  <a:gd name="connsiteX5" fmla="*/ 479203 w 481275"/>
                  <a:gd name="connsiteY5" fmla="*/ 111892 h 380227"/>
                  <a:gd name="connsiteX6" fmla="*/ 474535 w 481275"/>
                  <a:gd name="connsiteY6" fmla="*/ 93033 h 380227"/>
                  <a:gd name="connsiteX7" fmla="*/ 316611 w 481275"/>
                  <a:gd name="connsiteY7" fmla="*/ 1879 h 380227"/>
                  <a:gd name="connsiteX8" fmla="*/ 298704 w 481275"/>
                  <a:gd name="connsiteY8" fmla="*/ 6070 h 38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275" h="380227">
                    <a:moveTo>
                      <a:pt x="298704" y="6070"/>
                    </a:moveTo>
                    <a:cubicBezTo>
                      <a:pt x="235744" y="99510"/>
                      <a:pt x="131921" y="163041"/>
                      <a:pt x="12764" y="171138"/>
                    </a:cubicBezTo>
                    <a:cubicBezTo>
                      <a:pt x="5620" y="171614"/>
                      <a:pt x="0" y="177424"/>
                      <a:pt x="0" y="184568"/>
                    </a:cubicBezTo>
                    <a:lnTo>
                      <a:pt x="0" y="366686"/>
                    </a:lnTo>
                    <a:cubicBezTo>
                      <a:pt x="0" y="374306"/>
                      <a:pt x="6382" y="380592"/>
                      <a:pt x="14002" y="380212"/>
                    </a:cubicBezTo>
                    <a:cubicBezTo>
                      <a:pt x="209359" y="371258"/>
                      <a:pt x="379762" y="266578"/>
                      <a:pt x="479203" y="111892"/>
                    </a:cubicBezTo>
                    <a:cubicBezTo>
                      <a:pt x="483299" y="105510"/>
                      <a:pt x="481108" y="96843"/>
                      <a:pt x="474535" y="93033"/>
                    </a:cubicBezTo>
                    <a:lnTo>
                      <a:pt x="316611" y="1879"/>
                    </a:lnTo>
                    <a:cubicBezTo>
                      <a:pt x="310515" y="-1836"/>
                      <a:pt x="302705" y="164"/>
                      <a:pt x="298704" y="607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F1A5F6D3-6D96-AA78-D89B-65DA4B2B79C5}"/>
                  </a:ext>
                </a:extLst>
              </p:cNvPr>
              <p:cNvSpPr/>
              <p:nvPr/>
            </p:nvSpPr>
            <p:spPr>
              <a:xfrm>
                <a:off x="4045385" y="1943655"/>
                <a:ext cx="481275" cy="380282"/>
              </a:xfrm>
              <a:custGeom>
                <a:avLst/>
                <a:gdLst>
                  <a:gd name="connsiteX0" fmla="*/ 182571 w 481275"/>
                  <a:gd name="connsiteY0" fmla="*/ 374158 h 380282"/>
                  <a:gd name="connsiteX1" fmla="*/ 468512 w 481275"/>
                  <a:gd name="connsiteY1" fmla="*/ 209090 h 380282"/>
                  <a:gd name="connsiteX2" fmla="*/ 481275 w 481275"/>
                  <a:gd name="connsiteY2" fmla="*/ 195660 h 380282"/>
                  <a:gd name="connsiteX3" fmla="*/ 481275 w 481275"/>
                  <a:gd name="connsiteY3" fmla="*/ 13542 h 380282"/>
                  <a:gd name="connsiteX4" fmla="*/ 467274 w 481275"/>
                  <a:gd name="connsiteY4" fmla="*/ 16 h 380282"/>
                  <a:gd name="connsiteX5" fmla="*/ 2073 w 481275"/>
                  <a:gd name="connsiteY5" fmla="*/ 268336 h 380282"/>
                  <a:gd name="connsiteX6" fmla="*/ 6740 w 481275"/>
                  <a:gd name="connsiteY6" fmla="*/ 287195 h 380282"/>
                  <a:gd name="connsiteX7" fmla="*/ 164664 w 481275"/>
                  <a:gd name="connsiteY7" fmla="*/ 378540 h 380282"/>
                  <a:gd name="connsiteX8" fmla="*/ 182571 w 481275"/>
                  <a:gd name="connsiteY8" fmla="*/ 374158 h 380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275" h="380282">
                    <a:moveTo>
                      <a:pt x="182571" y="374158"/>
                    </a:moveTo>
                    <a:cubicBezTo>
                      <a:pt x="245532" y="280718"/>
                      <a:pt x="349354" y="217186"/>
                      <a:pt x="468512" y="209090"/>
                    </a:cubicBezTo>
                    <a:cubicBezTo>
                      <a:pt x="475656" y="208614"/>
                      <a:pt x="481275" y="202804"/>
                      <a:pt x="481275" y="195660"/>
                    </a:cubicBezTo>
                    <a:lnTo>
                      <a:pt x="481275" y="13542"/>
                    </a:lnTo>
                    <a:cubicBezTo>
                      <a:pt x="481275" y="5922"/>
                      <a:pt x="474894" y="-364"/>
                      <a:pt x="467274" y="16"/>
                    </a:cubicBezTo>
                    <a:cubicBezTo>
                      <a:pt x="271916" y="8970"/>
                      <a:pt x="101514" y="113650"/>
                      <a:pt x="2073" y="268336"/>
                    </a:cubicBezTo>
                    <a:cubicBezTo>
                      <a:pt x="-2023" y="274717"/>
                      <a:pt x="168" y="283385"/>
                      <a:pt x="6740" y="287195"/>
                    </a:cubicBezTo>
                    <a:lnTo>
                      <a:pt x="164664" y="378540"/>
                    </a:lnTo>
                    <a:cubicBezTo>
                      <a:pt x="170856" y="382064"/>
                      <a:pt x="178571" y="380064"/>
                      <a:pt x="182571" y="374158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65D14F05-FAB5-0C92-763A-B190D5F255E0}"/>
                  </a:ext>
                </a:extLst>
              </p:cNvPr>
              <p:cNvSpPr/>
              <p:nvPr/>
            </p:nvSpPr>
            <p:spPr>
              <a:xfrm>
                <a:off x="4875850" y="2251895"/>
                <a:ext cx="248408" cy="551508"/>
              </a:xfrm>
              <a:custGeom>
                <a:avLst/>
                <a:gdLst>
                  <a:gd name="connsiteX0" fmla="*/ 164493 w 248408"/>
                  <a:gd name="connsiteY0" fmla="*/ 549693 h 551508"/>
                  <a:gd name="connsiteX1" fmla="*/ 183162 w 248408"/>
                  <a:gd name="connsiteY1" fmla="*/ 544359 h 551508"/>
                  <a:gd name="connsiteX2" fmla="*/ 248409 w 248408"/>
                  <a:gd name="connsiteY2" fmla="*/ 275754 h 551508"/>
                  <a:gd name="connsiteX3" fmla="*/ 183162 w 248408"/>
                  <a:gd name="connsiteY3" fmla="*/ 7149 h 551508"/>
                  <a:gd name="connsiteX4" fmla="*/ 164493 w 248408"/>
                  <a:gd name="connsiteY4" fmla="*/ 1815 h 551508"/>
                  <a:gd name="connsiteX5" fmla="*/ 6664 w 248408"/>
                  <a:gd name="connsiteY5" fmla="*/ 92969 h 551508"/>
                  <a:gd name="connsiteX6" fmla="*/ 1425 w 248408"/>
                  <a:gd name="connsiteY6" fmla="*/ 110686 h 551508"/>
                  <a:gd name="connsiteX7" fmla="*/ 39621 w 248408"/>
                  <a:gd name="connsiteY7" fmla="*/ 275754 h 551508"/>
                  <a:gd name="connsiteX8" fmla="*/ 1425 w 248408"/>
                  <a:gd name="connsiteY8" fmla="*/ 440822 h 551508"/>
                  <a:gd name="connsiteX9" fmla="*/ 6664 w 248408"/>
                  <a:gd name="connsiteY9" fmla="*/ 458539 h 551508"/>
                  <a:gd name="connsiteX10" fmla="*/ 164493 w 248408"/>
                  <a:gd name="connsiteY10" fmla="*/ 549693 h 551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8408" h="551508">
                    <a:moveTo>
                      <a:pt x="164493" y="549693"/>
                    </a:moveTo>
                    <a:cubicBezTo>
                      <a:pt x="171065" y="553503"/>
                      <a:pt x="179638" y="551122"/>
                      <a:pt x="183162" y="544359"/>
                    </a:cubicBezTo>
                    <a:cubicBezTo>
                      <a:pt x="224882" y="463968"/>
                      <a:pt x="248409" y="372623"/>
                      <a:pt x="248409" y="275754"/>
                    </a:cubicBezTo>
                    <a:cubicBezTo>
                      <a:pt x="248409" y="178885"/>
                      <a:pt x="224787" y="87540"/>
                      <a:pt x="183162" y="7149"/>
                    </a:cubicBezTo>
                    <a:cubicBezTo>
                      <a:pt x="179638" y="386"/>
                      <a:pt x="171065" y="-1995"/>
                      <a:pt x="164493" y="1815"/>
                    </a:cubicBezTo>
                    <a:lnTo>
                      <a:pt x="6664" y="92969"/>
                    </a:lnTo>
                    <a:cubicBezTo>
                      <a:pt x="473" y="96589"/>
                      <a:pt x="-1718" y="104304"/>
                      <a:pt x="1425" y="110686"/>
                    </a:cubicBezTo>
                    <a:cubicBezTo>
                      <a:pt x="25809" y="160502"/>
                      <a:pt x="39621" y="216509"/>
                      <a:pt x="39621" y="275754"/>
                    </a:cubicBezTo>
                    <a:cubicBezTo>
                      <a:pt x="39621" y="335000"/>
                      <a:pt x="25905" y="391007"/>
                      <a:pt x="1425" y="440822"/>
                    </a:cubicBezTo>
                    <a:cubicBezTo>
                      <a:pt x="-1718" y="447204"/>
                      <a:pt x="473" y="455015"/>
                      <a:pt x="6664" y="458539"/>
                    </a:cubicBezTo>
                    <a:lnTo>
                      <a:pt x="164493" y="549693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3" name="Forma libre 12">
                <a:extLst>
                  <a:ext uri="{FF2B5EF4-FFF2-40B4-BE49-F238E27FC236}">
                    <a16:creationId xmlns:a16="http://schemas.microsoft.com/office/drawing/2014/main" id="{E21CB2F4-3A00-110E-DF9C-44DF33DC8481}"/>
                  </a:ext>
                </a:extLst>
              </p:cNvPr>
              <p:cNvSpPr/>
              <p:nvPr/>
            </p:nvSpPr>
            <p:spPr>
              <a:xfrm>
                <a:off x="4552854" y="1943845"/>
                <a:ext cx="481317" cy="380159"/>
              </a:xfrm>
              <a:custGeom>
                <a:avLst/>
                <a:gdLst>
                  <a:gd name="connsiteX0" fmla="*/ 12668 w 481317"/>
                  <a:gd name="connsiteY0" fmla="*/ 208995 h 380159"/>
                  <a:gd name="connsiteX1" fmla="*/ 298609 w 481317"/>
                  <a:gd name="connsiteY1" fmla="*/ 374063 h 380159"/>
                  <a:gd name="connsiteX2" fmla="*/ 316611 w 481317"/>
                  <a:gd name="connsiteY2" fmla="*/ 378349 h 380159"/>
                  <a:gd name="connsiteX3" fmla="*/ 474535 w 481317"/>
                  <a:gd name="connsiteY3" fmla="*/ 287195 h 380159"/>
                  <a:gd name="connsiteX4" fmla="*/ 479203 w 481317"/>
                  <a:gd name="connsiteY4" fmla="*/ 268336 h 380159"/>
                  <a:gd name="connsiteX5" fmla="*/ 14002 w 481317"/>
                  <a:gd name="connsiteY5" fmla="*/ 16 h 380159"/>
                  <a:gd name="connsiteX6" fmla="*/ 0 w 481317"/>
                  <a:gd name="connsiteY6" fmla="*/ 13542 h 380159"/>
                  <a:gd name="connsiteX7" fmla="*/ 0 w 481317"/>
                  <a:gd name="connsiteY7" fmla="*/ 195660 h 380159"/>
                  <a:gd name="connsiteX8" fmla="*/ 12668 w 481317"/>
                  <a:gd name="connsiteY8" fmla="*/ 208995 h 380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317" h="380159">
                    <a:moveTo>
                      <a:pt x="12668" y="208995"/>
                    </a:moveTo>
                    <a:cubicBezTo>
                      <a:pt x="131731" y="217091"/>
                      <a:pt x="235553" y="280623"/>
                      <a:pt x="298609" y="374063"/>
                    </a:cubicBezTo>
                    <a:cubicBezTo>
                      <a:pt x="302609" y="379969"/>
                      <a:pt x="310420" y="381969"/>
                      <a:pt x="316611" y="378349"/>
                    </a:cubicBezTo>
                    <a:lnTo>
                      <a:pt x="474535" y="287195"/>
                    </a:lnTo>
                    <a:cubicBezTo>
                      <a:pt x="481108" y="283385"/>
                      <a:pt x="483394" y="274717"/>
                      <a:pt x="479203" y="268336"/>
                    </a:cubicBezTo>
                    <a:cubicBezTo>
                      <a:pt x="379857" y="113554"/>
                      <a:pt x="209359" y="8875"/>
                      <a:pt x="14002" y="16"/>
                    </a:cubicBezTo>
                    <a:cubicBezTo>
                      <a:pt x="6382" y="-365"/>
                      <a:pt x="0" y="5922"/>
                      <a:pt x="0" y="13542"/>
                    </a:cubicBezTo>
                    <a:lnTo>
                      <a:pt x="0" y="195660"/>
                    </a:lnTo>
                    <a:cubicBezTo>
                      <a:pt x="0" y="202708"/>
                      <a:pt x="5525" y="208519"/>
                      <a:pt x="12668" y="20899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4" name="Forma libre 13">
                <a:extLst>
                  <a:ext uri="{FF2B5EF4-FFF2-40B4-BE49-F238E27FC236}">
                    <a16:creationId xmlns:a16="http://schemas.microsoft.com/office/drawing/2014/main" id="{E361FBD0-B1B6-8390-95C3-49EF34CCD614}"/>
                  </a:ext>
                </a:extLst>
              </p:cNvPr>
              <p:cNvSpPr/>
              <p:nvPr/>
            </p:nvSpPr>
            <p:spPr>
              <a:xfrm>
                <a:off x="4045248" y="2731293"/>
                <a:ext cx="481318" cy="380159"/>
              </a:xfrm>
              <a:custGeom>
                <a:avLst/>
                <a:gdLst>
                  <a:gd name="connsiteX0" fmla="*/ 468649 w 481318"/>
                  <a:gd name="connsiteY0" fmla="*/ 171165 h 380159"/>
                  <a:gd name="connsiteX1" fmla="*/ 182709 w 481318"/>
                  <a:gd name="connsiteY1" fmla="*/ 6097 h 380159"/>
                  <a:gd name="connsiteX2" fmla="*/ 164707 w 481318"/>
                  <a:gd name="connsiteY2" fmla="*/ 1810 h 380159"/>
                  <a:gd name="connsiteX3" fmla="*/ 6782 w 481318"/>
                  <a:gd name="connsiteY3" fmla="*/ 92965 h 380159"/>
                  <a:gd name="connsiteX4" fmla="*/ 2115 w 481318"/>
                  <a:gd name="connsiteY4" fmla="*/ 111824 h 380159"/>
                  <a:gd name="connsiteX5" fmla="*/ 467316 w 481318"/>
                  <a:gd name="connsiteY5" fmla="*/ 380143 h 380159"/>
                  <a:gd name="connsiteX6" fmla="*/ 481318 w 481318"/>
                  <a:gd name="connsiteY6" fmla="*/ 366618 h 380159"/>
                  <a:gd name="connsiteX7" fmla="*/ 481318 w 481318"/>
                  <a:gd name="connsiteY7" fmla="*/ 184500 h 380159"/>
                  <a:gd name="connsiteX8" fmla="*/ 468649 w 481318"/>
                  <a:gd name="connsiteY8" fmla="*/ 171165 h 380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318" h="380159">
                    <a:moveTo>
                      <a:pt x="468649" y="171165"/>
                    </a:moveTo>
                    <a:cubicBezTo>
                      <a:pt x="349587" y="163069"/>
                      <a:pt x="245764" y="99537"/>
                      <a:pt x="182709" y="6097"/>
                    </a:cubicBezTo>
                    <a:cubicBezTo>
                      <a:pt x="178709" y="191"/>
                      <a:pt x="170898" y="-1809"/>
                      <a:pt x="164707" y="1810"/>
                    </a:cubicBezTo>
                    <a:lnTo>
                      <a:pt x="6782" y="92965"/>
                    </a:lnTo>
                    <a:cubicBezTo>
                      <a:pt x="210" y="96775"/>
                      <a:pt x="-2076" y="105442"/>
                      <a:pt x="2115" y="111824"/>
                    </a:cubicBezTo>
                    <a:cubicBezTo>
                      <a:pt x="101461" y="266605"/>
                      <a:pt x="271958" y="371285"/>
                      <a:pt x="467316" y="380143"/>
                    </a:cubicBezTo>
                    <a:cubicBezTo>
                      <a:pt x="474936" y="380525"/>
                      <a:pt x="481318" y="374238"/>
                      <a:pt x="481318" y="366618"/>
                    </a:cubicBezTo>
                    <a:lnTo>
                      <a:pt x="481318" y="184500"/>
                    </a:lnTo>
                    <a:cubicBezTo>
                      <a:pt x="481413" y="177356"/>
                      <a:pt x="475793" y="171641"/>
                      <a:pt x="468649" y="17116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5" name="Forma libre 14">
                <a:extLst>
                  <a:ext uri="{FF2B5EF4-FFF2-40B4-BE49-F238E27FC236}">
                    <a16:creationId xmlns:a16="http://schemas.microsoft.com/office/drawing/2014/main" id="{679C2A4A-EE9E-870A-D648-8E4206ED5353}"/>
                  </a:ext>
                </a:extLst>
              </p:cNvPr>
              <p:cNvSpPr/>
              <p:nvPr/>
            </p:nvSpPr>
            <p:spPr>
              <a:xfrm>
                <a:off x="3955161" y="2251895"/>
                <a:ext cx="248408" cy="551508"/>
              </a:xfrm>
              <a:custGeom>
                <a:avLst/>
                <a:gdLst>
                  <a:gd name="connsiteX0" fmla="*/ 241744 w 248408"/>
                  <a:gd name="connsiteY0" fmla="*/ 458539 h 551508"/>
                  <a:gd name="connsiteX1" fmla="*/ 246983 w 248408"/>
                  <a:gd name="connsiteY1" fmla="*/ 440822 h 551508"/>
                  <a:gd name="connsiteX2" fmla="*/ 208788 w 248408"/>
                  <a:gd name="connsiteY2" fmla="*/ 275754 h 551508"/>
                  <a:gd name="connsiteX3" fmla="*/ 246983 w 248408"/>
                  <a:gd name="connsiteY3" fmla="*/ 110686 h 551508"/>
                  <a:gd name="connsiteX4" fmla="*/ 241744 w 248408"/>
                  <a:gd name="connsiteY4" fmla="*/ 92969 h 551508"/>
                  <a:gd name="connsiteX5" fmla="*/ 83915 w 248408"/>
                  <a:gd name="connsiteY5" fmla="*/ 1815 h 551508"/>
                  <a:gd name="connsiteX6" fmla="*/ 65246 w 248408"/>
                  <a:gd name="connsiteY6" fmla="*/ 7149 h 551508"/>
                  <a:gd name="connsiteX7" fmla="*/ 0 w 248408"/>
                  <a:gd name="connsiteY7" fmla="*/ 275754 h 551508"/>
                  <a:gd name="connsiteX8" fmla="*/ 65246 w 248408"/>
                  <a:gd name="connsiteY8" fmla="*/ 544359 h 551508"/>
                  <a:gd name="connsiteX9" fmla="*/ 83915 w 248408"/>
                  <a:gd name="connsiteY9" fmla="*/ 549693 h 551508"/>
                  <a:gd name="connsiteX10" fmla="*/ 241744 w 248408"/>
                  <a:gd name="connsiteY10" fmla="*/ 458539 h 551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8408" h="551508">
                    <a:moveTo>
                      <a:pt x="241744" y="458539"/>
                    </a:moveTo>
                    <a:cubicBezTo>
                      <a:pt x="247936" y="454919"/>
                      <a:pt x="250126" y="447204"/>
                      <a:pt x="246983" y="440822"/>
                    </a:cubicBezTo>
                    <a:cubicBezTo>
                      <a:pt x="222599" y="391007"/>
                      <a:pt x="208788" y="335000"/>
                      <a:pt x="208788" y="275754"/>
                    </a:cubicBezTo>
                    <a:cubicBezTo>
                      <a:pt x="208788" y="216509"/>
                      <a:pt x="222504" y="160502"/>
                      <a:pt x="246983" y="110686"/>
                    </a:cubicBezTo>
                    <a:cubicBezTo>
                      <a:pt x="250126" y="104304"/>
                      <a:pt x="247936" y="96494"/>
                      <a:pt x="241744" y="92969"/>
                    </a:cubicBezTo>
                    <a:lnTo>
                      <a:pt x="83915" y="1815"/>
                    </a:lnTo>
                    <a:cubicBezTo>
                      <a:pt x="77343" y="-1995"/>
                      <a:pt x="68771" y="386"/>
                      <a:pt x="65246" y="7149"/>
                    </a:cubicBezTo>
                    <a:cubicBezTo>
                      <a:pt x="23527" y="87540"/>
                      <a:pt x="0" y="178885"/>
                      <a:pt x="0" y="275754"/>
                    </a:cubicBezTo>
                    <a:cubicBezTo>
                      <a:pt x="0" y="372623"/>
                      <a:pt x="23622" y="463968"/>
                      <a:pt x="65246" y="544359"/>
                    </a:cubicBezTo>
                    <a:cubicBezTo>
                      <a:pt x="68771" y="551122"/>
                      <a:pt x="77343" y="553503"/>
                      <a:pt x="83915" y="549693"/>
                    </a:cubicBezTo>
                    <a:lnTo>
                      <a:pt x="241744" y="458539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23" name="Rectángulo 22">
              <a:extLst>
                <a:ext uri="{FF2B5EF4-FFF2-40B4-BE49-F238E27FC236}">
                  <a16:creationId xmlns:a16="http://schemas.microsoft.com/office/drawing/2014/main" id="{3664DBD3-6EBE-536E-4EFE-4FAD00A59889}"/>
                </a:ext>
              </a:extLst>
            </p:cNvPr>
            <p:cNvSpPr/>
            <p:nvPr/>
          </p:nvSpPr>
          <p:spPr>
            <a:xfrm>
              <a:off x="1492873" y="701273"/>
              <a:ext cx="1568454" cy="30909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ts val="2800"/>
                </a:lnSpc>
              </a:pPr>
              <a:r>
                <a:rPr lang="en-US" sz="2500" b="0" i="0" spc="-60" noProof="1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  <a:t>Evolucionar</a:t>
              </a:r>
              <a:r>
                <a:rPr lang="en-US" sz="2500" b="0" i="0" noProof="1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  <a:t> </a:t>
              </a:r>
              <a:r>
                <a:rPr lang="en-US" sz="2500" b="0" i="0" spc="-60" noProof="1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  <a:t>Nuestro</a:t>
              </a:r>
              <a:br>
                <a:rPr lang="en-US" sz="2500" b="0" i="0" spc="-60" noProof="1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</a:br>
              <a:r>
                <a:rPr lang="en-US" sz="2500" b="0" i="0" spc="-60" noProof="1">
                  <a:solidFill>
                    <a:schemeClr val="bg2"/>
                  </a:solidFill>
                  <a:latin typeface="Pulso" pitchFamily="2" charset="0"/>
                  <a:ea typeface="Inter Light BETA" panose="020B0402030000000004" pitchFamily="34" charset="0"/>
                </a:rPr>
                <a:t>Negocio</a:t>
              </a:r>
              <a:r>
                <a:rPr lang="en-US" sz="2500" noProof="1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  <a:t> </a:t>
              </a:r>
              <a:r>
                <a:rPr lang="en-US" sz="2500" b="0" i="0" spc="-60" noProof="1">
                  <a:solidFill>
                    <a:schemeClr val="bg2"/>
                  </a:solidFill>
                  <a:latin typeface="Pulso" pitchFamily="2" charset="0"/>
                  <a:ea typeface="Inter Light BETA" panose="020B0402030000000004" pitchFamily="34" charset="0"/>
                </a:rPr>
                <a:t>Core</a:t>
              </a:r>
            </a:p>
          </p:txBody>
        </p:sp>
      </p:grpSp>
      <p:sp>
        <p:nvSpPr>
          <p:cNvPr id="47" name="Forma libre 46">
            <a:extLst>
              <a:ext uri="{FF2B5EF4-FFF2-40B4-BE49-F238E27FC236}">
                <a16:creationId xmlns:a16="http://schemas.microsoft.com/office/drawing/2014/main" id="{E33A85F7-5346-70DB-8E51-651AD652755A}"/>
              </a:ext>
            </a:extLst>
          </p:cNvPr>
          <p:cNvSpPr/>
          <p:nvPr/>
        </p:nvSpPr>
        <p:spPr>
          <a:xfrm>
            <a:off x="4783762" y="0"/>
            <a:ext cx="3438000" cy="5148000"/>
          </a:xfrm>
          <a:custGeom>
            <a:avLst/>
            <a:gdLst>
              <a:gd name="connsiteX0" fmla="*/ 0 w 3437719"/>
              <a:gd name="connsiteY0" fmla="*/ 0 h 5143500"/>
              <a:gd name="connsiteX1" fmla="*/ 2845711 w 3437719"/>
              <a:gd name="connsiteY1" fmla="*/ 0 h 5143500"/>
              <a:gd name="connsiteX2" fmla="*/ 2859164 w 3437719"/>
              <a:gd name="connsiteY2" fmla="*/ 26279 h 5143500"/>
              <a:gd name="connsiteX3" fmla="*/ 3437719 w 3437719"/>
              <a:gd name="connsiteY3" fmla="*/ 2571759 h 5143500"/>
              <a:gd name="connsiteX4" fmla="*/ 2859164 w 3437719"/>
              <a:gd name="connsiteY4" fmla="*/ 5109548 h 5143500"/>
              <a:gd name="connsiteX5" fmla="*/ 2841774 w 3437719"/>
              <a:gd name="connsiteY5" fmla="*/ 5143500 h 5143500"/>
              <a:gd name="connsiteX6" fmla="*/ 2 w 3437719"/>
              <a:gd name="connsiteY6" fmla="*/ 5143500 h 5143500"/>
              <a:gd name="connsiteX7" fmla="*/ 73187 w 3437719"/>
              <a:gd name="connsiteY7" fmla="*/ 5076984 h 5143500"/>
              <a:gd name="connsiteX8" fmla="*/ 1110970 w 3437719"/>
              <a:gd name="connsiteY8" fmla="*/ 2571759 h 5143500"/>
              <a:gd name="connsiteX9" fmla="*/ 73187 w 3437719"/>
              <a:gd name="connsiteY9" fmla="*/ 66518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37719" h="5143500">
                <a:moveTo>
                  <a:pt x="0" y="0"/>
                </a:moveTo>
                <a:lnTo>
                  <a:pt x="2845711" y="0"/>
                </a:lnTo>
                <a:lnTo>
                  <a:pt x="2859164" y="26279"/>
                </a:lnTo>
                <a:cubicBezTo>
                  <a:pt x="3229966" y="796168"/>
                  <a:pt x="3437719" y="1659563"/>
                  <a:pt x="3437719" y="2571759"/>
                </a:cubicBezTo>
                <a:cubicBezTo>
                  <a:pt x="3437719" y="3478995"/>
                  <a:pt x="3229966" y="4340218"/>
                  <a:pt x="2859164" y="5109548"/>
                </a:cubicBezTo>
                <a:lnTo>
                  <a:pt x="2841774" y="5143500"/>
                </a:lnTo>
                <a:lnTo>
                  <a:pt x="2" y="5143500"/>
                </a:lnTo>
                <a:lnTo>
                  <a:pt x="73187" y="5076984"/>
                </a:lnTo>
                <a:cubicBezTo>
                  <a:pt x="714366" y="4435804"/>
                  <a:pt x="1110970" y="3550051"/>
                  <a:pt x="1110970" y="2571759"/>
                </a:cubicBezTo>
                <a:cubicBezTo>
                  <a:pt x="1110970" y="1593458"/>
                  <a:pt x="714366" y="707700"/>
                  <a:pt x="73187" y="66518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grpSp>
        <p:nvGrpSpPr>
          <p:cNvPr id="59" name="Grupo 58">
            <a:extLst>
              <a:ext uri="{FF2B5EF4-FFF2-40B4-BE49-F238E27FC236}">
                <a16:creationId xmlns:a16="http://schemas.microsoft.com/office/drawing/2014/main" id="{713DAAA6-E6EF-9C87-54A1-4D3D4C94ECFC}"/>
              </a:ext>
            </a:extLst>
          </p:cNvPr>
          <p:cNvGrpSpPr/>
          <p:nvPr/>
        </p:nvGrpSpPr>
        <p:grpSpPr>
          <a:xfrm>
            <a:off x="117446" y="4735746"/>
            <a:ext cx="8906400" cy="268682"/>
            <a:chOff x="117446" y="4735746"/>
            <a:chExt cx="8906400" cy="268682"/>
          </a:xfrm>
        </p:grpSpPr>
        <p:sp>
          <p:nvSpPr>
            <p:cNvPr id="48" name="Rectángulo redondeado 47">
              <a:extLst>
                <a:ext uri="{FF2B5EF4-FFF2-40B4-BE49-F238E27FC236}">
                  <a16:creationId xmlns:a16="http://schemas.microsoft.com/office/drawing/2014/main" id="{E09684E9-3D5C-C7DE-35C7-D1479A11384B}"/>
                </a:ext>
              </a:extLst>
            </p:cNvPr>
            <p:cNvSpPr/>
            <p:nvPr/>
          </p:nvSpPr>
          <p:spPr>
            <a:xfrm>
              <a:off x="117446" y="4735746"/>
              <a:ext cx="8906400" cy="26868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lvl="0" algn="ctr">
                <a:spcBef>
                  <a:spcPts val="1000"/>
                </a:spcBef>
              </a:pPr>
              <a:endParaRPr lang="es-AR" sz="14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  <p:grpSp>
          <p:nvGrpSpPr>
            <p:cNvPr id="49" name="Gráfico 3">
              <a:extLst>
                <a:ext uri="{FF2B5EF4-FFF2-40B4-BE49-F238E27FC236}">
                  <a16:creationId xmlns:a16="http://schemas.microsoft.com/office/drawing/2014/main" id="{A72D9E3B-2E04-54C6-6D67-852564B6B8D0}"/>
                </a:ext>
              </a:extLst>
            </p:cNvPr>
            <p:cNvGrpSpPr/>
            <p:nvPr/>
          </p:nvGrpSpPr>
          <p:grpSpPr>
            <a:xfrm>
              <a:off x="8243851" y="4808412"/>
              <a:ext cx="549475" cy="126054"/>
              <a:chOff x="3835717" y="2907982"/>
              <a:chExt cx="4521517" cy="1037272"/>
            </a:xfrm>
            <a:solidFill>
              <a:schemeClr val="accent2"/>
            </a:solidFill>
          </p:grpSpPr>
          <p:sp>
            <p:nvSpPr>
              <p:cNvPr id="50" name="Forma libre 49">
                <a:extLst>
                  <a:ext uri="{FF2B5EF4-FFF2-40B4-BE49-F238E27FC236}">
                    <a16:creationId xmlns:a16="http://schemas.microsoft.com/office/drawing/2014/main" id="{C3A9F321-F0F3-48F8-66CF-F1F813933497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1" name="Forma libre 50">
                <a:extLst>
                  <a:ext uri="{FF2B5EF4-FFF2-40B4-BE49-F238E27FC236}">
                    <a16:creationId xmlns:a16="http://schemas.microsoft.com/office/drawing/2014/main" id="{31A42534-5563-1A98-F74E-05736548F66A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2" name="Forma libre 51">
                <a:extLst>
                  <a:ext uri="{FF2B5EF4-FFF2-40B4-BE49-F238E27FC236}">
                    <a16:creationId xmlns:a16="http://schemas.microsoft.com/office/drawing/2014/main" id="{DA3014BA-1E9F-D981-AB8A-7C8440EDFF44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3" name="Forma libre 52">
                <a:extLst>
                  <a:ext uri="{FF2B5EF4-FFF2-40B4-BE49-F238E27FC236}">
                    <a16:creationId xmlns:a16="http://schemas.microsoft.com/office/drawing/2014/main" id="{A555803E-D3A2-04F2-F9CE-EF474AE83D99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4" name="Forma libre 53">
                <a:extLst>
                  <a:ext uri="{FF2B5EF4-FFF2-40B4-BE49-F238E27FC236}">
                    <a16:creationId xmlns:a16="http://schemas.microsoft.com/office/drawing/2014/main" id="{4B7A2704-145C-9B5A-CA8A-5E3BA81699AA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5" name="Forma libre 54">
                <a:extLst>
                  <a:ext uri="{FF2B5EF4-FFF2-40B4-BE49-F238E27FC236}">
                    <a16:creationId xmlns:a16="http://schemas.microsoft.com/office/drawing/2014/main" id="{78199B29-D9F5-4BCE-89A0-3FA75EA3B476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6" name="Forma libre 55">
                <a:extLst>
                  <a:ext uri="{FF2B5EF4-FFF2-40B4-BE49-F238E27FC236}">
                    <a16:creationId xmlns:a16="http://schemas.microsoft.com/office/drawing/2014/main" id="{C8AA15A7-42E7-A4DD-3F55-5577012821DC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7" name="Forma libre 56">
                <a:extLst>
                  <a:ext uri="{FF2B5EF4-FFF2-40B4-BE49-F238E27FC236}">
                    <a16:creationId xmlns:a16="http://schemas.microsoft.com/office/drawing/2014/main" id="{EC7D07F7-0393-8726-58A6-1677CA161A75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58" name="Rectángulo 57">
              <a:extLst>
                <a:ext uri="{FF2B5EF4-FFF2-40B4-BE49-F238E27FC236}">
                  <a16:creationId xmlns:a16="http://schemas.microsoft.com/office/drawing/2014/main" id="{4324A054-F28C-C57E-A28E-05924E190FDF}"/>
                </a:ext>
              </a:extLst>
            </p:cNvPr>
            <p:cNvSpPr/>
            <p:nvPr/>
          </p:nvSpPr>
          <p:spPr>
            <a:xfrm>
              <a:off x="257485" y="4831799"/>
              <a:ext cx="1163588" cy="10464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l">
                <a:lnSpc>
                  <a:spcPct val="85000"/>
                </a:lnSpc>
              </a:pPr>
              <a:r>
                <a:rPr lang="es-ES_tradnl" sz="800" b="0" i="0" spc="-7" noProof="0">
                  <a:solidFill>
                    <a:schemeClr val="tx2"/>
                  </a:solidFill>
                  <a:latin typeface="Pulso Light" pitchFamily="2" charset="0"/>
                  <a:ea typeface="Inter Light BETA" panose="020B0402030000000004" pitchFamily="34" charset="0"/>
                </a:rPr>
                <a:t>Estrategia</a:t>
              </a:r>
              <a:r>
                <a:rPr lang="es-ES_tradnl" sz="800" b="0" i="0" spc="-7" noProof="0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  <a:t>  </a:t>
              </a:r>
              <a:r>
                <a:rPr lang="es-ES_tradnl" sz="800" b="1" i="0" spc="-7" noProof="0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  <a:t>2026  ·  2030</a:t>
              </a:r>
              <a:endPara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Extra Bold" panose="020B05020300000000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8067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9AF547-9C1C-8B3A-AB9B-DE20281E19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n 19">
            <a:extLst>
              <a:ext uri="{FF2B5EF4-FFF2-40B4-BE49-F238E27FC236}">
                <a16:creationId xmlns:a16="http://schemas.microsoft.com/office/drawing/2014/main" id="{8D08C3FA-0812-797F-4741-44C45BAB75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41" b="15141"/>
          <a:stretch/>
        </p:blipFill>
        <p:spPr>
          <a:xfrm>
            <a:off x="0" y="3035105"/>
            <a:ext cx="9144000" cy="2108396"/>
          </a:xfrm>
          <a:prstGeom prst="rect">
            <a:avLst/>
          </a:prstGeom>
        </p:spPr>
      </p:pic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BB7C321E-E3D0-8790-3BCA-1B29CA777C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782574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78" imgH="379" progId="TCLayout.ActiveDocument.1">
                  <p:embed/>
                </p:oleObj>
              </mc:Choice>
              <mc:Fallback>
                <p:oleObj name="Diapositiva de think-cell" r:id="rId5" imgW="378" imgH="379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7C321E-E3D0-8790-3BCA-1B29CA777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F43EF66C-9166-AAE3-2C53-3BAC353D21B5}"/>
              </a:ext>
            </a:extLst>
          </p:cNvPr>
          <p:cNvSpPr txBox="1">
            <a:spLocks/>
          </p:cNvSpPr>
          <p:nvPr/>
        </p:nvSpPr>
        <p:spPr>
          <a:xfrm>
            <a:off x="540657" y="606143"/>
            <a:ext cx="3956532" cy="718145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tx2"/>
                </a:solidFill>
                <a:latin typeface="Pulso Light" pitchFamily="2" charset="0"/>
              </a:rPr>
              <a:t>Consolidar posiciones</a:t>
            </a:r>
            <a:br>
              <a:rPr lang="es-ES_tradnl" sz="2500" b="0" noProof="0">
                <a:solidFill>
                  <a:schemeClr val="tx2"/>
                </a:solidFill>
                <a:latin typeface="Pulso Light" pitchFamily="2" charset="0"/>
              </a:rPr>
            </a:br>
            <a:r>
              <a:rPr lang="es-ES_tradnl" sz="2500" b="0" noProof="0">
                <a:solidFill>
                  <a:schemeClr val="bg2"/>
                </a:solidFill>
                <a:latin typeface="Pulso Light" pitchFamily="2" charset="0"/>
              </a:rPr>
              <a:t>estratégicas en Negocio Core</a:t>
            </a:r>
          </a:p>
        </p:txBody>
      </p:sp>
      <p:sp>
        <p:nvSpPr>
          <p:cNvPr id="2" name="Marcador de texto 8">
            <a:extLst>
              <a:ext uri="{FF2B5EF4-FFF2-40B4-BE49-F238E27FC236}">
                <a16:creationId xmlns:a16="http://schemas.microsoft.com/office/drawing/2014/main" id="{91F33F51-1946-9C91-3604-B6EB41537547}"/>
              </a:ext>
            </a:extLst>
          </p:cNvPr>
          <p:cNvSpPr txBox="1">
            <a:spLocks/>
          </p:cNvSpPr>
          <p:nvPr/>
        </p:nvSpPr>
        <p:spPr>
          <a:xfrm>
            <a:off x="717850" y="1584260"/>
            <a:ext cx="3189865" cy="12167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>
                <a:schemeClr val="bg2"/>
              </a:buClr>
              <a:buFont typeface="+mj-lt"/>
              <a:buAutoNum type="arabicPeriod"/>
            </a:pPr>
            <a:r>
              <a:rPr lang="es-AR" sz="1200" spc="-15">
                <a:latin typeface="Pulso Light" pitchFamily="2" charset="0"/>
                <a:ea typeface="Open Sans Light"/>
                <a:cs typeface="Open Sans Light"/>
              </a:rPr>
              <a:t>Liderar NPS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>
                <a:schemeClr val="bg2"/>
              </a:buClr>
              <a:buFont typeface="+mj-lt"/>
              <a:buAutoNum type="arabicPeriod"/>
            </a:pPr>
            <a:r>
              <a:rPr lang="es-AR" sz="1200" spc="-15">
                <a:latin typeface="Pulso Light" pitchFamily="2" charset="0"/>
                <a:ea typeface="Open Sans Light"/>
                <a:cs typeface="Open Sans Light"/>
              </a:rPr>
              <a:t>Continuar con el despliegue 5G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>
                <a:schemeClr val="bg2"/>
              </a:buClr>
              <a:buFont typeface="+mj-lt"/>
              <a:buAutoNum type="arabicPeriod"/>
            </a:pPr>
            <a:r>
              <a:rPr lang="es-AR" sz="1200" spc="-15">
                <a:latin typeface="Pulso Light" pitchFamily="2" charset="0"/>
                <a:ea typeface="Open Sans Light"/>
                <a:cs typeface="Open Sans Light"/>
              </a:rPr>
              <a:t>Acelerar despliegue FTTH y Overlay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>
                <a:schemeClr val="bg2"/>
              </a:buClr>
              <a:buFont typeface="+mj-lt"/>
              <a:buAutoNum type="arabicPeriod"/>
            </a:pPr>
            <a:r>
              <a:rPr lang="es-AR" sz="1200" spc="-15">
                <a:latin typeface="Pulso Light" pitchFamily="2" charset="0"/>
                <a:ea typeface="Open Sans Light"/>
                <a:cs typeface="Open Sans Light"/>
              </a:rPr>
              <a:t>Liderar Relacionamiento</a:t>
            </a:r>
          </a:p>
        </p:txBody>
      </p:sp>
      <p:sp>
        <p:nvSpPr>
          <p:cNvPr id="3" name="Rectángulo redondeado 2">
            <a:extLst>
              <a:ext uri="{FF2B5EF4-FFF2-40B4-BE49-F238E27FC236}">
                <a16:creationId xmlns:a16="http://schemas.microsoft.com/office/drawing/2014/main" id="{37F912B1-993F-375F-1743-36AC88B28A91}"/>
              </a:ext>
            </a:extLst>
          </p:cNvPr>
          <p:cNvSpPr/>
          <p:nvPr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5" name="Gráfico 3">
            <a:extLst>
              <a:ext uri="{FF2B5EF4-FFF2-40B4-BE49-F238E27FC236}">
                <a16:creationId xmlns:a16="http://schemas.microsoft.com/office/drawing/2014/main" id="{6903C038-418D-756A-8EDC-FC643459A44C}"/>
              </a:ext>
            </a:extLst>
          </p:cNvPr>
          <p:cNvGrpSpPr/>
          <p:nvPr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6" name="Forma libre 5">
              <a:extLst>
                <a:ext uri="{FF2B5EF4-FFF2-40B4-BE49-F238E27FC236}">
                  <a16:creationId xmlns:a16="http://schemas.microsoft.com/office/drawing/2014/main" id="{A64327AE-3105-068D-BFCC-EC63CA368B85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B39649B2-FD36-54DC-5A15-D10BC9E540C7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6F30E710-A0E6-2307-5FB2-11B767AE4E9C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4E6B93B4-A8AC-B2BC-18E2-0B14A4535E42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EB07636C-A986-E301-F11C-AD9EE373A7C8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2" name="Forma libre 11">
              <a:extLst>
                <a:ext uri="{FF2B5EF4-FFF2-40B4-BE49-F238E27FC236}">
                  <a16:creationId xmlns:a16="http://schemas.microsoft.com/office/drawing/2014/main" id="{85FE9828-9CD9-2EE7-8673-8E10563969A7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4A774FE5-07AB-B999-A1DA-3C17DCC3F61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6A628CFF-D213-89D9-6674-9776C5C69636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15" name="Rectángulo 14">
            <a:extLst>
              <a:ext uri="{FF2B5EF4-FFF2-40B4-BE49-F238E27FC236}">
                <a16:creationId xmlns:a16="http://schemas.microsoft.com/office/drawing/2014/main" id="{77068278-7D12-CC3E-F0BA-A94E6AC80CF7}"/>
              </a:ext>
            </a:extLst>
          </p:cNvPr>
          <p:cNvSpPr/>
          <p:nvPr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0666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51B52-B6F3-B611-D090-651E9350DA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redondeado 11">
            <a:extLst>
              <a:ext uri="{FF2B5EF4-FFF2-40B4-BE49-F238E27FC236}">
                <a16:creationId xmlns:a16="http://schemas.microsoft.com/office/drawing/2014/main" id="{C2A76BB3-947C-B90F-9867-2BCD655CA7E8}"/>
              </a:ext>
            </a:extLst>
          </p:cNvPr>
          <p:cNvSpPr>
            <a:spLocks/>
          </p:cNvSpPr>
          <p:nvPr/>
        </p:nvSpPr>
        <p:spPr>
          <a:xfrm>
            <a:off x="540659" y="1547720"/>
            <a:ext cx="2493284" cy="3047254"/>
          </a:xfrm>
          <a:prstGeom prst="roundRect">
            <a:avLst>
              <a:gd name="adj" fmla="val 2825"/>
            </a:avLst>
          </a:prstGeom>
          <a:solidFill>
            <a:srgbClr val="FFFFFF"/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79" name="Rectángulo redondeado 78">
            <a:extLst>
              <a:ext uri="{FF2B5EF4-FFF2-40B4-BE49-F238E27FC236}">
                <a16:creationId xmlns:a16="http://schemas.microsoft.com/office/drawing/2014/main" id="{095F42C4-4FE3-2D3C-9B5D-AF15608D1F64}"/>
              </a:ext>
            </a:extLst>
          </p:cNvPr>
          <p:cNvSpPr/>
          <p:nvPr/>
        </p:nvSpPr>
        <p:spPr>
          <a:xfrm>
            <a:off x="5761075" y="1544474"/>
            <a:ext cx="2241903" cy="3047254"/>
          </a:xfrm>
          <a:prstGeom prst="roundRect">
            <a:avLst>
              <a:gd name="adj" fmla="val 2854"/>
            </a:avLst>
          </a:prstGeom>
          <a:solidFill>
            <a:srgbClr val="FFFFFF"/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8EF8A509-7975-54B9-E8C8-EBB865A67821}"/>
              </a:ext>
            </a:extLst>
          </p:cNvPr>
          <p:cNvSpPr txBox="1">
            <a:spLocks/>
          </p:cNvSpPr>
          <p:nvPr/>
        </p:nvSpPr>
        <p:spPr>
          <a:xfrm>
            <a:off x="540657" y="606143"/>
            <a:ext cx="4725333" cy="718145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tx2"/>
                </a:solidFill>
                <a:latin typeface="Pulso Light" pitchFamily="2" charset="0"/>
              </a:rPr>
              <a:t>Mejorar experiencia y servicio móvil:</a:t>
            </a:r>
            <a:br>
              <a:rPr lang="es-ES_tradnl" sz="2500" b="0" noProof="0">
                <a:solidFill>
                  <a:schemeClr val="tx2"/>
                </a:solidFill>
                <a:latin typeface="Pulso Light" pitchFamily="2" charset="0"/>
              </a:rPr>
            </a:br>
            <a:r>
              <a:rPr lang="es-ES_tradnl" sz="2500" b="0" noProof="0">
                <a:solidFill>
                  <a:schemeClr val="bg2"/>
                </a:solidFill>
                <a:latin typeface="Pulso Light" pitchFamily="2" charset="0"/>
              </a:rPr>
              <a:t>Mayor NPS</a:t>
            </a: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E7B48200-7DF9-6EF8-2D39-75078929089C}"/>
              </a:ext>
            </a:extLst>
          </p:cNvPr>
          <p:cNvGrpSpPr/>
          <p:nvPr/>
        </p:nvGrpSpPr>
        <p:grpSpPr>
          <a:xfrm>
            <a:off x="7929428" y="2866384"/>
            <a:ext cx="763210" cy="1726338"/>
            <a:chOff x="8054788" y="2716994"/>
            <a:chExt cx="763210" cy="1726338"/>
          </a:xfrm>
        </p:grpSpPr>
        <p:pic>
          <p:nvPicPr>
            <p:cNvPr id="34" name="Picture 2" descr="Success Story #2 - Speedtest by Ookla | AppInChina">
              <a:extLst>
                <a:ext uri="{FF2B5EF4-FFF2-40B4-BE49-F238E27FC236}">
                  <a16:creationId xmlns:a16="http://schemas.microsoft.com/office/drawing/2014/main" id="{A4A270D9-6F9A-026F-911D-D296D0BAE2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83380" y="4214192"/>
              <a:ext cx="572854" cy="229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Imagen 34">
              <a:extLst>
                <a:ext uri="{FF2B5EF4-FFF2-40B4-BE49-F238E27FC236}">
                  <a16:creationId xmlns:a16="http://schemas.microsoft.com/office/drawing/2014/main" id="{2360F5F5-F02F-62B2-A13D-68904E6E3E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7064" r="12755"/>
            <a:stretch>
              <a:fillRect/>
            </a:stretch>
          </p:blipFill>
          <p:spPr>
            <a:xfrm>
              <a:off x="8054788" y="2716994"/>
              <a:ext cx="763210" cy="1434151"/>
            </a:xfrm>
            <a:prstGeom prst="roundRect">
              <a:avLst>
                <a:gd name="adj" fmla="val 4617"/>
              </a:avLst>
            </a:prstGeom>
          </p:spPr>
        </p:pic>
      </p:grpSp>
      <p:sp>
        <p:nvSpPr>
          <p:cNvPr id="100" name="CuadroTexto 99">
            <a:extLst>
              <a:ext uri="{FF2B5EF4-FFF2-40B4-BE49-F238E27FC236}">
                <a16:creationId xmlns:a16="http://schemas.microsoft.com/office/drawing/2014/main" id="{7C85EB75-7148-0C19-0030-59D8C175E107}"/>
              </a:ext>
            </a:extLst>
          </p:cNvPr>
          <p:cNvSpPr txBox="1"/>
          <p:nvPr/>
        </p:nvSpPr>
        <p:spPr>
          <a:xfrm>
            <a:off x="5868064" y="4363582"/>
            <a:ext cx="444234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600" i="1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t>Ref: Q3 2025</a:t>
            </a:r>
          </a:p>
        </p:txBody>
      </p:sp>
      <p:sp>
        <p:nvSpPr>
          <p:cNvPr id="3" name="Rectángulo redondeado 2">
            <a:extLst>
              <a:ext uri="{FF2B5EF4-FFF2-40B4-BE49-F238E27FC236}">
                <a16:creationId xmlns:a16="http://schemas.microsoft.com/office/drawing/2014/main" id="{56EA437E-862D-7D0A-B345-2B7194FDB108}"/>
              </a:ext>
            </a:extLst>
          </p:cNvPr>
          <p:cNvSpPr>
            <a:spLocks/>
          </p:cNvSpPr>
          <p:nvPr/>
        </p:nvSpPr>
        <p:spPr>
          <a:xfrm>
            <a:off x="3104687" y="1547720"/>
            <a:ext cx="2493284" cy="3043878"/>
          </a:xfrm>
          <a:prstGeom prst="roundRect">
            <a:avLst>
              <a:gd name="adj" fmla="val 2825"/>
            </a:avLst>
          </a:prstGeom>
          <a:solidFill>
            <a:srgbClr val="FFFFFF"/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graphicFrame>
        <p:nvGraphicFramePr>
          <p:cNvPr id="8" name="Gráfico 7">
            <a:extLst>
              <a:ext uri="{FF2B5EF4-FFF2-40B4-BE49-F238E27FC236}">
                <a16:creationId xmlns:a16="http://schemas.microsoft.com/office/drawing/2014/main" id="{E1D79BA4-74DA-E7A1-6487-BD8B0C531E8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5393004"/>
              </p:ext>
            </p:extLst>
          </p:nvPr>
        </p:nvGraphicFramePr>
        <p:xfrm>
          <a:off x="5868064" y="1857018"/>
          <a:ext cx="2022474" cy="2506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F47569AB-9D3C-57E5-2273-97515DF3410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13213219"/>
              </p:ext>
            </p:extLst>
          </p:nvPr>
        </p:nvGraphicFramePr>
        <p:xfrm>
          <a:off x="646945" y="1675448"/>
          <a:ext cx="2271184" cy="2892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7CE7EAAC-D5F9-56D7-3CE3-E1BA38AFCA49}"/>
              </a:ext>
            </a:extLst>
          </p:cNvPr>
          <p:cNvSpPr txBox="1">
            <a:spLocks/>
          </p:cNvSpPr>
          <p:nvPr/>
        </p:nvSpPr>
        <p:spPr>
          <a:xfrm>
            <a:off x="537891" y="1687506"/>
            <a:ext cx="2493284" cy="16927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100" b="0" spc="0" noProof="0">
                <a:solidFill>
                  <a:schemeClr val="tx2"/>
                </a:solidFill>
              </a:rPr>
              <a:t>NPS Móvil Personal</a:t>
            </a:r>
          </a:p>
        </p:txBody>
      </p:sp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B5822FE8-B440-F819-9728-7DB40845967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59699801"/>
              </p:ext>
            </p:extLst>
          </p:nvPr>
        </p:nvGraphicFramePr>
        <p:xfrm>
          <a:off x="3217380" y="1671472"/>
          <a:ext cx="2269480" cy="2892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E178ADFC-C587-3C1E-DE84-952BD3872572}"/>
              </a:ext>
            </a:extLst>
          </p:cNvPr>
          <p:cNvSpPr txBox="1">
            <a:spLocks/>
          </p:cNvSpPr>
          <p:nvPr/>
        </p:nvSpPr>
        <p:spPr>
          <a:xfrm>
            <a:off x="3110138" y="1685254"/>
            <a:ext cx="2493284" cy="16927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100" b="0" spc="0" noProof="0">
                <a:solidFill>
                  <a:schemeClr val="tx2"/>
                </a:solidFill>
              </a:rPr>
              <a:t>NPS Móvil Movistar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D47B9-BC02-0307-59D2-48CA1D38B52A}"/>
              </a:ext>
            </a:extLst>
          </p:cNvPr>
          <p:cNvSpPr txBox="1">
            <a:spLocks/>
          </p:cNvSpPr>
          <p:nvPr/>
        </p:nvSpPr>
        <p:spPr>
          <a:xfrm>
            <a:off x="5765873" y="1687506"/>
            <a:ext cx="2237105" cy="16927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100" b="0" spc="0" noProof="0">
                <a:solidFill>
                  <a:schemeClr val="tx2"/>
                </a:solidFill>
              </a:rPr>
              <a:t>OOKLA</a:t>
            </a:r>
          </a:p>
        </p:txBody>
      </p:sp>
      <p:grpSp>
        <p:nvGrpSpPr>
          <p:cNvPr id="28" name="Grupo 27">
            <a:extLst>
              <a:ext uri="{FF2B5EF4-FFF2-40B4-BE49-F238E27FC236}">
                <a16:creationId xmlns:a16="http://schemas.microsoft.com/office/drawing/2014/main" id="{6E82E38A-7074-C8F0-07A4-E554EE32FFE6}"/>
              </a:ext>
            </a:extLst>
          </p:cNvPr>
          <p:cNvGrpSpPr/>
          <p:nvPr/>
        </p:nvGrpSpPr>
        <p:grpSpPr>
          <a:xfrm rot="197447">
            <a:off x="7462978" y="1461644"/>
            <a:ext cx="1080000" cy="1080000"/>
            <a:chOff x="7382985" y="1323145"/>
            <a:chExt cx="1080000" cy="1080000"/>
          </a:xfrm>
        </p:grpSpPr>
        <p:grpSp>
          <p:nvGrpSpPr>
            <p:cNvPr id="27" name="Grupo 26">
              <a:extLst>
                <a:ext uri="{FF2B5EF4-FFF2-40B4-BE49-F238E27FC236}">
                  <a16:creationId xmlns:a16="http://schemas.microsoft.com/office/drawing/2014/main" id="{02F0F557-0036-B815-C15A-54074970E95E}"/>
                </a:ext>
              </a:extLst>
            </p:cNvPr>
            <p:cNvGrpSpPr/>
            <p:nvPr/>
          </p:nvGrpSpPr>
          <p:grpSpPr>
            <a:xfrm>
              <a:off x="7382985" y="1323145"/>
              <a:ext cx="1080000" cy="1080000"/>
              <a:chOff x="7382985" y="1323145"/>
              <a:chExt cx="1080000" cy="1080000"/>
            </a:xfrm>
          </p:grpSpPr>
          <p:sp>
            <p:nvSpPr>
              <p:cNvPr id="43" name="Elipse 42">
                <a:extLst>
                  <a:ext uri="{FF2B5EF4-FFF2-40B4-BE49-F238E27FC236}">
                    <a16:creationId xmlns:a16="http://schemas.microsoft.com/office/drawing/2014/main" id="{81820322-414A-C73C-FFB0-2AFFE1ADF45D}"/>
                  </a:ext>
                </a:extLst>
              </p:cNvPr>
              <p:cNvSpPr/>
              <p:nvPr/>
            </p:nvSpPr>
            <p:spPr>
              <a:xfrm>
                <a:off x="7382985" y="1323145"/>
                <a:ext cx="1080000" cy="1080000"/>
              </a:xfrm>
              <a:prstGeom prst="ellipse">
                <a:avLst/>
              </a:prstGeom>
              <a:solidFill>
                <a:schemeClr val="tx1"/>
              </a:solidFill>
              <a:ln w="38100" cap="rnd" cmpd="sng">
                <a:noFill/>
                <a:prstDash val="solid"/>
                <a:miter lim="800000"/>
              </a:ln>
              <a:effectLst>
                <a:outerShdw blurRad="38100" dist="12700" dir="5400000" algn="t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noAutofit/>
              </a:bodyPr>
              <a:lstStyle/>
              <a:p>
                <a:pPr algn="ctr">
                  <a:spcBef>
                    <a:spcPts val="750"/>
                  </a:spcBef>
                </a:pPr>
                <a:endParaRPr lang="es-ES_tradnl" sz="1050" b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44" name="Grupo 43">
                <a:extLst>
                  <a:ext uri="{FF2B5EF4-FFF2-40B4-BE49-F238E27FC236}">
                    <a16:creationId xmlns:a16="http://schemas.microsoft.com/office/drawing/2014/main" id="{DE45779A-08CF-740C-3633-B8E6EA34B91F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7413612" y="1353772"/>
                <a:ext cx="1018746" cy="1018746"/>
                <a:chOff x="5127878" y="229727"/>
                <a:chExt cx="965990" cy="965990"/>
              </a:xfrm>
            </p:grpSpPr>
            <p:sp>
              <p:nvSpPr>
                <p:cNvPr id="70" name="Elipse 69">
                  <a:extLst>
                    <a:ext uri="{FF2B5EF4-FFF2-40B4-BE49-F238E27FC236}">
                      <a16:creationId xmlns:a16="http://schemas.microsoft.com/office/drawing/2014/main" id="{0DCCC86C-5255-8BB6-F3A3-DAC4091234FE}"/>
                    </a:ext>
                  </a:extLst>
                </p:cNvPr>
                <p:cNvSpPr/>
                <p:nvPr/>
              </p:nvSpPr>
              <p:spPr>
                <a:xfrm>
                  <a:off x="5127878" y="229727"/>
                  <a:ext cx="965990" cy="965990"/>
                </a:xfrm>
                <a:prstGeom prst="ellipse">
                  <a:avLst/>
                </a:prstGeom>
                <a:noFill/>
                <a:ln w="12700" cap="rnd" cmpd="sng">
                  <a:solidFill>
                    <a:srgbClr val="FFFFFF"/>
                  </a:solidFill>
                  <a:prstDash val="sysDot"/>
                  <a:miter lim="800000"/>
                </a:ln>
                <a:effectLst>
                  <a:outerShdw blurRad="38100" dist="12700" dir="5400000" algn="t" rotWithShape="0">
                    <a:prstClr val="black">
                      <a:alpha val="15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t">
                  <a:noAutofit/>
                </a:bodyPr>
                <a:lstStyle/>
                <a:p>
                  <a:pPr algn="ctr">
                    <a:spcBef>
                      <a:spcPts val="750"/>
                    </a:spcBef>
                  </a:pPr>
                  <a:endParaRPr lang="es-ES_tradnl" sz="1050" b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1" name="Elipse 70">
                  <a:extLst>
                    <a:ext uri="{FF2B5EF4-FFF2-40B4-BE49-F238E27FC236}">
                      <a16:creationId xmlns:a16="http://schemas.microsoft.com/office/drawing/2014/main" id="{2B4BC67A-5763-D781-691D-B993763667DA}"/>
                    </a:ext>
                  </a:extLst>
                </p:cNvPr>
                <p:cNvSpPr/>
                <p:nvPr/>
              </p:nvSpPr>
              <p:spPr>
                <a:xfrm>
                  <a:off x="5151022" y="252871"/>
                  <a:ext cx="919702" cy="919702"/>
                </a:xfrm>
                <a:prstGeom prst="ellipse">
                  <a:avLst/>
                </a:prstGeom>
                <a:noFill/>
                <a:ln w="12700" cap="rnd" cmpd="sng">
                  <a:solidFill>
                    <a:srgbClr val="FFFFFF"/>
                  </a:solidFill>
                  <a:prstDash val="sysDot"/>
                  <a:miter lim="800000"/>
                </a:ln>
                <a:effectLst>
                  <a:outerShdw blurRad="38100" dist="12700" dir="5400000" algn="t" rotWithShape="0">
                    <a:prstClr val="black">
                      <a:alpha val="15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t">
                  <a:noAutofit/>
                </a:bodyPr>
                <a:lstStyle/>
                <a:p>
                  <a:pPr algn="ctr">
                    <a:spcBef>
                      <a:spcPts val="750"/>
                    </a:spcBef>
                  </a:pPr>
                  <a:endParaRPr lang="es-ES_tradnl" sz="1050" b="1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6" name="Gráfico 3">
              <a:extLst>
                <a:ext uri="{FF2B5EF4-FFF2-40B4-BE49-F238E27FC236}">
                  <a16:creationId xmlns:a16="http://schemas.microsoft.com/office/drawing/2014/main" id="{80843469-8766-0B51-5C24-A3F4BFA63560}"/>
                </a:ext>
              </a:extLst>
            </p:cNvPr>
            <p:cNvGrpSpPr/>
            <p:nvPr/>
          </p:nvGrpSpPr>
          <p:grpSpPr>
            <a:xfrm>
              <a:off x="7584854" y="1647078"/>
              <a:ext cx="676262" cy="155140"/>
              <a:chOff x="3835717" y="2907982"/>
              <a:chExt cx="4521517" cy="1037272"/>
            </a:xfrm>
            <a:solidFill>
              <a:srgbClr val="00B8EB"/>
            </a:solidFill>
          </p:grpSpPr>
          <p:sp>
            <p:nvSpPr>
              <p:cNvPr id="17" name="Forma libre 16">
                <a:extLst>
                  <a:ext uri="{FF2B5EF4-FFF2-40B4-BE49-F238E27FC236}">
                    <a16:creationId xmlns:a16="http://schemas.microsoft.com/office/drawing/2014/main" id="{B215390F-43A2-5A00-2468-2CF42FF4DF60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solidFill>
                <a:srgbClr val="00B8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8" name="Forma libre 17">
                <a:extLst>
                  <a:ext uri="{FF2B5EF4-FFF2-40B4-BE49-F238E27FC236}">
                    <a16:creationId xmlns:a16="http://schemas.microsoft.com/office/drawing/2014/main" id="{B3321E12-E391-8ADC-DC87-04F86E51B85B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solidFill>
                <a:srgbClr val="00B8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9" name="Forma libre 18">
                <a:extLst>
                  <a:ext uri="{FF2B5EF4-FFF2-40B4-BE49-F238E27FC236}">
                    <a16:creationId xmlns:a16="http://schemas.microsoft.com/office/drawing/2014/main" id="{2BAF2537-3F49-519F-B71B-55E17DDC1F74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solidFill>
                <a:srgbClr val="00B8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0" name="Forma libre 19">
                <a:extLst>
                  <a:ext uri="{FF2B5EF4-FFF2-40B4-BE49-F238E27FC236}">
                    <a16:creationId xmlns:a16="http://schemas.microsoft.com/office/drawing/2014/main" id="{D1D0F697-FB2A-AC06-7D11-7D81DF0B5816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solidFill>
                <a:srgbClr val="00B8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1" name="Forma libre 20">
                <a:extLst>
                  <a:ext uri="{FF2B5EF4-FFF2-40B4-BE49-F238E27FC236}">
                    <a16:creationId xmlns:a16="http://schemas.microsoft.com/office/drawing/2014/main" id="{C1F07AED-9D82-4C37-E70E-54A6FCBE07BC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solidFill>
                <a:srgbClr val="00B8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3" name="Forma libre 22">
                <a:extLst>
                  <a:ext uri="{FF2B5EF4-FFF2-40B4-BE49-F238E27FC236}">
                    <a16:creationId xmlns:a16="http://schemas.microsoft.com/office/drawing/2014/main" id="{D8B555A8-7532-5846-2B1F-D9383BE0B018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solidFill>
                <a:srgbClr val="00B8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4" name="Forma libre 23">
                <a:extLst>
                  <a:ext uri="{FF2B5EF4-FFF2-40B4-BE49-F238E27FC236}">
                    <a16:creationId xmlns:a16="http://schemas.microsoft.com/office/drawing/2014/main" id="{7E3DB5F5-BF09-4D0A-4C8A-2C8CEB02FA80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solidFill>
                <a:srgbClr val="00B8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5" name="Forma libre 24">
                <a:extLst>
                  <a:ext uri="{FF2B5EF4-FFF2-40B4-BE49-F238E27FC236}">
                    <a16:creationId xmlns:a16="http://schemas.microsoft.com/office/drawing/2014/main" id="{BC4002BC-BDCB-8D10-8CE5-72BA1C10919E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solidFill>
                <a:srgbClr val="00B8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26" name="CuadroTexto 25">
              <a:extLst>
                <a:ext uri="{FF2B5EF4-FFF2-40B4-BE49-F238E27FC236}">
                  <a16:creationId xmlns:a16="http://schemas.microsoft.com/office/drawing/2014/main" id="{EEC1A6E7-F05A-0FF6-8918-F34094A34767}"/>
                </a:ext>
              </a:extLst>
            </p:cNvPr>
            <p:cNvSpPr txBox="1"/>
            <p:nvPr/>
          </p:nvSpPr>
          <p:spPr>
            <a:xfrm>
              <a:off x="7538901" y="1868943"/>
              <a:ext cx="768169" cy="36933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3pPr marL="2381" lvl="2" algn="ctr" defTabSz="482225" fontAlgn="auto">
                <a:spcBef>
                  <a:spcPts val="0"/>
                </a:spcBef>
                <a:spcAft>
                  <a:spcPts val="633"/>
                </a:spcAft>
                <a:buClr>
                  <a:srgbClr val="A905B7">
                    <a:lumMod val="75000"/>
                  </a:srgbClr>
                </a:buClr>
                <a:defRPr sz="600">
                  <a:solidFill>
                    <a:srgbClr val="FFFFFF"/>
                  </a:solidFill>
                  <a:latin typeface="Pulso Light" pitchFamily="2" charset="0"/>
                  <a:ea typeface="Roboto" panose="02000000000000000000" pitchFamily="2" charset="0"/>
                </a:defRPr>
              </a:lvl3pPr>
            </a:lstStyle>
            <a:p>
              <a:pPr algn="ctr"/>
              <a:r>
                <a:rPr lang="es-ES_tradnl" sz="600">
                  <a:solidFill>
                    <a:schemeClr val="bg1"/>
                  </a:solidFill>
                  <a:latin typeface="Pulso Light" pitchFamily="2" charset="0"/>
                </a:rPr>
                <a:t>Seleccionada como una de las 10 marcas más valoradas de Argentina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86329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AE4D1F-132D-F485-1F62-7CA4854471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upo 38">
            <a:extLst>
              <a:ext uri="{FF2B5EF4-FFF2-40B4-BE49-F238E27FC236}">
                <a16:creationId xmlns:a16="http://schemas.microsoft.com/office/drawing/2014/main" id="{C55879AC-332E-CD27-E9F1-C6B898C869DF}"/>
              </a:ext>
            </a:extLst>
          </p:cNvPr>
          <p:cNvGrpSpPr/>
          <p:nvPr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40" name="Rectángulo 39">
              <a:extLst>
                <a:ext uri="{FF2B5EF4-FFF2-40B4-BE49-F238E27FC236}">
                  <a16:creationId xmlns:a16="http://schemas.microsoft.com/office/drawing/2014/main" id="{C3E44C01-E70F-8892-EF97-4D40BBA0AB4C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_tradnl" sz="670">
                <a:latin typeface="Pulso" pitchFamily="2" charset="0"/>
              </a:endParaRPr>
            </a:p>
          </p:txBody>
        </p:sp>
        <p:sp>
          <p:nvSpPr>
            <p:cNvPr id="41" name="Rectángulo 40">
              <a:extLst>
                <a:ext uri="{FF2B5EF4-FFF2-40B4-BE49-F238E27FC236}">
                  <a16:creationId xmlns:a16="http://schemas.microsoft.com/office/drawing/2014/main" id="{6D3BF853-8DD2-6A16-C381-AB8C39BA66FB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670">
                <a:latin typeface="Pulso" pitchFamily="2" charset="0"/>
              </a:endParaRPr>
            </a:p>
          </p:txBody>
        </p:sp>
        <p:sp>
          <p:nvSpPr>
            <p:cNvPr id="42" name="Rectángulo 41">
              <a:extLst>
                <a:ext uri="{FF2B5EF4-FFF2-40B4-BE49-F238E27FC236}">
                  <a16:creationId xmlns:a16="http://schemas.microsoft.com/office/drawing/2014/main" id="{D939EE43-066E-A311-6550-A47F92891158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670">
                <a:latin typeface="Pulso" pitchFamily="2" charset="0"/>
              </a:endParaRPr>
            </a:p>
          </p:txBody>
        </p:sp>
      </p:grpSp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85462512-5572-2AB2-7E86-37E298ADE535}"/>
              </a:ext>
            </a:extLst>
          </p:cNvPr>
          <p:cNvSpPr/>
          <p:nvPr/>
        </p:nvSpPr>
        <p:spPr>
          <a:xfrm>
            <a:off x="5634011" y="1246931"/>
            <a:ext cx="2969333" cy="3267521"/>
          </a:xfrm>
          <a:prstGeom prst="roundRect">
            <a:avLst>
              <a:gd name="adj" fmla="val 2316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F7A9659D-BF2E-10B2-9D2D-A31A5AFB804C}"/>
              </a:ext>
            </a:extLst>
          </p:cNvPr>
          <p:cNvSpPr>
            <a:spLocks/>
          </p:cNvSpPr>
          <p:nvPr/>
        </p:nvSpPr>
        <p:spPr>
          <a:xfrm>
            <a:off x="540657" y="1246932"/>
            <a:ext cx="5021093" cy="3267521"/>
          </a:xfrm>
          <a:prstGeom prst="roundRect">
            <a:avLst>
              <a:gd name="adj" fmla="val 1975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graphicFrame>
        <p:nvGraphicFramePr>
          <p:cNvPr id="23" name="Gráfico 22">
            <a:extLst>
              <a:ext uri="{FF2B5EF4-FFF2-40B4-BE49-F238E27FC236}">
                <a16:creationId xmlns:a16="http://schemas.microsoft.com/office/drawing/2014/main" id="{ADD4F82D-0732-6002-C97A-297390238F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6079961"/>
              </p:ext>
            </p:extLst>
          </p:nvPr>
        </p:nvGraphicFramePr>
        <p:xfrm>
          <a:off x="529581" y="1657240"/>
          <a:ext cx="4911876" cy="12831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4" name="CuadroTexto 1">
            <a:extLst>
              <a:ext uri="{FF2B5EF4-FFF2-40B4-BE49-F238E27FC236}">
                <a16:creationId xmlns:a16="http://schemas.microsoft.com/office/drawing/2014/main" id="{B19B65B3-6EE7-2FFB-FF5B-EFC5A9484397}"/>
              </a:ext>
            </a:extLst>
          </p:cNvPr>
          <p:cNvSpPr txBox="1"/>
          <p:nvPr/>
        </p:nvSpPr>
        <p:spPr>
          <a:xfrm rot="19504863">
            <a:off x="4596090" y="1655861"/>
            <a:ext cx="399655" cy="151381"/>
          </a:xfrm>
          <a:prstGeom prst="rect">
            <a:avLst/>
          </a:prstGeom>
        </p:spPr>
        <p:txBody>
          <a:bodyPr wrap="square" lIns="0" tIns="0" rIns="0" bIns="0" rtlCol="0" anchor="ctr" anchorCtr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825">
                <a:solidFill>
                  <a:schemeClr val="accent1"/>
                </a:solidFill>
                <a:latin typeface="Pulso" pitchFamily="2" charset="0"/>
                <a:ea typeface="Roboto Medium" panose="02000000000000000000" pitchFamily="2" charset="0"/>
              </a:rPr>
              <a:t>Total</a:t>
            </a:r>
          </a:p>
        </p:txBody>
      </p:sp>
      <p:sp>
        <p:nvSpPr>
          <p:cNvPr id="25" name="CuadroTexto 1">
            <a:extLst>
              <a:ext uri="{FF2B5EF4-FFF2-40B4-BE49-F238E27FC236}">
                <a16:creationId xmlns:a16="http://schemas.microsoft.com/office/drawing/2014/main" id="{528D9EE6-C6B5-DCB4-ABA2-16CDAAFD2902}"/>
              </a:ext>
            </a:extLst>
          </p:cNvPr>
          <p:cNvSpPr txBox="1"/>
          <p:nvPr/>
        </p:nvSpPr>
        <p:spPr>
          <a:xfrm rot="19812212">
            <a:off x="4576732" y="1810784"/>
            <a:ext cx="378219" cy="160868"/>
          </a:xfrm>
          <a:prstGeom prst="rect">
            <a:avLst/>
          </a:prstGeom>
        </p:spPr>
        <p:txBody>
          <a:bodyPr wrap="square" rtlCol="0" anchor="ctr" anchorCtr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825">
                <a:solidFill>
                  <a:srgbClr val="1D44F3"/>
                </a:solidFill>
                <a:latin typeface="Pulso" pitchFamily="2" charset="0"/>
                <a:ea typeface="Roboto Medium" panose="02000000000000000000" pitchFamily="2" charset="0"/>
              </a:rPr>
              <a:t>5G</a:t>
            </a:r>
          </a:p>
        </p:txBody>
      </p:sp>
      <p:sp>
        <p:nvSpPr>
          <p:cNvPr id="26" name="CuadroTexto 1">
            <a:extLst>
              <a:ext uri="{FF2B5EF4-FFF2-40B4-BE49-F238E27FC236}">
                <a16:creationId xmlns:a16="http://schemas.microsoft.com/office/drawing/2014/main" id="{D8095254-7141-A0DE-C4E1-236DD99DE704}"/>
              </a:ext>
            </a:extLst>
          </p:cNvPr>
          <p:cNvSpPr txBox="1"/>
          <p:nvPr/>
        </p:nvSpPr>
        <p:spPr>
          <a:xfrm rot="416433">
            <a:off x="4576983" y="2569045"/>
            <a:ext cx="351458" cy="17988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825">
                <a:solidFill>
                  <a:schemeClr val="bg2"/>
                </a:solidFill>
                <a:latin typeface="Pulso" pitchFamily="2" charset="0"/>
                <a:ea typeface="Roboto Medium" panose="02000000000000000000" pitchFamily="2" charset="0"/>
              </a:rPr>
              <a:t>4G</a:t>
            </a:r>
          </a:p>
        </p:txBody>
      </p:sp>
      <p:sp>
        <p:nvSpPr>
          <p:cNvPr id="27" name="CuadroTexto 1">
            <a:extLst>
              <a:ext uri="{FF2B5EF4-FFF2-40B4-BE49-F238E27FC236}">
                <a16:creationId xmlns:a16="http://schemas.microsoft.com/office/drawing/2014/main" id="{205AEB81-0D56-A649-69B9-3DF096221FD6}"/>
              </a:ext>
            </a:extLst>
          </p:cNvPr>
          <p:cNvSpPr txBox="1"/>
          <p:nvPr/>
        </p:nvSpPr>
        <p:spPr>
          <a:xfrm rot="21374475">
            <a:off x="4733958" y="3159101"/>
            <a:ext cx="863538" cy="173511"/>
          </a:xfrm>
          <a:prstGeom prst="rect">
            <a:avLst/>
          </a:prstGeom>
        </p:spPr>
        <p:txBody>
          <a:bodyPr wrap="square" lIns="0" tIns="0" rIns="0" bIns="0" rtlCol="0" anchor="ctr" anchorCtr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AR" sz="788">
                <a:solidFill>
                  <a:schemeClr val="accent1"/>
                </a:solidFill>
                <a:latin typeface="Pulso" pitchFamily="2" charset="0"/>
                <a:ea typeface="Roboto Medium" panose="02000000000000000000" pitchFamily="2" charset="0"/>
              </a:rPr>
              <a:t>% Terminales 5G</a:t>
            </a:r>
          </a:p>
        </p:txBody>
      </p:sp>
      <p:sp>
        <p:nvSpPr>
          <p:cNvPr id="28" name="Marcador de texto 8">
            <a:extLst>
              <a:ext uri="{FF2B5EF4-FFF2-40B4-BE49-F238E27FC236}">
                <a16:creationId xmlns:a16="http://schemas.microsoft.com/office/drawing/2014/main" id="{CC4BADB8-E041-1CA9-379C-F2B2C9E15486}"/>
              </a:ext>
            </a:extLst>
          </p:cNvPr>
          <p:cNvSpPr txBox="1">
            <a:spLocks/>
          </p:cNvSpPr>
          <p:nvPr/>
        </p:nvSpPr>
        <p:spPr>
          <a:xfrm>
            <a:off x="5828306" y="2656604"/>
            <a:ext cx="2580742" cy="17055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4938" indent="-13493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bg2"/>
              </a:buClr>
              <a:buFont typeface="Letra del sistema regular"/>
              <a:buChar char="●"/>
            </a:pPr>
            <a:r>
              <a:rPr lang="es-AR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Evolución a Grilla Única buscando eficiencia entre redes TP y TMA.</a:t>
            </a:r>
          </a:p>
          <a:p>
            <a:pPr marL="134938" indent="-13493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bg2"/>
              </a:buClr>
              <a:buFont typeface="Letra del sistema regular"/>
              <a:buChar char="●"/>
            </a:pPr>
            <a:r>
              <a:rPr lang="es-AR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Crecimiento de red TMA: 60% &amp; TECO: 30%</a:t>
            </a:r>
          </a:p>
          <a:p>
            <a:pPr marL="134938" indent="-13493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bg2"/>
              </a:buClr>
              <a:buFont typeface="Letra del sistema regular"/>
              <a:buChar char="●"/>
            </a:pPr>
            <a:r>
              <a:rPr lang="es-AR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El despliegue de 5G será dirigido a los principales centros alta densidad y grandes centros urbanos.</a:t>
            </a:r>
          </a:p>
          <a:p>
            <a:pPr marL="134938" indent="-13493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bg2"/>
              </a:buClr>
              <a:buFont typeface="Letra del sistema regular"/>
              <a:buChar char="●"/>
            </a:pPr>
            <a:r>
              <a:rPr lang="es-AR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Inversión acumulada 2026-2030: </a:t>
            </a:r>
            <a:r>
              <a:rPr lang="es-AR" sz="900" err="1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usd</a:t>
            </a:r>
            <a:r>
              <a:rPr lang="es-AR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 1.000MM</a:t>
            </a:r>
          </a:p>
          <a:p>
            <a:pPr marL="134938" indent="-13493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bg2"/>
              </a:buClr>
              <a:buFont typeface="Letra del sistema regular"/>
              <a:buChar char="●"/>
            </a:pPr>
            <a:r>
              <a:rPr lang="es-ES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68% de sitios y 75% de la población con cobertura 5G para 2030.</a:t>
            </a:r>
          </a:p>
          <a:p>
            <a:pPr marL="134938" indent="-13493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bg2"/>
              </a:buClr>
              <a:buFont typeface="Letra del sistema regular"/>
              <a:buChar char="●"/>
            </a:pPr>
            <a:r>
              <a:rPr lang="es-AR" sz="9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Cobertura Obligatoria Regulatoria.</a:t>
            </a:r>
          </a:p>
        </p:txBody>
      </p:sp>
      <p:sp>
        <p:nvSpPr>
          <p:cNvPr id="30" name="CuadroTexto 4">
            <a:extLst>
              <a:ext uri="{FF2B5EF4-FFF2-40B4-BE49-F238E27FC236}">
                <a16:creationId xmlns:a16="http://schemas.microsoft.com/office/drawing/2014/main" id="{9E8D23A3-AF4E-7456-3B9A-0FFDC3136710}"/>
              </a:ext>
            </a:extLst>
          </p:cNvPr>
          <p:cNvSpPr txBox="1"/>
          <p:nvPr/>
        </p:nvSpPr>
        <p:spPr>
          <a:xfrm rot="16200000">
            <a:off x="4942920" y="2198088"/>
            <a:ext cx="552881" cy="153497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788">
                <a:solidFill>
                  <a:schemeClr val="bg1">
                    <a:lumMod val="50000"/>
                  </a:schemeClr>
                </a:solidFill>
                <a:latin typeface="Pulso" pitchFamily="2" charset="0"/>
                <a:ea typeface="Roboto Medium" panose="02000000000000000000" pitchFamily="2" charset="0"/>
              </a:rPr>
              <a:t>GBOU</a:t>
            </a:r>
          </a:p>
        </p:txBody>
      </p:sp>
      <p:graphicFrame>
        <p:nvGraphicFramePr>
          <p:cNvPr id="31" name="Tabla 30">
            <a:extLst>
              <a:ext uri="{FF2B5EF4-FFF2-40B4-BE49-F238E27FC236}">
                <a16:creationId xmlns:a16="http://schemas.microsoft.com/office/drawing/2014/main" id="{65DCC3DC-4E25-B52D-6959-0EF2863BB2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1649611"/>
              </p:ext>
            </p:extLst>
          </p:nvPr>
        </p:nvGraphicFramePr>
        <p:xfrm>
          <a:off x="5828306" y="1461311"/>
          <a:ext cx="2580741" cy="1048805"/>
        </p:xfrm>
        <a:graphic>
          <a:graphicData uri="http://schemas.openxmlformats.org/drawingml/2006/table">
            <a:tbl>
              <a:tblPr firstRow="1" lastRow="1" bandRow="1">
                <a:tableStyleId>{D27102A9-8310-4765-A935-A1911B00CA55}</a:tableStyleId>
              </a:tblPr>
              <a:tblGrid>
                <a:gridCol w="860247">
                  <a:extLst>
                    <a:ext uri="{9D8B030D-6E8A-4147-A177-3AD203B41FA5}">
                      <a16:colId xmlns:a16="http://schemas.microsoft.com/office/drawing/2014/main" val="1835200731"/>
                    </a:ext>
                  </a:extLst>
                </a:gridCol>
                <a:gridCol w="860247">
                  <a:extLst>
                    <a:ext uri="{9D8B030D-6E8A-4147-A177-3AD203B41FA5}">
                      <a16:colId xmlns:a16="http://schemas.microsoft.com/office/drawing/2014/main" val="370782217"/>
                    </a:ext>
                  </a:extLst>
                </a:gridCol>
                <a:gridCol w="860247">
                  <a:extLst>
                    <a:ext uri="{9D8B030D-6E8A-4147-A177-3AD203B41FA5}">
                      <a16:colId xmlns:a16="http://schemas.microsoft.com/office/drawing/2014/main" val="119559523"/>
                    </a:ext>
                  </a:extLst>
                </a:gridCol>
              </a:tblGrid>
              <a:tr h="374573">
                <a:tc>
                  <a:txBody>
                    <a:bodyPr/>
                    <a:lstStyle/>
                    <a:p>
                      <a:endParaRPr lang="es-AR" sz="900" b="0" i="0">
                        <a:solidFill>
                          <a:srgbClr val="FFFFFF"/>
                        </a:solidFill>
                        <a:latin typeface="Pulso" pitchFamily="2" charset="0"/>
                      </a:endParaRPr>
                    </a:p>
                  </a:txBody>
                  <a:tcPr marL="68580" marR="68580" marT="34290" marB="3429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900" b="0" i="0">
                          <a:solidFill>
                            <a:srgbClr val="FFFFFF"/>
                          </a:solidFill>
                          <a:latin typeface="Pulso" pitchFamily="2" charset="0"/>
                        </a:rPr>
                        <a:t>Sitios</a:t>
                      </a:r>
                    </a:p>
                    <a:p>
                      <a:pPr algn="ctr"/>
                      <a:r>
                        <a:rPr lang="es-AR" sz="900" b="0" i="0">
                          <a:solidFill>
                            <a:srgbClr val="FFFFFF"/>
                          </a:solidFill>
                          <a:latin typeface="Pulso" pitchFamily="2" charset="0"/>
                        </a:rPr>
                        <a:t>separados</a:t>
                      </a:r>
                    </a:p>
                  </a:txBody>
                  <a:tcPr marL="68580" marR="68580" marT="34290" marB="3429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900" b="0" i="0">
                          <a:solidFill>
                            <a:srgbClr val="FFFFFF"/>
                          </a:solidFill>
                          <a:latin typeface="Pulso" pitchFamily="2" charset="0"/>
                        </a:rPr>
                        <a:t>Sitios</a:t>
                      </a:r>
                    </a:p>
                    <a:p>
                      <a:pPr algn="ctr"/>
                      <a:r>
                        <a:rPr lang="es-AR" sz="900" b="0" i="0">
                          <a:solidFill>
                            <a:srgbClr val="FFFFFF"/>
                          </a:solidFill>
                          <a:latin typeface="Pulso" pitchFamily="2" charset="0"/>
                        </a:rPr>
                        <a:t>grilla única</a:t>
                      </a:r>
                    </a:p>
                  </a:txBody>
                  <a:tcPr marL="68580" marR="68580" marT="34290" marB="3429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4517286"/>
                  </a:ext>
                </a:extLst>
              </a:tr>
              <a:tr h="224744">
                <a:tc>
                  <a:txBody>
                    <a:bodyPr/>
                    <a:lstStyle/>
                    <a:p>
                      <a:r>
                        <a:rPr lang="es-AR" sz="900" b="0" i="0">
                          <a:latin typeface="Pulso Light" pitchFamily="2" charset="0"/>
                        </a:rPr>
                        <a:t> </a:t>
                      </a:r>
                    </a:p>
                  </a:txBody>
                  <a:tcPr marL="68580" marR="68580" marT="34290" marB="34290">
                    <a:solidFill>
                      <a:schemeClr val="bg1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900" b="0" i="0">
                          <a:latin typeface="Pulso Light" pitchFamily="2" charset="0"/>
                        </a:rPr>
                        <a:t>8301</a:t>
                      </a:r>
                    </a:p>
                  </a:txBody>
                  <a:tcPr marL="68580" marR="68580" marT="34290" marB="34290">
                    <a:solidFill>
                      <a:schemeClr val="bg1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900" b="0" i="0">
                          <a:latin typeface="Pulso Light" pitchFamily="2" charset="0"/>
                        </a:rPr>
                        <a:t>7524</a:t>
                      </a:r>
                    </a:p>
                  </a:txBody>
                  <a:tcPr marL="68580" marR="68580" marT="34290" marB="34290">
                    <a:solidFill>
                      <a:schemeClr val="bg1">
                        <a:lumMod val="7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216919"/>
                  </a:ext>
                </a:extLst>
              </a:tr>
              <a:tr h="224744">
                <a:tc>
                  <a:txBody>
                    <a:bodyPr/>
                    <a:lstStyle/>
                    <a:p>
                      <a:endParaRPr lang="es-AR" sz="900" b="0" i="0">
                        <a:latin typeface="Pulso Light" pitchFamily="2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900" b="0" i="0">
                          <a:latin typeface="Pulso Light" pitchFamily="2" charset="0"/>
                        </a:rPr>
                        <a:t>6548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900" b="0" i="0">
                          <a:latin typeface="Pulso Light" pitchFamily="2" charset="0"/>
                        </a:rPr>
                        <a:t>3203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098054113"/>
                  </a:ext>
                </a:extLst>
              </a:tr>
              <a:tr h="224744">
                <a:tc>
                  <a:txBody>
                    <a:bodyPr/>
                    <a:lstStyle/>
                    <a:p>
                      <a:r>
                        <a:rPr lang="es-AR" sz="900" b="0" i="0">
                          <a:latin typeface="Pulso" pitchFamily="2" charset="0"/>
                        </a:rPr>
                        <a:t>Total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900" b="0" i="0">
                          <a:latin typeface="Pulso" pitchFamily="2" charset="0"/>
                        </a:rPr>
                        <a:t>14849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900" b="0" i="0">
                          <a:latin typeface="Pulso" pitchFamily="2" charset="0"/>
                        </a:rPr>
                        <a:t>10727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391311808"/>
                  </a:ext>
                </a:extLst>
              </a:tr>
            </a:tbl>
          </a:graphicData>
        </a:graphic>
      </p:graphicFrame>
      <p:pic>
        <p:nvPicPr>
          <p:cNvPr id="32" name="Imagen 31">
            <a:extLst>
              <a:ext uri="{FF2B5EF4-FFF2-40B4-BE49-F238E27FC236}">
                <a16:creationId xmlns:a16="http://schemas.microsoft.com/office/drawing/2014/main" id="{C292059E-6488-2202-E224-256381A752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98078" y="1940509"/>
            <a:ext cx="488717" cy="113016"/>
          </a:xfrm>
          <a:prstGeom prst="rect">
            <a:avLst/>
          </a:prstGeom>
          <a:effectLst/>
        </p:spPr>
      </p:pic>
      <p:pic>
        <p:nvPicPr>
          <p:cNvPr id="33" name="Imagen 32">
            <a:extLst>
              <a:ext uri="{FF2B5EF4-FFF2-40B4-BE49-F238E27FC236}">
                <a16:creationId xmlns:a16="http://schemas.microsoft.com/office/drawing/2014/main" id="{85165D3E-5875-B650-C40B-C2C81FBEDC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46797" y="2125644"/>
            <a:ext cx="191278" cy="142260"/>
          </a:xfrm>
          <a:prstGeom prst="rect">
            <a:avLst/>
          </a:prstGeom>
          <a:effectLst/>
        </p:spPr>
      </p:pic>
      <p:sp>
        <p:nvSpPr>
          <p:cNvPr id="35" name="CuadroTexto 34">
            <a:extLst>
              <a:ext uri="{FF2B5EF4-FFF2-40B4-BE49-F238E27FC236}">
                <a16:creationId xmlns:a16="http://schemas.microsoft.com/office/drawing/2014/main" id="{0CCD5F04-58F3-2F83-03C4-16843BB42019}"/>
              </a:ext>
            </a:extLst>
          </p:cNvPr>
          <p:cNvSpPr txBox="1"/>
          <p:nvPr/>
        </p:nvSpPr>
        <p:spPr>
          <a:xfrm>
            <a:off x="1970215" y="4803591"/>
            <a:ext cx="3435242" cy="206300"/>
          </a:xfrm>
          <a:prstGeom prst="rect">
            <a:avLst/>
          </a:prstGeom>
          <a:noFill/>
        </p:spPr>
        <p:txBody>
          <a:bodyPr wrap="square" lIns="0" tIns="27000" rIns="162000" bIns="27000" rtlCol="0">
            <a:spAutoFit/>
          </a:bodyPr>
          <a:lstStyle/>
          <a:p>
            <a:pPr algn="ctr">
              <a:lnSpc>
                <a:spcPct val="130000"/>
              </a:lnSpc>
              <a:spcBef>
                <a:spcPts val="750"/>
              </a:spcBef>
            </a:pPr>
            <a:r>
              <a:rPr lang="es-AR" sz="825">
                <a:solidFill>
                  <a:schemeClr val="accent1"/>
                </a:solidFill>
                <a:latin typeface="Pulso" pitchFamily="2" charset="0"/>
              </a:rPr>
              <a:t>CAPEX TP+TMA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F9B1FA1-8DD0-0D2B-6C6C-58CD362FB298}"/>
              </a:ext>
            </a:extLst>
          </p:cNvPr>
          <p:cNvSpPr txBox="1">
            <a:spLocks/>
          </p:cNvSpPr>
          <p:nvPr/>
        </p:nvSpPr>
        <p:spPr>
          <a:xfrm>
            <a:off x="540657" y="567670"/>
            <a:ext cx="2870979" cy="384721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ts val="3200"/>
              </a:lnSpc>
              <a:spcAft>
                <a:spcPts val="0"/>
              </a:spcAft>
              <a:buNone/>
              <a:defRPr sz="2800" b="0" i="0" spc="-70" baseline="0">
                <a:solidFill>
                  <a:schemeClr val="tx2"/>
                </a:solidFill>
                <a:latin typeface="Pulso Light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500">
                <a:solidFill>
                  <a:schemeClr val="bg2"/>
                </a:solidFill>
              </a:rPr>
              <a:t>Despliegue Red Móvil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F28A863A-5F80-B2A9-E7BD-D0251B491006}"/>
              </a:ext>
            </a:extLst>
          </p:cNvPr>
          <p:cNvSpPr txBox="1"/>
          <p:nvPr/>
        </p:nvSpPr>
        <p:spPr>
          <a:xfrm>
            <a:off x="1668613" y="1366154"/>
            <a:ext cx="2765180" cy="2012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30000"/>
              </a:lnSpc>
              <a:spcBef>
                <a:spcPts val="1000"/>
              </a:spcBef>
            </a:pPr>
            <a:r>
              <a:rPr lang="en-US" sz="1100" err="1">
                <a:solidFill>
                  <a:schemeClr val="tx2"/>
                </a:solidFill>
                <a:latin typeface="Pulso" pitchFamily="2" charset="0"/>
              </a:rPr>
              <a:t>Evolución</a:t>
            </a:r>
            <a:r>
              <a:rPr lang="en-US" sz="1100">
                <a:solidFill>
                  <a:schemeClr val="tx2"/>
                </a:solidFill>
                <a:latin typeface="Pulso" pitchFamily="2" charset="0"/>
              </a:rPr>
              <a:t> de volume de </a:t>
            </a:r>
            <a:r>
              <a:rPr lang="en-US" sz="1100" err="1">
                <a:solidFill>
                  <a:schemeClr val="tx2"/>
                </a:solidFill>
                <a:latin typeface="Pulso" pitchFamily="2" charset="0"/>
              </a:rPr>
              <a:t>datos</a:t>
            </a:r>
            <a:r>
              <a:rPr lang="en-US" sz="1100">
                <a:solidFill>
                  <a:schemeClr val="tx2"/>
                </a:solidFill>
                <a:latin typeface="Pulso" pitchFamily="2" charset="0"/>
              </a:rPr>
              <a:t> (Red </a:t>
            </a:r>
            <a:r>
              <a:rPr lang="en-US" sz="1100" err="1">
                <a:solidFill>
                  <a:schemeClr val="tx2"/>
                </a:solidFill>
                <a:latin typeface="Pulso" pitchFamily="2" charset="0"/>
              </a:rPr>
              <a:t>Única</a:t>
            </a:r>
            <a:r>
              <a:rPr lang="en-US" sz="1100">
                <a:solidFill>
                  <a:schemeClr val="tx2"/>
                </a:solidFill>
                <a:latin typeface="Pulso" pitchFamily="2" charset="0"/>
              </a:rPr>
              <a:t>)</a:t>
            </a:r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91784177-4DCA-D8B4-43CB-4E663BB850F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1951362"/>
              </p:ext>
            </p:extLst>
          </p:nvPr>
        </p:nvGraphicFramePr>
        <p:xfrm>
          <a:off x="901304" y="2991816"/>
          <a:ext cx="4078800" cy="12218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CuadroTexto 4">
            <a:extLst>
              <a:ext uri="{FF2B5EF4-FFF2-40B4-BE49-F238E27FC236}">
                <a16:creationId xmlns:a16="http://schemas.microsoft.com/office/drawing/2014/main" id="{351EC8BF-BF38-4937-F0DC-DC642520EF43}"/>
              </a:ext>
            </a:extLst>
          </p:cNvPr>
          <p:cNvSpPr txBox="1"/>
          <p:nvPr/>
        </p:nvSpPr>
        <p:spPr>
          <a:xfrm rot="16200000">
            <a:off x="4942070" y="3690911"/>
            <a:ext cx="552881" cy="153497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825">
                <a:solidFill>
                  <a:schemeClr val="bg1">
                    <a:lumMod val="50000"/>
                  </a:schemeClr>
                </a:solidFill>
                <a:latin typeface="Pulso" pitchFamily="2" charset="0"/>
                <a:ea typeface="Roboto Medium" panose="02000000000000000000" pitchFamily="2" charset="0"/>
              </a:rPr>
              <a:t>% Sitios 5G</a:t>
            </a:r>
          </a:p>
        </p:txBody>
      </p:sp>
      <p:graphicFrame>
        <p:nvGraphicFramePr>
          <p:cNvPr id="8" name="Tabla 7">
            <a:extLst>
              <a:ext uri="{FF2B5EF4-FFF2-40B4-BE49-F238E27FC236}">
                <a16:creationId xmlns:a16="http://schemas.microsoft.com/office/drawing/2014/main" id="{C7D57652-A50F-922D-978F-B9FF519B0E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1354358"/>
              </p:ext>
            </p:extLst>
          </p:nvPr>
        </p:nvGraphicFramePr>
        <p:xfrm>
          <a:off x="2130735" y="4194568"/>
          <a:ext cx="2665182" cy="160020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444197">
                  <a:extLst>
                    <a:ext uri="{9D8B030D-6E8A-4147-A177-3AD203B41FA5}">
                      <a16:colId xmlns:a16="http://schemas.microsoft.com/office/drawing/2014/main" val="3834706969"/>
                    </a:ext>
                  </a:extLst>
                </a:gridCol>
                <a:gridCol w="444197">
                  <a:extLst>
                    <a:ext uri="{9D8B030D-6E8A-4147-A177-3AD203B41FA5}">
                      <a16:colId xmlns:a16="http://schemas.microsoft.com/office/drawing/2014/main" val="3190272443"/>
                    </a:ext>
                  </a:extLst>
                </a:gridCol>
                <a:gridCol w="444197">
                  <a:extLst>
                    <a:ext uri="{9D8B030D-6E8A-4147-A177-3AD203B41FA5}">
                      <a16:colId xmlns:a16="http://schemas.microsoft.com/office/drawing/2014/main" val="4010380211"/>
                    </a:ext>
                  </a:extLst>
                </a:gridCol>
                <a:gridCol w="444197">
                  <a:extLst>
                    <a:ext uri="{9D8B030D-6E8A-4147-A177-3AD203B41FA5}">
                      <a16:colId xmlns:a16="http://schemas.microsoft.com/office/drawing/2014/main" val="3713234690"/>
                    </a:ext>
                  </a:extLst>
                </a:gridCol>
                <a:gridCol w="444197">
                  <a:extLst>
                    <a:ext uri="{9D8B030D-6E8A-4147-A177-3AD203B41FA5}">
                      <a16:colId xmlns:a16="http://schemas.microsoft.com/office/drawing/2014/main" val="3940944918"/>
                    </a:ext>
                  </a:extLst>
                </a:gridCol>
                <a:gridCol w="444197">
                  <a:extLst>
                    <a:ext uri="{9D8B030D-6E8A-4147-A177-3AD203B41FA5}">
                      <a16:colId xmlns:a16="http://schemas.microsoft.com/office/drawing/2014/main" val="1403766470"/>
                    </a:ext>
                  </a:extLst>
                </a:gridCol>
              </a:tblGrid>
              <a:tr h="160020">
                <a:tc>
                  <a:txBody>
                    <a:bodyPr/>
                    <a:lstStyle/>
                    <a:p>
                      <a:pPr algn="ctr"/>
                      <a:r>
                        <a:rPr lang="es-AR" sz="600" b="0" i="0">
                          <a:latin typeface="Pulso" pitchFamily="2" charset="0"/>
                        </a:rPr>
                        <a:t>162MM</a:t>
                      </a: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600" b="0" i="0">
                          <a:latin typeface="Pulso" pitchFamily="2" charset="0"/>
                        </a:rPr>
                        <a:t>346MM</a:t>
                      </a: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600" b="0" i="0">
                          <a:latin typeface="Pulso" pitchFamily="2" charset="0"/>
                        </a:rPr>
                        <a:t>200MM</a:t>
                      </a: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600" b="0" i="0">
                          <a:latin typeface="Pulso" pitchFamily="2" charset="0"/>
                        </a:rPr>
                        <a:t>196MM</a:t>
                      </a: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600" b="0" i="0">
                          <a:latin typeface="Pulso" pitchFamily="2" charset="0"/>
                        </a:rPr>
                        <a:t>105MM</a:t>
                      </a: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600" b="0" i="0">
                          <a:latin typeface="Pulso" pitchFamily="2" charset="0"/>
                        </a:rPr>
                        <a:t>104MM</a:t>
                      </a: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2038810"/>
                  </a:ext>
                </a:extLst>
              </a:tr>
            </a:tbl>
          </a:graphicData>
        </a:graphic>
      </p:graphicFrame>
      <p:sp>
        <p:nvSpPr>
          <p:cNvPr id="9" name="CuadroTexto 1">
            <a:extLst>
              <a:ext uri="{FF2B5EF4-FFF2-40B4-BE49-F238E27FC236}">
                <a16:creationId xmlns:a16="http://schemas.microsoft.com/office/drawing/2014/main" id="{29675FE1-5A0B-9CDA-B07A-A4288CBAC755}"/>
              </a:ext>
            </a:extLst>
          </p:cNvPr>
          <p:cNvSpPr txBox="1"/>
          <p:nvPr/>
        </p:nvSpPr>
        <p:spPr>
          <a:xfrm rot="21405936">
            <a:off x="4756913" y="3309730"/>
            <a:ext cx="771398" cy="159854"/>
          </a:xfrm>
          <a:prstGeom prst="rect">
            <a:avLst/>
          </a:prstGeom>
        </p:spPr>
        <p:txBody>
          <a:bodyPr wrap="square" lIns="0" tIns="0" rIns="0" bIns="0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AR" sz="788">
                <a:solidFill>
                  <a:schemeClr val="bg2"/>
                </a:solidFill>
                <a:latin typeface="Pulso" pitchFamily="2" charset="0"/>
                <a:ea typeface="Roboto Medium" panose="02000000000000000000" pitchFamily="2" charset="0"/>
              </a:rPr>
              <a:t>% Clientes 5G</a:t>
            </a:r>
          </a:p>
        </p:txBody>
      </p:sp>
    </p:spTree>
    <p:extLst>
      <p:ext uri="{BB962C8B-B14F-4D97-AF65-F5344CB8AC3E}">
        <p14:creationId xmlns:p14="http://schemas.microsoft.com/office/powerpoint/2010/main" val="1308658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4332D9-00B5-D7C0-F9A7-09FDA4D400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upo 38">
            <a:extLst>
              <a:ext uri="{FF2B5EF4-FFF2-40B4-BE49-F238E27FC236}">
                <a16:creationId xmlns:a16="http://schemas.microsoft.com/office/drawing/2014/main" id="{CD603694-EDE0-8D59-B6E3-2322C2F03402}"/>
              </a:ext>
            </a:extLst>
          </p:cNvPr>
          <p:cNvGrpSpPr/>
          <p:nvPr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40" name="Rectángulo 39">
              <a:extLst>
                <a:ext uri="{FF2B5EF4-FFF2-40B4-BE49-F238E27FC236}">
                  <a16:creationId xmlns:a16="http://schemas.microsoft.com/office/drawing/2014/main" id="{3118AFCD-B400-76EC-9E34-9F5F8B79C983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AR" sz="1350">
                <a:solidFill>
                  <a:srgbClr val="F0F0F0"/>
                </a:solidFill>
                <a:latin typeface="Open Sans"/>
              </a:endParaRPr>
            </a:p>
          </p:txBody>
        </p:sp>
        <p:sp>
          <p:nvSpPr>
            <p:cNvPr id="41" name="Rectángulo 40">
              <a:extLst>
                <a:ext uri="{FF2B5EF4-FFF2-40B4-BE49-F238E27FC236}">
                  <a16:creationId xmlns:a16="http://schemas.microsoft.com/office/drawing/2014/main" id="{B7DA1C13-2C0C-D288-E132-8132D226F0A7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AR" sz="1350">
                <a:solidFill>
                  <a:srgbClr val="F0F0F0"/>
                </a:solidFill>
                <a:latin typeface="Open Sans"/>
              </a:endParaRPr>
            </a:p>
          </p:txBody>
        </p:sp>
        <p:sp>
          <p:nvSpPr>
            <p:cNvPr id="42" name="Rectángulo 41">
              <a:extLst>
                <a:ext uri="{FF2B5EF4-FFF2-40B4-BE49-F238E27FC236}">
                  <a16:creationId xmlns:a16="http://schemas.microsoft.com/office/drawing/2014/main" id="{B71D488A-D173-8823-AE82-AE193008D9B2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AR" sz="1350">
                <a:solidFill>
                  <a:srgbClr val="F0F0F0"/>
                </a:solidFill>
                <a:latin typeface="Open Sans"/>
              </a:endParaRPr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1489FC19-008B-1FDF-DC52-F94F2ED8B1F6}"/>
              </a:ext>
            </a:extLst>
          </p:cNvPr>
          <p:cNvSpPr txBox="1">
            <a:spLocks/>
          </p:cNvSpPr>
          <p:nvPr/>
        </p:nvSpPr>
        <p:spPr>
          <a:xfrm>
            <a:off x="540657" y="606143"/>
            <a:ext cx="7239482" cy="718145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tx2"/>
                </a:solidFill>
                <a:latin typeface="Pulso Light" pitchFamily="2" charset="0"/>
              </a:rPr>
              <a:t>Mejora calidad y servicio internet apalancado en FTTH</a:t>
            </a:r>
            <a:br>
              <a:rPr lang="es-ES_tradnl" sz="2500" b="0" noProof="0">
                <a:solidFill>
                  <a:schemeClr val="tx2"/>
                </a:solidFill>
                <a:latin typeface="Pulso Light" pitchFamily="2" charset="0"/>
              </a:rPr>
            </a:br>
            <a:r>
              <a:rPr lang="es-ES_tradnl" sz="2500" b="0" noProof="0">
                <a:solidFill>
                  <a:schemeClr val="bg2"/>
                </a:solidFill>
                <a:latin typeface="Pulso Light" pitchFamily="2" charset="0"/>
              </a:rPr>
              <a:t>Mayor NPS</a:t>
            </a:r>
          </a:p>
        </p:txBody>
      </p:sp>
      <p:sp>
        <p:nvSpPr>
          <p:cNvPr id="8" name="Rectángulo redondeado 7">
            <a:extLst>
              <a:ext uri="{FF2B5EF4-FFF2-40B4-BE49-F238E27FC236}">
                <a16:creationId xmlns:a16="http://schemas.microsoft.com/office/drawing/2014/main" id="{BACDC5E7-E250-3CEE-43AB-9974254AE918}"/>
              </a:ext>
            </a:extLst>
          </p:cNvPr>
          <p:cNvSpPr>
            <a:spLocks/>
          </p:cNvSpPr>
          <p:nvPr/>
        </p:nvSpPr>
        <p:spPr>
          <a:xfrm>
            <a:off x="541167" y="1529929"/>
            <a:ext cx="3942724" cy="3047253"/>
          </a:xfrm>
          <a:prstGeom prst="roundRect">
            <a:avLst>
              <a:gd name="adj" fmla="val 2825"/>
            </a:avLst>
          </a:prstGeom>
          <a:solidFill>
            <a:srgbClr val="FFFFFF"/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73ACA35-4D3A-A54A-9CF9-347A48D58A58}"/>
              </a:ext>
            </a:extLst>
          </p:cNvPr>
          <p:cNvSpPr txBox="1">
            <a:spLocks/>
          </p:cNvSpPr>
          <p:nvPr/>
        </p:nvSpPr>
        <p:spPr>
          <a:xfrm>
            <a:off x="537890" y="1667464"/>
            <a:ext cx="3942724" cy="16927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100" b="0" spc="0" noProof="0">
                <a:solidFill>
                  <a:schemeClr val="tx2"/>
                </a:solidFill>
              </a:rPr>
              <a:t>NPS Internet Personal</a:t>
            </a:r>
          </a:p>
        </p:txBody>
      </p:sp>
      <p:sp>
        <p:nvSpPr>
          <p:cNvPr id="6" name="Rectángulo redondeado 5">
            <a:extLst>
              <a:ext uri="{FF2B5EF4-FFF2-40B4-BE49-F238E27FC236}">
                <a16:creationId xmlns:a16="http://schemas.microsoft.com/office/drawing/2014/main" id="{43A1DB7E-DF8E-8E17-1521-24533D8B3852}"/>
              </a:ext>
            </a:extLst>
          </p:cNvPr>
          <p:cNvSpPr>
            <a:spLocks/>
          </p:cNvSpPr>
          <p:nvPr/>
        </p:nvSpPr>
        <p:spPr>
          <a:xfrm>
            <a:off x="4660619" y="1529929"/>
            <a:ext cx="3942724" cy="3047253"/>
          </a:xfrm>
          <a:prstGeom prst="roundRect">
            <a:avLst>
              <a:gd name="adj" fmla="val 2825"/>
            </a:avLst>
          </a:prstGeom>
          <a:solidFill>
            <a:srgbClr val="FFFFFF"/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99B9487-86AF-8F2A-FF88-486262653EDF}"/>
              </a:ext>
            </a:extLst>
          </p:cNvPr>
          <p:cNvSpPr txBox="1">
            <a:spLocks/>
          </p:cNvSpPr>
          <p:nvPr/>
        </p:nvSpPr>
        <p:spPr>
          <a:xfrm>
            <a:off x="4657342" y="1667464"/>
            <a:ext cx="3942724" cy="16927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100" b="0" spc="0" noProof="0">
                <a:solidFill>
                  <a:schemeClr val="tx2"/>
                </a:solidFill>
              </a:rPr>
              <a:t>NPS Internet Movistar</a:t>
            </a:r>
          </a:p>
        </p:txBody>
      </p:sp>
      <p:graphicFrame>
        <p:nvGraphicFramePr>
          <p:cNvPr id="43" name="Gráfico 42">
            <a:extLst>
              <a:ext uri="{FF2B5EF4-FFF2-40B4-BE49-F238E27FC236}">
                <a16:creationId xmlns:a16="http://schemas.microsoft.com/office/drawing/2014/main" id="{D42FFF87-B038-3B57-1034-52B7BC38C0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779722"/>
              </p:ext>
            </p:extLst>
          </p:nvPr>
        </p:nvGraphicFramePr>
        <p:xfrm>
          <a:off x="691086" y="2028047"/>
          <a:ext cx="3636334" cy="2462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4" name="Gráfico 43">
            <a:extLst>
              <a:ext uri="{FF2B5EF4-FFF2-40B4-BE49-F238E27FC236}">
                <a16:creationId xmlns:a16="http://schemas.microsoft.com/office/drawing/2014/main" id="{8DE490AF-EE31-EA9D-4853-ADF8ECE0296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0107986"/>
              </p:ext>
            </p:extLst>
          </p:nvPr>
        </p:nvGraphicFramePr>
        <p:xfrm>
          <a:off x="4813942" y="2028047"/>
          <a:ext cx="3639356" cy="2462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117578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C3A0B7-36D2-5826-ECB2-9DE978B429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upo 30">
            <a:extLst>
              <a:ext uri="{FF2B5EF4-FFF2-40B4-BE49-F238E27FC236}">
                <a16:creationId xmlns:a16="http://schemas.microsoft.com/office/drawing/2014/main" id="{F6F9590F-6D9A-88BC-BC04-764F092DF61D}"/>
              </a:ext>
            </a:extLst>
          </p:cNvPr>
          <p:cNvGrpSpPr/>
          <p:nvPr/>
        </p:nvGrpSpPr>
        <p:grpSpPr>
          <a:xfrm>
            <a:off x="4207628" y="2895248"/>
            <a:ext cx="515318" cy="112191"/>
            <a:chOff x="5588723" y="3144791"/>
            <a:chExt cx="515318" cy="112191"/>
          </a:xfrm>
          <a:noFill/>
        </p:grpSpPr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FF925C93-A547-8E05-4761-E49B003537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88723" y="3190086"/>
              <a:ext cx="21600" cy="21600"/>
            </a:xfrm>
            <a:prstGeom prst="ellipse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43543" tIns="21771" rIns="43543" bIns="2177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_tradnl" sz="700" noProof="0">
                <a:solidFill>
                  <a:srgbClr val="808080"/>
                </a:solidFill>
                <a:latin typeface="Pulso" pitchFamily="2" charset="0"/>
              </a:endParaRPr>
            </a:p>
          </p:txBody>
        </p:sp>
        <p:sp>
          <p:nvSpPr>
            <p:cNvPr id="33" name="Rectángulo 61">
              <a:extLst>
                <a:ext uri="{FF2B5EF4-FFF2-40B4-BE49-F238E27FC236}">
                  <a16:creationId xmlns:a16="http://schemas.microsoft.com/office/drawing/2014/main" id="{18A18FAF-9EBB-297E-657D-80FD98934976}"/>
                </a:ext>
              </a:extLst>
            </p:cNvPr>
            <p:cNvSpPr/>
            <p:nvPr/>
          </p:nvSpPr>
          <p:spPr>
            <a:xfrm rot="2700000">
              <a:off x="5968614" y="3144791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grpFill/>
            <a:ln w="19050" cap="rnd" cmpd="sng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1400" b="1" noProof="0">
                <a:solidFill>
                  <a:schemeClr val="tx1"/>
                </a:solidFill>
                <a:latin typeface="Pulso" pitchFamily="2" charset="0"/>
              </a:endParaRPr>
            </a:p>
          </p:txBody>
        </p:sp>
        <p:cxnSp>
          <p:nvCxnSpPr>
            <p:cNvPr id="34" name="Conector recto 33">
              <a:extLst>
                <a:ext uri="{FF2B5EF4-FFF2-40B4-BE49-F238E27FC236}">
                  <a16:creationId xmlns:a16="http://schemas.microsoft.com/office/drawing/2014/main" id="{3CC7572C-A0DC-AB40-03F2-4A82A3276E78}"/>
                </a:ext>
              </a:extLst>
            </p:cNvPr>
            <p:cNvCxnSpPr>
              <a:cxnSpLocks/>
            </p:cNvCxnSpPr>
            <p:nvPr/>
          </p:nvCxnSpPr>
          <p:spPr>
            <a:xfrm>
              <a:off x="5670299" y="3200886"/>
              <a:ext cx="433742" cy="0"/>
            </a:xfrm>
            <a:prstGeom prst="line">
              <a:avLst/>
            </a:prstGeom>
            <a:grpFill/>
            <a:ln w="19050" cap="rnd">
              <a:solidFill>
                <a:srgbClr val="FFFFFF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ctángulo 1">
            <a:extLst>
              <a:ext uri="{FF2B5EF4-FFF2-40B4-BE49-F238E27FC236}">
                <a16:creationId xmlns:a16="http://schemas.microsoft.com/office/drawing/2014/main" id="{B483CD37-B7CE-EB75-BD7B-808F00ABFBB3}"/>
              </a:ext>
            </a:extLst>
          </p:cNvPr>
          <p:cNvSpPr/>
          <p:nvPr/>
        </p:nvSpPr>
        <p:spPr>
          <a:xfrm>
            <a:off x="606581" y="2108281"/>
            <a:ext cx="3965419" cy="11520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s-ES_tradnl" sz="4400" spc="-7" noProof="0">
                <a:solidFill>
                  <a:schemeClr val="bg1"/>
                </a:solidFill>
                <a:latin typeface="Pulso Light" pitchFamily="2" charset="0"/>
                <a:ea typeface="Inter Light BETA" panose="020B0402030000000004" pitchFamily="34" charset="0"/>
              </a:rPr>
              <a:t>Contexto de Negocio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0B738E5-14BF-EEEA-08E4-3A1F1D99C6D7}"/>
              </a:ext>
            </a:extLst>
          </p:cNvPr>
          <p:cNvSpPr txBox="1">
            <a:spLocks/>
          </p:cNvSpPr>
          <p:nvPr/>
        </p:nvSpPr>
        <p:spPr>
          <a:xfrm>
            <a:off x="5359863" y="2742722"/>
            <a:ext cx="2474438" cy="4192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defRPr sz="4400" spc="-7">
                <a:solidFill>
                  <a:schemeClr val="bg1"/>
                </a:solidFill>
                <a:latin typeface="Pulso Light" pitchFamily="2" charset="0"/>
                <a:ea typeface="Inter Light BETA" panose="020B0402030000000004" pitchFamily="34" charset="0"/>
              </a:defRPr>
            </a:lvl1pPr>
          </a:lstStyle>
          <a:p>
            <a:r>
              <a:rPr lang="es-ES_tradnl" sz="3200" noProof="0">
                <a:latin typeface="Pulso" pitchFamily="2" charset="0"/>
              </a:rPr>
              <a:t>Internacional</a:t>
            </a:r>
          </a:p>
        </p:txBody>
      </p:sp>
      <p:sp>
        <p:nvSpPr>
          <p:cNvPr id="9" name="Rectángulo redondeado 8">
            <a:extLst>
              <a:ext uri="{FF2B5EF4-FFF2-40B4-BE49-F238E27FC236}">
                <a16:creationId xmlns:a16="http://schemas.microsoft.com/office/drawing/2014/main" id="{10387C56-31F7-2F3E-34D3-090DE8F599AB}"/>
              </a:ext>
            </a:extLst>
          </p:cNvPr>
          <p:cNvSpPr/>
          <p:nvPr/>
        </p:nvSpPr>
        <p:spPr>
          <a:xfrm>
            <a:off x="5084329" y="2548586"/>
            <a:ext cx="3025507" cy="733930"/>
          </a:xfrm>
          <a:prstGeom prst="roundRect">
            <a:avLst>
              <a:gd name="adj" fmla="val 50000"/>
            </a:avLst>
          </a:prstGeom>
          <a:noFill/>
          <a:ln w="6350" cap="rnd" cmpd="sng">
            <a:solidFill>
              <a:srgbClr val="FFFFFF">
                <a:alpha val="75000"/>
              </a:srgb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>
              <a:spcBef>
                <a:spcPts val="1000"/>
              </a:spcBef>
            </a:pPr>
            <a:endParaRPr lang="es-ES_tradnl" sz="1400" b="1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6783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443F41-BDCA-EA1B-8090-71B4E0E99B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upo 38">
            <a:extLst>
              <a:ext uri="{FF2B5EF4-FFF2-40B4-BE49-F238E27FC236}">
                <a16:creationId xmlns:a16="http://schemas.microsoft.com/office/drawing/2014/main" id="{A6E71F36-D033-0843-91B7-090F1FFDDA83}"/>
              </a:ext>
            </a:extLst>
          </p:cNvPr>
          <p:cNvGrpSpPr/>
          <p:nvPr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40" name="Rectángulo 39">
              <a:extLst>
                <a:ext uri="{FF2B5EF4-FFF2-40B4-BE49-F238E27FC236}">
                  <a16:creationId xmlns:a16="http://schemas.microsoft.com/office/drawing/2014/main" id="{AC6DCDFB-ACAB-B1E4-B3B2-0D7411955F9A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_tradnl" sz="670"/>
            </a:p>
          </p:txBody>
        </p:sp>
        <p:sp>
          <p:nvSpPr>
            <p:cNvPr id="41" name="Rectángulo 40">
              <a:extLst>
                <a:ext uri="{FF2B5EF4-FFF2-40B4-BE49-F238E27FC236}">
                  <a16:creationId xmlns:a16="http://schemas.microsoft.com/office/drawing/2014/main" id="{B961E4B6-5CE2-EA39-9D1C-8EE44B8585CF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670"/>
            </a:p>
          </p:txBody>
        </p:sp>
        <p:sp>
          <p:nvSpPr>
            <p:cNvPr id="42" name="Rectángulo 41">
              <a:extLst>
                <a:ext uri="{FF2B5EF4-FFF2-40B4-BE49-F238E27FC236}">
                  <a16:creationId xmlns:a16="http://schemas.microsoft.com/office/drawing/2014/main" id="{A6E6FE41-79C2-0928-1FEE-94BC06ACF794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670"/>
            </a:p>
          </p:txBody>
        </p:sp>
      </p:grpSp>
      <p:sp>
        <p:nvSpPr>
          <p:cNvPr id="7" name="Rectángulo: esquinas redondeadas 4">
            <a:extLst>
              <a:ext uri="{FF2B5EF4-FFF2-40B4-BE49-F238E27FC236}">
                <a16:creationId xmlns:a16="http://schemas.microsoft.com/office/drawing/2014/main" id="{B3F789CA-54A1-B866-8466-C59CB09D0208}"/>
              </a:ext>
            </a:extLst>
          </p:cNvPr>
          <p:cNvSpPr>
            <a:spLocks/>
          </p:cNvSpPr>
          <p:nvPr/>
        </p:nvSpPr>
        <p:spPr>
          <a:xfrm>
            <a:off x="540657" y="1529930"/>
            <a:ext cx="8062686" cy="3047254"/>
          </a:xfrm>
          <a:prstGeom prst="roundRect">
            <a:avLst>
              <a:gd name="adj" fmla="val 1975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10" name="Marcador de texto 8">
            <a:extLst>
              <a:ext uri="{FF2B5EF4-FFF2-40B4-BE49-F238E27FC236}">
                <a16:creationId xmlns:a16="http://schemas.microsoft.com/office/drawing/2014/main" id="{4C67DEED-DCAC-4231-CE7F-36C7B6BEDAA7}"/>
              </a:ext>
            </a:extLst>
          </p:cNvPr>
          <p:cNvSpPr txBox="1">
            <a:spLocks/>
          </p:cNvSpPr>
          <p:nvPr/>
        </p:nvSpPr>
        <p:spPr>
          <a:xfrm>
            <a:off x="4643352" y="3351933"/>
            <a:ext cx="1479305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900" b="1">
                <a:latin typeface="Montserrat" panose="000005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25" b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 Medium" panose="02000000000000000000" pitchFamily="2" charset="0"/>
              </a:rPr>
              <a:t>+ 2,3MM HP | 213 MM USD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00C9655F-8A04-3D0F-85AF-A49EA72015C2}"/>
              </a:ext>
            </a:extLst>
          </p:cNvPr>
          <p:cNvSpPr txBox="1"/>
          <p:nvPr/>
        </p:nvSpPr>
        <p:spPr>
          <a:xfrm>
            <a:off x="4671710" y="1996459"/>
            <a:ext cx="1422588" cy="3347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s-AR"/>
            </a:defPPr>
            <a:lvl1pPr algn="ctr">
              <a:defRPr sz="1400" b="1">
                <a:latin typeface="Pulso Light" pitchFamily="2" charset="0"/>
              </a:defRPr>
            </a:lvl1pPr>
          </a:lstStyle>
          <a:p>
            <a:pPr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25">
                <a:solidFill>
                  <a:schemeClr val="accent1"/>
                </a:solidFill>
                <a:latin typeface="Pulso" pitchFamily="2" charset="0"/>
                <a:ea typeface="Roboto Medium" panose="02000000000000000000" pitchFamily="2" charset="0"/>
              </a:rPr>
              <a:t>11,8 MM HP</a:t>
            </a:r>
          </a:p>
          <a:p>
            <a:pPr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675" b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 Light" panose="02000000000000000000" pitchFamily="2" charset="0"/>
              </a:rPr>
              <a:t>80% de Cobertura FTTH Argentina (14,8MM HP)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EA87F7E0-CD43-0990-0E53-717FAA1C2D91}"/>
              </a:ext>
            </a:extLst>
          </p:cNvPr>
          <p:cNvSpPr txBox="1"/>
          <p:nvPr/>
        </p:nvSpPr>
        <p:spPr>
          <a:xfrm>
            <a:off x="3147079" y="3991253"/>
            <a:ext cx="264862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s-AR"/>
            </a:defPPr>
            <a:lvl1pPr algn="ctr">
              <a:defRPr sz="1400" b="1">
                <a:latin typeface="Pulso Light" pitchFamily="2" charset="0"/>
              </a:defRPr>
            </a:lvl1pPr>
          </a:lstStyle>
          <a:p>
            <a:pPr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25" b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</a:rPr>
              <a:t>136</a:t>
            </a: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3F0EBFAF-3028-3FD4-1EF3-8C309D16A58F}"/>
              </a:ext>
            </a:extLst>
          </p:cNvPr>
          <p:cNvSpPr txBox="1"/>
          <p:nvPr/>
        </p:nvSpPr>
        <p:spPr>
          <a:xfrm>
            <a:off x="3875877" y="3991253"/>
            <a:ext cx="252159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s-AR"/>
            </a:defPPr>
            <a:lvl1pPr algn="ctr">
              <a:defRPr sz="1400" b="1">
                <a:latin typeface="Pulso Light" pitchFamily="2" charset="0"/>
              </a:defRPr>
            </a:lvl1pPr>
          </a:lstStyle>
          <a:p>
            <a:pPr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25" b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</a:rPr>
              <a:t>24</a:t>
            </a:r>
          </a:p>
        </p:txBody>
      </p:sp>
      <p:cxnSp>
        <p:nvCxnSpPr>
          <p:cNvPr id="50" name="Conector recto de flecha 49">
            <a:extLst>
              <a:ext uri="{FF2B5EF4-FFF2-40B4-BE49-F238E27FC236}">
                <a16:creationId xmlns:a16="http://schemas.microsoft.com/office/drawing/2014/main" id="{FCA55218-2677-B8AA-2C77-6B955DA07A3D}"/>
              </a:ext>
            </a:extLst>
          </p:cNvPr>
          <p:cNvCxnSpPr>
            <a:cxnSpLocks/>
          </p:cNvCxnSpPr>
          <p:nvPr/>
        </p:nvCxnSpPr>
        <p:spPr>
          <a:xfrm>
            <a:off x="4445853" y="2624903"/>
            <a:ext cx="212849" cy="0"/>
          </a:xfrm>
          <a:prstGeom prst="straightConnector1">
            <a:avLst/>
          </a:prstGeom>
          <a:ln w="25400" cap="rnd">
            <a:solidFill>
              <a:schemeClr val="bg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Marcador de texto 8">
            <a:extLst>
              <a:ext uri="{FF2B5EF4-FFF2-40B4-BE49-F238E27FC236}">
                <a16:creationId xmlns:a16="http://schemas.microsoft.com/office/drawing/2014/main" id="{C1E541A0-D869-C5B6-30E0-BDDAAFBB5796}"/>
              </a:ext>
            </a:extLst>
          </p:cNvPr>
          <p:cNvSpPr txBox="1">
            <a:spLocks/>
          </p:cNvSpPr>
          <p:nvPr/>
        </p:nvSpPr>
        <p:spPr>
          <a:xfrm>
            <a:off x="4795041" y="3229359"/>
            <a:ext cx="1175927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900" b="1">
                <a:latin typeface="Montserrat" panose="000005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675" b="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 Light" panose="02000000000000000000" pitchFamily="2" charset="0"/>
              </a:rPr>
              <a:t>Para finalizar el Overlay</a:t>
            </a:r>
          </a:p>
        </p:txBody>
      </p:sp>
      <p:sp>
        <p:nvSpPr>
          <p:cNvPr id="52" name="Marcador de texto 8">
            <a:extLst>
              <a:ext uri="{FF2B5EF4-FFF2-40B4-BE49-F238E27FC236}">
                <a16:creationId xmlns:a16="http://schemas.microsoft.com/office/drawing/2014/main" id="{1AC3F9CB-F7BF-6AC2-30D9-8FACE3F0C638}"/>
              </a:ext>
            </a:extLst>
          </p:cNvPr>
          <p:cNvSpPr txBox="1">
            <a:spLocks/>
          </p:cNvSpPr>
          <p:nvPr/>
        </p:nvSpPr>
        <p:spPr>
          <a:xfrm>
            <a:off x="4623153" y="2632929"/>
            <a:ext cx="1519703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u="none" strike="noStrike" cap="none" spc="0" normalizeH="0" baseline="0">
                <a:ln>
                  <a:noFill/>
                </a:ln>
                <a:solidFill>
                  <a:schemeClr val="accent4">
                    <a:lumMod val="40000"/>
                    <a:lumOff val="60000"/>
                  </a:schemeClr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AR" sz="825">
                <a:solidFill>
                  <a:schemeClr val="bg2"/>
                </a:solidFill>
                <a:latin typeface="Pulso" pitchFamily="2" charset="0"/>
              </a:rPr>
              <a:t>+ 1,4MM HP | 123MM USD</a:t>
            </a:r>
          </a:p>
        </p:txBody>
      </p:sp>
      <p:sp>
        <p:nvSpPr>
          <p:cNvPr id="53" name="Marcador de texto 8">
            <a:extLst>
              <a:ext uri="{FF2B5EF4-FFF2-40B4-BE49-F238E27FC236}">
                <a16:creationId xmlns:a16="http://schemas.microsoft.com/office/drawing/2014/main" id="{84162DC2-2752-E439-5D19-E3C8290BA2B5}"/>
              </a:ext>
            </a:extLst>
          </p:cNvPr>
          <p:cNvSpPr txBox="1">
            <a:spLocks/>
          </p:cNvSpPr>
          <p:nvPr/>
        </p:nvSpPr>
        <p:spPr>
          <a:xfrm>
            <a:off x="4814392" y="2525055"/>
            <a:ext cx="113722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>
                <a:solidFill>
                  <a:srgbClr val="24272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AR" sz="675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A desplegar Expansión </a:t>
            </a: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6464DF23-3BEF-68E5-1D97-DF9BB9872CDD}"/>
              </a:ext>
            </a:extLst>
          </p:cNvPr>
          <p:cNvSpPr txBox="1"/>
          <p:nvPr/>
        </p:nvSpPr>
        <p:spPr>
          <a:xfrm>
            <a:off x="4755022" y="4173659"/>
            <a:ext cx="1255964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s-AR"/>
            </a:defPPr>
            <a:lvl1pPr algn="ctr">
              <a:defRPr sz="1400" b="1">
                <a:latin typeface="Pulso Light" pitchFamily="2" charset="0"/>
              </a:defRPr>
            </a:lvl1pPr>
          </a:lstStyle>
          <a:p>
            <a:r>
              <a:rPr lang="es-AR" sz="825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</a:rPr>
              <a:t>437 MM USD</a:t>
            </a:r>
          </a:p>
        </p:txBody>
      </p:sp>
      <p:sp>
        <p:nvSpPr>
          <p:cNvPr id="55" name="CuadroTexto 54">
            <a:extLst>
              <a:ext uri="{FF2B5EF4-FFF2-40B4-BE49-F238E27FC236}">
                <a16:creationId xmlns:a16="http://schemas.microsoft.com/office/drawing/2014/main" id="{2BE2F135-E297-1D14-77B6-1FD59B85691F}"/>
              </a:ext>
            </a:extLst>
          </p:cNvPr>
          <p:cNvSpPr txBox="1"/>
          <p:nvPr/>
        </p:nvSpPr>
        <p:spPr>
          <a:xfrm>
            <a:off x="4857011" y="4060263"/>
            <a:ext cx="1051986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>
                <a:solidFill>
                  <a:srgbClr val="24272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AR" sz="675" b="1">
                <a:solidFill>
                  <a:schemeClr val="tx2"/>
                </a:solidFill>
                <a:latin typeface="Pulso" pitchFamily="2" charset="0"/>
              </a:rPr>
              <a:t>Inversión 26-30</a:t>
            </a:r>
          </a:p>
        </p:txBody>
      </p:sp>
      <p:cxnSp>
        <p:nvCxnSpPr>
          <p:cNvPr id="56" name="Conector recto de flecha 55">
            <a:extLst>
              <a:ext uri="{FF2B5EF4-FFF2-40B4-BE49-F238E27FC236}">
                <a16:creationId xmlns:a16="http://schemas.microsoft.com/office/drawing/2014/main" id="{7BCB1653-CB12-D476-E9A0-3366427BBBE6}"/>
              </a:ext>
            </a:extLst>
          </p:cNvPr>
          <p:cNvCxnSpPr>
            <a:cxnSpLocks/>
          </p:cNvCxnSpPr>
          <p:nvPr/>
        </p:nvCxnSpPr>
        <p:spPr>
          <a:xfrm>
            <a:off x="4445853" y="2100130"/>
            <a:ext cx="212849" cy="0"/>
          </a:xfrm>
          <a:prstGeom prst="straightConnector1">
            <a:avLst/>
          </a:prstGeom>
          <a:ln w="25400" cap="rnd">
            <a:solidFill>
              <a:schemeClr val="accent1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ector recto de flecha 56">
            <a:extLst>
              <a:ext uri="{FF2B5EF4-FFF2-40B4-BE49-F238E27FC236}">
                <a16:creationId xmlns:a16="http://schemas.microsoft.com/office/drawing/2014/main" id="{C0093AB7-7143-B2E2-6354-F3DA1F6D80D9}"/>
              </a:ext>
            </a:extLst>
          </p:cNvPr>
          <p:cNvCxnSpPr>
            <a:cxnSpLocks/>
          </p:cNvCxnSpPr>
          <p:nvPr/>
        </p:nvCxnSpPr>
        <p:spPr>
          <a:xfrm>
            <a:off x="4445853" y="3335543"/>
            <a:ext cx="212849" cy="0"/>
          </a:xfrm>
          <a:prstGeom prst="straightConnector1">
            <a:avLst/>
          </a:prstGeom>
          <a:ln w="25400" cap="rnd">
            <a:solidFill>
              <a:schemeClr val="tx2">
                <a:lumMod val="75000"/>
                <a:lumOff val="25000"/>
              </a:schemeClr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" name="Gráfico 57">
            <a:extLst>
              <a:ext uri="{FF2B5EF4-FFF2-40B4-BE49-F238E27FC236}">
                <a16:creationId xmlns:a16="http://schemas.microsoft.com/office/drawing/2014/main" id="{4F1DF0A6-EF4D-0AAC-AF99-FB38DA32BE0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01137396"/>
              </p:ext>
            </p:extLst>
          </p:nvPr>
        </p:nvGraphicFramePr>
        <p:xfrm>
          <a:off x="615130" y="1821435"/>
          <a:ext cx="3904890" cy="21675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9" name="CuadroTexto 58">
            <a:extLst>
              <a:ext uri="{FF2B5EF4-FFF2-40B4-BE49-F238E27FC236}">
                <a16:creationId xmlns:a16="http://schemas.microsoft.com/office/drawing/2014/main" id="{AAD72AC5-4C12-DED1-C700-3984E4580F28}"/>
              </a:ext>
            </a:extLst>
          </p:cNvPr>
          <p:cNvSpPr txBox="1"/>
          <p:nvPr/>
        </p:nvSpPr>
        <p:spPr>
          <a:xfrm>
            <a:off x="1686407" y="3991253"/>
            <a:ext cx="264863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s-AR"/>
            </a:defPPr>
            <a:lvl1pPr marR="0" lvl="0" indent="0" algn="ctr" defTabSz="91433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u="none" strike="noStrike" cap="none" spc="0" normalizeH="0" baseline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s-AR" sz="825" b="0">
                <a:solidFill>
                  <a:schemeClr val="tx2"/>
                </a:solidFill>
                <a:latin typeface="Pulso" pitchFamily="2" charset="0"/>
              </a:rPr>
              <a:t>33,4</a:t>
            </a: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1C6F068A-FA45-C009-8186-9F6DD2EE8B45}"/>
              </a:ext>
            </a:extLst>
          </p:cNvPr>
          <p:cNvSpPr txBox="1"/>
          <p:nvPr/>
        </p:nvSpPr>
        <p:spPr>
          <a:xfrm>
            <a:off x="2429580" y="3991252"/>
            <a:ext cx="264862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s-AR"/>
            </a:defPPr>
            <a:lvl1pPr marR="0" lvl="0" indent="0" algn="ctr" defTabSz="91433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u="none" strike="noStrike" cap="none" spc="0" normalizeH="0" baseline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s-AR" sz="825" b="0">
                <a:solidFill>
                  <a:schemeClr val="tx2"/>
                </a:solidFill>
                <a:latin typeface="Pulso" pitchFamily="2" charset="0"/>
              </a:rPr>
              <a:t>101</a:t>
            </a:r>
          </a:p>
        </p:txBody>
      </p:sp>
      <p:sp>
        <p:nvSpPr>
          <p:cNvPr id="61" name="CuadroTexto 60">
            <a:extLst>
              <a:ext uri="{FF2B5EF4-FFF2-40B4-BE49-F238E27FC236}">
                <a16:creationId xmlns:a16="http://schemas.microsoft.com/office/drawing/2014/main" id="{4FCE847C-F97E-4F19-542B-4447E7A96DA5}"/>
              </a:ext>
            </a:extLst>
          </p:cNvPr>
          <p:cNvSpPr txBox="1"/>
          <p:nvPr/>
        </p:nvSpPr>
        <p:spPr>
          <a:xfrm>
            <a:off x="737949" y="3984920"/>
            <a:ext cx="652322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s-AR"/>
            </a:defPPr>
            <a:lvl1pPr algn="ctr">
              <a:defRPr sz="1400" b="1">
                <a:latin typeface="Pulso Light" pitchFamily="2" charset="0"/>
              </a:defRPr>
            </a:lvl1pPr>
          </a:lstStyle>
          <a:p>
            <a:r>
              <a:rPr lang="es-AR" sz="825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</a:rPr>
              <a:t>Red</a:t>
            </a:r>
          </a:p>
        </p:txBody>
      </p:sp>
      <p:cxnSp>
        <p:nvCxnSpPr>
          <p:cNvPr id="62" name="Conector recto de flecha 61">
            <a:extLst>
              <a:ext uri="{FF2B5EF4-FFF2-40B4-BE49-F238E27FC236}">
                <a16:creationId xmlns:a16="http://schemas.microsoft.com/office/drawing/2014/main" id="{D734112C-9D87-C52F-9199-C6496A3C581A}"/>
              </a:ext>
            </a:extLst>
          </p:cNvPr>
          <p:cNvCxnSpPr>
            <a:cxnSpLocks/>
          </p:cNvCxnSpPr>
          <p:nvPr/>
        </p:nvCxnSpPr>
        <p:spPr>
          <a:xfrm>
            <a:off x="4445852" y="4188453"/>
            <a:ext cx="212849" cy="0"/>
          </a:xfrm>
          <a:prstGeom prst="straightConnector1">
            <a:avLst/>
          </a:prstGeom>
          <a:ln w="25400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uadroTexto 62">
            <a:extLst>
              <a:ext uri="{FF2B5EF4-FFF2-40B4-BE49-F238E27FC236}">
                <a16:creationId xmlns:a16="http://schemas.microsoft.com/office/drawing/2014/main" id="{67FC264B-EFD7-D5B8-AC22-886AA55905F4}"/>
              </a:ext>
            </a:extLst>
          </p:cNvPr>
          <p:cNvSpPr txBox="1"/>
          <p:nvPr/>
        </p:nvSpPr>
        <p:spPr>
          <a:xfrm>
            <a:off x="3071263" y="4370147"/>
            <a:ext cx="713106" cy="126958"/>
          </a:xfrm>
          <a:prstGeom prst="rect">
            <a:avLst/>
          </a:prstGeom>
          <a:noFill/>
          <a:ln>
            <a:solidFill>
              <a:schemeClr val="tx2"/>
            </a:solidFill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s-AR"/>
            </a:defPPr>
            <a:lvl1pPr algn="ctr">
              <a:defRPr sz="1400" b="1">
                <a:latin typeface="Pulso Light" pitchFamily="2" charset="0"/>
              </a:defRPr>
            </a:lvl1pPr>
          </a:lstStyle>
          <a:p>
            <a:r>
              <a:rPr lang="es-AR" sz="825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</a:rPr>
              <a:t>100% OVL</a:t>
            </a:r>
          </a:p>
        </p:txBody>
      </p:sp>
      <p:cxnSp>
        <p:nvCxnSpPr>
          <p:cNvPr id="64" name="Conector recto de flecha 63">
            <a:extLst>
              <a:ext uri="{FF2B5EF4-FFF2-40B4-BE49-F238E27FC236}">
                <a16:creationId xmlns:a16="http://schemas.microsoft.com/office/drawing/2014/main" id="{E24A8C5C-64D5-9754-6DE4-BD10D31B6393}"/>
              </a:ext>
            </a:extLst>
          </p:cNvPr>
          <p:cNvCxnSpPr>
            <a:cxnSpLocks/>
            <a:stCxn id="65" idx="1"/>
          </p:cNvCxnSpPr>
          <p:nvPr/>
        </p:nvCxnSpPr>
        <p:spPr>
          <a:xfrm>
            <a:off x="3071263" y="3319992"/>
            <a:ext cx="1" cy="1083080"/>
          </a:xfrm>
          <a:prstGeom prst="straightConnector1">
            <a:avLst/>
          </a:prstGeom>
          <a:noFill/>
          <a:ln>
            <a:solidFill>
              <a:schemeClr val="tx2"/>
            </a:solidFill>
            <a:prstDash val="dash"/>
          </a:ln>
        </p:spPr>
      </p:cxnSp>
      <p:sp>
        <p:nvSpPr>
          <p:cNvPr id="65" name="CuadroTexto 64">
            <a:extLst>
              <a:ext uri="{FF2B5EF4-FFF2-40B4-BE49-F238E27FC236}">
                <a16:creationId xmlns:a16="http://schemas.microsoft.com/office/drawing/2014/main" id="{0182D948-5E93-F044-2BC6-81C42AE696A3}"/>
              </a:ext>
            </a:extLst>
          </p:cNvPr>
          <p:cNvSpPr txBox="1"/>
          <p:nvPr/>
        </p:nvSpPr>
        <p:spPr>
          <a:xfrm>
            <a:off x="3071263" y="3253977"/>
            <a:ext cx="416311" cy="167610"/>
          </a:xfrm>
          <a:prstGeom prst="rect">
            <a:avLst/>
          </a:prstGeom>
          <a:noFill/>
          <a:ln>
            <a:solidFill>
              <a:schemeClr val="tx2"/>
            </a:solidFill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s-AR"/>
            </a:defPPr>
            <a:lvl1pPr algn="ctr">
              <a:defRPr sz="1400" b="1">
                <a:latin typeface="Pulso Light" pitchFamily="2" charset="0"/>
              </a:defRPr>
            </a:lvl1pPr>
          </a:lstStyle>
          <a:p>
            <a:pPr>
              <a:lnSpc>
                <a:spcPct val="150000"/>
              </a:lnSpc>
            </a:pPr>
            <a:endParaRPr lang="es-AR" sz="825">
              <a:solidFill>
                <a:schemeClr val="bg1">
                  <a:lumMod val="10000"/>
                </a:schemeClr>
              </a:solidFill>
              <a:latin typeface="Pulso" pitchFamily="2" charset="0"/>
              <a:ea typeface="Roboto" panose="02000000000000000000" pitchFamily="2" charset="0"/>
            </a:endParaRPr>
          </a:p>
        </p:txBody>
      </p:sp>
      <p:sp>
        <p:nvSpPr>
          <p:cNvPr id="66" name="Cerrar corchete 65">
            <a:extLst>
              <a:ext uri="{FF2B5EF4-FFF2-40B4-BE49-F238E27FC236}">
                <a16:creationId xmlns:a16="http://schemas.microsoft.com/office/drawing/2014/main" id="{43567EAD-8F4E-1F02-B5EF-3CF34CDFFDA3}"/>
              </a:ext>
            </a:extLst>
          </p:cNvPr>
          <p:cNvSpPr/>
          <p:nvPr/>
        </p:nvSpPr>
        <p:spPr>
          <a:xfrm rot="5400000">
            <a:off x="3604132" y="3496116"/>
            <a:ext cx="82852" cy="1388156"/>
          </a:xfrm>
          <a:prstGeom prst="rightBracket">
            <a:avLst>
              <a:gd name="adj" fmla="val 91282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AR" sz="670">
              <a:latin typeface="Pulso" pitchFamily="2" charset="0"/>
            </a:endParaRPr>
          </a:p>
        </p:txBody>
      </p:sp>
      <p:sp>
        <p:nvSpPr>
          <p:cNvPr id="68" name="Title 1">
            <a:extLst>
              <a:ext uri="{FF2B5EF4-FFF2-40B4-BE49-F238E27FC236}">
                <a16:creationId xmlns:a16="http://schemas.microsoft.com/office/drawing/2014/main" id="{868C527D-313A-D99B-6897-598C8812B73D}"/>
              </a:ext>
            </a:extLst>
          </p:cNvPr>
          <p:cNvSpPr txBox="1">
            <a:spLocks/>
          </p:cNvSpPr>
          <p:nvPr/>
        </p:nvSpPr>
        <p:spPr>
          <a:xfrm>
            <a:off x="540657" y="606143"/>
            <a:ext cx="3401581" cy="718145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tx2"/>
                </a:solidFill>
                <a:latin typeface="Pulso Light" pitchFamily="2" charset="0"/>
              </a:rPr>
              <a:t>Acelerar FTTH Overlay y </a:t>
            </a:r>
            <a:r>
              <a:rPr lang="es-ES_tradnl" sz="2500" b="0" noProof="0">
                <a:solidFill>
                  <a:schemeClr val="bg2"/>
                </a:solidFill>
                <a:latin typeface="Pulso Light" pitchFamily="2" charset="0"/>
              </a:rPr>
              <a:t>Expansión FTTH</a:t>
            </a:r>
          </a:p>
        </p:txBody>
      </p:sp>
      <p:sp>
        <p:nvSpPr>
          <p:cNvPr id="69" name="Title 1">
            <a:extLst>
              <a:ext uri="{FF2B5EF4-FFF2-40B4-BE49-F238E27FC236}">
                <a16:creationId xmlns:a16="http://schemas.microsoft.com/office/drawing/2014/main" id="{DB45F30B-5AAC-1330-4F05-D6C26A622EF8}"/>
              </a:ext>
            </a:extLst>
          </p:cNvPr>
          <p:cNvSpPr txBox="1">
            <a:spLocks/>
          </p:cNvSpPr>
          <p:nvPr/>
        </p:nvSpPr>
        <p:spPr>
          <a:xfrm>
            <a:off x="537890" y="1669716"/>
            <a:ext cx="8062684" cy="16927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100" b="0" spc="0" noProof="0">
                <a:solidFill>
                  <a:schemeClr val="tx2"/>
                </a:solidFill>
              </a:rPr>
              <a:t>Redes Acceso Fijo al 2030 (HHPP MM)</a:t>
            </a:r>
          </a:p>
        </p:txBody>
      </p:sp>
      <p:sp>
        <p:nvSpPr>
          <p:cNvPr id="77" name="Marcador de texto 8">
            <a:extLst>
              <a:ext uri="{FF2B5EF4-FFF2-40B4-BE49-F238E27FC236}">
                <a16:creationId xmlns:a16="http://schemas.microsoft.com/office/drawing/2014/main" id="{334AC23A-2BF2-A5BE-4EBF-25DCA158B68F}"/>
              </a:ext>
            </a:extLst>
          </p:cNvPr>
          <p:cNvSpPr txBox="1">
            <a:spLocks/>
          </p:cNvSpPr>
          <p:nvPr/>
        </p:nvSpPr>
        <p:spPr>
          <a:xfrm>
            <a:off x="6488343" y="2444650"/>
            <a:ext cx="1862470" cy="1831271"/>
          </a:xfrm>
          <a:prstGeom prst="rect">
            <a:avLst/>
          </a:prstGeom>
          <a:noFill/>
          <a:ln>
            <a:noFill/>
          </a:ln>
          <a:sp3d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>
            <a:defPPr>
              <a:defRPr lang="en-US"/>
            </a:defPPr>
            <a:lvl1pPr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defRPr>
            </a:lvl1pPr>
            <a:lvl2pPr marL="170815" lvl="1" indent="-170815" defTabSz="800080">
              <a:spcAft>
                <a:spcPts val="700"/>
              </a:spcAft>
              <a:buClr>
                <a:schemeClr val="accent2"/>
              </a:buClr>
              <a:buFont typeface="Letra del sistema regular"/>
              <a:buChar char="●"/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  <a:cs typeface="Open Sans"/>
              </a:defRPr>
            </a:lvl2pPr>
            <a:lvl3pPr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defRPr>
            </a:lvl3pPr>
            <a:lvl4pPr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defRPr>
            </a:lvl4pPr>
            <a:lvl5pPr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defRPr>
            </a:lvl5pPr>
            <a:lvl6pPr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defRPr>
            </a:lvl6pPr>
            <a:lvl7pPr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defRPr>
            </a:lvl7pPr>
            <a:lvl8pPr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defRPr>
            </a:lvl8pPr>
            <a:lvl9pPr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defRPr>
            </a:lvl9pPr>
          </a:lstStyle>
          <a:p>
            <a:pPr lvl="1">
              <a:spcAft>
                <a:spcPts val="750"/>
              </a:spcAft>
              <a:buClr>
                <a:schemeClr val="tx2"/>
              </a:buClr>
            </a:pPr>
            <a:r>
              <a:rPr lang="es-AR" sz="900"/>
              <a:t>Blindar los clientes de alto valor, con un nivel de servicio superador con redes FTTH (finalizar OVL en 2027).</a:t>
            </a:r>
          </a:p>
          <a:p>
            <a:pPr lvl="1">
              <a:spcAft>
                <a:spcPts val="750"/>
              </a:spcAft>
              <a:buClr>
                <a:schemeClr val="tx2"/>
              </a:buClr>
            </a:pPr>
            <a:r>
              <a:rPr lang="es-AR" sz="900"/>
              <a:t>Reducir el costo operativo y de CPEs.</a:t>
            </a:r>
          </a:p>
          <a:p>
            <a:pPr lvl="1">
              <a:spcAft>
                <a:spcPts val="750"/>
              </a:spcAft>
              <a:buClr>
                <a:schemeClr val="tx2"/>
              </a:buClr>
            </a:pPr>
            <a:r>
              <a:rPr lang="es-AR" sz="900"/>
              <a:t>Reducir las tasas de reclamos y mejorar el NPS.</a:t>
            </a:r>
          </a:p>
          <a:p>
            <a:pPr lvl="1">
              <a:spcAft>
                <a:spcPts val="750"/>
              </a:spcAft>
              <a:buClr>
                <a:schemeClr val="tx2"/>
              </a:buClr>
            </a:pPr>
            <a:r>
              <a:rPr lang="es-AR" sz="900"/>
              <a:t>Zonas de expansión y Brownfield permiten compensar la pérdida de clientes en zonas núcleo.</a:t>
            </a:r>
          </a:p>
        </p:txBody>
      </p:sp>
      <p:sp>
        <p:nvSpPr>
          <p:cNvPr id="78" name="Title 1">
            <a:extLst>
              <a:ext uri="{FF2B5EF4-FFF2-40B4-BE49-F238E27FC236}">
                <a16:creationId xmlns:a16="http://schemas.microsoft.com/office/drawing/2014/main" id="{55EEAC0E-C084-6F7D-5A23-005EC62B90BA}"/>
              </a:ext>
            </a:extLst>
          </p:cNvPr>
          <p:cNvSpPr txBox="1">
            <a:spLocks/>
          </p:cNvSpPr>
          <p:nvPr/>
        </p:nvSpPr>
        <p:spPr>
          <a:xfrm>
            <a:off x="6472605" y="1996459"/>
            <a:ext cx="1862470" cy="30777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000" b="0" spc="0" noProof="0">
                <a:solidFill>
                  <a:schemeClr val="tx2"/>
                </a:solidFill>
              </a:rPr>
              <a:t>Mayor NPS, menor costo operativo </a:t>
            </a:r>
          </a:p>
        </p:txBody>
      </p:sp>
      <p:cxnSp>
        <p:nvCxnSpPr>
          <p:cNvPr id="79" name="Conector recto de flecha 78">
            <a:extLst>
              <a:ext uri="{FF2B5EF4-FFF2-40B4-BE49-F238E27FC236}">
                <a16:creationId xmlns:a16="http://schemas.microsoft.com/office/drawing/2014/main" id="{B983658B-F413-FFCB-C7F1-763B219E39CB}"/>
              </a:ext>
            </a:extLst>
          </p:cNvPr>
          <p:cNvCxnSpPr>
            <a:cxnSpLocks/>
          </p:cNvCxnSpPr>
          <p:nvPr/>
        </p:nvCxnSpPr>
        <p:spPr>
          <a:xfrm>
            <a:off x="6278887" y="1935539"/>
            <a:ext cx="0" cy="2457407"/>
          </a:xfrm>
          <a:prstGeom prst="straightConnector1">
            <a:avLst/>
          </a:prstGeom>
          <a:noFill/>
          <a:ln w="3810" cap="rnd">
            <a:solidFill>
              <a:schemeClr val="bg1">
                <a:lumMod val="25000"/>
              </a:schemeClr>
            </a:solidFill>
            <a:prstDash val="sysDot"/>
          </a:ln>
        </p:spPr>
      </p:cxnSp>
    </p:spTree>
    <p:extLst>
      <p:ext uri="{BB962C8B-B14F-4D97-AF65-F5344CB8AC3E}">
        <p14:creationId xmlns:p14="http://schemas.microsoft.com/office/powerpoint/2010/main" val="1202376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3AB77F-A1EE-B73C-9CCD-D1B340B4DD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upo 38">
            <a:extLst>
              <a:ext uri="{FF2B5EF4-FFF2-40B4-BE49-F238E27FC236}">
                <a16:creationId xmlns:a16="http://schemas.microsoft.com/office/drawing/2014/main" id="{53C88A19-FB89-57FA-60E1-6A2AAAA61382}"/>
              </a:ext>
            </a:extLst>
          </p:cNvPr>
          <p:cNvGrpSpPr/>
          <p:nvPr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40" name="Rectángulo 39">
              <a:extLst>
                <a:ext uri="{FF2B5EF4-FFF2-40B4-BE49-F238E27FC236}">
                  <a16:creationId xmlns:a16="http://schemas.microsoft.com/office/drawing/2014/main" id="{D735B0B6-5D85-AFA1-D6FB-A0A665C0CB48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_tradnl" sz="670"/>
            </a:p>
          </p:txBody>
        </p:sp>
        <p:sp>
          <p:nvSpPr>
            <p:cNvPr id="41" name="Rectángulo 40">
              <a:extLst>
                <a:ext uri="{FF2B5EF4-FFF2-40B4-BE49-F238E27FC236}">
                  <a16:creationId xmlns:a16="http://schemas.microsoft.com/office/drawing/2014/main" id="{35458413-9B89-620D-E640-C2C0C940B673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670"/>
            </a:p>
          </p:txBody>
        </p:sp>
        <p:sp>
          <p:nvSpPr>
            <p:cNvPr id="42" name="Rectángulo 41">
              <a:extLst>
                <a:ext uri="{FF2B5EF4-FFF2-40B4-BE49-F238E27FC236}">
                  <a16:creationId xmlns:a16="http://schemas.microsoft.com/office/drawing/2014/main" id="{DAA44F1D-3221-5472-877A-7CEFE3950C1F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670"/>
            </a:p>
          </p:txBody>
        </p:sp>
      </p:grpSp>
      <p:sp>
        <p:nvSpPr>
          <p:cNvPr id="7" name="Rectángulo: esquinas redondeadas 4">
            <a:extLst>
              <a:ext uri="{FF2B5EF4-FFF2-40B4-BE49-F238E27FC236}">
                <a16:creationId xmlns:a16="http://schemas.microsoft.com/office/drawing/2014/main" id="{C8CDA256-A1B0-6994-011B-D7F3DE12C27B}"/>
              </a:ext>
            </a:extLst>
          </p:cNvPr>
          <p:cNvSpPr>
            <a:spLocks/>
          </p:cNvSpPr>
          <p:nvPr/>
        </p:nvSpPr>
        <p:spPr>
          <a:xfrm>
            <a:off x="524330" y="1494942"/>
            <a:ext cx="8062684" cy="3047254"/>
          </a:xfrm>
          <a:prstGeom prst="roundRect">
            <a:avLst>
              <a:gd name="adj" fmla="val 1975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68" name="Title 1">
            <a:extLst>
              <a:ext uri="{FF2B5EF4-FFF2-40B4-BE49-F238E27FC236}">
                <a16:creationId xmlns:a16="http://schemas.microsoft.com/office/drawing/2014/main" id="{87573A49-43F7-F696-0EAA-28FE055F74CD}"/>
              </a:ext>
            </a:extLst>
          </p:cNvPr>
          <p:cNvSpPr txBox="1">
            <a:spLocks/>
          </p:cNvSpPr>
          <p:nvPr/>
        </p:nvSpPr>
        <p:spPr>
          <a:xfrm>
            <a:off x="540657" y="606143"/>
            <a:ext cx="5682244" cy="718145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tx2"/>
                </a:solidFill>
                <a:latin typeface="Pulso Light" pitchFamily="2" charset="0"/>
              </a:rPr>
              <a:t>Acelerar la migración de clientes a </a:t>
            </a:r>
            <a:r>
              <a:rPr lang="es-ES_tradnl" sz="2500" b="0" noProof="0">
                <a:solidFill>
                  <a:schemeClr val="bg2"/>
                </a:solidFill>
                <a:latin typeface="Pulso Light" pitchFamily="2" charset="0"/>
              </a:rPr>
              <a:t>tecnologías más modernas (FTTH/FWA)</a:t>
            </a:r>
          </a:p>
        </p:txBody>
      </p:sp>
      <p:sp>
        <p:nvSpPr>
          <p:cNvPr id="69" name="Title 1">
            <a:extLst>
              <a:ext uri="{FF2B5EF4-FFF2-40B4-BE49-F238E27FC236}">
                <a16:creationId xmlns:a16="http://schemas.microsoft.com/office/drawing/2014/main" id="{537769E4-0370-7172-842F-2F2CAF6BA3B0}"/>
              </a:ext>
            </a:extLst>
          </p:cNvPr>
          <p:cNvSpPr txBox="1">
            <a:spLocks/>
          </p:cNvSpPr>
          <p:nvPr/>
        </p:nvSpPr>
        <p:spPr>
          <a:xfrm>
            <a:off x="524329" y="1649737"/>
            <a:ext cx="5620425" cy="338554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100" b="0" spc="0" noProof="0">
                <a:solidFill>
                  <a:schemeClr val="tx2"/>
                </a:solidFill>
              </a:rPr>
              <a:t>Parque Internet según tecnología y zona </a:t>
            </a:r>
            <a:r>
              <a:rPr lang="es-ES_tradnl" sz="1100" b="0" spc="0">
                <a:solidFill>
                  <a:schemeClr val="tx2"/>
                </a:solidFill>
                <a:latin typeface="Pulso Light" pitchFamily="2" charset="0"/>
              </a:rPr>
              <a:t>(valor diciembre de cada año) en millones</a:t>
            </a:r>
          </a:p>
          <a:p>
            <a:pPr algn="ctr">
              <a:lnSpc>
                <a:spcPct val="100000"/>
              </a:lnSpc>
            </a:pPr>
            <a:endParaRPr lang="es-ES_tradnl" sz="1100" b="0" spc="0" noProof="0">
              <a:solidFill>
                <a:schemeClr val="tx2"/>
              </a:solidFill>
            </a:endParaRPr>
          </a:p>
        </p:txBody>
      </p:sp>
      <p:sp>
        <p:nvSpPr>
          <p:cNvPr id="77" name="Marcador de texto 8">
            <a:extLst>
              <a:ext uri="{FF2B5EF4-FFF2-40B4-BE49-F238E27FC236}">
                <a16:creationId xmlns:a16="http://schemas.microsoft.com/office/drawing/2014/main" id="{40074D0C-36CD-BE9D-E197-5BA4A5CB05F4}"/>
              </a:ext>
            </a:extLst>
          </p:cNvPr>
          <p:cNvSpPr txBox="1">
            <a:spLocks/>
          </p:cNvSpPr>
          <p:nvPr/>
        </p:nvSpPr>
        <p:spPr>
          <a:xfrm>
            <a:off x="5894086" y="2819835"/>
            <a:ext cx="2481391" cy="1554272"/>
          </a:xfrm>
          <a:prstGeom prst="rect">
            <a:avLst/>
          </a:prstGeom>
          <a:noFill/>
          <a:ln>
            <a:noFill/>
          </a:ln>
          <a:sp3d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>
            <a:defPPr>
              <a:defRPr lang="en-US"/>
            </a:defPPr>
            <a:lvl1pPr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defRPr>
            </a:lvl1pPr>
            <a:lvl2pPr marL="170815" lvl="1" indent="-170815" defTabSz="800080">
              <a:spcAft>
                <a:spcPts val="700"/>
              </a:spcAft>
              <a:buClr>
                <a:schemeClr val="accent2"/>
              </a:buClr>
              <a:buFont typeface="Letra del sistema regular"/>
              <a:buChar char="●"/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  <a:cs typeface="Open Sans"/>
              </a:defRPr>
            </a:lvl2pPr>
            <a:lvl3pPr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defRPr>
            </a:lvl3pPr>
            <a:lvl4pPr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defRPr>
            </a:lvl4pPr>
            <a:lvl5pPr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defRPr>
            </a:lvl5pPr>
            <a:lvl6pPr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defRPr>
            </a:lvl6pPr>
            <a:lvl7pPr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defRPr>
            </a:lvl7pPr>
            <a:lvl8pPr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defRPr>
            </a:lvl8pPr>
            <a:lvl9pPr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defRPr>
            </a:lvl9pPr>
          </a:lstStyle>
          <a:p>
            <a:pPr lvl="1">
              <a:spcAft>
                <a:spcPts val="750"/>
              </a:spcAft>
              <a:buClr>
                <a:schemeClr val="tx2"/>
              </a:buClr>
            </a:pPr>
            <a:r>
              <a:rPr lang="es-AR" sz="900"/>
              <a:t>Triplicar la velocidad de migración de clientes HFC a FTTH aprovechando todo contacto con el cliente (Ej. Llamadas por Service Técnicos).</a:t>
            </a:r>
          </a:p>
          <a:p>
            <a:pPr lvl="1">
              <a:spcAft>
                <a:spcPts val="750"/>
              </a:spcAft>
              <a:buClr>
                <a:schemeClr val="tx2"/>
              </a:buClr>
            </a:pPr>
            <a:r>
              <a:rPr lang="es-AR" sz="900"/>
              <a:t>Evitar la compra de CM ahorrando CAPEX.</a:t>
            </a:r>
          </a:p>
          <a:p>
            <a:pPr lvl="1">
              <a:spcAft>
                <a:spcPts val="750"/>
              </a:spcAft>
              <a:buClr>
                <a:schemeClr val="tx2"/>
              </a:buClr>
            </a:pPr>
            <a:r>
              <a:rPr lang="es-AR" sz="900"/>
              <a:t>Expandir la pisada mediante tecnología Móvil (FWA) y recuperar clientes Cobre  que no tengan posibilidad de migración a redes fijas.</a:t>
            </a:r>
          </a:p>
          <a:p>
            <a:pPr lvl="1">
              <a:spcAft>
                <a:spcPts val="750"/>
              </a:spcAft>
              <a:buClr>
                <a:schemeClr val="tx2"/>
              </a:buClr>
            </a:pPr>
            <a:r>
              <a:rPr lang="es-AR" sz="900"/>
              <a:t>Facilitar el apagado paulatino de redes que van siendo obsoleta (Cobre y HFC)</a:t>
            </a:r>
          </a:p>
        </p:txBody>
      </p:sp>
      <p:sp>
        <p:nvSpPr>
          <p:cNvPr id="78" name="Title 1">
            <a:extLst>
              <a:ext uri="{FF2B5EF4-FFF2-40B4-BE49-F238E27FC236}">
                <a16:creationId xmlns:a16="http://schemas.microsoft.com/office/drawing/2014/main" id="{4580C009-F65D-1D37-D1CB-B8B64009B119}"/>
              </a:ext>
            </a:extLst>
          </p:cNvPr>
          <p:cNvSpPr txBox="1">
            <a:spLocks/>
          </p:cNvSpPr>
          <p:nvPr/>
        </p:nvSpPr>
        <p:spPr>
          <a:xfrm>
            <a:off x="5901275" y="2221592"/>
            <a:ext cx="2392277" cy="461665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000" b="0" spc="0" noProof="0">
                <a:solidFill>
                  <a:schemeClr val="tx2"/>
                </a:solidFill>
              </a:rPr>
              <a:t>Llevar a los clientes a la mejor red disponible de forma eficiente alcanzando un 89% en FTTH hacia 2030</a:t>
            </a:r>
          </a:p>
        </p:txBody>
      </p:sp>
      <p:cxnSp>
        <p:nvCxnSpPr>
          <p:cNvPr id="79" name="Conector recto de flecha 78">
            <a:extLst>
              <a:ext uri="{FF2B5EF4-FFF2-40B4-BE49-F238E27FC236}">
                <a16:creationId xmlns:a16="http://schemas.microsoft.com/office/drawing/2014/main" id="{9D06BA78-92C2-D992-117E-893BE874D35C}"/>
              </a:ext>
            </a:extLst>
          </p:cNvPr>
          <p:cNvCxnSpPr>
            <a:cxnSpLocks/>
          </p:cNvCxnSpPr>
          <p:nvPr/>
        </p:nvCxnSpPr>
        <p:spPr>
          <a:xfrm>
            <a:off x="5688263" y="2225724"/>
            <a:ext cx="0" cy="2166173"/>
          </a:xfrm>
          <a:prstGeom prst="straightConnector1">
            <a:avLst/>
          </a:prstGeom>
          <a:noFill/>
          <a:ln w="3810" cap="rnd">
            <a:solidFill>
              <a:schemeClr val="bg1">
                <a:lumMod val="25000"/>
              </a:schemeClr>
            </a:solidFill>
            <a:prstDash val="sysDot"/>
          </a:ln>
        </p:spPr>
      </p:cxnSp>
      <p:sp>
        <p:nvSpPr>
          <p:cNvPr id="8" name="CuadroTexto 7">
            <a:extLst>
              <a:ext uri="{FF2B5EF4-FFF2-40B4-BE49-F238E27FC236}">
                <a16:creationId xmlns:a16="http://schemas.microsoft.com/office/drawing/2014/main" id="{E200DE88-C13D-5E58-47A8-ABDEE7935904}"/>
              </a:ext>
            </a:extLst>
          </p:cNvPr>
          <p:cNvSpPr txBox="1"/>
          <p:nvPr/>
        </p:nvSpPr>
        <p:spPr>
          <a:xfrm>
            <a:off x="2675364" y="4129945"/>
            <a:ext cx="329546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s-AR"/>
            </a:defPPr>
            <a:lvl1pPr algn="ctr">
              <a:defRPr sz="1400" b="1">
                <a:latin typeface="Pulso Light" pitchFamily="2" charset="0"/>
              </a:defRPr>
            </a:lvl1pPr>
          </a:lstStyle>
          <a:p>
            <a:pPr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25" b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</a:rPr>
              <a:t>348K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A0A0882B-38B8-6A53-C5DC-37CBA4C4DC0A}"/>
              </a:ext>
            </a:extLst>
          </p:cNvPr>
          <p:cNvSpPr txBox="1"/>
          <p:nvPr/>
        </p:nvSpPr>
        <p:spPr>
          <a:xfrm>
            <a:off x="3613248" y="4129945"/>
            <a:ext cx="321558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s-AR"/>
            </a:defPPr>
            <a:lvl1pPr algn="ctr">
              <a:defRPr sz="1400" b="1">
                <a:latin typeface="Pulso Light" pitchFamily="2" charset="0"/>
              </a:defRPr>
            </a:lvl1pPr>
          </a:lstStyle>
          <a:p>
            <a:pPr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25" b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</a:rPr>
              <a:t>189K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261C7665-C09B-630F-2C48-EC26F79A14A7}"/>
              </a:ext>
            </a:extLst>
          </p:cNvPr>
          <p:cNvSpPr txBox="1"/>
          <p:nvPr/>
        </p:nvSpPr>
        <p:spPr>
          <a:xfrm>
            <a:off x="664411" y="4129945"/>
            <a:ext cx="855156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s-AR"/>
            </a:defPPr>
            <a:lvl1pPr algn="ctr">
              <a:defRPr sz="1400" b="1">
                <a:latin typeface="Pulso Light" pitchFamily="2" charset="0"/>
              </a:defRPr>
            </a:lvl1pPr>
          </a:lstStyle>
          <a:p>
            <a:r>
              <a:rPr lang="es-AR" sz="825" b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</a:rPr>
              <a:t>CATEC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DE9EEC71-0878-C5BA-D8B9-B3C2CEBC4439}"/>
              </a:ext>
            </a:extLst>
          </p:cNvPr>
          <p:cNvSpPr txBox="1"/>
          <p:nvPr/>
        </p:nvSpPr>
        <p:spPr>
          <a:xfrm>
            <a:off x="1780463" y="4129945"/>
            <a:ext cx="266885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s-AR"/>
            </a:defPPr>
            <a:lvl1pPr algn="ctr">
              <a:defRPr sz="1400" b="1">
                <a:latin typeface="Pulso Light" pitchFamily="2" charset="0"/>
              </a:defRPr>
            </a:lvl1pPr>
          </a:lstStyle>
          <a:p>
            <a:pPr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25" b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</a:rPr>
              <a:t>103K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5732E1AD-5AF0-189F-4856-89F0A5B80734}"/>
              </a:ext>
            </a:extLst>
          </p:cNvPr>
          <p:cNvSpPr txBox="1"/>
          <p:nvPr/>
        </p:nvSpPr>
        <p:spPr>
          <a:xfrm>
            <a:off x="2706841" y="4304458"/>
            <a:ext cx="266592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s-AR"/>
            </a:defPPr>
            <a:lvl1pPr algn="ctr">
              <a:defRPr sz="1400" b="1">
                <a:latin typeface="Pulso Light" pitchFamily="2" charset="0"/>
              </a:defRPr>
            </a:lvl1pPr>
          </a:lstStyle>
          <a:p>
            <a:pPr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25" b="0">
                <a:solidFill>
                  <a:schemeClr val="bg1">
                    <a:lumMod val="50000"/>
                  </a:schemeClr>
                </a:solidFill>
                <a:latin typeface="Pulso" pitchFamily="2" charset="0"/>
                <a:ea typeface="Roboto" panose="02000000000000000000" pitchFamily="2" charset="0"/>
              </a:rPr>
              <a:t>72%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EE6CA8FF-91B5-4A8C-AA15-2F32B5B56623}"/>
              </a:ext>
            </a:extLst>
          </p:cNvPr>
          <p:cNvSpPr txBox="1"/>
          <p:nvPr/>
        </p:nvSpPr>
        <p:spPr>
          <a:xfrm>
            <a:off x="3655735" y="4304458"/>
            <a:ext cx="241219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s-AR"/>
            </a:defPPr>
            <a:lvl1pPr algn="ctr">
              <a:defRPr sz="1400" b="1">
                <a:latin typeface="Pulso Light" pitchFamily="2" charset="0"/>
              </a:defRPr>
            </a:lvl1pPr>
          </a:lstStyle>
          <a:p>
            <a:pPr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25" b="0">
                <a:solidFill>
                  <a:schemeClr val="bg1">
                    <a:lumMod val="50000"/>
                  </a:schemeClr>
                </a:solidFill>
                <a:latin typeface="Pulso" pitchFamily="2" charset="0"/>
                <a:ea typeface="Roboto" panose="02000000000000000000" pitchFamily="2" charset="0"/>
              </a:rPr>
              <a:t>89%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EE7FB53E-53EF-6A03-2DAA-778E08ABA572}"/>
              </a:ext>
            </a:extLst>
          </p:cNvPr>
          <p:cNvSpPr txBox="1"/>
          <p:nvPr/>
        </p:nvSpPr>
        <p:spPr>
          <a:xfrm>
            <a:off x="664411" y="4304458"/>
            <a:ext cx="855156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s-AR"/>
            </a:defPPr>
            <a:lvl1pPr algn="ctr">
              <a:defRPr sz="1400" b="1">
                <a:latin typeface="Pulso Light" pitchFamily="2" charset="0"/>
              </a:defRPr>
            </a:lvl1pPr>
          </a:lstStyle>
          <a:p>
            <a:r>
              <a:rPr lang="es-AR" sz="825" b="0">
                <a:solidFill>
                  <a:schemeClr val="bg1">
                    <a:lumMod val="50000"/>
                  </a:schemeClr>
                </a:solidFill>
                <a:latin typeface="Pulso" pitchFamily="2" charset="0"/>
                <a:ea typeface="Roboto" panose="02000000000000000000" pitchFamily="2" charset="0"/>
              </a:rPr>
              <a:t>% Parque FTTH</a:t>
            </a:r>
            <a:endParaRPr lang="es-AR" sz="600" b="0">
              <a:solidFill>
                <a:schemeClr val="bg1">
                  <a:lumMod val="50000"/>
                </a:schemeClr>
              </a:solidFill>
              <a:latin typeface="Pulso" pitchFamily="2" charset="0"/>
              <a:ea typeface="Roboto" panose="02000000000000000000" pitchFamily="2" charset="0"/>
            </a:endParaRP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627A2A2E-D828-9C9D-BB25-6BD18DCBA355}"/>
              </a:ext>
            </a:extLst>
          </p:cNvPr>
          <p:cNvSpPr txBox="1"/>
          <p:nvPr/>
        </p:nvSpPr>
        <p:spPr>
          <a:xfrm>
            <a:off x="1771323" y="4304458"/>
            <a:ext cx="285164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s-AR"/>
            </a:defPPr>
            <a:lvl1pPr algn="ctr">
              <a:defRPr sz="1400" b="1">
                <a:latin typeface="Pulso Light" pitchFamily="2" charset="0"/>
              </a:defRPr>
            </a:lvl1pPr>
          </a:lstStyle>
          <a:p>
            <a:pPr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25" b="0">
                <a:solidFill>
                  <a:schemeClr val="bg1">
                    <a:lumMod val="50000"/>
                  </a:schemeClr>
                </a:solidFill>
                <a:latin typeface="Pulso" pitchFamily="2" charset="0"/>
                <a:ea typeface="Roboto" panose="02000000000000000000" pitchFamily="2" charset="0"/>
              </a:rPr>
              <a:t>48%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E4C816B5-A0CD-4113-3E73-A594423C7DEC}"/>
              </a:ext>
            </a:extLst>
          </p:cNvPr>
          <p:cNvSpPr txBox="1"/>
          <p:nvPr/>
        </p:nvSpPr>
        <p:spPr>
          <a:xfrm>
            <a:off x="4601956" y="4013967"/>
            <a:ext cx="895241" cy="346249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s-AR"/>
            </a:defPPr>
            <a:lvl1pPr algn="ctr">
              <a:defRPr sz="1400" b="1">
                <a:latin typeface="Pulso Light" pitchFamily="2" charset="0"/>
              </a:defRPr>
            </a:lvl1pPr>
          </a:lstStyle>
          <a:p>
            <a:r>
              <a:rPr lang="es-AR" sz="750" b="0">
                <a:solidFill>
                  <a:schemeClr val="tx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Reducción debido al agotamiento de la base de clientes HFC</a:t>
            </a:r>
          </a:p>
        </p:txBody>
      </p:sp>
      <p:cxnSp>
        <p:nvCxnSpPr>
          <p:cNvPr id="26" name="Conector recto de flecha 25">
            <a:extLst>
              <a:ext uri="{FF2B5EF4-FFF2-40B4-BE49-F238E27FC236}">
                <a16:creationId xmlns:a16="http://schemas.microsoft.com/office/drawing/2014/main" id="{FA044740-E5D8-A34B-E269-1D7DE7A71D7B}"/>
              </a:ext>
            </a:extLst>
          </p:cNvPr>
          <p:cNvCxnSpPr>
            <a:cxnSpLocks/>
          </p:cNvCxnSpPr>
          <p:nvPr/>
        </p:nvCxnSpPr>
        <p:spPr>
          <a:xfrm>
            <a:off x="3947993" y="4098791"/>
            <a:ext cx="619672" cy="0"/>
          </a:xfrm>
          <a:prstGeom prst="straightConnector1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7" name="Rectángulo 26">
            <a:extLst>
              <a:ext uri="{FF2B5EF4-FFF2-40B4-BE49-F238E27FC236}">
                <a16:creationId xmlns:a16="http://schemas.microsoft.com/office/drawing/2014/main" id="{A873A055-8900-503D-55CD-0E1429D3BBD7}"/>
              </a:ext>
            </a:extLst>
          </p:cNvPr>
          <p:cNvSpPr/>
          <p:nvPr/>
        </p:nvSpPr>
        <p:spPr>
          <a:xfrm>
            <a:off x="4567665" y="3970702"/>
            <a:ext cx="963822" cy="432779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 eaLnBrk="0" hangingPunct="0">
              <a:defRPr/>
            </a:pPr>
            <a:endParaRPr lang="es-AR" altLang="es-AR" sz="900" b="1">
              <a:solidFill>
                <a:prstClr val="white"/>
              </a:solidFill>
              <a:latin typeface="Pulso Light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179A5DDC-FA24-6D9E-91E9-89BC44CD36CD}"/>
              </a:ext>
            </a:extLst>
          </p:cNvPr>
          <p:cNvSpPr/>
          <p:nvPr/>
        </p:nvSpPr>
        <p:spPr>
          <a:xfrm>
            <a:off x="3574584" y="4098791"/>
            <a:ext cx="373409" cy="177897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 eaLnBrk="0" hangingPunct="0">
              <a:defRPr/>
            </a:pPr>
            <a:endParaRPr lang="es-AR" altLang="es-AR" sz="900">
              <a:solidFill>
                <a:prstClr val="white"/>
              </a:solidFill>
              <a:latin typeface="Pulso" pitchFamily="2" charset="0"/>
            </a:endParaRPr>
          </a:p>
        </p:txBody>
      </p:sp>
      <p:sp>
        <p:nvSpPr>
          <p:cNvPr id="29" name="Marcador de texto 8">
            <a:extLst>
              <a:ext uri="{FF2B5EF4-FFF2-40B4-BE49-F238E27FC236}">
                <a16:creationId xmlns:a16="http://schemas.microsoft.com/office/drawing/2014/main" id="{7E51DBA9-023E-0B81-E30B-F10EBD726C9E}"/>
              </a:ext>
            </a:extLst>
          </p:cNvPr>
          <p:cNvSpPr txBox="1">
            <a:spLocks/>
          </p:cNvSpPr>
          <p:nvPr/>
        </p:nvSpPr>
        <p:spPr>
          <a:xfrm>
            <a:off x="4429298" y="3476915"/>
            <a:ext cx="1108476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900" b="1">
                <a:latin typeface="Montserrat" panose="000005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25" b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 Medium" panose="02000000000000000000" pitchFamily="2" charset="0"/>
              </a:rPr>
              <a:t>3,88 MM de Clientes</a:t>
            </a:r>
          </a:p>
        </p:txBody>
      </p:sp>
      <p:sp>
        <p:nvSpPr>
          <p:cNvPr id="30" name="Marcador de texto 8">
            <a:extLst>
              <a:ext uri="{FF2B5EF4-FFF2-40B4-BE49-F238E27FC236}">
                <a16:creationId xmlns:a16="http://schemas.microsoft.com/office/drawing/2014/main" id="{EC9D0896-F1A1-1BC1-D1A6-68B0CC3DBAB0}"/>
              </a:ext>
            </a:extLst>
          </p:cNvPr>
          <p:cNvSpPr txBox="1">
            <a:spLocks/>
          </p:cNvSpPr>
          <p:nvPr/>
        </p:nvSpPr>
        <p:spPr>
          <a:xfrm>
            <a:off x="4542962" y="3361456"/>
            <a:ext cx="88114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900" b="1">
                <a:latin typeface="Montserrat" panose="000005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675" b="0">
                <a:solidFill>
                  <a:srgbClr val="24272A"/>
                </a:solidFill>
                <a:latin typeface="Pulso" pitchFamily="2" charset="0"/>
                <a:ea typeface="Roboto Light" panose="02000000000000000000" pitchFamily="2" charset="0"/>
              </a:rPr>
              <a:t>Zonas HFC 2W Teco</a:t>
            </a:r>
          </a:p>
        </p:txBody>
      </p:sp>
      <p:sp>
        <p:nvSpPr>
          <p:cNvPr id="31" name="Cerrar llave 30">
            <a:extLst>
              <a:ext uri="{FF2B5EF4-FFF2-40B4-BE49-F238E27FC236}">
                <a16:creationId xmlns:a16="http://schemas.microsoft.com/office/drawing/2014/main" id="{607B19AA-F908-3F4A-72E9-0E7353ACB1AC}"/>
              </a:ext>
            </a:extLst>
          </p:cNvPr>
          <p:cNvSpPr/>
          <p:nvPr/>
        </p:nvSpPr>
        <p:spPr>
          <a:xfrm>
            <a:off x="4301259" y="2976040"/>
            <a:ext cx="78144" cy="947440"/>
          </a:xfrm>
          <a:prstGeom prst="rightBrace">
            <a:avLst>
              <a:gd name="adj1" fmla="val 40351"/>
              <a:gd name="adj2" fmla="val 50000"/>
            </a:avLst>
          </a:prstGeom>
          <a:ln w="9525">
            <a:solidFill>
              <a:schemeClr val="bg1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sp>
        <p:nvSpPr>
          <p:cNvPr id="32" name="Cerrar llave 34">
            <a:extLst>
              <a:ext uri="{FF2B5EF4-FFF2-40B4-BE49-F238E27FC236}">
                <a16:creationId xmlns:a16="http://schemas.microsoft.com/office/drawing/2014/main" id="{6D84049D-171E-AB9A-E919-03A6074D5EA9}"/>
              </a:ext>
            </a:extLst>
          </p:cNvPr>
          <p:cNvSpPr/>
          <p:nvPr/>
        </p:nvSpPr>
        <p:spPr>
          <a:xfrm>
            <a:off x="4301259" y="2348825"/>
            <a:ext cx="88901" cy="604619"/>
          </a:xfrm>
          <a:prstGeom prst="rightBrace">
            <a:avLst>
              <a:gd name="adj1" fmla="val 44352"/>
              <a:gd name="adj2" fmla="val 50000"/>
            </a:avLst>
          </a:prstGeom>
          <a:ln w="9525">
            <a:solidFill>
              <a:schemeClr val="bg1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AR" sz="670"/>
          </a:p>
        </p:txBody>
      </p:sp>
      <p:sp>
        <p:nvSpPr>
          <p:cNvPr id="33" name="Marcador de texto 8">
            <a:extLst>
              <a:ext uri="{FF2B5EF4-FFF2-40B4-BE49-F238E27FC236}">
                <a16:creationId xmlns:a16="http://schemas.microsoft.com/office/drawing/2014/main" id="{5565CEFC-45A1-4408-F652-DDF47895D304}"/>
              </a:ext>
            </a:extLst>
          </p:cNvPr>
          <p:cNvSpPr txBox="1">
            <a:spLocks/>
          </p:cNvSpPr>
          <p:nvPr/>
        </p:nvSpPr>
        <p:spPr>
          <a:xfrm>
            <a:off x="4429298" y="2570431"/>
            <a:ext cx="1108476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900" b="1">
                <a:latin typeface="Montserrat" panose="000005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25" b="0">
                <a:solidFill>
                  <a:schemeClr val="accent1"/>
                </a:solidFill>
                <a:latin typeface="Pulso" pitchFamily="2" charset="0"/>
                <a:ea typeface="Roboto Medium" panose="02000000000000000000" pitchFamily="2" charset="0"/>
              </a:rPr>
              <a:t>2,32 MM de Clientes</a:t>
            </a:r>
          </a:p>
        </p:txBody>
      </p:sp>
      <p:sp>
        <p:nvSpPr>
          <p:cNvPr id="34" name="Marcador de texto 8">
            <a:extLst>
              <a:ext uri="{FF2B5EF4-FFF2-40B4-BE49-F238E27FC236}">
                <a16:creationId xmlns:a16="http://schemas.microsoft.com/office/drawing/2014/main" id="{E8EC41FC-7486-7E83-99B8-D8078C83E1F7}"/>
              </a:ext>
            </a:extLst>
          </p:cNvPr>
          <p:cNvSpPr txBox="1">
            <a:spLocks/>
          </p:cNvSpPr>
          <p:nvPr/>
        </p:nvSpPr>
        <p:spPr>
          <a:xfrm>
            <a:off x="4542962" y="2454972"/>
            <a:ext cx="88114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900" b="1">
                <a:latin typeface="Montserrat" panose="000005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675" b="0">
                <a:solidFill>
                  <a:srgbClr val="24272A"/>
                </a:solidFill>
                <a:latin typeface="Pulso" pitchFamily="2" charset="0"/>
                <a:ea typeface="Roboto Light" panose="02000000000000000000" pitchFamily="2" charset="0"/>
              </a:rPr>
              <a:t>Zonas Expansión</a:t>
            </a:r>
          </a:p>
        </p:txBody>
      </p:sp>
      <p:graphicFrame>
        <p:nvGraphicFramePr>
          <p:cNvPr id="11" name="Gráfico 10">
            <a:extLst>
              <a:ext uri="{FF2B5EF4-FFF2-40B4-BE49-F238E27FC236}">
                <a16:creationId xmlns:a16="http://schemas.microsoft.com/office/drawing/2014/main" id="{63953ED5-B856-D409-6FE6-9606C867425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54519106"/>
              </p:ext>
            </p:extLst>
          </p:nvPr>
        </p:nvGraphicFramePr>
        <p:xfrm>
          <a:off x="585484" y="1866569"/>
          <a:ext cx="3722896" cy="23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94650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ángulo redondeado 18">
            <a:extLst>
              <a:ext uri="{FF2B5EF4-FFF2-40B4-BE49-F238E27FC236}">
                <a16:creationId xmlns:a16="http://schemas.microsoft.com/office/drawing/2014/main" id="{E9C7EC92-7C48-C109-656F-2BA70AC366F1}"/>
              </a:ext>
            </a:extLst>
          </p:cNvPr>
          <p:cNvSpPr>
            <a:spLocks/>
          </p:cNvSpPr>
          <p:nvPr/>
        </p:nvSpPr>
        <p:spPr>
          <a:xfrm>
            <a:off x="541168" y="1547720"/>
            <a:ext cx="2445638" cy="2958388"/>
          </a:xfrm>
          <a:prstGeom prst="roundRect">
            <a:avLst>
              <a:gd name="adj" fmla="val 2825"/>
            </a:avLst>
          </a:prstGeom>
          <a:solidFill>
            <a:schemeClr val="bg1">
              <a:lumMod val="10000"/>
            </a:schemeClr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32" name="Redondear rectángulo de esquina del mismo lado 31">
            <a:extLst>
              <a:ext uri="{FF2B5EF4-FFF2-40B4-BE49-F238E27FC236}">
                <a16:creationId xmlns:a16="http://schemas.microsoft.com/office/drawing/2014/main" id="{73C8D854-E337-53F7-09DD-27F4B37E47C3}"/>
              </a:ext>
            </a:extLst>
          </p:cNvPr>
          <p:cNvSpPr/>
          <p:nvPr/>
        </p:nvSpPr>
        <p:spPr>
          <a:xfrm rot="5400000">
            <a:off x="5838936" y="1761748"/>
            <a:ext cx="423861" cy="5064857"/>
          </a:xfrm>
          <a:prstGeom prst="round2SameRect">
            <a:avLst>
              <a:gd name="adj1" fmla="val 11299"/>
              <a:gd name="adj2" fmla="val 0"/>
            </a:avLst>
          </a:prstGeom>
          <a:gradFill>
            <a:gsLst>
              <a:gs pos="0">
                <a:schemeClr val="bg1">
                  <a:lumMod val="10000"/>
                </a:schemeClr>
              </a:gs>
              <a:gs pos="100000">
                <a:schemeClr val="bg1">
                  <a:lumMod val="10000"/>
                  <a:alpha val="0"/>
                </a:schemeClr>
              </a:gs>
            </a:gsLst>
            <a:lin ang="5400000" scaled="0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sp>
        <p:nvSpPr>
          <p:cNvPr id="30" name="Redondear rectángulo de esquina del mismo lado 29">
            <a:extLst>
              <a:ext uri="{FF2B5EF4-FFF2-40B4-BE49-F238E27FC236}">
                <a16:creationId xmlns:a16="http://schemas.microsoft.com/office/drawing/2014/main" id="{28749527-B689-3F6A-8FB0-440EA90C6EA5}"/>
              </a:ext>
            </a:extLst>
          </p:cNvPr>
          <p:cNvSpPr/>
          <p:nvPr/>
        </p:nvSpPr>
        <p:spPr>
          <a:xfrm rot="5400000">
            <a:off x="4802584" y="263143"/>
            <a:ext cx="2496452" cy="5065606"/>
          </a:xfrm>
          <a:prstGeom prst="round2SameRect">
            <a:avLst>
              <a:gd name="adj1" fmla="val 2803"/>
              <a:gd name="adj2" fmla="val 0"/>
            </a:avLst>
          </a:prstGeom>
          <a:gradFill>
            <a:gsLst>
              <a:gs pos="0">
                <a:schemeClr val="bg1">
                  <a:lumMod val="10000"/>
                </a:schemeClr>
              </a:gs>
              <a:gs pos="100000">
                <a:schemeClr val="bg1">
                  <a:lumMod val="10000"/>
                  <a:alpha val="0"/>
                </a:schemeClr>
              </a:gs>
            </a:gsLst>
            <a:lin ang="5400000" scaled="0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</a:endParaRPr>
          </a:p>
        </p:txBody>
      </p:sp>
      <p:grpSp>
        <p:nvGrpSpPr>
          <p:cNvPr id="11" name="Gráfico 26">
            <a:extLst>
              <a:ext uri="{FF2B5EF4-FFF2-40B4-BE49-F238E27FC236}">
                <a16:creationId xmlns:a16="http://schemas.microsoft.com/office/drawing/2014/main" id="{8EF31789-F269-52CB-E083-A3DC2FF5D047}"/>
              </a:ext>
            </a:extLst>
          </p:cNvPr>
          <p:cNvGrpSpPr/>
          <p:nvPr/>
        </p:nvGrpSpPr>
        <p:grpSpPr>
          <a:xfrm>
            <a:off x="1184533" y="1759623"/>
            <a:ext cx="1158908" cy="428165"/>
            <a:chOff x="1194757" y="1847886"/>
            <a:chExt cx="1158908" cy="428165"/>
          </a:xfrm>
          <a:solidFill>
            <a:srgbClr val="00DCAA"/>
          </a:solidFill>
        </p:grpSpPr>
        <p:sp>
          <p:nvSpPr>
            <p:cNvPr id="12" name="Forma libre 11">
              <a:extLst>
                <a:ext uri="{FF2B5EF4-FFF2-40B4-BE49-F238E27FC236}">
                  <a16:creationId xmlns:a16="http://schemas.microsoft.com/office/drawing/2014/main" id="{F8EA9E70-EC0D-294A-40BB-8CB300FB5FCD}"/>
                </a:ext>
              </a:extLst>
            </p:cNvPr>
            <p:cNvSpPr/>
            <p:nvPr/>
          </p:nvSpPr>
          <p:spPr>
            <a:xfrm>
              <a:off x="1540830" y="1952376"/>
              <a:ext cx="322807" cy="323675"/>
            </a:xfrm>
            <a:custGeom>
              <a:avLst/>
              <a:gdLst>
                <a:gd name="connsiteX0" fmla="*/ 161404 w 322807"/>
                <a:gd name="connsiteY0" fmla="*/ 0 h 323675"/>
                <a:gd name="connsiteX1" fmla="*/ 0 w 322807"/>
                <a:gd name="connsiteY1" fmla="*/ 161838 h 323675"/>
                <a:gd name="connsiteX2" fmla="*/ 161404 w 322807"/>
                <a:gd name="connsiteY2" fmla="*/ 323676 h 323675"/>
                <a:gd name="connsiteX3" fmla="*/ 322808 w 322807"/>
                <a:gd name="connsiteY3" fmla="*/ 161838 h 323675"/>
                <a:gd name="connsiteX4" fmla="*/ 161404 w 322807"/>
                <a:gd name="connsiteY4" fmla="*/ 0 h 323675"/>
                <a:gd name="connsiteX5" fmla="*/ 161404 w 322807"/>
                <a:gd name="connsiteY5" fmla="*/ 259524 h 323675"/>
                <a:gd name="connsiteX6" fmla="*/ 63980 w 322807"/>
                <a:gd name="connsiteY6" fmla="*/ 161838 h 323675"/>
                <a:gd name="connsiteX7" fmla="*/ 161404 w 322807"/>
                <a:gd name="connsiteY7" fmla="*/ 64152 h 323675"/>
                <a:gd name="connsiteX8" fmla="*/ 258828 w 322807"/>
                <a:gd name="connsiteY8" fmla="*/ 161838 h 323675"/>
                <a:gd name="connsiteX9" fmla="*/ 161404 w 322807"/>
                <a:gd name="connsiteY9" fmla="*/ 259524 h 323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2807" h="323675">
                  <a:moveTo>
                    <a:pt x="161404" y="0"/>
                  </a:moveTo>
                  <a:cubicBezTo>
                    <a:pt x="72220" y="0"/>
                    <a:pt x="0" y="72900"/>
                    <a:pt x="0" y="161838"/>
                  </a:cubicBezTo>
                  <a:cubicBezTo>
                    <a:pt x="0" y="251262"/>
                    <a:pt x="72704" y="323676"/>
                    <a:pt x="161404" y="323676"/>
                  </a:cubicBezTo>
                  <a:cubicBezTo>
                    <a:pt x="250588" y="323676"/>
                    <a:pt x="322808" y="250776"/>
                    <a:pt x="322808" y="161838"/>
                  </a:cubicBezTo>
                  <a:cubicBezTo>
                    <a:pt x="322808" y="72414"/>
                    <a:pt x="250103" y="0"/>
                    <a:pt x="161404" y="0"/>
                  </a:cubicBezTo>
                  <a:close/>
                  <a:moveTo>
                    <a:pt x="161404" y="259524"/>
                  </a:moveTo>
                  <a:cubicBezTo>
                    <a:pt x="107603" y="259524"/>
                    <a:pt x="63980" y="215784"/>
                    <a:pt x="63980" y="161838"/>
                  </a:cubicBezTo>
                  <a:cubicBezTo>
                    <a:pt x="63980" y="107892"/>
                    <a:pt x="107603" y="64152"/>
                    <a:pt x="161404" y="64152"/>
                  </a:cubicBezTo>
                  <a:cubicBezTo>
                    <a:pt x="215205" y="64152"/>
                    <a:pt x="258828" y="107892"/>
                    <a:pt x="258828" y="161838"/>
                  </a:cubicBezTo>
                  <a:cubicBezTo>
                    <a:pt x="258828" y="215784"/>
                    <a:pt x="215205" y="259524"/>
                    <a:pt x="161404" y="259524"/>
                  </a:cubicBezTo>
                  <a:close/>
                </a:path>
              </a:pathLst>
            </a:custGeom>
            <a:solidFill>
              <a:srgbClr val="00DCAA"/>
            </a:solidFill>
            <a:ln w="48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E05B59F3-F651-168D-0F6E-F596374200D0}"/>
                </a:ext>
              </a:extLst>
            </p:cNvPr>
            <p:cNvSpPr/>
            <p:nvPr/>
          </p:nvSpPr>
          <p:spPr>
            <a:xfrm>
              <a:off x="1194757" y="1847886"/>
              <a:ext cx="182245" cy="420389"/>
            </a:xfrm>
            <a:custGeom>
              <a:avLst/>
              <a:gdLst>
                <a:gd name="connsiteX0" fmla="*/ 54771 w 182245"/>
                <a:gd name="connsiteY0" fmla="*/ 17496 h 420389"/>
                <a:gd name="connsiteX1" fmla="*/ 35867 w 182245"/>
                <a:gd name="connsiteY1" fmla="*/ 67554 h 420389"/>
                <a:gd name="connsiteX2" fmla="*/ 35867 w 182245"/>
                <a:gd name="connsiteY2" fmla="*/ 119556 h 420389"/>
                <a:gd name="connsiteX3" fmla="*/ 0 w 182245"/>
                <a:gd name="connsiteY3" fmla="*/ 119556 h 420389"/>
                <a:gd name="connsiteX4" fmla="*/ 0 w 182245"/>
                <a:gd name="connsiteY4" fmla="*/ 174474 h 420389"/>
                <a:gd name="connsiteX5" fmla="*/ 35867 w 182245"/>
                <a:gd name="connsiteY5" fmla="*/ 174474 h 420389"/>
                <a:gd name="connsiteX6" fmla="*/ 35867 w 182245"/>
                <a:gd name="connsiteY6" fmla="*/ 420390 h 420389"/>
                <a:gd name="connsiteX7" fmla="*/ 101786 w 182245"/>
                <a:gd name="connsiteY7" fmla="*/ 420390 h 420389"/>
                <a:gd name="connsiteX8" fmla="*/ 101786 w 182245"/>
                <a:gd name="connsiteY8" fmla="*/ 174474 h 420389"/>
                <a:gd name="connsiteX9" fmla="*/ 167705 w 182245"/>
                <a:gd name="connsiteY9" fmla="*/ 174474 h 420389"/>
                <a:gd name="connsiteX10" fmla="*/ 167705 w 182245"/>
                <a:gd name="connsiteY10" fmla="*/ 119556 h 420389"/>
                <a:gd name="connsiteX11" fmla="*/ 101301 w 182245"/>
                <a:gd name="connsiteY11" fmla="*/ 119556 h 420389"/>
                <a:gd name="connsiteX12" fmla="*/ 101301 w 182245"/>
                <a:gd name="connsiteY12" fmla="*/ 67554 h 420389"/>
                <a:gd name="connsiteX13" fmla="*/ 112934 w 182245"/>
                <a:gd name="connsiteY13" fmla="*/ 54432 h 420389"/>
                <a:gd name="connsiteX14" fmla="*/ 182246 w 182245"/>
                <a:gd name="connsiteY14" fmla="*/ 54432 h 420389"/>
                <a:gd name="connsiteX15" fmla="*/ 182246 w 182245"/>
                <a:gd name="connsiteY15" fmla="*/ 0 h 420389"/>
                <a:gd name="connsiteX16" fmla="*/ 105179 w 182245"/>
                <a:gd name="connsiteY16" fmla="*/ 0 h 420389"/>
                <a:gd name="connsiteX17" fmla="*/ 54771 w 182245"/>
                <a:gd name="connsiteY17" fmla="*/ 17496 h 42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2245" h="420389">
                  <a:moveTo>
                    <a:pt x="54771" y="17496"/>
                  </a:moveTo>
                  <a:cubicBezTo>
                    <a:pt x="42169" y="29160"/>
                    <a:pt x="35867" y="46656"/>
                    <a:pt x="35867" y="67554"/>
                  </a:cubicBezTo>
                  <a:lnTo>
                    <a:pt x="35867" y="119556"/>
                  </a:lnTo>
                  <a:lnTo>
                    <a:pt x="0" y="119556"/>
                  </a:lnTo>
                  <a:lnTo>
                    <a:pt x="0" y="174474"/>
                  </a:lnTo>
                  <a:lnTo>
                    <a:pt x="35867" y="174474"/>
                  </a:lnTo>
                  <a:lnTo>
                    <a:pt x="35867" y="420390"/>
                  </a:lnTo>
                  <a:lnTo>
                    <a:pt x="101786" y="420390"/>
                  </a:lnTo>
                  <a:lnTo>
                    <a:pt x="101786" y="174474"/>
                  </a:lnTo>
                  <a:lnTo>
                    <a:pt x="167705" y="174474"/>
                  </a:lnTo>
                  <a:lnTo>
                    <a:pt x="167705" y="119556"/>
                  </a:lnTo>
                  <a:lnTo>
                    <a:pt x="101301" y="119556"/>
                  </a:lnTo>
                  <a:lnTo>
                    <a:pt x="101301" y="67554"/>
                  </a:lnTo>
                  <a:cubicBezTo>
                    <a:pt x="101301" y="58320"/>
                    <a:pt x="105179" y="54432"/>
                    <a:pt x="112934" y="54432"/>
                  </a:cubicBezTo>
                  <a:lnTo>
                    <a:pt x="182246" y="54432"/>
                  </a:lnTo>
                  <a:lnTo>
                    <a:pt x="182246" y="0"/>
                  </a:lnTo>
                  <a:lnTo>
                    <a:pt x="105179" y="0"/>
                  </a:lnTo>
                  <a:cubicBezTo>
                    <a:pt x="84337" y="0"/>
                    <a:pt x="66888" y="5832"/>
                    <a:pt x="54771" y="17496"/>
                  </a:cubicBezTo>
                  <a:close/>
                </a:path>
              </a:pathLst>
            </a:custGeom>
            <a:solidFill>
              <a:srgbClr val="00DCAA"/>
            </a:solidFill>
            <a:ln w="48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0F8CFAD6-C545-AFFF-1AF9-19D149A75345}"/>
                </a:ext>
              </a:extLst>
            </p:cNvPr>
            <p:cNvSpPr/>
            <p:nvPr/>
          </p:nvSpPr>
          <p:spPr>
            <a:xfrm>
              <a:off x="1406084" y="1848372"/>
              <a:ext cx="118265" cy="420389"/>
            </a:xfrm>
            <a:custGeom>
              <a:avLst/>
              <a:gdLst>
                <a:gd name="connsiteX0" fmla="*/ 68342 w 118265"/>
                <a:gd name="connsiteY0" fmla="*/ 357696 h 420389"/>
                <a:gd name="connsiteX1" fmla="*/ 66403 w 118265"/>
                <a:gd name="connsiteY1" fmla="*/ 347490 h 420389"/>
                <a:gd name="connsiteX2" fmla="*/ 66403 w 118265"/>
                <a:gd name="connsiteY2" fmla="*/ 0 h 420389"/>
                <a:gd name="connsiteX3" fmla="*/ 0 w 118265"/>
                <a:gd name="connsiteY3" fmla="*/ 0 h 420389"/>
                <a:gd name="connsiteX4" fmla="*/ 0 w 118265"/>
                <a:gd name="connsiteY4" fmla="*/ 351378 h 420389"/>
                <a:gd name="connsiteX5" fmla="*/ 13571 w 118265"/>
                <a:gd name="connsiteY5" fmla="*/ 402894 h 420389"/>
                <a:gd name="connsiteX6" fmla="*/ 54286 w 118265"/>
                <a:gd name="connsiteY6" fmla="*/ 420390 h 420389"/>
                <a:gd name="connsiteX7" fmla="*/ 118266 w 118265"/>
                <a:gd name="connsiteY7" fmla="*/ 420390 h 420389"/>
                <a:gd name="connsiteX8" fmla="*/ 118266 w 118265"/>
                <a:gd name="connsiteY8" fmla="*/ 360126 h 420389"/>
                <a:gd name="connsiteX9" fmla="*/ 75128 w 118265"/>
                <a:gd name="connsiteY9" fmla="*/ 360126 h 420389"/>
                <a:gd name="connsiteX10" fmla="*/ 68342 w 118265"/>
                <a:gd name="connsiteY10" fmla="*/ 357696 h 42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265" h="420389">
                  <a:moveTo>
                    <a:pt x="68342" y="357696"/>
                  </a:moveTo>
                  <a:cubicBezTo>
                    <a:pt x="66888" y="356238"/>
                    <a:pt x="66403" y="352836"/>
                    <a:pt x="66403" y="347490"/>
                  </a:cubicBezTo>
                  <a:lnTo>
                    <a:pt x="66403" y="0"/>
                  </a:lnTo>
                  <a:lnTo>
                    <a:pt x="0" y="0"/>
                  </a:lnTo>
                  <a:lnTo>
                    <a:pt x="0" y="351378"/>
                  </a:lnTo>
                  <a:cubicBezTo>
                    <a:pt x="0" y="374220"/>
                    <a:pt x="4847" y="391230"/>
                    <a:pt x="13571" y="402894"/>
                  </a:cubicBezTo>
                  <a:cubicBezTo>
                    <a:pt x="22781" y="414558"/>
                    <a:pt x="36352" y="420390"/>
                    <a:pt x="54286" y="420390"/>
                  </a:cubicBezTo>
                  <a:lnTo>
                    <a:pt x="118266" y="420390"/>
                  </a:lnTo>
                  <a:lnTo>
                    <a:pt x="118266" y="360126"/>
                  </a:lnTo>
                  <a:lnTo>
                    <a:pt x="75128" y="360126"/>
                  </a:lnTo>
                  <a:cubicBezTo>
                    <a:pt x="70281" y="360126"/>
                    <a:pt x="68827" y="358668"/>
                    <a:pt x="68342" y="357696"/>
                  </a:cubicBezTo>
                  <a:close/>
                </a:path>
              </a:pathLst>
            </a:custGeom>
            <a:solidFill>
              <a:srgbClr val="00DCAA"/>
            </a:solidFill>
            <a:ln w="48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F9F87DF8-1ACA-2872-2380-1E51EBDF4943}"/>
                </a:ext>
              </a:extLst>
            </p:cNvPr>
            <p:cNvSpPr/>
            <p:nvPr/>
          </p:nvSpPr>
          <p:spPr>
            <a:xfrm>
              <a:off x="1867515" y="1960638"/>
              <a:ext cx="486150" cy="307637"/>
            </a:xfrm>
            <a:custGeom>
              <a:avLst/>
              <a:gdLst>
                <a:gd name="connsiteX0" fmla="*/ 422170 w 486150"/>
                <a:gd name="connsiteY0" fmla="*/ 0 h 307637"/>
                <a:gd name="connsiteX1" fmla="*/ 354798 w 486150"/>
                <a:gd name="connsiteY1" fmla="*/ 252234 h 307637"/>
                <a:gd name="connsiteX2" fmla="*/ 353828 w 486150"/>
                <a:gd name="connsiteY2" fmla="*/ 252234 h 307637"/>
                <a:gd name="connsiteX3" fmla="*/ 280154 w 486150"/>
                <a:gd name="connsiteY3" fmla="*/ 1944 h 307637"/>
                <a:gd name="connsiteX4" fmla="*/ 279670 w 486150"/>
                <a:gd name="connsiteY4" fmla="*/ 0 h 307637"/>
                <a:gd name="connsiteX5" fmla="*/ 211812 w 486150"/>
                <a:gd name="connsiteY5" fmla="*/ 0 h 307637"/>
                <a:gd name="connsiteX6" fmla="*/ 141531 w 486150"/>
                <a:gd name="connsiteY6" fmla="*/ 252234 h 307637"/>
                <a:gd name="connsiteX7" fmla="*/ 140562 w 486150"/>
                <a:gd name="connsiteY7" fmla="*/ 252234 h 307637"/>
                <a:gd name="connsiteX8" fmla="*/ 70281 w 486150"/>
                <a:gd name="connsiteY8" fmla="*/ 0 h 307637"/>
                <a:gd name="connsiteX9" fmla="*/ 0 w 486150"/>
                <a:gd name="connsiteY9" fmla="*/ 0 h 307637"/>
                <a:gd name="connsiteX10" fmla="*/ 90153 w 486150"/>
                <a:gd name="connsiteY10" fmla="*/ 305694 h 307637"/>
                <a:gd name="connsiteX11" fmla="*/ 90638 w 486150"/>
                <a:gd name="connsiteY11" fmla="*/ 307638 h 307637"/>
                <a:gd name="connsiteX12" fmla="*/ 182246 w 486150"/>
                <a:gd name="connsiteY12" fmla="*/ 307638 h 307637"/>
                <a:gd name="connsiteX13" fmla="*/ 245256 w 486150"/>
                <a:gd name="connsiteY13" fmla="*/ 91368 h 307637"/>
                <a:gd name="connsiteX14" fmla="*/ 304874 w 486150"/>
                <a:gd name="connsiteY14" fmla="*/ 307638 h 307637"/>
                <a:gd name="connsiteX15" fmla="*/ 397451 w 486150"/>
                <a:gd name="connsiteY15" fmla="*/ 307638 h 307637"/>
                <a:gd name="connsiteX16" fmla="*/ 486150 w 486150"/>
                <a:gd name="connsiteY16" fmla="*/ 0 h 307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86150" h="307637">
                  <a:moveTo>
                    <a:pt x="422170" y="0"/>
                  </a:moveTo>
                  <a:lnTo>
                    <a:pt x="354798" y="252234"/>
                  </a:lnTo>
                  <a:lnTo>
                    <a:pt x="353828" y="252234"/>
                  </a:lnTo>
                  <a:lnTo>
                    <a:pt x="280154" y="1944"/>
                  </a:lnTo>
                  <a:lnTo>
                    <a:pt x="279670" y="0"/>
                  </a:lnTo>
                  <a:lnTo>
                    <a:pt x="211812" y="0"/>
                  </a:lnTo>
                  <a:lnTo>
                    <a:pt x="141531" y="252234"/>
                  </a:lnTo>
                  <a:lnTo>
                    <a:pt x="140562" y="252234"/>
                  </a:lnTo>
                  <a:lnTo>
                    <a:pt x="70281" y="0"/>
                  </a:lnTo>
                  <a:lnTo>
                    <a:pt x="0" y="0"/>
                  </a:lnTo>
                  <a:lnTo>
                    <a:pt x="90153" y="305694"/>
                  </a:lnTo>
                  <a:lnTo>
                    <a:pt x="90638" y="307638"/>
                  </a:lnTo>
                  <a:lnTo>
                    <a:pt x="182246" y="307638"/>
                  </a:lnTo>
                  <a:lnTo>
                    <a:pt x="245256" y="91368"/>
                  </a:lnTo>
                  <a:lnTo>
                    <a:pt x="304874" y="307638"/>
                  </a:lnTo>
                  <a:lnTo>
                    <a:pt x="397451" y="307638"/>
                  </a:lnTo>
                  <a:lnTo>
                    <a:pt x="486150" y="0"/>
                  </a:lnTo>
                  <a:close/>
                </a:path>
              </a:pathLst>
            </a:custGeom>
            <a:solidFill>
              <a:srgbClr val="00DCAA"/>
            </a:solidFill>
            <a:ln w="48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4FB5362D-E07B-472D-D834-331297CF8955}"/>
                </a:ext>
              </a:extLst>
            </p:cNvPr>
            <p:cNvSpPr/>
            <p:nvPr/>
          </p:nvSpPr>
          <p:spPr>
            <a:xfrm>
              <a:off x="1670728" y="2069745"/>
              <a:ext cx="79005" cy="89180"/>
            </a:xfrm>
            <a:custGeom>
              <a:avLst/>
              <a:gdLst>
                <a:gd name="connsiteX0" fmla="*/ 76097 w 79005"/>
                <a:gd name="connsiteY0" fmla="*/ 39609 h 89180"/>
                <a:gd name="connsiteX1" fmla="*/ 8725 w 79005"/>
                <a:gd name="connsiteY1" fmla="*/ 729 h 89180"/>
                <a:gd name="connsiteX2" fmla="*/ 2908 w 79005"/>
                <a:gd name="connsiteY2" fmla="*/ 729 h 89180"/>
                <a:gd name="connsiteX3" fmla="*/ 0 w 79005"/>
                <a:gd name="connsiteY3" fmla="*/ 5589 h 89180"/>
                <a:gd name="connsiteX4" fmla="*/ 0 w 79005"/>
                <a:gd name="connsiteY4" fmla="*/ 83349 h 89180"/>
                <a:gd name="connsiteX5" fmla="*/ 2908 w 79005"/>
                <a:gd name="connsiteY5" fmla="*/ 88209 h 89180"/>
                <a:gd name="connsiteX6" fmla="*/ 5816 w 79005"/>
                <a:gd name="connsiteY6" fmla="*/ 89181 h 89180"/>
                <a:gd name="connsiteX7" fmla="*/ 8725 w 79005"/>
                <a:gd name="connsiteY7" fmla="*/ 88209 h 89180"/>
                <a:gd name="connsiteX8" fmla="*/ 76097 w 79005"/>
                <a:gd name="connsiteY8" fmla="*/ 49329 h 89180"/>
                <a:gd name="connsiteX9" fmla="*/ 79006 w 79005"/>
                <a:gd name="connsiteY9" fmla="*/ 44469 h 89180"/>
                <a:gd name="connsiteX10" fmla="*/ 76097 w 79005"/>
                <a:gd name="connsiteY10" fmla="*/ 39609 h 89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9005" h="89180">
                  <a:moveTo>
                    <a:pt x="76097" y="39609"/>
                  </a:moveTo>
                  <a:lnTo>
                    <a:pt x="8725" y="729"/>
                  </a:lnTo>
                  <a:cubicBezTo>
                    <a:pt x="6786" y="-243"/>
                    <a:pt x="4847" y="-243"/>
                    <a:pt x="2908" y="729"/>
                  </a:cubicBezTo>
                  <a:cubicBezTo>
                    <a:pt x="969" y="1701"/>
                    <a:pt x="0" y="3645"/>
                    <a:pt x="0" y="5589"/>
                  </a:cubicBezTo>
                  <a:lnTo>
                    <a:pt x="0" y="83349"/>
                  </a:lnTo>
                  <a:cubicBezTo>
                    <a:pt x="0" y="85293"/>
                    <a:pt x="969" y="87237"/>
                    <a:pt x="2908" y="88209"/>
                  </a:cubicBezTo>
                  <a:cubicBezTo>
                    <a:pt x="3878" y="88695"/>
                    <a:pt x="4847" y="89181"/>
                    <a:pt x="5816" y="89181"/>
                  </a:cubicBezTo>
                  <a:cubicBezTo>
                    <a:pt x="6786" y="89181"/>
                    <a:pt x="7755" y="88695"/>
                    <a:pt x="8725" y="88209"/>
                  </a:cubicBezTo>
                  <a:lnTo>
                    <a:pt x="76097" y="49329"/>
                  </a:lnTo>
                  <a:cubicBezTo>
                    <a:pt x="78036" y="48357"/>
                    <a:pt x="79006" y="46413"/>
                    <a:pt x="79006" y="44469"/>
                  </a:cubicBezTo>
                  <a:cubicBezTo>
                    <a:pt x="79006" y="42525"/>
                    <a:pt x="78036" y="40581"/>
                    <a:pt x="76097" y="39609"/>
                  </a:cubicBezTo>
                  <a:close/>
                </a:path>
              </a:pathLst>
            </a:custGeom>
            <a:solidFill>
              <a:srgbClr val="00DCAA"/>
            </a:solidFill>
            <a:ln w="48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8" name="Marcador de texto 8">
            <a:extLst>
              <a:ext uri="{FF2B5EF4-FFF2-40B4-BE49-F238E27FC236}">
                <a16:creationId xmlns:a16="http://schemas.microsoft.com/office/drawing/2014/main" id="{3DC696A1-EF82-4183-A3A5-FB2A98259BF9}"/>
              </a:ext>
            </a:extLst>
          </p:cNvPr>
          <p:cNvSpPr txBox="1">
            <a:spLocks/>
          </p:cNvSpPr>
          <p:nvPr/>
        </p:nvSpPr>
        <p:spPr>
          <a:xfrm>
            <a:off x="738456" y="2532421"/>
            <a:ext cx="1972722" cy="173637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125"/>
              </a:spcAft>
              <a:buClr>
                <a:schemeClr val="accent6">
                  <a:lumMod val="50000"/>
                </a:schemeClr>
              </a:buClr>
              <a:buFont typeface="Tipo de letra del sistema regular"/>
              <a:buChar char="●"/>
            </a:pPr>
            <a:r>
              <a:rPr lang="es-AR" sz="1050">
                <a:solidFill>
                  <a:srgbClr val="FFFFFF"/>
                </a:solidFill>
                <a:latin typeface="Pulso Light" pitchFamily="2" charset="0"/>
                <a:ea typeface="Roboto"/>
                <a:cs typeface="Open Sans"/>
              </a:rPr>
              <a:t>Potenciar la </a:t>
            </a:r>
            <a:r>
              <a:rPr lang="es-AR" sz="1050">
                <a:solidFill>
                  <a:srgbClr val="00DCAA"/>
                </a:solidFill>
                <a:latin typeface="Pulso Light" pitchFamily="2" charset="0"/>
                <a:ea typeface="Roboto"/>
                <a:cs typeface="Open Sans SemiBold"/>
              </a:rPr>
              <a:t>flexibilidad </a:t>
            </a:r>
            <a:r>
              <a:rPr lang="es-AR" sz="1050">
                <a:solidFill>
                  <a:schemeClr val="bg1"/>
                </a:solidFill>
                <a:latin typeface="Pulso Light" pitchFamily="2" charset="0"/>
                <a:ea typeface="Roboto"/>
                <a:cs typeface="Open Sans SemiBold"/>
              </a:rPr>
              <a:t>de la propuesta de valor acorde a las </a:t>
            </a:r>
            <a:r>
              <a:rPr lang="es-AR" sz="1050">
                <a:solidFill>
                  <a:srgbClr val="FFFFFF"/>
                </a:solidFill>
                <a:latin typeface="Pulso Light" pitchFamily="2" charset="0"/>
                <a:ea typeface="Roboto"/>
                <a:cs typeface="Open Sans"/>
              </a:rPr>
              <a:t> necesidades del mercado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125"/>
              </a:spcAft>
              <a:buClr>
                <a:schemeClr val="accent6">
                  <a:lumMod val="50000"/>
                </a:schemeClr>
              </a:buClr>
              <a:buFont typeface="Tipo de letra del sistema regular"/>
              <a:buChar char="●"/>
            </a:pPr>
            <a:r>
              <a:rPr lang="es-AR" sz="1050">
                <a:solidFill>
                  <a:srgbClr val="00DCAA"/>
                </a:solidFill>
                <a:latin typeface="Pulso Light" pitchFamily="2" charset="0"/>
                <a:ea typeface="Roboto"/>
                <a:cs typeface="Open Sans SemiBold"/>
              </a:rPr>
              <a:t>Eficientización</a:t>
            </a:r>
            <a:r>
              <a:rPr lang="es-AR" sz="1050">
                <a:solidFill>
                  <a:srgbClr val="FFFFFF"/>
                </a:solidFill>
                <a:latin typeface="Pulso Light" pitchFamily="2" charset="0"/>
                <a:ea typeface="Roboto"/>
                <a:cs typeface="Open Sans Light"/>
              </a:rPr>
              <a:t> </a:t>
            </a:r>
            <a:r>
              <a:rPr lang="es-AR" sz="1050">
                <a:solidFill>
                  <a:srgbClr val="FFFFFF"/>
                </a:solidFill>
                <a:latin typeface="Pulso Light" pitchFamily="2" charset="0"/>
                <a:ea typeface="Roboto"/>
                <a:cs typeface="Open Sans"/>
              </a:rPr>
              <a:t>como clave de sustentabilidad. 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125"/>
              </a:spcAft>
              <a:buClr>
                <a:schemeClr val="accent6">
                  <a:lumMod val="50000"/>
                </a:schemeClr>
              </a:buClr>
              <a:buFont typeface="Tipo de letra del sistema regular"/>
              <a:buChar char="●"/>
            </a:pPr>
            <a:r>
              <a:rPr lang="es-AR" sz="1050">
                <a:solidFill>
                  <a:srgbClr val="00DCAA"/>
                </a:solidFill>
                <a:latin typeface="Pulso Light" pitchFamily="2" charset="0"/>
                <a:ea typeface="Roboto"/>
                <a:cs typeface="Open Sans SemiBold"/>
              </a:rPr>
              <a:t>Minerva 11:</a:t>
            </a:r>
            <a:r>
              <a:rPr lang="es-AR" sz="1050">
                <a:solidFill>
                  <a:srgbClr val="FFFFFF"/>
                </a:solidFill>
                <a:latin typeface="Pulso Light" pitchFamily="2" charset="0"/>
                <a:ea typeface="Roboto"/>
                <a:cs typeface="Open Sans"/>
              </a:rPr>
              <a:t> actualización tecnológica como base para la evolución </a:t>
            </a:r>
          </a:p>
        </p:txBody>
      </p:sp>
      <p:sp>
        <p:nvSpPr>
          <p:cNvPr id="29" name="Marcador de texto 8">
            <a:extLst>
              <a:ext uri="{FF2B5EF4-FFF2-40B4-BE49-F238E27FC236}">
                <a16:creationId xmlns:a16="http://schemas.microsoft.com/office/drawing/2014/main" id="{98F0D767-0B87-08C5-13A6-4DC9CCB40A52}"/>
              </a:ext>
            </a:extLst>
          </p:cNvPr>
          <p:cNvSpPr txBox="1">
            <a:spLocks/>
          </p:cNvSpPr>
          <p:nvPr/>
        </p:nvSpPr>
        <p:spPr>
          <a:xfrm>
            <a:off x="3517688" y="1710016"/>
            <a:ext cx="4095706" cy="229806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6">
                  <a:lumMod val="50000"/>
                </a:schemeClr>
              </a:buClr>
              <a:buFont typeface="Tipo de letra del sistema regular"/>
              <a:buChar char="●"/>
            </a:pPr>
            <a:r>
              <a:rPr lang="es-AR" sz="1050">
                <a:solidFill>
                  <a:srgbClr val="03DCAB"/>
                </a:solidFill>
                <a:latin typeface="Pulso" pitchFamily="2" charset="0"/>
                <a:ea typeface="Roboto"/>
                <a:cs typeface="Open Sans SemiBold"/>
              </a:rPr>
              <a:t>Sostener el parque</a:t>
            </a:r>
            <a:r>
              <a:rPr lang="es-AR" sz="1050">
                <a:solidFill>
                  <a:schemeClr val="bg1">
                    <a:lumMod val="90000"/>
                  </a:schemeClr>
                </a:solidFill>
                <a:latin typeface="Pulso" pitchFamily="2" charset="0"/>
                <a:ea typeface="Roboto"/>
                <a:cs typeface="Open Sans SemiBold"/>
              </a:rPr>
              <a:t> </a:t>
            </a:r>
            <a:r>
              <a:rPr lang="es-AR" sz="1050">
                <a:solidFill>
                  <a:schemeClr val="bg1"/>
                </a:solidFill>
                <a:latin typeface="Pulso Light" pitchFamily="2" charset="0"/>
                <a:ea typeface="Roboto Light"/>
                <a:cs typeface="Open Sans"/>
              </a:rPr>
              <a:t>de clientes brindando</a:t>
            </a:r>
            <a:r>
              <a:rPr lang="es-AR" sz="1050">
                <a:solidFill>
                  <a:schemeClr val="bg1"/>
                </a:solidFill>
                <a:latin typeface="Pulso Light" pitchFamily="2" charset="0"/>
                <a:ea typeface="Roboto"/>
                <a:cs typeface="Open Sans SemiBold"/>
              </a:rPr>
              <a:t> </a:t>
            </a:r>
            <a:r>
              <a:rPr lang="es-AR" sz="1050">
                <a:solidFill>
                  <a:srgbClr val="03DCAB"/>
                </a:solidFill>
                <a:latin typeface="Pulso Light" pitchFamily="2" charset="0"/>
                <a:ea typeface="Roboto"/>
                <a:cs typeface="Open Sans SemiBold"/>
              </a:rPr>
              <a:t>planes  según perfiles de consumo: </a:t>
            </a:r>
            <a:r>
              <a:rPr lang="es-AR" sz="1050">
                <a:solidFill>
                  <a:schemeClr val="bg1"/>
                </a:solidFill>
                <a:latin typeface="Pulso Light" pitchFamily="2" charset="0"/>
                <a:ea typeface="Roboto Light"/>
                <a:cs typeface="Open Sans"/>
              </a:rPr>
              <a:t>profundizar Flow+ como bundle integral de entretenimiento. </a:t>
            </a:r>
            <a:endParaRPr lang="es-ES" sz="1050">
              <a:solidFill>
                <a:schemeClr val="bg1"/>
              </a:solidFill>
              <a:latin typeface="Pulso Light" pitchFamily="2" charset="0"/>
              <a:ea typeface="Roboto Light"/>
              <a:cs typeface="Open Sans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6">
                  <a:lumMod val="50000"/>
                </a:schemeClr>
              </a:buClr>
              <a:buFont typeface="Tipo de letra del sistema regular"/>
              <a:buChar char="●"/>
            </a:pPr>
            <a:r>
              <a:rPr lang="es-AR" sz="1050">
                <a:solidFill>
                  <a:srgbClr val="03DCAB"/>
                </a:solidFill>
                <a:latin typeface="Pulso" pitchFamily="2" charset="0"/>
                <a:ea typeface="Roboto"/>
                <a:cs typeface="Open Sans SemiBold"/>
              </a:rPr>
              <a:t>Producto 100% digital: </a:t>
            </a:r>
            <a:r>
              <a:rPr lang="es-AR" sz="1050">
                <a:solidFill>
                  <a:schemeClr val="bg1"/>
                </a:solidFill>
                <a:latin typeface="Pulso Light" pitchFamily="2" charset="0"/>
                <a:ea typeface="Roboto Light"/>
                <a:cs typeface="Open Sans"/>
              </a:rPr>
              <a:t>disociación contenido y dispositivos. Opción de contratar con o sin set top box para todos los planes. </a:t>
            </a:r>
            <a:endParaRPr lang="es-ES" sz="1050">
              <a:solidFill>
                <a:schemeClr val="bg1"/>
              </a:solidFill>
              <a:latin typeface="Pulso Light" pitchFamily="2" charset="0"/>
              <a:ea typeface="Roboto Light"/>
              <a:cs typeface="Roboto Light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6">
                  <a:lumMod val="50000"/>
                </a:schemeClr>
              </a:buClr>
              <a:buFont typeface="Tipo de letra del sistema regular"/>
              <a:buChar char="●"/>
            </a:pPr>
            <a:r>
              <a:rPr lang="es-AR" sz="1050">
                <a:solidFill>
                  <a:srgbClr val="03DCAB"/>
                </a:solidFill>
                <a:latin typeface="Pulso" pitchFamily="2" charset="0"/>
                <a:ea typeface="Roboto"/>
                <a:cs typeface="Open Sans SemiBold"/>
              </a:rPr>
              <a:t>Personalización:</a:t>
            </a:r>
            <a:r>
              <a:rPr lang="es-AR" sz="1050">
                <a:solidFill>
                  <a:schemeClr val="tx1">
                    <a:lumMod val="75000"/>
                    <a:lumOff val="25000"/>
                  </a:schemeClr>
                </a:solidFill>
                <a:latin typeface="Pulso" pitchFamily="2" charset="0"/>
                <a:ea typeface="Roboto Light"/>
                <a:cs typeface="Open Sans"/>
              </a:rPr>
              <a:t> </a:t>
            </a:r>
            <a:r>
              <a:rPr lang="es-AR" sz="1050">
                <a:solidFill>
                  <a:schemeClr val="bg1"/>
                </a:solidFill>
                <a:latin typeface="Pulso Light" pitchFamily="2" charset="0"/>
                <a:ea typeface="Roboto Light"/>
                <a:cs typeface="Open Sans"/>
              </a:rPr>
              <a:t>nuevas formas de consumir los contenidos, tanto del vivo como VOD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6">
                  <a:lumMod val="50000"/>
                </a:schemeClr>
              </a:buClr>
              <a:buFont typeface="Tipo de letra del sistema regular"/>
              <a:buChar char="●"/>
            </a:pPr>
            <a:r>
              <a:rPr lang="es-AR" sz="1050">
                <a:solidFill>
                  <a:srgbClr val="03DCAB"/>
                </a:solidFill>
                <a:latin typeface="Pulso" pitchFamily="2" charset="0"/>
                <a:ea typeface="Roboto"/>
                <a:cs typeface="Open Sans SemiBold"/>
              </a:rPr>
              <a:t>Deporte como contenido CLAVE para blindar base:</a:t>
            </a:r>
            <a:r>
              <a:rPr lang="es-AR" sz="1050">
                <a:solidFill>
                  <a:srgbClr val="03DCAB"/>
                </a:solidFill>
                <a:latin typeface="Pulso" pitchFamily="2" charset="0"/>
                <a:ea typeface="Roboto"/>
                <a:cs typeface="Open Sans"/>
              </a:rPr>
              <a:t> </a:t>
            </a:r>
            <a:r>
              <a:rPr lang="es-AR" sz="1050">
                <a:solidFill>
                  <a:schemeClr val="bg1"/>
                </a:solidFill>
                <a:latin typeface="Pulso Light" pitchFamily="2" charset="0"/>
                <a:ea typeface="Roboto Light"/>
                <a:cs typeface="Open Sans"/>
              </a:rPr>
              <a:t>foco en asegurar derechos de fútbol y otros deportes relevantes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950"/>
              </a:spcAft>
              <a:buClr>
                <a:schemeClr val="accent6">
                  <a:lumMod val="50000"/>
                </a:schemeClr>
              </a:buClr>
              <a:buFont typeface="Tipo de letra del sistema regular"/>
              <a:buChar char="●"/>
            </a:pPr>
            <a:r>
              <a:rPr lang="es-AR" sz="1050">
                <a:solidFill>
                  <a:srgbClr val="03DCAB"/>
                </a:solidFill>
                <a:latin typeface="Pulso" pitchFamily="2" charset="0"/>
                <a:ea typeface="Roboto"/>
                <a:cs typeface="Open Sans SemiBold"/>
              </a:rPr>
              <a:t>Coproducciones, Streaming música y Micro Contenidos</a:t>
            </a:r>
            <a:r>
              <a:rPr lang="es-AR" sz="1050">
                <a:solidFill>
                  <a:srgbClr val="03DCAB"/>
                </a:solidFill>
                <a:latin typeface="Pulso" pitchFamily="2" charset="0"/>
                <a:ea typeface="Roboto"/>
                <a:cs typeface="Open Sans"/>
              </a:rPr>
              <a:t> </a:t>
            </a:r>
            <a:r>
              <a:rPr lang="es-AR" sz="1050">
                <a:solidFill>
                  <a:schemeClr val="bg1"/>
                </a:solidFill>
                <a:latin typeface="Pulso Light" pitchFamily="2" charset="0"/>
                <a:ea typeface="Roboto Light"/>
                <a:cs typeface="Open Sans"/>
              </a:rPr>
              <a:t>como contenidos diferenciales.</a:t>
            </a:r>
            <a:endParaRPr lang="es-AR" sz="1050">
              <a:solidFill>
                <a:schemeClr val="tx1">
                  <a:lumMod val="75000"/>
                  <a:lumOff val="25000"/>
                </a:schemeClr>
              </a:solidFill>
              <a:latin typeface="Pulso Light" pitchFamily="2" charset="0"/>
              <a:ea typeface="Roboto Light"/>
              <a:cs typeface="Open Sans"/>
            </a:endParaRP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03B9131E-EB8B-35E0-F716-4C68D18B7402}"/>
              </a:ext>
            </a:extLst>
          </p:cNvPr>
          <p:cNvSpPr txBox="1"/>
          <p:nvPr/>
        </p:nvSpPr>
        <p:spPr>
          <a:xfrm>
            <a:off x="6316068" y="4132642"/>
            <a:ext cx="2165546" cy="32316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indent="0" algn="r" defTabSz="914400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Clr>
                <a:schemeClr val="accent3"/>
              </a:buClr>
              <a:buFont typeface="Letra del sistema regular"/>
              <a:buNone/>
              <a:defRPr sz="1600" b="1">
                <a:solidFill>
                  <a:schemeClr val="accent3"/>
                </a:solidFill>
                <a:latin typeface="Roboto" panose="02000000000000000000" pitchFamily="2" charset="0"/>
                <a:ea typeface="Roboto" panose="02000000000000000000" pitchFamily="2" charset="0"/>
                <a:cs typeface="Open Sans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AR" sz="1050">
                <a:solidFill>
                  <a:schemeClr val="bg1"/>
                </a:solidFill>
                <a:latin typeface="Pulso" pitchFamily="2" charset="0"/>
              </a:rPr>
              <a:t>Eficiencia y posibilidad de expansión (PaaS)</a:t>
            </a:r>
          </a:p>
        </p:txBody>
      </p:sp>
      <p:sp>
        <p:nvSpPr>
          <p:cNvPr id="18" name="Marcador de texto 8">
            <a:extLst>
              <a:ext uri="{FF2B5EF4-FFF2-40B4-BE49-F238E27FC236}">
                <a16:creationId xmlns:a16="http://schemas.microsoft.com/office/drawing/2014/main" id="{F6237B60-D2B7-ABE2-2FE8-51339D67CEA6}"/>
              </a:ext>
            </a:extLst>
          </p:cNvPr>
          <p:cNvSpPr txBox="1">
            <a:spLocks/>
          </p:cNvSpPr>
          <p:nvPr/>
        </p:nvSpPr>
        <p:spPr>
          <a:xfrm>
            <a:off x="3517688" y="4213385"/>
            <a:ext cx="3010860" cy="16158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6">
                  <a:lumMod val="50000"/>
                </a:schemeClr>
              </a:buClr>
              <a:buFont typeface="Tipo de letra del sistema regular"/>
              <a:buChar char="●"/>
            </a:pPr>
            <a:r>
              <a:rPr lang="es-ES" sz="1050">
                <a:solidFill>
                  <a:srgbClr val="03DCAB"/>
                </a:solidFill>
                <a:latin typeface="Pulso" pitchFamily="2" charset="0"/>
                <a:ea typeface="Roboto" panose="02000000000000000000" pitchFamily="2" charset="0"/>
                <a:cs typeface="Open Sans SemiBold"/>
              </a:rPr>
              <a:t>Independizarlo de la red propia</a:t>
            </a:r>
            <a:r>
              <a:rPr lang="es-ES" sz="1050">
                <a:solidFill>
                  <a:srgbClr val="03DCAB"/>
                </a:solidFill>
                <a:latin typeface="Pulso" pitchFamily="2" charset="0"/>
                <a:ea typeface="Roboto" panose="02000000000000000000" pitchFamily="2" charset="0"/>
                <a:cs typeface="Open Sans"/>
              </a:rPr>
              <a:t>.</a:t>
            </a:r>
            <a:endParaRPr lang="es-AR" sz="1050">
              <a:solidFill>
                <a:srgbClr val="03DCAB"/>
              </a:solidFill>
              <a:latin typeface="Pulso" pitchFamily="2" charset="0"/>
              <a:ea typeface="Roboto" panose="02000000000000000000" pitchFamily="2" charset="0"/>
              <a:cs typeface="Open San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204AEA4-C1C5-74D7-B8D4-9BE3F20E98A3}"/>
              </a:ext>
            </a:extLst>
          </p:cNvPr>
          <p:cNvSpPr txBox="1">
            <a:spLocks/>
          </p:cNvSpPr>
          <p:nvPr/>
        </p:nvSpPr>
        <p:spPr>
          <a:xfrm>
            <a:off x="540657" y="606143"/>
            <a:ext cx="7533496" cy="718145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rgbClr val="FFFFFF"/>
                </a:solidFill>
                <a:latin typeface="Pulso Light" pitchFamily="2" charset="0"/>
              </a:rPr>
              <a:t>Sostener y evolucionar el negocio de TV &amp; Streaming </a:t>
            </a:r>
            <a:r>
              <a:rPr lang="es-ES_tradnl" sz="2500" b="0" noProof="0">
                <a:solidFill>
                  <a:schemeClr val="accent6"/>
                </a:solidFill>
                <a:latin typeface="Pulso Light" pitchFamily="2" charset="0"/>
              </a:rPr>
              <a:t>con foco en la personalización de la experiencia </a:t>
            </a:r>
          </a:p>
        </p:txBody>
      </p:sp>
    </p:spTree>
    <p:extLst>
      <p:ext uri="{BB962C8B-B14F-4D97-AF65-F5344CB8AC3E}">
        <p14:creationId xmlns:p14="http://schemas.microsoft.com/office/powerpoint/2010/main" val="3852365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AC7103-8F4B-B821-73E2-A94D7D72F1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085329B-C9E9-7299-F925-B7A4551E0236}"/>
              </a:ext>
            </a:extLst>
          </p:cNvPr>
          <p:cNvSpPr txBox="1">
            <a:spLocks/>
          </p:cNvSpPr>
          <p:nvPr/>
        </p:nvSpPr>
        <p:spPr>
          <a:xfrm>
            <a:off x="540657" y="582045"/>
            <a:ext cx="4736874" cy="359073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bg2"/>
                </a:solidFill>
                <a:latin typeface="Pulso Light" pitchFamily="2" charset="0"/>
              </a:rPr>
              <a:t>Para sostener rentabilidad del Core</a:t>
            </a:r>
          </a:p>
        </p:txBody>
      </p:sp>
      <p:sp>
        <p:nvSpPr>
          <p:cNvPr id="4" name="Marcador de texto 8">
            <a:extLst>
              <a:ext uri="{FF2B5EF4-FFF2-40B4-BE49-F238E27FC236}">
                <a16:creationId xmlns:a16="http://schemas.microsoft.com/office/drawing/2014/main" id="{F4DE5791-9B97-884C-025F-7E9FC1252EB3}"/>
              </a:ext>
            </a:extLst>
          </p:cNvPr>
          <p:cNvSpPr txBox="1">
            <a:spLocks/>
          </p:cNvSpPr>
          <p:nvPr/>
        </p:nvSpPr>
        <p:spPr>
          <a:xfrm>
            <a:off x="540657" y="1165000"/>
            <a:ext cx="6973068" cy="181075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125"/>
              </a:spcAft>
              <a:buNone/>
            </a:pPr>
            <a:r>
              <a:rPr lang="es-AR" sz="110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"/>
                <a:cs typeface="Open Sans"/>
              </a:rPr>
              <a:t>Maximizar eficiencias operacionales y vinculadas a IA</a:t>
            </a: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r>
              <a:rPr lang="es-AR" sz="10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Continuar con la digitalización de procesos y la autogestión de nuestros clientes, incorporando Gen AI.</a:t>
            </a:r>
            <a:endParaRPr lang="es-AR" sz="1000">
              <a:solidFill>
                <a:schemeClr val="tx1">
                  <a:lumMod val="75000"/>
                  <a:lumOff val="25000"/>
                </a:schemeClr>
              </a:solidFill>
              <a:latin typeface="Pulso Light" pitchFamily="2" charset="0"/>
              <a:ea typeface="Roboto Light" panose="02000000000000000000" pitchFamily="2" charset="0"/>
              <a:cs typeface="Open Sans"/>
            </a:endParaRP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r>
              <a:rPr lang="es-AR" sz="10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Incrementar la </a:t>
            </a:r>
            <a:r>
              <a:rPr lang="es-AR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Pulso" pitchFamily="2" charset="0"/>
                <a:ea typeface="Roboto Light"/>
                <a:cs typeface="Open Sans"/>
              </a:rPr>
              <a:t>autoinstalación</a:t>
            </a:r>
            <a:r>
              <a:rPr lang="es-AR" sz="10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 de dispositivos en los hogares de los clientes</a:t>
            </a: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r>
              <a:rPr lang="es-AR" sz="10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Seguir creciendo en </a:t>
            </a:r>
            <a:r>
              <a:rPr lang="es-AR" sz="1000">
                <a:solidFill>
                  <a:schemeClr val="tx1">
                    <a:lumMod val="75000"/>
                    <a:lumOff val="25000"/>
                  </a:schemeClr>
                </a:solidFill>
                <a:latin typeface="Pulso" pitchFamily="2" charset="0"/>
                <a:ea typeface="Roboto Light"/>
                <a:cs typeface="Open Sans"/>
              </a:rPr>
              <a:t>solución en línea </a:t>
            </a:r>
            <a:r>
              <a:rPr lang="es-AR" sz="10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priorizando los canales </a:t>
            </a:r>
            <a:r>
              <a:rPr lang="es-AR" sz="1000" i="1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no human </a:t>
            </a:r>
            <a:r>
              <a:rPr lang="es-AR" sz="10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con valores de NPS crecientes</a:t>
            </a:r>
            <a:endParaRPr lang="es-AR" sz="2000">
              <a:solidFill>
                <a:schemeClr val="tx1">
                  <a:lumMod val="75000"/>
                  <a:lumOff val="25000"/>
                </a:schemeClr>
              </a:solidFill>
              <a:latin typeface="Pulso Light" pitchFamily="2" charset="0"/>
              <a:ea typeface="Roboto Light" panose="02000000000000000000" pitchFamily="2" charset="0"/>
            </a:endParaRP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r>
              <a:rPr lang="es-AR" sz="10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Sostener los tiempos óptimos alcanzados de agendas de </a:t>
            </a:r>
            <a:r>
              <a:rPr lang="es-AR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services</a:t>
            </a:r>
            <a:r>
              <a:rPr lang="es-AR" sz="10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 e instalaciones</a:t>
            </a:r>
            <a:endParaRPr lang="es-AR" sz="1000">
              <a:solidFill>
                <a:schemeClr val="tx1">
                  <a:lumMod val="75000"/>
                  <a:lumOff val="25000"/>
                </a:schemeClr>
              </a:solidFill>
              <a:latin typeface="Pulso Light" pitchFamily="2" charset="0"/>
              <a:ea typeface="Roboto Light" panose="02000000000000000000" pitchFamily="2" charset="0"/>
              <a:cs typeface="Open Sans"/>
            </a:endParaRP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r>
              <a:rPr lang="es-AR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Martech</a:t>
            </a:r>
            <a:r>
              <a:rPr lang="es-AR" sz="10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: Personalización de campañas con Gen AI</a:t>
            </a: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r>
              <a:rPr lang="es-AR" sz="10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Continuar en la búsqueda del </a:t>
            </a:r>
            <a:r>
              <a:rPr lang="es-AR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sizing</a:t>
            </a:r>
            <a:r>
              <a:rPr lang="es-AR" sz="10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 competitivo</a:t>
            </a:r>
          </a:p>
        </p:txBody>
      </p:sp>
      <p:sp>
        <p:nvSpPr>
          <p:cNvPr id="6" name="Marcador de texto 8">
            <a:extLst>
              <a:ext uri="{FF2B5EF4-FFF2-40B4-BE49-F238E27FC236}">
                <a16:creationId xmlns:a16="http://schemas.microsoft.com/office/drawing/2014/main" id="{6D2CE65A-0ED9-99D7-01B7-538D8342F713}"/>
              </a:ext>
            </a:extLst>
          </p:cNvPr>
          <p:cNvSpPr txBox="1">
            <a:spLocks/>
          </p:cNvSpPr>
          <p:nvPr/>
        </p:nvSpPr>
        <p:spPr>
          <a:xfrm>
            <a:off x="540657" y="3251526"/>
            <a:ext cx="6093156" cy="142603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125"/>
              </a:spcAft>
              <a:buNone/>
            </a:pPr>
            <a:r>
              <a:rPr lang="es-AR" sz="110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"/>
                <a:cs typeface="Open Sans"/>
              </a:rPr>
              <a:t>Maximizar resto de eficiencias</a:t>
            </a: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r>
              <a:rPr lang="es-AR" sz="10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Inversiones en nuevas tecnologías más eficientes y apagado de legados: reducción del TCO de la red.</a:t>
            </a: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r>
              <a:rPr lang="es-AR" sz="10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Aceleración de la agenda sindical en la nueva organización del trabajo y mejora de la productividad.</a:t>
            </a: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r>
              <a:rPr lang="es-AR" sz="10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Avanzar en un plan de sustentabilidad, que permitirá menores costos de deuda, mayor vínculo con nuestros clientes y empleados.</a:t>
            </a: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endParaRPr lang="es-AR" sz="1000">
              <a:solidFill>
                <a:schemeClr val="tx1">
                  <a:lumMod val="75000"/>
                  <a:lumOff val="25000"/>
                </a:schemeClr>
              </a:solidFill>
              <a:latin typeface="Pulso Light" pitchFamily="2" charset="0"/>
              <a:ea typeface="Roboto Light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050478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C0E5E8-EF94-1FDD-2272-61C8C60D6B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redondeado 14">
            <a:extLst>
              <a:ext uri="{FF2B5EF4-FFF2-40B4-BE49-F238E27FC236}">
                <a16:creationId xmlns:a16="http://schemas.microsoft.com/office/drawing/2014/main" id="{CBA727D4-5604-B128-08D8-70B7738E427B}"/>
              </a:ext>
            </a:extLst>
          </p:cNvPr>
          <p:cNvSpPr>
            <a:spLocks/>
          </p:cNvSpPr>
          <p:nvPr/>
        </p:nvSpPr>
        <p:spPr>
          <a:xfrm>
            <a:off x="541167" y="1243375"/>
            <a:ext cx="3942724" cy="2417591"/>
          </a:xfrm>
          <a:prstGeom prst="roundRect">
            <a:avLst>
              <a:gd name="adj" fmla="val 2095"/>
            </a:avLst>
          </a:prstGeom>
          <a:solidFill>
            <a:srgbClr val="FFFFFF"/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9" name="Rectángulo redondeado 18">
            <a:extLst>
              <a:ext uri="{FF2B5EF4-FFF2-40B4-BE49-F238E27FC236}">
                <a16:creationId xmlns:a16="http://schemas.microsoft.com/office/drawing/2014/main" id="{AE6444A9-2887-6A4C-55F2-05B7EA47BC4A}"/>
              </a:ext>
            </a:extLst>
          </p:cNvPr>
          <p:cNvSpPr>
            <a:spLocks/>
          </p:cNvSpPr>
          <p:nvPr/>
        </p:nvSpPr>
        <p:spPr>
          <a:xfrm>
            <a:off x="4660619" y="1243375"/>
            <a:ext cx="3942724" cy="2417591"/>
          </a:xfrm>
          <a:prstGeom prst="roundRect">
            <a:avLst>
              <a:gd name="adj" fmla="val 2095"/>
            </a:avLst>
          </a:prstGeom>
          <a:solidFill>
            <a:srgbClr val="FFFFFF"/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9B4CED9-0E20-D952-1F18-864F1D8F8AB7}"/>
              </a:ext>
            </a:extLst>
          </p:cNvPr>
          <p:cNvSpPr txBox="1">
            <a:spLocks/>
          </p:cNvSpPr>
          <p:nvPr/>
        </p:nvSpPr>
        <p:spPr>
          <a:xfrm>
            <a:off x="540657" y="582045"/>
            <a:ext cx="2319225" cy="359073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bg2"/>
                </a:solidFill>
                <a:latin typeface="Pulso Light" pitchFamily="2" charset="0"/>
              </a:rPr>
              <a:t>Digital Comercial</a:t>
            </a:r>
          </a:p>
        </p:txBody>
      </p:sp>
      <p:sp>
        <p:nvSpPr>
          <p:cNvPr id="17" name="Rectángulo: esquinas redondeadas 4">
            <a:extLst>
              <a:ext uri="{FF2B5EF4-FFF2-40B4-BE49-F238E27FC236}">
                <a16:creationId xmlns:a16="http://schemas.microsoft.com/office/drawing/2014/main" id="{9082F016-3709-C3E4-8CD3-4E6F26361858}"/>
              </a:ext>
            </a:extLst>
          </p:cNvPr>
          <p:cNvSpPr>
            <a:spLocks/>
          </p:cNvSpPr>
          <p:nvPr/>
        </p:nvSpPr>
        <p:spPr>
          <a:xfrm>
            <a:off x="3352111" y="3766092"/>
            <a:ext cx="2439777" cy="807534"/>
          </a:xfrm>
          <a:prstGeom prst="roundRect">
            <a:avLst>
              <a:gd name="adj" fmla="val 6347"/>
            </a:avLst>
          </a:prstGeom>
          <a:solidFill>
            <a:schemeClr val="tx2">
              <a:lumMod val="75000"/>
              <a:lumOff val="25000"/>
            </a:schemeClr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21" name="Marcador de texto 8">
            <a:extLst>
              <a:ext uri="{FF2B5EF4-FFF2-40B4-BE49-F238E27FC236}">
                <a16:creationId xmlns:a16="http://schemas.microsoft.com/office/drawing/2014/main" id="{FA2789FB-5CF6-3FD9-8CF5-BAC882070979}"/>
              </a:ext>
            </a:extLst>
          </p:cNvPr>
          <p:cNvSpPr txBox="1">
            <a:spLocks/>
          </p:cNvSpPr>
          <p:nvPr/>
        </p:nvSpPr>
        <p:spPr>
          <a:xfrm>
            <a:off x="3482740" y="3900555"/>
            <a:ext cx="2223726" cy="53860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59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</a:pPr>
            <a:r>
              <a:rPr lang="es-AR" sz="1000">
                <a:solidFill>
                  <a:srgbClr val="FFFFFF"/>
                </a:solidFill>
                <a:latin typeface="Pulso" pitchFamily="2" charset="0"/>
                <a:ea typeface="Roboto Light"/>
                <a:cs typeface="Open Sans"/>
              </a:rPr>
              <a:t>Venta full digital</a:t>
            </a:r>
          </a:p>
          <a:p>
            <a:pPr marL="2159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</a:pPr>
            <a:r>
              <a:rPr lang="es-AR" sz="1000">
                <a:solidFill>
                  <a:srgbClr val="FFFFFF"/>
                </a:solidFill>
                <a:latin typeface="Pulso" pitchFamily="2" charset="0"/>
                <a:ea typeface="Roboto Light"/>
                <a:cs typeface="Open Sans"/>
              </a:rPr>
              <a:t>Martech</a:t>
            </a:r>
          </a:p>
          <a:p>
            <a:pPr marL="21590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r>
              <a:rPr lang="es-AR" sz="1000" err="1">
                <a:solidFill>
                  <a:srgbClr val="FFFFFF"/>
                </a:solidFill>
                <a:latin typeface="Pulso" pitchFamily="2" charset="0"/>
                <a:ea typeface="Roboto Light"/>
                <a:cs typeface="Open Sans"/>
              </a:rPr>
              <a:t>Concierge</a:t>
            </a:r>
            <a:r>
              <a:rPr lang="es-AR" sz="1000">
                <a:solidFill>
                  <a:srgbClr val="FFFFFF"/>
                </a:solidFill>
                <a:latin typeface="Pulso" pitchFamily="2" charset="0"/>
                <a:ea typeface="Roboto Light"/>
                <a:cs typeface="Open Sans"/>
              </a:rPr>
              <a:t> y atención con Gen AI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F2DC4F82-59FD-96D8-4B04-02320DE973B5}"/>
              </a:ext>
            </a:extLst>
          </p:cNvPr>
          <p:cNvSpPr txBox="1">
            <a:spLocks/>
          </p:cNvSpPr>
          <p:nvPr/>
        </p:nvSpPr>
        <p:spPr>
          <a:xfrm>
            <a:off x="537890" y="1380909"/>
            <a:ext cx="3942724" cy="16927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100" b="0" spc="0" noProof="0">
                <a:solidFill>
                  <a:schemeClr val="tx2"/>
                </a:solidFill>
              </a:rPr>
              <a:t>Share de Ventas / Costo por Venta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B821EDBD-106D-A5CF-103D-F316A5FDE417}"/>
              </a:ext>
            </a:extLst>
          </p:cNvPr>
          <p:cNvSpPr txBox="1">
            <a:spLocks/>
          </p:cNvSpPr>
          <p:nvPr/>
        </p:nvSpPr>
        <p:spPr>
          <a:xfrm>
            <a:off x="4657342" y="1380909"/>
            <a:ext cx="3942724" cy="16927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100" b="0" spc="0" noProof="0">
                <a:solidFill>
                  <a:schemeClr val="tx2"/>
                </a:solidFill>
              </a:rPr>
              <a:t>MAU Digital / Horas </a:t>
            </a:r>
            <a:r>
              <a:rPr lang="es-ES_tradnl" sz="1100" b="0" spc="0" noProof="0" err="1">
                <a:solidFill>
                  <a:schemeClr val="tx2"/>
                </a:solidFill>
              </a:rPr>
              <a:t>Call</a:t>
            </a:r>
            <a:r>
              <a:rPr lang="es-ES_tradnl" sz="1100" b="0" spc="0" noProof="0">
                <a:solidFill>
                  <a:schemeClr val="tx2"/>
                </a:solidFill>
              </a:rPr>
              <a:t> Center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07909BF6-4439-E360-6FC5-C4EEB9A88B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3845" y="1568871"/>
            <a:ext cx="4395597" cy="2005758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2D6E30CF-15A4-719D-48FD-27155D2386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005" y="1554462"/>
            <a:ext cx="4304149" cy="2115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057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F12B2F-2023-24E9-FF75-D5445E1372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redondeado 14">
            <a:extLst>
              <a:ext uri="{FF2B5EF4-FFF2-40B4-BE49-F238E27FC236}">
                <a16:creationId xmlns:a16="http://schemas.microsoft.com/office/drawing/2014/main" id="{5E715A48-DEF4-9F81-35AD-AD48FDC0E80C}"/>
              </a:ext>
            </a:extLst>
          </p:cNvPr>
          <p:cNvSpPr>
            <a:spLocks/>
          </p:cNvSpPr>
          <p:nvPr/>
        </p:nvSpPr>
        <p:spPr>
          <a:xfrm>
            <a:off x="541167" y="1243375"/>
            <a:ext cx="3942724" cy="2417591"/>
          </a:xfrm>
          <a:prstGeom prst="roundRect">
            <a:avLst>
              <a:gd name="adj" fmla="val 2095"/>
            </a:avLst>
          </a:prstGeom>
          <a:solidFill>
            <a:srgbClr val="FFFFFF"/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9" name="Rectángulo redondeado 18">
            <a:extLst>
              <a:ext uri="{FF2B5EF4-FFF2-40B4-BE49-F238E27FC236}">
                <a16:creationId xmlns:a16="http://schemas.microsoft.com/office/drawing/2014/main" id="{A16DF599-88D8-1416-F8C6-C28A3D380CC0}"/>
              </a:ext>
            </a:extLst>
          </p:cNvPr>
          <p:cNvSpPr>
            <a:spLocks/>
          </p:cNvSpPr>
          <p:nvPr/>
        </p:nvSpPr>
        <p:spPr>
          <a:xfrm>
            <a:off x="4660619" y="1243375"/>
            <a:ext cx="3942724" cy="2417591"/>
          </a:xfrm>
          <a:prstGeom prst="roundRect">
            <a:avLst>
              <a:gd name="adj" fmla="val 2095"/>
            </a:avLst>
          </a:prstGeom>
          <a:solidFill>
            <a:srgbClr val="FFFFFF"/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604C02-AE6A-1C65-E3A8-255331D19F51}"/>
              </a:ext>
            </a:extLst>
          </p:cNvPr>
          <p:cNvSpPr txBox="1">
            <a:spLocks/>
          </p:cNvSpPr>
          <p:nvPr/>
        </p:nvSpPr>
        <p:spPr>
          <a:xfrm>
            <a:off x="540657" y="582045"/>
            <a:ext cx="2450992" cy="359073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bg2"/>
                </a:solidFill>
                <a:latin typeface="Pulso Light" pitchFamily="2" charset="0"/>
              </a:rPr>
              <a:t>Digital Fullfiltment</a:t>
            </a:r>
          </a:p>
        </p:txBody>
      </p:sp>
      <p:sp>
        <p:nvSpPr>
          <p:cNvPr id="3" name="Rectángulo: esquinas redondeadas 4">
            <a:extLst>
              <a:ext uri="{FF2B5EF4-FFF2-40B4-BE49-F238E27FC236}">
                <a16:creationId xmlns:a16="http://schemas.microsoft.com/office/drawing/2014/main" id="{9629D276-B2FB-A59F-541C-7E16F663D40A}"/>
              </a:ext>
            </a:extLst>
          </p:cNvPr>
          <p:cNvSpPr>
            <a:spLocks/>
          </p:cNvSpPr>
          <p:nvPr/>
        </p:nvSpPr>
        <p:spPr>
          <a:xfrm>
            <a:off x="3352111" y="3766092"/>
            <a:ext cx="2439777" cy="807534"/>
          </a:xfrm>
          <a:prstGeom prst="roundRect">
            <a:avLst>
              <a:gd name="adj" fmla="val 6347"/>
            </a:avLst>
          </a:prstGeom>
          <a:solidFill>
            <a:schemeClr val="tx2">
              <a:lumMod val="75000"/>
              <a:lumOff val="25000"/>
            </a:schemeClr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4" name="Marcador de texto 8">
            <a:extLst>
              <a:ext uri="{FF2B5EF4-FFF2-40B4-BE49-F238E27FC236}">
                <a16:creationId xmlns:a16="http://schemas.microsoft.com/office/drawing/2014/main" id="{DC504E64-1759-A905-5492-D821B8113496}"/>
              </a:ext>
            </a:extLst>
          </p:cNvPr>
          <p:cNvSpPr txBox="1">
            <a:spLocks/>
          </p:cNvSpPr>
          <p:nvPr/>
        </p:nvSpPr>
        <p:spPr>
          <a:xfrm>
            <a:off x="3482740" y="3900555"/>
            <a:ext cx="2223726" cy="53860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59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</a:pPr>
            <a:r>
              <a:rPr lang="es-AR" sz="1000">
                <a:solidFill>
                  <a:srgbClr val="FFFFFF"/>
                </a:solidFill>
                <a:latin typeface="Pulso" pitchFamily="2" charset="0"/>
                <a:ea typeface="Roboto Light"/>
                <a:cs typeface="Open Sans"/>
              </a:rPr>
              <a:t>Agentes virtuales</a:t>
            </a:r>
          </a:p>
          <a:p>
            <a:pPr marL="2159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</a:pPr>
            <a:r>
              <a:rPr lang="es-AR" sz="1000" err="1">
                <a:solidFill>
                  <a:srgbClr val="FFFFFF"/>
                </a:solidFill>
                <a:latin typeface="Pulso" pitchFamily="2" charset="0"/>
                <a:ea typeface="Roboto Light"/>
                <a:cs typeface="Open Sans"/>
              </a:rPr>
              <a:t>Concierge</a:t>
            </a:r>
            <a:r>
              <a:rPr lang="es-AR" sz="1000">
                <a:solidFill>
                  <a:srgbClr val="FFFFFF"/>
                </a:solidFill>
                <a:latin typeface="Pulso" pitchFamily="2" charset="0"/>
                <a:ea typeface="Roboto Light"/>
                <a:cs typeface="Open Sans"/>
              </a:rPr>
              <a:t> con lenguaje natural</a:t>
            </a:r>
          </a:p>
          <a:p>
            <a:pPr marL="2159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</a:pPr>
            <a:r>
              <a:rPr lang="es-AR" sz="1000">
                <a:solidFill>
                  <a:srgbClr val="FFFFFF"/>
                </a:solidFill>
                <a:latin typeface="Pulso" pitchFamily="2" charset="0"/>
                <a:ea typeface="Roboto Light"/>
                <a:cs typeface="Open Sans"/>
              </a:rPr>
              <a:t>Autogestión en app y WhatsApp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0D2E7A5-1AD4-55D9-29ED-EEFD22FCCBFE}"/>
              </a:ext>
            </a:extLst>
          </p:cNvPr>
          <p:cNvSpPr txBox="1">
            <a:spLocks/>
          </p:cNvSpPr>
          <p:nvPr/>
        </p:nvSpPr>
        <p:spPr>
          <a:xfrm>
            <a:off x="537890" y="1380909"/>
            <a:ext cx="3942724" cy="16927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100" b="0" spc="0" noProof="0">
                <a:solidFill>
                  <a:schemeClr val="tx2"/>
                </a:solidFill>
              </a:rPr>
              <a:t>SVC Sobre Padrón / Atención No Human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911D7C06-F4B6-5468-92FF-3279FAB681C0}"/>
              </a:ext>
            </a:extLst>
          </p:cNvPr>
          <p:cNvSpPr txBox="1">
            <a:spLocks/>
          </p:cNvSpPr>
          <p:nvPr/>
        </p:nvSpPr>
        <p:spPr>
          <a:xfrm>
            <a:off x="4657342" y="1380909"/>
            <a:ext cx="3942724" cy="16927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100" b="0" spc="0" noProof="0">
                <a:solidFill>
                  <a:schemeClr val="tx2"/>
                </a:solidFill>
              </a:rPr>
              <a:t>Solución en Línea / </a:t>
            </a:r>
            <a:r>
              <a:rPr lang="es-ES_tradnl" sz="1100" b="0" spc="0" noProof="0" err="1">
                <a:solidFill>
                  <a:schemeClr val="tx2"/>
                </a:solidFill>
              </a:rPr>
              <a:t>Truck</a:t>
            </a:r>
            <a:r>
              <a:rPr lang="es-ES_tradnl" sz="1100" b="0" spc="0" noProof="0">
                <a:solidFill>
                  <a:schemeClr val="tx2"/>
                </a:solidFill>
              </a:rPr>
              <a:t> Roll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52EB74B4-C755-B905-DC0A-2787881125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7962" y="1568871"/>
            <a:ext cx="4395597" cy="2005758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1ADD422A-4F85-FA44-3468-F8E0084780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515" y="1572314"/>
            <a:ext cx="4356100" cy="210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064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85BDB7-80D3-B72D-9761-659B5422C0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: esquinas redondeadas 4">
            <a:extLst>
              <a:ext uri="{FF2B5EF4-FFF2-40B4-BE49-F238E27FC236}">
                <a16:creationId xmlns:a16="http://schemas.microsoft.com/office/drawing/2014/main" id="{D1BEC4A8-4205-3A1F-5631-A074F867E634}"/>
              </a:ext>
            </a:extLst>
          </p:cNvPr>
          <p:cNvSpPr>
            <a:spLocks/>
          </p:cNvSpPr>
          <p:nvPr/>
        </p:nvSpPr>
        <p:spPr>
          <a:xfrm>
            <a:off x="537029" y="1723936"/>
            <a:ext cx="5148154" cy="2803651"/>
          </a:xfrm>
          <a:prstGeom prst="roundRect">
            <a:avLst>
              <a:gd name="adj" fmla="val 1975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70CF12D-203D-1A63-1EEF-47A70E862928}"/>
              </a:ext>
            </a:extLst>
          </p:cNvPr>
          <p:cNvSpPr txBox="1">
            <a:spLocks/>
          </p:cNvSpPr>
          <p:nvPr/>
        </p:nvSpPr>
        <p:spPr>
          <a:xfrm>
            <a:off x="540657" y="606143"/>
            <a:ext cx="4733915" cy="718145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tx2"/>
                </a:solidFill>
                <a:latin typeface="Pulso Light" pitchFamily="2" charset="0"/>
              </a:rPr>
              <a:t>La fusión generará un mayor valor </a:t>
            </a:r>
            <a:r>
              <a:rPr lang="es-ES_tradnl" sz="2500" b="0" noProof="0">
                <a:solidFill>
                  <a:schemeClr val="bg2"/>
                </a:solidFill>
                <a:latin typeface="Pulso Light" pitchFamily="2" charset="0"/>
              </a:rPr>
              <a:t>por efecto de sinergias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278D8E82-5A44-1983-FBA1-493E1312F782}"/>
              </a:ext>
            </a:extLst>
          </p:cNvPr>
          <p:cNvSpPr txBox="1"/>
          <p:nvPr/>
        </p:nvSpPr>
        <p:spPr>
          <a:xfrm>
            <a:off x="552014" y="1408379"/>
            <a:ext cx="969817" cy="123111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lnSpc>
                <a:spcPct val="100000"/>
              </a:lnSpc>
            </a:pPr>
            <a:r>
              <a:rPr lang="es-ES_tradnl" sz="8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</a:rPr>
              <a:t>VAN en USD Millones</a:t>
            </a:r>
          </a:p>
        </p:txBody>
      </p:sp>
      <p:pic>
        <p:nvPicPr>
          <p:cNvPr id="48" name="Imagen 47">
            <a:extLst>
              <a:ext uri="{FF2B5EF4-FFF2-40B4-BE49-F238E27FC236}">
                <a16:creationId xmlns:a16="http://schemas.microsoft.com/office/drawing/2014/main" id="{A91D0A3E-3FEE-AF17-B196-2927DCE060A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3640" y="0"/>
            <a:ext cx="2880360" cy="5143500"/>
          </a:xfrm>
          <a:prstGeom prst="rect">
            <a:avLst/>
          </a:prstGeom>
        </p:spPr>
      </p:pic>
      <p:sp>
        <p:nvSpPr>
          <p:cNvPr id="50" name="Rectángulo redondeado 49">
            <a:extLst>
              <a:ext uri="{FF2B5EF4-FFF2-40B4-BE49-F238E27FC236}">
                <a16:creationId xmlns:a16="http://schemas.microsoft.com/office/drawing/2014/main" id="{64C2364D-2DB5-9EA2-398F-04312978A4EB}"/>
              </a:ext>
            </a:extLst>
          </p:cNvPr>
          <p:cNvSpPr/>
          <p:nvPr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52" name="Gráfico 3">
            <a:extLst>
              <a:ext uri="{FF2B5EF4-FFF2-40B4-BE49-F238E27FC236}">
                <a16:creationId xmlns:a16="http://schemas.microsoft.com/office/drawing/2014/main" id="{24726E9A-1DE6-C44D-D931-325CD25059D6}"/>
              </a:ext>
            </a:extLst>
          </p:cNvPr>
          <p:cNvGrpSpPr/>
          <p:nvPr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53" name="Forma libre 52">
              <a:extLst>
                <a:ext uri="{FF2B5EF4-FFF2-40B4-BE49-F238E27FC236}">
                  <a16:creationId xmlns:a16="http://schemas.microsoft.com/office/drawing/2014/main" id="{51285AD0-0D67-3252-6976-F37E5775145E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4" name="Forma libre 53">
              <a:extLst>
                <a:ext uri="{FF2B5EF4-FFF2-40B4-BE49-F238E27FC236}">
                  <a16:creationId xmlns:a16="http://schemas.microsoft.com/office/drawing/2014/main" id="{3E197C89-7110-DAC6-75BE-09D1F05F3960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5" name="Forma libre 54">
              <a:extLst>
                <a:ext uri="{FF2B5EF4-FFF2-40B4-BE49-F238E27FC236}">
                  <a16:creationId xmlns:a16="http://schemas.microsoft.com/office/drawing/2014/main" id="{EBABA253-6B39-704D-E458-B05ABED5328D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6" name="Forma libre 55">
              <a:extLst>
                <a:ext uri="{FF2B5EF4-FFF2-40B4-BE49-F238E27FC236}">
                  <a16:creationId xmlns:a16="http://schemas.microsoft.com/office/drawing/2014/main" id="{A234ADF7-8047-F49C-0C57-775F6D2575E3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7" name="Forma libre 56">
              <a:extLst>
                <a:ext uri="{FF2B5EF4-FFF2-40B4-BE49-F238E27FC236}">
                  <a16:creationId xmlns:a16="http://schemas.microsoft.com/office/drawing/2014/main" id="{BD504FF6-A27C-4CE9-C047-E4955008E11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8" name="Forma libre 57">
              <a:extLst>
                <a:ext uri="{FF2B5EF4-FFF2-40B4-BE49-F238E27FC236}">
                  <a16:creationId xmlns:a16="http://schemas.microsoft.com/office/drawing/2014/main" id="{1E2A5B65-97F5-146F-A8DA-E7C5E32592EF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9" name="Forma libre 58">
              <a:extLst>
                <a:ext uri="{FF2B5EF4-FFF2-40B4-BE49-F238E27FC236}">
                  <a16:creationId xmlns:a16="http://schemas.microsoft.com/office/drawing/2014/main" id="{F09B899A-4F3B-2F02-056E-7988BEB53CD4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60" name="Forma libre 59">
              <a:extLst>
                <a:ext uri="{FF2B5EF4-FFF2-40B4-BE49-F238E27FC236}">
                  <a16:creationId xmlns:a16="http://schemas.microsoft.com/office/drawing/2014/main" id="{2701BDEF-229E-95C3-AAC8-8B4C2C4B6980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61" name="Rectángulo 60">
            <a:extLst>
              <a:ext uri="{FF2B5EF4-FFF2-40B4-BE49-F238E27FC236}">
                <a16:creationId xmlns:a16="http://schemas.microsoft.com/office/drawing/2014/main" id="{E74D8415-CE4A-20A7-6801-8B4FDD8DBCB0}"/>
              </a:ext>
            </a:extLst>
          </p:cNvPr>
          <p:cNvSpPr/>
          <p:nvPr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" name="Rectángulo: esquinas redondeadas 4">
            <a:extLst>
              <a:ext uri="{FF2B5EF4-FFF2-40B4-BE49-F238E27FC236}">
                <a16:creationId xmlns:a16="http://schemas.microsoft.com/office/drawing/2014/main" id="{6049B4DB-DB54-1BD9-1DFC-B1842A5AFB33}"/>
              </a:ext>
            </a:extLst>
          </p:cNvPr>
          <p:cNvSpPr>
            <a:spLocks/>
          </p:cNvSpPr>
          <p:nvPr/>
        </p:nvSpPr>
        <p:spPr>
          <a:xfrm>
            <a:off x="4572000" y="1657848"/>
            <a:ext cx="1197106" cy="2955368"/>
          </a:xfrm>
          <a:prstGeom prst="roundRect">
            <a:avLst>
              <a:gd name="adj" fmla="val 596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graphicFrame>
        <p:nvGraphicFramePr>
          <p:cNvPr id="3" name="Tabla 2">
            <a:extLst>
              <a:ext uri="{FF2B5EF4-FFF2-40B4-BE49-F238E27FC236}">
                <a16:creationId xmlns:a16="http://schemas.microsoft.com/office/drawing/2014/main" id="{78478792-435D-F2F3-0B82-7C33200164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1925888"/>
              </p:ext>
            </p:extLst>
          </p:nvPr>
        </p:nvGraphicFramePr>
        <p:xfrm>
          <a:off x="667909" y="1843124"/>
          <a:ext cx="4985405" cy="25675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84136">
                  <a:extLst>
                    <a:ext uri="{9D8B030D-6E8A-4147-A177-3AD203B41FA5}">
                      <a16:colId xmlns:a16="http://schemas.microsoft.com/office/drawing/2014/main" val="1203848649"/>
                    </a:ext>
                  </a:extLst>
                </a:gridCol>
                <a:gridCol w="966084">
                  <a:extLst>
                    <a:ext uri="{9D8B030D-6E8A-4147-A177-3AD203B41FA5}">
                      <a16:colId xmlns:a16="http://schemas.microsoft.com/office/drawing/2014/main" val="3300211501"/>
                    </a:ext>
                  </a:extLst>
                </a:gridCol>
                <a:gridCol w="1256306">
                  <a:extLst>
                    <a:ext uri="{9D8B030D-6E8A-4147-A177-3AD203B41FA5}">
                      <a16:colId xmlns:a16="http://schemas.microsoft.com/office/drawing/2014/main" val="521380750"/>
                    </a:ext>
                  </a:extLst>
                </a:gridCol>
                <a:gridCol w="1478879">
                  <a:extLst>
                    <a:ext uri="{9D8B030D-6E8A-4147-A177-3AD203B41FA5}">
                      <a16:colId xmlns:a16="http://schemas.microsoft.com/office/drawing/2014/main" val="1919565854"/>
                    </a:ext>
                  </a:extLst>
                </a:gridCol>
              </a:tblGrid>
              <a:tr h="476555">
                <a:tc>
                  <a:txBody>
                    <a:bodyPr/>
                    <a:lstStyle/>
                    <a:p>
                      <a:endParaRPr lang="es-ES_tradnl" sz="1000" b="0" i="0">
                        <a:latin typeface="Pulso Light" pitchFamily="2" charset="0"/>
                      </a:endParaRPr>
                    </a:p>
                  </a:txBody>
                  <a:tcPr marL="7200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00" b="0" i="0">
                          <a:solidFill>
                            <a:schemeClr val="accent1"/>
                          </a:solidFill>
                          <a:latin typeface="Pulso" pitchFamily="2" charset="0"/>
                        </a:rPr>
                        <a:t>Sinergias Relevadas</a:t>
                      </a:r>
                    </a:p>
                  </a:txBody>
                  <a:tcPr marL="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00" b="0" i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Pulso" pitchFamily="2" charset="0"/>
                        </a:rPr>
                        <a:t>Realizadas &amp; Comprometidas 2025/2026</a:t>
                      </a:r>
                    </a:p>
                  </a:txBody>
                  <a:tcPr marL="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00" b="0" i="0">
                          <a:solidFill>
                            <a:srgbClr val="FFFFFF"/>
                          </a:solidFill>
                          <a:latin typeface="Pulso" pitchFamily="2" charset="0"/>
                        </a:rPr>
                        <a:t>A REALIZAR</a:t>
                      </a:r>
                    </a:p>
                  </a:txBody>
                  <a:tcPr marL="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1606438"/>
                  </a:ext>
                </a:extLst>
              </a:tr>
              <a:tr h="255587">
                <a:tc>
                  <a:txBody>
                    <a:bodyPr/>
                    <a:lstStyle/>
                    <a:p>
                      <a:r>
                        <a:rPr lang="es-ES_tradnl" sz="1000" b="0" i="0">
                          <a:latin typeface="Pulso Light" pitchFamily="2" charset="0"/>
                        </a:rPr>
                        <a:t>Grilla Única Móvil</a:t>
                      </a:r>
                    </a:p>
                  </a:txBody>
                  <a:tcPr marL="108000" marR="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00" b="0" i="0">
                          <a:solidFill>
                            <a:schemeClr val="accent1"/>
                          </a:solidFill>
                          <a:latin typeface="Pulso Light" pitchFamily="2" charset="0"/>
                        </a:rPr>
                        <a:t>1.840</a:t>
                      </a:r>
                    </a:p>
                  </a:txBody>
                  <a:tcPr marL="0" marR="7200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00" b="0" i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Pulso Light" pitchFamily="2" charset="0"/>
                        </a:rPr>
                        <a:t>1.570</a:t>
                      </a:r>
                    </a:p>
                  </a:txBody>
                  <a:tcPr marL="0" marR="7200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00" b="0" i="0">
                          <a:solidFill>
                            <a:srgbClr val="FFFFFF"/>
                          </a:solidFill>
                          <a:latin typeface="Pulso" pitchFamily="2" charset="0"/>
                        </a:rPr>
                        <a:t>269</a:t>
                      </a:r>
                    </a:p>
                  </a:txBody>
                  <a:tcPr marL="0" marR="7200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963716"/>
                  </a:ext>
                </a:extLst>
              </a:tr>
              <a:tr h="233900">
                <a:tc>
                  <a:txBody>
                    <a:bodyPr/>
                    <a:lstStyle/>
                    <a:p>
                      <a:r>
                        <a:rPr lang="es-ES_tradnl" sz="1000" b="0" i="0" kern="1200">
                          <a:solidFill>
                            <a:schemeClr val="dk1"/>
                          </a:solidFill>
                          <a:latin typeface="Pulso Light" pitchFamily="2" charset="0"/>
                          <a:ea typeface="+mn-ea"/>
                          <a:cs typeface="+mn-cs"/>
                        </a:rPr>
                        <a:t>Salarial</a:t>
                      </a:r>
                    </a:p>
                  </a:txBody>
                  <a:tcPr marL="108000" marR="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00" b="0" i="0">
                          <a:solidFill>
                            <a:schemeClr val="accent1"/>
                          </a:solidFill>
                          <a:latin typeface="Pulso Light" pitchFamily="2" charset="0"/>
                        </a:rPr>
                        <a:t>1.154</a:t>
                      </a:r>
                    </a:p>
                  </a:txBody>
                  <a:tcPr marL="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00" b="0" i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Pulso Light" pitchFamily="2" charset="0"/>
                        </a:rPr>
                        <a:t>441</a:t>
                      </a:r>
                    </a:p>
                  </a:txBody>
                  <a:tcPr marL="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00" b="0" i="0">
                          <a:solidFill>
                            <a:srgbClr val="FFFFFF"/>
                          </a:solidFill>
                          <a:latin typeface="Pulso" pitchFamily="2" charset="0"/>
                        </a:rPr>
                        <a:t>713</a:t>
                      </a:r>
                    </a:p>
                  </a:txBody>
                  <a:tcPr marL="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7424246"/>
                  </a:ext>
                </a:extLst>
              </a:tr>
              <a:tr h="233900">
                <a:tc>
                  <a:txBody>
                    <a:bodyPr/>
                    <a:lstStyle/>
                    <a:p>
                      <a:r>
                        <a:rPr lang="es-ES_tradnl" sz="1000" b="0" i="0">
                          <a:latin typeface="Pulso Light" pitchFamily="2" charset="0"/>
                        </a:rPr>
                        <a:t>Edificios Técnicos</a:t>
                      </a:r>
                    </a:p>
                  </a:txBody>
                  <a:tcPr marL="108000" marR="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00" b="0" i="0">
                          <a:solidFill>
                            <a:schemeClr val="accent1"/>
                          </a:solidFill>
                          <a:latin typeface="Pulso Light" pitchFamily="2" charset="0"/>
                        </a:rPr>
                        <a:t>458</a:t>
                      </a:r>
                    </a:p>
                  </a:txBody>
                  <a:tcPr marL="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00" b="0" i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Pulso Light" pitchFamily="2" charset="0"/>
                        </a:rPr>
                        <a:t>31</a:t>
                      </a:r>
                    </a:p>
                  </a:txBody>
                  <a:tcPr marL="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00" b="0" i="0">
                          <a:solidFill>
                            <a:srgbClr val="FFFFFF"/>
                          </a:solidFill>
                          <a:latin typeface="Pulso" pitchFamily="2" charset="0"/>
                        </a:rPr>
                        <a:t>426</a:t>
                      </a:r>
                    </a:p>
                  </a:txBody>
                  <a:tcPr marL="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4600266"/>
                  </a:ext>
                </a:extLst>
              </a:tr>
              <a:tr h="233900">
                <a:tc>
                  <a:txBody>
                    <a:bodyPr/>
                    <a:lstStyle/>
                    <a:p>
                      <a:r>
                        <a:rPr lang="es-ES_tradnl" sz="1000" b="0" i="0">
                          <a:latin typeface="Pulso Light" pitchFamily="2" charset="0"/>
                        </a:rPr>
                        <a:t>Publicidad &amp; Otros</a:t>
                      </a:r>
                    </a:p>
                  </a:txBody>
                  <a:tcPr marL="108000" marR="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00" b="0" i="0">
                          <a:solidFill>
                            <a:schemeClr val="accent1"/>
                          </a:solidFill>
                          <a:latin typeface="Pulso Light" pitchFamily="2" charset="0"/>
                        </a:rPr>
                        <a:t>156</a:t>
                      </a:r>
                    </a:p>
                  </a:txBody>
                  <a:tcPr marL="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00" b="0" i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Pulso Light" pitchFamily="2" charset="0"/>
                        </a:rPr>
                        <a:t>156</a:t>
                      </a:r>
                    </a:p>
                  </a:txBody>
                  <a:tcPr marL="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00" b="0" i="0">
                          <a:solidFill>
                            <a:srgbClr val="FFFFFF"/>
                          </a:solidFill>
                          <a:latin typeface="Pulso" pitchFamily="2" charset="0"/>
                        </a:rPr>
                        <a:t>-</a:t>
                      </a:r>
                    </a:p>
                  </a:txBody>
                  <a:tcPr marL="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2262227"/>
                  </a:ext>
                </a:extLst>
              </a:tr>
              <a:tr h="233900">
                <a:tc>
                  <a:txBody>
                    <a:bodyPr/>
                    <a:lstStyle/>
                    <a:p>
                      <a:r>
                        <a:rPr lang="es-ES_tradnl" sz="1000" b="0" i="0">
                          <a:latin typeface="Pulso Light" pitchFamily="2" charset="0"/>
                        </a:rPr>
                        <a:t>Acceso Fijo</a:t>
                      </a:r>
                    </a:p>
                  </a:txBody>
                  <a:tcPr marL="108000" marR="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00" b="0" i="0">
                          <a:solidFill>
                            <a:schemeClr val="accent1"/>
                          </a:solidFill>
                          <a:latin typeface="Pulso Light" pitchFamily="2" charset="0"/>
                        </a:rPr>
                        <a:t>102</a:t>
                      </a:r>
                    </a:p>
                  </a:txBody>
                  <a:tcPr marL="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00" b="0" i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Pulso Light" pitchFamily="2" charset="0"/>
                        </a:rPr>
                        <a:t>102</a:t>
                      </a:r>
                    </a:p>
                  </a:txBody>
                  <a:tcPr marL="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00" b="0" i="0">
                          <a:solidFill>
                            <a:srgbClr val="FFFFFF"/>
                          </a:solidFill>
                          <a:latin typeface="Pulso" pitchFamily="2" charset="0"/>
                        </a:rPr>
                        <a:t>-</a:t>
                      </a:r>
                    </a:p>
                  </a:txBody>
                  <a:tcPr marL="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0769140"/>
                  </a:ext>
                </a:extLst>
              </a:tr>
              <a:tr h="392751">
                <a:tc>
                  <a:txBody>
                    <a:bodyPr/>
                    <a:lstStyle/>
                    <a:p>
                      <a:r>
                        <a:rPr lang="es-ES_tradnl" sz="1000" b="0" i="0">
                          <a:latin typeface="Pulso Light" pitchFamily="2" charset="0"/>
                        </a:rPr>
                        <a:t>Programación &amp; Plataforma Video</a:t>
                      </a:r>
                    </a:p>
                  </a:txBody>
                  <a:tcPr marL="108000" marR="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00" b="0" i="0">
                          <a:solidFill>
                            <a:schemeClr val="accent1"/>
                          </a:solidFill>
                          <a:latin typeface="Pulso Light" pitchFamily="2" charset="0"/>
                        </a:rPr>
                        <a:t>171</a:t>
                      </a:r>
                    </a:p>
                  </a:txBody>
                  <a:tcPr marL="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00" b="0" i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Pulso Light" pitchFamily="2" charset="0"/>
                        </a:rPr>
                        <a:t>43</a:t>
                      </a:r>
                    </a:p>
                  </a:txBody>
                  <a:tcPr marL="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00" b="0" i="0">
                          <a:solidFill>
                            <a:srgbClr val="FFFFFF"/>
                          </a:solidFill>
                          <a:latin typeface="Pulso" pitchFamily="2" charset="0"/>
                        </a:rPr>
                        <a:t>128</a:t>
                      </a:r>
                    </a:p>
                  </a:txBody>
                  <a:tcPr marL="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375742"/>
                  </a:ext>
                </a:extLst>
              </a:tr>
              <a:tr h="255587">
                <a:tc>
                  <a:txBody>
                    <a:bodyPr/>
                    <a:lstStyle/>
                    <a:p>
                      <a:pPr marL="0" algn="l" defTabSz="642909" rtl="0" eaLnBrk="1" latinLnBrk="0" hangingPunct="1"/>
                      <a:r>
                        <a:rPr lang="es-ES_tradnl" sz="1000" b="0" i="0" kern="1200">
                          <a:solidFill>
                            <a:schemeClr val="dk1"/>
                          </a:solidFill>
                          <a:latin typeface="Pulso Light" pitchFamily="2" charset="0"/>
                          <a:ea typeface="+mn-ea"/>
                          <a:cs typeface="+mn-cs"/>
                        </a:rPr>
                        <a:t>Otros</a:t>
                      </a:r>
                    </a:p>
                  </a:txBody>
                  <a:tcPr marL="108000" marR="0" marT="36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1000" b="0" i="0" kern="1200">
                          <a:solidFill>
                            <a:schemeClr val="accent1"/>
                          </a:solidFill>
                          <a:latin typeface="Pulso Light" pitchFamily="2" charset="0"/>
                          <a:ea typeface="+mn-ea"/>
                          <a:cs typeface="+mn-cs"/>
                        </a:rPr>
                        <a:t>1.235</a:t>
                      </a:r>
                    </a:p>
                  </a:txBody>
                  <a:tcPr marL="0" marR="72000" marT="36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1000" b="0" i="0" kern="120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Pulso Light" pitchFamily="2" charset="0"/>
                          <a:ea typeface="+mn-ea"/>
                          <a:cs typeface="+mn-cs"/>
                        </a:rPr>
                        <a:t>388</a:t>
                      </a:r>
                    </a:p>
                  </a:txBody>
                  <a:tcPr marL="0" marR="72000" marT="36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1000" b="0" i="0">
                          <a:solidFill>
                            <a:srgbClr val="FFFFFF"/>
                          </a:solidFill>
                          <a:latin typeface="Pulso" pitchFamily="2" charset="0"/>
                        </a:rPr>
                        <a:t>847</a:t>
                      </a:r>
                      <a:endParaRPr lang="es-ES_tradnl" sz="1000" b="0" i="0" kern="1200">
                        <a:solidFill>
                          <a:srgbClr val="FFFFFF"/>
                        </a:solidFill>
                        <a:latin typeface="Pulso" pitchFamily="2" charset="0"/>
                        <a:ea typeface="+mn-ea"/>
                        <a:cs typeface="+mn-cs"/>
                      </a:endParaRPr>
                    </a:p>
                  </a:txBody>
                  <a:tcPr marL="0" marR="72000" marT="36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4048490"/>
                  </a:ext>
                </a:extLst>
              </a:tr>
              <a:tr h="241842">
                <a:tc>
                  <a:txBody>
                    <a:bodyPr/>
                    <a:lstStyle/>
                    <a:p>
                      <a:endParaRPr lang="es-ES_tradnl" sz="1000" b="1" i="0">
                        <a:solidFill>
                          <a:schemeClr val="accent1"/>
                        </a:solidFill>
                        <a:latin typeface="Pulso" pitchFamily="2" charset="0"/>
                      </a:endParaRPr>
                    </a:p>
                  </a:txBody>
                  <a:tcPr marL="72000" marR="0" marT="72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50" b="1" i="0">
                          <a:solidFill>
                            <a:schemeClr val="accent1"/>
                          </a:solidFill>
                          <a:latin typeface="Pulso" pitchFamily="2" charset="0"/>
                        </a:rPr>
                        <a:t>5.064</a:t>
                      </a:r>
                    </a:p>
                  </a:txBody>
                  <a:tcPr marL="0" marR="72000" marT="72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50" b="1" i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Pulso" pitchFamily="2" charset="0"/>
                        </a:rPr>
                        <a:t>2.862</a:t>
                      </a:r>
                    </a:p>
                  </a:txBody>
                  <a:tcPr marL="0" marR="72000" marT="72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1050" b="1" i="0">
                          <a:solidFill>
                            <a:srgbClr val="FFFFFF"/>
                          </a:solidFill>
                          <a:latin typeface="Pulso" pitchFamily="2" charset="0"/>
                        </a:rPr>
                        <a:t>2.202</a:t>
                      </a:r>
                    </a:p>
                  </a:txBody>
                  <a:tcPr marL="0" marR="72000" marT="72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25449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402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05C7DC-CF23-404E-119F-6D31443713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BD071E09-9D16-4009-EA61-F620B1B805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</p:pic>
      <p:sp>
        <p:nvSpPr>
          <p:cNvPr id="13" name="Rectángulo redondeado 12">
            <a:extLst>
              <a:ext uri="{FF2B5EF4-FFF2-40B4-BE49-F238E27FC236}">
                <a16:creationId xmlns:a16="http://schemas.microsoft.com/office/drawing/2014/main" id="{0D77CDD0-9633-B878-4B84-A33E31BBE0A0}"/>
              </a:ext>
            </a:extLst>
          </p:cNvPr>
          <p:cNvSpPr/>
          <p:nvPr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14" name="Gráfico 3">
            <a:extLst>
              <a:ext uri="{FF2B5EF4-FFF2-40B4-BE49-F238E27FC236}">
                <a16:creationId xmlns:a16="http://schemas.microsoft.com/office/drawing/2014/main" id="{875F6155-9A80-15EB-EA28-15A47EC04A93}"/>
              </a:ext>
            </a:extLst>
          </p:cNvPr>
          <p:cNvGrpSpPr/>
          <p:nvPr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3EA932C4-5DED-B847-1327-DCF34727DFAF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D69A6D23-61FC-2314-93A4-81C529558533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F56F001F-40F7-55A7-E7EA-8E25DCABF5F2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8" name="Forma libre 17">
              <a:extLst>
                <a:ext uri="{FF2B5EF4-FFF2-40B4-BE49-F238E27FC236}">
                  <a16:creationId xmlns:a16="http://schemas.microsoft.com/office/drawing/2014/main" id="{4B7CB3C7-06C6-6B42-0B8A-14F599150F5E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D4145C38-37C2-3BF1-934B-8FA3C6A28211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DA08B1BF-7397-EAF1-5EC2-BA981A318E1F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1" name="Forma libre 20">
              <a:extLst>
                <a:ext uri="{FF2B5EF4-FFF2-40B4-BE49-F238E27FC236}">
                  <a16:creationId xmlns:a16="http://schemas.microsoft.com/office/drawing/2014/main" id="{3558C8B6-278D-3762-B2E1-69F393C4D6E1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2" name="Forma libre 21">
              <a:extLst>
                <a:ext uri="{FF2B5EF4-FFF2-40B4-BE49-F238E27FC236}">
                  <a16:creationId xmlns:a16="http://schemas.microsoft.com/office/drawing/2014/main" id="{B82FDEF6-3DB0-9371-A954-A7535B398FD0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3" name="Rectángulo 22">
            <a:extLst>
              <a:ext uri="{FF2B5EF4-FFF2-40B4-BE49-F238E27FC236}">
                <a16:creationId xmlns:a16="http://schemas.microsoft.com/office/drawing/2014/main" id="{5F5C4372-297D-12DC-D526-C5C76079A010}"/>
              </a:ext>
            </a:extLst>
          </p:cNvPr>
          <p:cNvSpPr/>
          <p:nvPr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C9BF7D65-6BCA-A17C-EC68-ECA38E86410B}"/>
              </a:ext>
            </a:extLst>
          </p:cNvPr>
          <p:cNvSpPr/>
          <p:nvPr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sp>
        <p:nvSpPr>
          <p:cNvPr id="5" name="Redondear rectángulo de esquina del mismo lado 4">
            <a:extLst>
              <a:ext uri="{FF2B5EF4-FFF2-40B4-BE49-F238E27FC236}">
                <a16:creationId xmlns:a16="http://schemas.microsoft.com/office/drawing/2014/main" id="{1E6AE9AB-A7EC-B797-C0B3-C71A3E571040}"/>
              </a:ext>
            </a:extLst>
          </p:cNvPr>
          <p:cNvSpPr/>
          <p:nvPr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rgbClr val="5A50F9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7760" sy="117760" algn="t" rotWithShape="0">
              <a:srgbClr val="5A50F9">
                <a:alpha val="7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4447E510-3D53-80AF-F6F6-E5D7E7CD3166}"/>
              </a:ext>
            </a:extLst>
          </p:cNvPr>
          <p:cNvSpPr/>
          <p:nvPr/>
        </p:nvSpPr>
        <p:spPr>
          <a:xfrm>
            <a:off x="2791850" y="127925"/>
            <a:ext cx="827727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Evolucionar Nuestro</a:t>
            </a:r>
            <a:b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Negocio Core</a:t>
            </a:r>
          </a:p>
        </p:txBody>
      </p:sp>
      <p:grpSp>
        <p:nvGrpSpPr>
          <p:cNvPr id="26" name="Grupo 25">
            <a:extLst>
              <a:ext uri="{FF2B5EF4-FFF2-40B4-BE49-F238E27FC236}">
                <a16:creationId xmlns:a16="http://schemas.microsoft.com/office/drawing/2014/main" id="{04B40A12-480C-78BB-E3C6-5614756C5B7A}"/>
              </a:ext>
            </a:extLst>
          </p:cNvPr>
          <p:cNvGrpSpPr>
            <a:grpSpLocks noChangeAspect="1"/>
          </p:cNvGrpSpPr>
          <p:nvPr/>
        </p:nvGrpSpPr>
        <p:grpSpPr>
          <a:xfrm>
            <a:off x="2102794" y="198211"/>
            <a:ext cx="139179" cy="36000"/>
            <a:chOff x="4907127" y="353637"/>
            <a:chExt cx="433742" cy="112191"/>
          </a:xfrm>
        </p:grpSpPr>
        <p:sp>
          <p:nvSpPr>
            <p:cNvPr id="32" name="Rectángulo 61">
              <a:extLst>
                <a:ext uri="{FF2B5EF4-FFF2-40B4-BE49-F238E27FC236}">
                  <a16:creationId xmlns:a16="http://schemas.microsoft.com/office/drawing/2014/main" id="{B6724C9A-2D90-7BD7-8764-4EE9D2316DD6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33" name="Conector recto 32">
              <a:extLst>
                <a:ext uri="{FF2B5EF4-FFF2-40B4-BE49-F238E27FC236}">
                  <a16:creationId xmlns:a16="http://schemas.microsoft.com/office/drawing/2014/main" id="{7B98F97B-C307-B10A-40FE-C206A24244A7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rgbClr val="FFFFFF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upo 34">
            <a:extLst>
              <a:ext uri="{FF2B5EF4-FFF2-40B4-BE49-F238E27FC236}">
                <a16:creationId xmlns:a16="http://schemas.microsoft.com/office/drawing/2014/main" id="{9A55BD20-8F38-498B-F3CB-F734EA86691B}"/>
              </a:ext>
            </a:extLst>
          </p:cNvPr>
          <p:cNvGrpSpPr/>
          <p:nvPr/>
        </p:nvGrpSpPr>
        <p:grpSpPr>
          <a:xfrm>
            <a:off x="2487446" y="93783"/>
            <a:ext cx="236474" cy="236230"/>
            <a:chOff x="3955161" y="1943655"/>
            <a:chExt cx="1169097" cy="1167892"/>
          </a:xfrm>
        </p:grpSpPr>
        <p:sp>
          <p:nvSpPr>
            <p:cNvPr id="36" name="Forma libre 35">
              <a:extLst>
                <a:ext uri="{FF2B5EF4-FFF2-40B4-BE49-F238E27FC236}">
                  <a16:creationId xmlns:a16="http://schemas.microsoft.com/office/drawing/2014/main" id="{5B1DC12B-8D3D-AFFD-2D0C-FB1EB254D58D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rgbClr val="15095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7" name="Forma libre 36">
              <a:extLst>
                <a:ext uri="{FF2B5EF4-FFF2-40B4-BE49-F238E27FC236}">
                  <a16:creationId xmlns:a16="http://schemas.microsoft.com/office/drawing/2014/main" id="{A6BF9B77-C486-44A0-E0BC-6297F5960BBE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8" name="Forma libre 37">
              <a:extLst>
                <a:ext uri="{FF2B5EF4-FFF2-40B4-BE49-F238E27FC236}">
                  <a16:creationId xmlns:a16="http://schemas.microsoft.com/office/drawing/2014/main" id="{4FA36F07-2977-DDC5-DF3D-0597F03C253C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9" name="Forma libre 38">
              <a:extLst>
                <a:ext uri="{FF2B5EF4-FFF2-40B4-BE49-F238E27FC236}">
                  <a16:creationId xmlns:a16="http://schemas.microsoft.com/office/drawing/2014/main" id="{4E33CF52-B2FA-F4A4-3F90-6A3C22C3A203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0" name="Forma libre 39">
              <a:extLst>
                <a:ext uri="{FF2B5EF4-FFF2-40B4-BE49-F238E27FC236}">
                  <a16:creationId xmlns:a16="http://schemas.microsoft.com/office/drawing/2014/main" id="{244C02DA-DA3D-BDD8-EF18-E8556E5EEB52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1" name="Forma libre 40">
              <a:extLst>
                <a:ext uri="{FF2B5EF4-FFF2-40B4-BE49-F238E27FC236}">
                  <a16:creationId xmlns:a16="http://schemas.microsoft.com/office/drawing/2014/main" id="{E99C3DC7-FE2A-DDDE-4452-49D3ED3F62FD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2" name="Forma libre 41">
              <a:extLst>
                <a:ext uri="{FF2B5EF4-FFF2-40B4-BE49-F238E27FC236}">
                  <a16:creationId xmlns:a16="http://schemas.microsoft.com/office/drawing/2014/main" id="{3D45EDCD-58E8-7D91-7F3A-9EAF84B86683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grpSp>
        <p:nvGrpSpPr>
          <p:cNvPr id="65" name="Grupo 64">
            <a:extLst>
              <a:ext uri="{FF2B5EF4-FFF2-40B4-BE49-F238E27FC236}">
                <a16:creationId xmlns:a16="http://schemas.microsoft.com/office/drawing/2014/main" id="{DF7BEAE5-D93E-3181-8C61-2F2227691AE2}"/>
              </a:ext>
            </a:extLst>
          </p:cNvPr>
          <p:cNvGrpSpPr/>
          <p:nvPr/>
        </p:nvGrpSpPr>
        <p:grpSpPr>
          <a:xfrm>
            <a:off x="559426" y="1436571"/>
            <a:ext cx="3975716" cy="1226854"/>
            <a:chOff x="623879" y="1327660"/>
            <a:chExt cx="6523838" cy="2013171"/>
          </a:xfrm>
        </p:grpSpPr>
        <p:sp>
          <p:nvSpPr>
            <p:cNvPr id="66" name="Forma libre 65">
              <a:extLst>
                <a:ext uri="{FF2B5EF4-FFF2-40B4-BE49-F238E27FC236}">
                  <a16:creationId xmlns:a16="http://schemas.microsoft.com/office/drawing/2014/main" id="{171FE8F5-9D43-BDCE-A728-83DE918E8C91}"/>
                </a:ext>
              </a:extLst>
            </p:cNvPr>
            <p:cNvSpPr/>
            <p:nvPr/>
          </p:nvSpPr>
          <p:spPr>
            <a:xfrm>
              <a:off x="623879" y="1555264"/>
              <a:ext cx="1616319" cy="1555559"/>
            </a:xfrm>
            <a:custGeom>
              <a:avLst/>
              <a:gdLst>
                <a:gd name="connsiteX0" fmla="*/ 1321629 w 1616319"/>
                <a:gd name="connsiteY0" fmla="*/ 0 h 1555559"/>
                <a:gd name="connsiteX1" fmla="*/ 0 w 1616319"/>
                <a:gd name="connsiteY1" fmla="*/ 0 h 1555559"/>
                <a:gd name="connsiteX2" fmla="*/ 0 w 1616319"/>
                <a:gd name="connsiteY2" fmla="*/ 524130 h 1555559"/>
                <a:gd name="connsiteX3" fmla="*/ 1033376 w 1616319"/>
                <a:gd name="connsiteY3" fmla="*/ 1555560 h 1555559"/>
                <a:gd name="connsiteX4" fmla="*/ 1033376 w 1616319"/>
                <a:gd name="connsiteY4" fmla="*/ 1456183 h 1555559"/>
                <a:gd name="connsiteX5" fmla="*/ 99564 w 1616319"/>
                <a:gd name="connsiteY5" fmla="*/ 524130 h 1555559"/>
                <a:gd name="connsiteX6" fmla="*/ 99564 w 1616319"/>
                <a:gd name="connsiteY6" fmla="*/ 99376 h 1555559"/>
                <a:gd name="connsiteX7" fmla="*/ 1319220 w 1616319"/>
                <a:gd name="connsiteY7" fmla="*/ 99376 h 1555559"/>
                <a:gd name="connsiteX8" fmla="*/ 1516742 w 1616319"/>
                <a:gd name="connsiteY8" fmla="*/ 276491 h 1555559"/>
                <a:gd name="connsiteX9" fmla="*/ 1516742 w 1616319"/>
                <a:gd name="connsiteY9" fmla="*/ 1097948 h 1555559"/>
                <a:gd name="connsiteX10" fmla="*/ 1033376 w 1616319"/>
                <a:gd name="connsiteY10" fmla="*/ 1097948 h 1555559"/>
                <a:gd name="connsiteX11" fmla="*/ 460081 w 1616319"/>
                <a:gd name="connsiteY11" fmla="*/ 525733 h 1555559"/>
                <a:gd name="connsiteX12" fmla="*/ 360517 w 1616319"/>
                <a:gd name="connsiteY12" fmla="*/ 525733 h 1555559"/>
                <a:gd name="connsiteX13" fmla="*/ 1033376 w 1616319"/>
                <a:gd name="connsiteY13" fmla="*/ 1197324 h 1555559"/>
                <a:gd name="connsiteX14" fmla="*/ 1616306 w 1616319"/>
                <a:gd name="connsiteY14" fmla="*/ 1197324 h 1555559"/>
                <a:gd name="connsiteX15" fmla="*/ 1616306 w 1616319"/>
                <a:gd name="connsiteY15" fmla="*/ 275689 h 1555559"/>
                <a:gd name="connsiteX16" fmla="*/ 1321629 w 1616319"/>
                <a:gd name="connsiteY16" fmla="*/ 0 h 1555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16319" h="1555559">
                  <a:moveTo>
                    <a:pt x="1321629" y="0"/>
                  </a:moveTo>
                  <a:lnTo>
                    <a:pt x="0" y="0"/>
                  </a:lnTo>
                  <a:lnTo>
                    <a:pt x="0" y="524130"/>
                  </a:lnTo>
                  <a:cubicBezTo>
                    <a:pt x="0" y="1093139"/>
                    <a:pt x="463293" y="1555560"/>
                    <a:pt x="1033376" y="1555560"/>
                  </a:cubicBezTo>
                  <a:lnTo>
                    <a:pt x="1033376" y="1456183"/>
                  </a:lnTo>
                  <a:cubicBezTo>
                    <a:pt x="517090" y="1456183"/>
                    <a:pt x="99564" y="1037040"/>
                    <a:pt x="99564" y="524130"/>
                  </a:cubicBezTo>
                  <a:lnTo>
                    <a:pt x="99564" y="99376"/>
                  </a:lnTo>
                  <a:lnTo>
                    <a:pt x="1319220" y="99376"/>
                  </a:lnTo>
                  <a:cubicBezTo>
                    <a:pt x="1421996" y="99376"/>
                    <a:pt x="1516742" y="184327"/>
                    <a:pt x="1516742" y="276491"/>
                  </a:cubicBezTo>
                  <a:lnTo>
                    <a:pt x="1516742" y="1097948"/>
                  </a:lnTo>
                  <a:lnTo>
                    <a:pt x="1033376" y="1097948"/>
                  </a:lnTo>
                  <a:cubicBezTo>
                    <a:pt x="717020" y="1097948"/>
                    <a:pt x="460081" y="841493"/>
                    <a:pt x="460081" y="525733"/>
                  </a:cubicBezTo>
                  <a:lnTo>
                    <a:pt x="360517" y="525733"/>
                  </a:lnTo>
                  <a:cubicBezTo>
                    <a:pt x="360517" y="895990"/>
                    <a:pt x="662420" y="1197324"/>
                    <a:pt x="1033376" y="1197324"/>
                  </a:cubicBezTo>
                  <a:lnTo>
                    <a:pt x="1616306" y="1197324"/>
                  </a:lnTo>
                  <a:lnTo>
                    <a:pt x="1616306" y="275689"/>
                  </a:lnTo>
                  <a:cubicBezTo>
                    <a:pt x="1617912" y="129830"/>
                    <a:pt x="1479004" y="0"/>
                    <a:pt x="1321629" y="0"/>
                  </a:cubicBezTo>
                  <a:close/>
                </a:path>
              </a:pathLst>
            </a:custGeom>
            <a:solidFill>
              <a:srgbClr val="FFFFFF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67" name="Forma libre 66">
              <a:extLst>
                <a:ext uri="{FF2B5EF4-FFF2-40B4-BE49-F238E27FC236}">
                  <a16:creationId xmlns:a16="http://schemas.microsoft.com/office/drawing/2014/main" id="{7BC629CF-3A9D-7B69-8DC9-8AF1704A65E5}"/>
                </a:ext>
              </a:extLst>
            </p:cNvPr>
            <p:cNvSpPr/>
            <p:nvPr/>
          </p:nvSpPr>
          <p:spPr>
            <a:xfrm>
              <a:off x="1346520" y="2080195"/>
              <a:ext cx="313144" cy="312554"/>
            </a:xfrm>
            <a:custGeom>
              <a:avLst/>
              <a:gdLst>
                <a:gd name="connsiteX0" fmla="*/ 313144 w 313144"/>
                <a:gd name="connsiteY0" fmla="*/ 213178 h 312554"/>
                <a:gd name="connsiteX1" fmla="*/ 99564 w 313144"/>
                <a:gd name="connsiteY1" fmla="*/ 0 h 312554"/>
                <a:gd name="connsiteX2" fmla="*/ 0 w 313144"/>
                <a:gd name="connsiteY2" fmla="*/ 0 h 312554"/>
                <a:gd name="connsiteX3" fmla="*/ 313144 w 313144"/>
                <a:gd name="connsiteY3" fmla="*/ 312554 h 312554"/>
                <a:gd name="connsiteX4" fmla="*/ 313144 w 313144"/>
                <a:gd name="connsiteY4" fmla="*/ 213178 h 312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3144" h="312554">
                  <a:moveTo>
                    <a:pt x="313144" y="213178"/>
                  </a:moveTo>
                  <a:cubicBezTo>
                    <a:pt x="195916" y="213178"/>
                    <a:pt x="99564" y="117809"/>
                    <a:pt x="99564" y="0"/>
                  </a:cubicBezTo>
                  <a:lnTo>
                    <a:pt x="0" y="0"/>
                  </a:lnTo>
                  <a:cubicBezTo>
                    <a:pt x="0" y="171504"/>
                    <a:pt x="141316" y="312554"/>
                    <a:pt x="313144" y="312554"/>
                  </a:cubicBezTo>
                  <a:lnTo>
                    <a:pt x="313144" y="213178"/>
                  </a:lnTo>
                  <a:close/>
                </a:path>
              </a:pathLst>
            </a:custGeom>
            <a:solidFill>
              <a:srgbClr val="FFFFFF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68" name="Forma libre 67">
              <a:extLst>
                <a:ext uri="{FF2B5EF4-FFF2-40B4-BE49-F238E27FC236}">
                  <a16:creationId xmlns:a16="http://schemas.microsoft.com/office/drawing/2014/main" id="{181A24E0-ECDF-96B9-9041-A5749C6631AA}"/>
                </a:ext>
              </a:extLst>
            </p:cNvPr>
            <p:cNvSpPr/>
            <p:nvPr/>
          </p:nvSpPr>
          <p:spPr>
            <a:xfrm>
              <a:off x="6919684" y="1327660"/>
              <a:ext cx="228033" cy="815045"/>
            </a:xfrm>
            <a:custGeom>
              <a:avLst/>
              <a:gdLst>
                <a:gd name="connsiteX0" fmla="*/ 147740 w 228033"/>
                <a:gd name="connsiteY0" fmla="*/ 710060 h 815045"/>
                <a:gd name="connsiteX1" fmla="*/ 147740 w 228033"/>
                <a:gd name="connsiteY1" fmla="*/ 710060 h 815045"/>
                <a:gd name="connsiteX2" fmla="*/ 127667 w 228033"/>
                <a:gd name="connsiteY2" fmla="*/ 687620 h 815045"/>
                <a:gd name="connsiteX3" fmla="*/ 130075 w 228033"/>
                <a:gd name="connsiteY3" fmla="*/ 0 h 815045"/>
                <a:gd name="connsiteX4" fmla="*/ 1606 w 228033"/>
                <a:gd name="connsiteY4" fmla="*/ 0 h 815045"/>
                <a:gd name="connsiteX5" fmla="*/ 0 w 228033"/>
                <a:gd name="connsiteY5" fmla="*/ 688421 h 815045"/>
                <a:gd name="connsiteX6" fmla="*/ 105185 w 228033"/>
                <a:gd name="connsiteY6" fmla="*/ 815046 h 815045"/>
                <a:gd name="connsiteX7" fmla="*/ 228033 w 228033"/>
                <a:gd name="connsiteY7" fmla="*/ 815046 h 815045"/>
                <a:gd name="connsiteX8" fmla="*/ 228033 w 228033"/>
                <a:gd name="connsiteY8" fmla="*/ 710060 h 815045"/>
                <a:gd name="connsiteX9" fmla="*/ 147740 w 228033"/>
                <a:gd name="connsiteY9" fmla="*/ 710060 h 81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8033" h="815045">
                  <a:moveTo>
                    <a:pt x="147740" y="710060"/>
                  </a:moveTo>
                  <a:lnTo>
                    <a:pt x="147740" y="710060"/>
                  </a:lnTo>
                  <a:cubicBezTo>
                    <a:pt x="129273" y="709258"/>
                    <a:pt x="127667" y="702046"/>
                    <a:pt x="127667" y="687620"/>
                  </a:cubicBezTo>
                  <a:lnTo>
                    <a:pt x="130075" y="0"/>
                  </a:lnTo>
                  <a:lnTo>
                    <a:pt x="1606" y="0"/>
                  </a:lnTo>
                  <a:lnTo>
                    <a:pt x="0" y="688421"/>
                  </a:lnTo>
                  <a:cubicBezTo>
                    <a:pt x="0" y="762152"/>
                    <a:pt x="23285" y="815046"/>
                    <a:pt x="105185" y="815046"/>
                  </a:cubicBezTo>
                  <a:lnTo>
                    <a:pt x="228033" y="815046"/>
                  </a:lnTo>
                  <a:lnTo>
                    <a:pt x="228033" y="710060"/>
                  </a:lnTo>
                  <a:lnTo>
                    <a:pt x="147740" y="710060"/>
                  </a:lnTo>
                  <a:close/>
                </a:path>
              </a:pathLst>
            </a:custGeom>
            <a:solidFill>
              <a:srgbClr val="FFFFFF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69" name="Forma libre 68">
              <a:extLst>
                <a:ext uri="{FF2B5EF4-FFF2-40B4-BE49-F238E27FC236}">
                  <a16:creationId xmlns:a16="http://schemas.microsoft.com/office/drawing/2014/main" id="{8B3EF414-E0FE-A49A-2120-AB0463C9F97C}"/>
                </a:ext>
              </a:extLst>
            </p:cNvPr>
            <p:cNvSpPr/>
            <p:nvPr/>
          </p:nvSpPr>
          <p:spPr>
            <a:xfrm>
              <a:off x="2729172" y="1528015"/>
              <a:ext cx="578112" cy="812641"/>
            </a:xfrm>
            <a:custGeom>
              <a:avLst/>
              <a:gdLst>
                <a:gd name="connsiteX0" fmla="*/ 317962 w 578112"/>
                <a:gd name="connsiteY0" fmla="*/ 0 h 812641"/>
                <a:gd name="connsiteX1" fmla="*/ 117228 w 578112"/>
                <a:gd name="connsiteY1" fmla="*/ 126625 h 812641"/>
                <a:gd name="connsiteX2" fmla="*/ 113214 w 578112"/>
                <a:gd name="connsiteY2" fmla="*/ 126625 h 812641"/>
                <a:gd name="connsiteX3" fmla="*/ 111608 w 578112"/>
                <a:gd name="connsiteY3" fmla="*/ 14426 h 812641"/>
                <a:gd name="connsiteX4" fmla="*/ 1606 w 578112"/>
                <a:gd name="connsiteY4" fmla="*/ 14426 h 812641"/>
                <a:gd name="connsiteX5" fmla="*/ 0 w 578112"/>
                <a:gd name="connsiteY5" fmla="*/ 812642 h 812641"/>
                <a:gd name="connsiteX6" fmla="*/ 128469 w 578112"/>
                <a:gd name="connsiteY6" fmla="*/ 812642 h 812641"/>
                <a:gd name="connsiteX7" fmla="*/ 128469 w 578112"/>
                <a:gd name="connsiteY7" fmla="*/ 508903 h 812641"/>
                <a:gd name="connsiteX8" fmla="*/ 132484 w 578112"/>
                <a:gd name="connsiteY8" fmla="*/ 508903 h 812641"/>
                <a:gd name="connsiteX9" fmla="*/ 317159 w 578112"/>
                <a:gd name="connsiteY9" fmla="*/ 622705 h 812641"/>
                <a:gd name="connsiteX10" fmla="*/ 578112 w 578112"/>
                <a:gd name="connsiteY10" fmla="*/ 308547 h 812641"/>
                <a:gd name="connsiteX11" fmla="*/ 317962 w 578112"/>
                <a:gd name="connsiteY11" fmla="*/ 0 h 812641"/>
                <a:gd name="connsiteX12" fmla="*/ 285042 w 578112"/>
                <a:gd name="connsiteY12" fmla="*/ 501690 h 812641"/>
                <a:gd name="connsiteX13" fmla="*/ 129272 w 578112"/>
                <a:gd name="connsiteY13" fmla="*/ 310150 h 812641"/>
                <a:gd name="connsiteX14" fmla="*/ 290662 w 578112"/>
                <a:gd name="connsiteY14" fmla="*/ 117008 h 812641"/>
                <a:gd name="connsiteX15" fmla="*/ 446431 w 578112"/>
                <a:gd name="connsiteY15" fmla="*/ 315760 h 812641"/>
                <a:gd name="connsiteX16" fmla="*/ 285042 w 578112"/>
                <a:gd name="connsiteY16" fmla="*/ 501690 h 81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8112" h="812641">
                  <a:moveTo>
                    <a:pt x="317962" y="0"/>
                  </a:moveTo>
                  <a:cubicBezTo>
                    <a:pt x="229639" y="0"/>
                    <a:pt x="156572" y="50490"/>
                    <a:pt x="117228" y="126625"/>
                  </a:cubicBezTo>
                  <a:lnTo>
                    <a:pt x="113214" y="126625"/>
                  </a:lnTo>
                  <a:lnTo>
                    <a:pt x="111608" y="14426"/>
                  </a:lnTo>
                  <a:lnTo>
                    <a:pt x="1606" y="14426"/>
                  </a:lnTo>
                  <a:lnTo>
                    <a:pt x="0" y="812642"/>
                  </a:lnTo>
                  <a:lnTo>
                    <a:pt x="128469" y="812642"/>
                  </a:lnTo>
                  <a:lnTo>
                    <a:pt x="128469" y="508903"/>
                  </a:lnTo>
                  <a:lnTo>
                    <a:pt x="132484" y="508903"/>
                  </a:lnTo>
                  <a:cubicBezTo>
                    <a:pt x="161390" y="568208"/>
                    <a:pt x="213580" y="622705"/>
                    <a:pt x="317159" y="622705"/>
                  </a:cubicBezTo>
                  <a:cubicBezTo>
                    <a:pt x="480155" y="622705"/>
                    <a:pt x="578112" y="478449"/>
                    <a:pt x="578112" y="308547"/>
                  </a:cubicBezTo>
                  <a:cubicBezTo>
                    <a:pt x="576507" y="138646"/>
                    <a:pt x="482563" y="0"/>
                    <a:pt x="317962" y="0"/>
                  </a:cubicBezTo>
                  <a:close/>
                  <a:moveTo>
                    <a:pt x="285042" y="501690"/>
                  </a:moveTo>
                  <a:cubicBezTo>
                    <a:pt x="183872" y="501690"/>
                    <a:pt x="129272" y="413534"/>
                    <a:pt x="129272" y="310150"/>
                  </a:cubicBezTo>
                  <a:cubicBezTo>
                    <a:pt x="129272" y="206767"/>
                    <a:pt x="188689" y="117008"/>
                    <a:pt x="290662" y="117008"/>
                  </a:cubicBezTo>
                  <a:cubicBezTo>
                    <a:pt x="392635" y="117008"/>
                    <a:pt x="446431" y="214781"/>
                    <a:pt x="446431" y="315760"/>
                  </a:cubicBezTo>
                  <a:cubicBezTo>
                    <a:pt x="446431" y="426356"/>
                    <a:pt x="381394" y="501690"/>
                    <a:pt x="285042" y="501690"/>
                  </a:cubicBezTo>
                  <a:close/>
                </a:path>
              </a:pathLst>
            </a:custGeom>
            <a:solidFill>
              <a:srgbClr val="FFFFFF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70" name="Forma libre 69">
              <a:extLst>
                <a:ext uri="{FF2B5EF4-FFF2-40B4-BE49-F238E27FC236}">
                  <a16:creationId xmlns:a16="http://schemas.microsoft.com/office/drawing/2014/main" id="{259BD4D1-B013-EF9F-1A7B-28F37B12BC64}"/>
                </a:ext>
              </a:extLst>
            </p:cNvPr>
            <p:cNvSpPr/>
            <p:nvPr/>
          </p:nvSpPr>
          <p:spPr>
            <a:xfrm>
              <a:off x="3377942" y="1528015"/>
              <a:ext cx="566871" cy="622704"/>
            </a:xfrm>
            <a:custGeom>
              <a:avLst/>
              <a:gdLst>
                <a:gd name="connsiteX0" fmla="*/ 298691 w 566871"/>
                <a:gd name="connsiteY0" fmla="*/ 0 h 622704"/>
                <a:gd name="connsiteX1" fmla="*/ 0 w 566871"/>
                <a:gd name="connsiteY1" fmla="*/ 315760 h 622704"/>
                <a:gd name="connsiteX2" fmla="*/ 304312 w 566871"/>
                <a:gd name="connsiteY2" fmla="*/ 622705 h 622704"/>
                <a:gd name="connsiteX3" fmla="*/ 555630 w 566871"/>
                <a:gd name="connsiteY3" fmla="*/ 505697 h 622704"/>
                <a:gd name="connsiteX4" fmla="*/ 479351 w 566871"/>
                <a:gd name="connsiteY4" fmla="*/ 429562 h 622704"/>
                <a:gd name="connsiteX5" fmla="*/ 313144 w 566871"/>
                <a:gd name="connsiteY5" fmla="*/ 507300 h 622704"/>
                <a:gd name="connsiteX6" fmla="*/ 125257 w 566871"/>
                <a:gd name="connsiteY6" fmla="*/ 364647 h 622704"/>
                <a:gd name="connsiteX7" fmla="*/ 566871 w 566871"/>
                <a:gd name="connsiteY7" fmla="*/ 364647 h 622704"/>
                <a:gd name="connsiteX8" fmla="*/ 566871 w 566871"/>
                <a:gd name="connsiteY8" fmla="*/ 294122 h 622704"/>
                <a:gd name="connsiteX9" fmla="*/ 298691 w 566871"/>
                <a:gd name="connsiteY9" fmla="*/ 0 h 622704"/>
                <a:gd name="connsiteX10" fmla="*/ 125257 w 566871"/>
                <a:gd name="connsiteY10" fmla="*/ 265271 h 622704"/>
                <a:gd name="connsiteX11" fmla="*/ 293874 w 566871"/>
                <a:gd name="connsiteY11" fmla="*/ 117008 h 622704"/>
                <a:gd name="connsiteX12" fmla="*/ 442416 w 566871"/>
                <a:gd name="connsiteY12" fmla="*/ 265271 h 622704"/>
                <a:gd name="connsiteX13" fmla="*/ 125257 w 566871"/>
                <a:gd name="connsiteY13" fmla="*/ 265271 h 622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6871" h="622704">
                  <a:moveTo>
                    <a:pt x="298691" y="0"/>
                  </a:moveTo>
                  <a:cubicBezTo>
                    <a:pt x="134090" y="0"/>
                    <a:pt x="0" y="139447"/>
                    <a:pt x="0" y="315760"/>
                  </a:cubicBezTo>
                  <a:cubicBezTo>
                    <a:pt x="0" y="512910"/>
                    <a:pt x="148543" y="622705"/>
                    <a:pt x="304312" y="622705"/>
                  </a:cubicBezTo>
                  <a:cubicBezTo>
                    <a:pt x="399861" y="622705"/>
                    <a:pt x="490592" y="585038"/>
                    <a:pt x="555630" y="505697"/>
                  </a:cubicBezTo>
                  <a:lnTo>
                    <a:pt x="479351" y="429562"/>
                  </a:lnTo>
                  <a:cubicBezTo>
                    <a:pt x="439205" y="469633"/>
                    <a:pt x="387014" y="507300"/>
                    <a:pt x="313144" y="507300"/>
                  </a:cubicBezTo>
                  <a:cubicBezTo>
                    <a:pt x="213580" y="507300"/>
                    <a:pt x="135696" y="449598"/>
                    <a:pt x="125257" y="364647"/>
                  </a:cubicBezTo>
                  <a:lnTo>
                    <a:pt x="566871" y="364647"/>
                  </a:lnTo>
                  <a:lnTo>
                    <a:pt x="566871" y="294122"/>
                  </a:lnTo>
                  <a:cubicBezTo>
                    <a:pt x="566871" y="124220"/>
                    <a:pt x="463293" y="0"/>
                    <a:pt x="298691" y="0"/>
                  </a:cubicBezTo>
                  <a:close/>
                  <a:moveTo>
                    <a:pt x="125257" y="265271"/>
                  </a:moveTo>
                  <a:cubicBezTo>
                    <a:pt x="136499" y="177114"/>
                    <a:pt x="210369" y="117008"/>
                    <a:pt x="293874" y="117008"/>
                  </a:cubicBezTo>
                  <a:cubicBezTo>
                    <a:pt x="389423" y="117008"/>
                    <a:pt x="440811" y="181923"/>
                    <a:pt x="442416" y="265271"/>
                  </a:cubicBezTo>
                  <a:lnTo>
                    <a:pt x="125257" y="265271"/>
                  </a:lnTo>
                  <a:close/>
                </a:path>
              </a:pathLst>
            </a:custGeom>
            <a:solidFill>
              <a:srgbClr val="FFFFFF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71" name="Forma libre 70">
              <a:extLst>
                <a:ext uri="{FF2B5EF4-FFF2-40B4-BE49-F238E27FC236}">
                  <a16:creationId xmlns:a16="http://schemas.microsoft.com/office/drawing/2014/main" id="{1B170156-9A12-BE8C-D78D-D0CBDAAE18F5}"/>
                </a:ext>
              </a:extLst>
            </p:cNvPr>
            <p:cNvSpPr/>
            <p:nvPr/>
          </p:nvSpPr>
          <p:spPr>
            <a:xfrm>
              <a:off x="4942058" y="1529618"/>
              <a:ext cx="624682" cy="626711"/>
            </a:xfrm>
            <a:custGeom>
              <a:avLst/>
              <a:gdLst>
                <a:gd name="connsiteX0" fmla="*/ 314750 w 624682"/>
                <a:gd name="connsiteY0" fmla="*/ 0 h 626711"/>
                <a:gd name="connsiteX1" fmla="*/ 0 w 624682"/>
                <a:gd name="connsiteY1" fmla="*/ 312554 h 626711"/>
                <a:gd name="connsiteX2" fmla="*/ 311538 w 624682"/>
                <a:gd name="connsiteY2" fmla="*/ 626712 h 626711"/>
                <a:gd name="connsiteX3" fmla="*/ 624682 w 624682"/>
                <a:gd name="connsiteY3" fmla="*/ 314157 h 626711"/>
                <a:gd name="connsiteX4" fmla="*/ 314750 w 624682"/>
                <a:gd name="connsiteY4" fmla="*/ 0 h 626711"/>
                <a:gd name="connsiteX5" fmla="*/ 310736 w 624682"/>
                <a:gd name="connsiteY5" fmla="*/ 508903 h 626711"/>
                <a:gd name="connsiteX6" fmla="*/ 120440 w 624682"/>
                <a:gd name="connsiteY6" fmla="*/ 311753 h 626711"/>
                <a:gd name="connsiteX7" fmla="*/ 310736 w 624682"/>
                <a:gd name="connsiteY7" fmla="*/ 117008 h 626711"/>
                <a:gd name="connsiteX8" fmla="*/ 501031 w 624682"/>
                <a:gd name="connsiteY8" fmla="*/ 314157 h 626711"/>
                <a:gd name="connsiteX9" fmla="*/ 310736 w 624682"/>
                <a:gd name="connsiteY9" fmla="*/ 508903 h 626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4682" h="626711">
                  <a:moveTo>
                    <a:pt x="314750" y="0"/>
                  </a:moveTo>
                  <a:cubicBezTo>
                    <a:pt x="142922" y="0"/>
                    <a:pt x="0" y="141050"/>
                    <a:pt x="0" y="312554"/>
                  </a:cubicBezTo>
                  <a:cubicBezTo>
                    <a:pt x="0" y="484059"/>
                    <a:pt x="141316" y="626712"/>
                    <a:pt x="311538" y="626712"/>
                  </a:cubicBezTo>
                  <a:cubicBezTo>
                    <a:pt x="481760" y="626712"/>
                    <a:pt x="624682" y="485662"/>
                    <a:pt x="624682" y="314157"/>
                  </a:cubicBezTo>
                  <a:cubicBezTo>
                    <a:pt x="623880" y="141050"/>
                    <a:pt x="491396" y="0"/>
                    <a:pt x="314750" y="0"/>
                  </a:cubicBezTo>
                  <a:close/>
                  <a:moveTo>
                    <a:pt x="310736" y="508903"/>
                  </a:moveTo>
                  <a:cubicBezTo>
                    <a:pt x="202339" y="508903"/>
                    <a:pt x="120440" y="420746"/>
                    <a:pt x="120440" y="311753"/>
                  </a:cubicBezTo>
                  <a:cubicBezTo>
                    <a:pt x="120440" y="202760"/>
                    <a:pt x="203945" y="114603"/>
                    <a:pt x="310736" y="117008"/>
                  </a:cubicBezTo>
                  <a:cubicBezTo>
                    <a:pt x="417526" y="117008"/>
                    <a:pt x="501031" y="205164"/>
                    <a:pt x="501031" y="314157"/>
                  </a:cubicBezTo>
                  <a:cubicBezTo>
                    <a:pt x="501031" y="423151"/>
                    <a:pt x="417526" y="508903"/>
                    <a:pt x="310736" y="508903"/>
                  </a:cubicBezTo>
                  <a:close/>
                </a:path>
              </a:pathLst>
            </a:custGeom>
            <a:solidFill>
              <a:srgbClr val="FFFFFF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72" name="Forma libre 71">
              <a:extLst>
                <a:ext uri="{FF2B5EF4-FFF2-40B4-BE49-F238E27FC236}">
                  <a16:creationId xmlns:a16="http://schemas.microsoft.com/office/drawing/2014/main" id="{4719457A-D084-71B0-3771-47C9F4DAA782}"/>
                </a:ext>
              </a:extLst>
            </p:cNvPr>
            <p:cNvSpPr/>
            <p:nvPr/>
          </p:nvSpPr>
          <p:spPr>
            <a:xfrm>
              <a:off x="4385624" y="1528015"/>
              <a:ext cx="497819" cy="625910"/>
            </a:xfrm>
            <a:custGeom>
              <a:avLst/>
              <a:gdLst>
                <a:gd name="connsiteX0" fmla="*/ 260954 w 497819"/>
                <a:gd name="connsiteY0" fmla="*/ 104185 h 625910"/>
                <a:gd name="connsiteX1" fmla="*/ 403876 w 497819"/>
                <a:gd name="connsiteY1" fmla="*/ 197951 h 625910"/>
                <a:gd name="connsiteX2" fmla="*/ 497819 w 497819"/>
                <a:gd name="connsiteY2" fmla="*/ 150667 h 625910"/>
                <a:gd name="connsiteX3" fmla="*/ 260954 w 497819"/>
                <a:gd name="connsiteY3" fmla="*/ 0 h 625910"/>
                <a:gd name="connsiteX4" fmla="*/ 40147 w 497819"/>
                <a:gd name="connsiteY4" fmla="*/ 180320 h 625910"/>
                <a:gd name="connsiteX5" fmla="*/ 242486 w 497819"/>
                <a:gd name="connsiteY5" fmla="*/ 364647 h 625910"/>
                <a:gd name="connsiteX6" fmla="*/ 365335 w 497819"/>
                <a:gd name="connsiteY6" fmla="*/ 455208 h 625910"/>
                <a:gd name="connsiteX7" fmla="*/ 265771 w 497819"/>
                <a:gd name="connsiteY7" fmla="*/ 521726 h 625910"/>
                <a:gd name="connsiteX8" fmla="*/ 79490 w 497819"/>
                <a:gd name="connsiteY8" fmla="*/ 416739 h 625910"/>
                <a:gd name="connsiteX9" fmla="*/ 0 w 497819"/>
                <a:gd name="connsiteY9" fmla="*/ 483257 h 625910"/>
                <a:gd name="connsiteX10" fmla="*/ 262559 w 497819"/>
                <a:gd name="connsiteY10" fmla="*/ 625910 h 625910"/>
                <a:gd name="connsiteX11" fmla="*/ 493804 w 497819"/>
                <a:gd name="connsiteY11" fmla="*/ 443186 h 625910"/>
                <a:gd name="connsiteX12" fmla="*/ 284238 w 497819"/>
                <a:gd name="connsiteY12" fmla="*/ 260462 h 625910"/>
                <a:gd name="connsiteX13" fmla="*/ 168616 w 497819"/>
                <a:gd name="connsiteY13" fmla="*/ 172306 h 625910"/>
                <a:gd name="connsiteX14" fmla="*/ 260954 w 497819"/>
                <a:gd name="connsiteY14" fmla="*/ 104185 h 62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97819" h="625910">
                  <a:moveTo>
                    <a:pt x="260954" y="104185"/>
                  </a:moveTo>
                  <a:cubicBezTo>
                    <a:pt x="313144" y="104185"/>
                    <a:pt x="374970" y="133036"/>
                    <a:pt x="403876" y="197951"/>
                  </a:cubicBezTo>
                  <a:lnTo>
                    <a:pt x="497819" y="150667"/>
                  </a:lnTo>
                  <a:cubicBezTo>
                    <a:pt x="464096" y="73731"/>
                    <a:pt x="389423" y="0"/>
                    <a:pt x="260954" y="0"/>
                  </a:cubicBezTo>
                  <a:cubicBezTo>
                    <a:pt x="132484" y="0"/>
                    <a:pt x="40147" y="83348"/>
                    <a:pt x="40147" y="180320"/>
                  </a:cubicBezTo>
                  <a:cubicBezTo>
                    <a:pt x="40147" y="294122"/>
                    <a:pt x="152557" y="334193"/>
                    <a:pt x="242486" y="364647"/>
                  </a:cubicBezTo>
                  <a:cubicBezTo>
                    <a:pt x="309130" y="384682"/>
                    <a:pt x="365335" y="407924"/>
                    <a:pt x="365335" y="455208"/>
                  </a:cubicBezTo>
                  <a:cubicBezTo>
                    <a:pt x="365335" y="502491"/>
                    <a:pt x="320370" y="521726"/>
                    <a:pt x="265771" y="521726"/>
                  </a:cubicBezTo>
                  <a:cubicBezTo>
                    <a:pt x="187886" y="521726"/>
                    <a:pt x="128469" y="476846"/>
                    <a:pt x="79490" y="416739"/>
                  </a:cubicBezTo>
                  <a:lnTo>
                    <a:pt x="0" y="483257"/>
                  </a:lnTo>
                  <a:cubicBezTo>
                    <a:pt x="56205" y="569811"/>
                    <a:pt x="154163" y="625910"/>
                    <a:pt x="262559" y="625910"/>
                  </a:cubicBezTo>
                  <a:cubicBezTo>
                    <a:pt x="382196" y="625910"/>
                    <a:pt x="493804" y="560995"/>
                    <a:pt x="493804" y="443186"/>
                  </a:cubicBezTo>
                  <a:cubicBezTo>
                    <a:pt x="493804" y="325377"/>
                    <a:pt x="378182" y="289313"/>
                    <a:pt x="284238" y="260462"/>
                  </a:cubicBezTo>
                  <a:cubicBezTo>
                    <a:pt x="217595" y="238824"/>
                    <a:pt x="168616" y="222795"/>
                    <a:pt x="168616" y="172306"/>
                  </a:cubicBezTo>
                  <a:cubicBezTo>
                    <a:pt x="167010" y="133036"/>
                    <a:pt x="208763" y="104185"/>
                    <a:pt x="260954" y="104185"/>
                  </a:cubicBezTo>
                  <a:close/>
                </a:path>
              </a:pathLst>
            </a:custGeom>
            <a:solidFill>
              <a:srgbClr val="FFFFFF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73" name="Forma libre 72">
              <a:extLst>
                <a:ext uri="{FF2B5EF4-FFF2-40B4-BE49-F238E27FC236}">
                  <a16:creationId xmlns:a16="http://schemas.microsoft.com/office/drawing/2014/main" id="{E6A90006-ABDF-4D65-C1FF-BE197C2AD799}"/>
                </a:ext>
              </a:extLst>
            </p:cNvPr>
            <p:cNvSpPr/>
            <p:nvPr/>
          </p:nvSpPr>
          <p:spPr>
            <a:xfrm>
              <a:off x="6262884" y="1532824"/>
              <a:ext cx="568477" cy="620300"/>
            </a:xfrm>
            <a:custGeom>
              <a:avLst/>
              <a:gdLst>
                <a:gd name="connsiteX0" fmla="*/ 508257 w 568477"/>
                <a:gd name="connsiteY0" fmla="*/ 484059 h 620300"/>
                <a:gd name="connsiteX1" fmla="*/ 508257 w 568477"/>
                <a:gd name="connsiteY1" fmla="*/ 223597 h 620300"/>
                <a:gd name="connsiteX2" fmla="*/ 272998 w 568477"/>
                <a:gd name="connsiteY2" fmla="*/ 0 h 620300"/>
                <a:gd name="connsiteX3" fmla="*/ 1606 w 568477"/>
                <a:gd name="connsiteY3" fmla="*/ 178717 h 620300"/>
                <a:gd name="connsiteX4" fmla="*/ 108396 w 568477"/>
                <a:gd name="connsiteY4" fmla="*/ 230809 h 620300"/>
                <a:gd name="connsiteX5" fmla="*/ 271392 w 568477"/>
                <a:gd name="connsiteY5" fmla="*/ 115405 h 620300"/>
                <a:gd name="connsiteX6" fmla="*/ 379788 w 568477"/>
                <a:gd name="connsiteY6" fmla="*/ 223597 h 620300"/>
                <a:gd name="connsiteX7" fmla="*/ 379788 w 568477"/>
                <a:gd name="connsiteY7" fmla="*/ 261263 h 620300"/>
                <a:gd name="connsiteX8" fmla="*/ 264165 w 568477"/>
                <a:gd name="connsiteY8" fmla="*/ 261263 h 620300"/>
                <a:gd name="connsiteX9" fmla="*/ 0 w 568477"/>
                <a:gd name="connsiteY9" fmla="*/ 448796 h 620300"/>
                <a:gd name="connsiteX10" fmla="*/ 184675 w 568477"/>
                <a:gd name="connsiteY10" fmla="*/ 620300 h 620300"/>
                <a:gd name="connsiteX11" fmla="*/ 396650 w 568477"/>
                <a:gd name="connsiteY11" fmla="*/ 484860 h 620300"/>
                <a:gd name="connsiteX12" fmla="*/ 402270 w 568477"/>
                <a:gd name="connsiteY12" fmla="*/ 484860 h 620300"/>
                <a:gd name="connsiteX13" fmla="*/ 402270 w 568477"/>
                <a:gd name="connsiteY13" fmla="*/ 513711 h 620300"/>
                <a:gd name="connsiteX14" fmla="*/ 487381 w 568477"/>
                <a:gd name="connsiteY14" fmla="*/ 607478 h 620300"/>
                <a:gd name="connsiteX15" fmla="*/ 568477 w 568477"/>
                <a:gd name="connsiteY15" fmla="*/ 607478 h 620300"/>
                <a:gd name="connsiteX16" fmla="*/ 568477 w 568477"/>
                <a:gd name="connsiteY16" fmla="*/ 502491 h 620300"/>
                <a:gd name="connsiteX17" fmla="*/ 523513 w 568477"/>
                <a:gd name="connsiteY17" fmla="*/ 502491 h 620300"/>
                <a:gd name="connsiteX18" fmla="*/ 508257 w 568477"/>
                <a:gd name="connsiteY18" fmla="*/ 484059 h 620300"/>
                <a:gd name="connsiteX19" fmla="*/ 211172 w 568477"/>
                <a:gd name="connsiteY19" fmla="*/ 515314 h 620300"/>
                <a:gd name="connsiteX20" fmla="*/ 127667 w 568477"/>
                <a:gd name="connsiteY20" fmla="*/ 441583 h 620300"/>
                <a:gd name="connsiteX21" fmla="*/ 270589 w 568477"/>
                <a:gd name="connsiteY21" fmla="*/ 351023 h 620300"/>
                <a:gd name="connsiteX22" fmla="*/ 380591 w 568477"/>
                <a:gd name="connsiteY22" fmla="*/ 351023 h 620300"/>
                <a:gd name="connsiteX23" fmla="*/ 211172 w 568477"/>
                <a:gd name="connsiteY23" fmla="*/ 515314 h 6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68477" h="620300">
                  <a:moveTo>
                    <a:pt x="508257" y="484059"/>
                  </a:moveTo>
                  <a:lnTo>
                    <a:pt x="508257" y="223597"/>
                  </a:lnTo>
                  <a:cubicBezTo>
                    <a:pt x="508257" y="79341"/>
                    <a:pt x="410299" y="0"/>
                    <a:pt x="272998" y="0"/>
                  </a:cubicBezTo>
                  <a:cubicBezTo>
                    <a:pt x="153360" y="0"/>
                    <a:pt x="52191" y="64915"/>
                    <a:pt x="1606" y="178717"/>
                  </a:cubicBezTo>
                  <a:lnTo>
                    <a:pt x="108396" y="230809"/>
                  </a:lnTo>
                  <a:cubicBezTo>
                    <a:pt x="138907" y="164291"/>
                    <a:pt x="202339" y="115405"/>
                    <a:pt x="271392" y="115405"/>
                  </a:cubicBezTo>
                  <a:cubicBezTo>
                    <a:pt x="340444" y="115405"/>
                    <a:pt x="379788" y="162689"/>
                    <a:pt x="379788" y="223597"/>
                  </a:cubicBezTo>
                  <a:lnTo>
                    <a:pt x="379788" y="261263"/>
                  </a:lnTo>
                  <a:lnTo>
                    <a:pt x="264165" y="261263"/>
                  </a:lnTo>
                  <a:cubicBezTo>
                    <a:pt x="114017" y="261263"/>
                    <a:pt x="0" y="331789"/>
                    <a:pt x="0" y="448796"/>
                  </a:cubicBezTo>
                  <a:cubicBezTo>
                    <a:pt x="0" y="565804"/>
                    <a:pt x="90731" y="620300"/>
                    <a:pt x="184675" y="620300"/>
                  </a:cubicBezTo>
                  <a:cubicBezTo>
                    <a:pt x="278618" y="620300"/>
                    <a:pt x="356503" y="571414"/>
                    <a:pt x="396650" y="484860"/>
                  </a:cubicBezTo>
                  <a:lnTo>
                    <a:pt x="402270" y="484860"/>
                  </a:lnTo>
                  <a:lnTo>
                    <a:pt x="402270" y="513711"/>
                  </a:lnTo>
                  <a:cubicBezTo>
                    <a:pt x="402270" y="578627"/>
                    <a:pt x="436796" y="607478"/>
                    <a:pt x="487381" y="607478"/>
                  </a:cubicBezTo>
                  <a:lnTo>
                    <a:pt x="568477" y="607478"/>
                  </a:lnTo>
                  <a:lnTo>
                    <a:pt x="568477" y="502491"/>
                  </a:lnTo>
                  <a:lnTo>
                    <a:pt x="523513" y="502491"/>
                  </a:lnTo>
                  <a:cubicBezTo>
                    <a:pt x="509863" y="502491"/>
                    <a:pt x="508257" y="496882"/>
                    <a:pt x="508257" y="484059"/>
                  </a:cubicBezTo>
                  <a:close/>
                  <a:moveTo>
                    <a:pt x="211172" y="515314"/>
                  </a:moveTo>
                  <a:cubicBezTo>
                    <a:pt x="162193" y="515314"/>
                    <a:pt x="127667" y="488066"/>
                    <a:pt x="127667" y="441583"/>
                  </a:cubicBezTo>
                  <a:cubicBezTo>
                    <a:pt x="127667" y="379874"/>
                    <a:pt x="187084" y="351023"/>
                    <a:pt x="270589" y="351023"/>
                  </a:cubicBezTo>
                  <a:lnTo>
                    <a:pt x="380591" y="351023"/>
                  </a:lnTo>
                  <a:cubicBezTo>
                    <a:pt x="370956" y="450399"/>
                    <a:pt x="290662" y="516917"/>
                    <a:pt x="211172" y="515314"/>
                  </a:cubicBezTo>
                  <a:close/>
                </a:path>
              </a:pathLst>
            </a:custGeom>
            <a:solidFill>
              <a:srgbClr val="FFFFFF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74" name="Forma libre 73">
              <a:extLst>
                <a:ext uri="{FF2B5EF4-FFF2-40B4-BE49-F238E27FC236}">
                  <a16:creationId xmlns:a16="http://schemas.microsoft.com/office/drawing/2014/main" id="{98DC2EF9-B5EA-918B-2FED-22E2FEF8DFCB}"/>
                </a:ext>
              </a:extLst>
            </p:cNvPr>
            <p:cNvSpPr/>
            <p:nvPr/>
          </p:nvSpPr>
          <p:spPr>
            <a:xfrm>
              <a:off x="5647837" y="1529618"/>
              <a:ext cx="518695" cy="608279"/>
            </a:xfrm>
            <a:custGeom>
              <a:avLst/>
              <a:gdLst>
                <a:gd name="connsiteX0" fmla="*/ 316356 w 518695"/>
                <a:gd name="connsiteY0" fmla="*/ 0 h 608279"/>
                <a:gd name="connsiteX1" fmla="*/ 118834 w 518695"/>
                <a:gd name="connsiteY1" fmla="*/ 128227 h 608279"/>
                <a:gd name="connsiteX2" fmla="*/ 117228 w 518695"/>
                <a:gd name="connsiteY2" fmla="*/ 128227 h 608279"/>
                <a:gd name="connsiteX3" fmla="*/ 117228 w 518695"/>
                <a:gd name="connsiteY3" fmla="*/ 16028 h 608279"/>
                <a:gd name="connsiteX4" fmla="*/ 1605 w 518695"/>
                <a:gd name="connsiteY4" fmla="*/ 16028 h 608279"/>
                <a:gd name="connsiteX5" fmla="*/ 0 w 518695"/>
                <a:gd name="connsiteY5" fmla="*/ 608279 h 608279"/>
                <a:gd name="connsiteX6" fmla="*/ 128469 w 518695"/>
                <a:gd name="connsiteY6" fmla="*/ 608279 h 608279"/>
                <a:gd name="connsiteX7" fmla="*/ 128469 w 518695"/>
                <a:gd name="connsiteY7" fmla="*/ 301335 h 608279"/>
                <a:gd name="connsiteX8" fmla="*/ 280224 w 518695"/>
                <a:gd name="connsiteY8" fmla="*/ 111398 h 608279"/>
                <a:gd name="connsiteX9" fmla="*/ 390226 w 518695"/>
                <a:gd name="connsiteY9" fmla="*/ 254051 h 608279"/>
                <a:gd name="connsiteX10" fmla="*/ 390226 w 518695"/>
                <a:gd name="connsiteY10" fmla="*/ 608279 h 608279"/>
                <a:gd name="connsiteX11" fmla="*/ 518695 w 518695"/>
                <a:gd name="connsiteY11" fmla="*/ 608279 h 608279"/>
                <a:gd name="connsiteX12" fmla="*/ 518695 w 518695"/>
                <a:gd name="connsiteY12" fmla="*/ 232412 h 608279"/>
                <a:gd name="connsiteX13" fmla="*/ 316356 w 518695"/>
                <a:gd name="connsiteY13" fmla="*/ 0 h 608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8695" h="608279">
                  <a:moveTo>
                    <a:pt x="316356" y="0"/>
                  </a:moveTo>
                  <a:cubicBezTo>
                    <a:pt x="216792" y="0"/>
                    <a:pt x="158981" y="57702"/>
                    <a:pt x="118834" y="128227"/>
                  </a:cubicBezTo>
                  <a:lnTo>
                    <a:pt x="117228" y="128227"/>
                  </a:lnTo>
                  <a:lnTo>
                    <a:pt x="117228" y="16028"/>
                  </a:lnTo>
                  <a:lnTo>
                    <a:pt x="1605" y="16028"/>
                  </a:lnTo>
                  <a:lnTo>
                    <a:pt x="0" y="608279"/>
                  </a:lnTo>
                  <a:lnTo>
                    <a:pt x="128469" y="608279"/>
                  </a:lnTo>
                  <a:lnTo>
                    <a:pt x="128469" y="301335"/>
                  </a:lnTo>
                  <a:cubicBezTo>
                    <a:pt x="128469" y="209171"/>
                    <a:pt x="179054" y="111398"/>
                    <a:pt x="280224" y="111398"/>
                  </a:cubicBezTo>
                  <a:cubicBezTo>
                    <a:pt x="359714" y="111398"/>
                    <a:pt x="390226" y="173107"/>
                    <a:pt x="390226" y="254051"/>
                  </a:cubicBezTo>
                  <a:lnTo>
                    <a:pt x="390226" y="608279"/>
                  </a:lnTo>
                  <a:lnTo>
                    <a:pt x="518695" y="608279"/>
                  </a:lnTo>
                  <a:lnTo>
                    <a:pt x="518695" y="232412"/>
                  </a:lnTo>
                  <a:cubicBezTo>
                    <a:pt x="517089" y="97773"/>
                    <a:pt x="446431" y="0"/>
                    <a:pt x="316356" y="0"/>
                  </a:cubicBezTo>
                  <a:close/>
                </a:path>
              </a:pathLst>
            </a:custGeom>
            <a:solidFill>
              <a:srgbClr val="FFFFFF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75" name="Forma libre 74">
              <a:extLst>
                <a:ext uri="{FF2B5EF4-FFF2-40B4-BE49-F238E27FC236}">
                  <a16:creationId xmlns:a16="http://schemas.microsoft.com/office/drawing/2014/main" id="{EC6CE6E1-2D2E-85C6-1C74-910013E10C71}"/>
                </a:ext>
              </a:extLst>
            </p:cNvPr>
            <p:cNvSpPr/>
            <p:nvPr/>
          </p:nvSpPr>
          <p:spPr>
            <a:xfrm>
              <a:off x="4044378" y="1542441"/>
              <a:ext cx="314750" cy="592250"/>
            </a:xfrm>
            <a:custGeom>
              <a:avLst/>
              <a:gdLst>
                <a:gd name="connsiteX0" fmla="*/ 128469 w 314750"/>
                <a:gd name="connsiteY0" fmla="*/ 250845 h 592250"/>
                <a:gd name="connsiteX1" fmla="*/ 233654 w 314750"/>
                <a:gd name="connsiteY1" fmla="*/ 128227 h 592250"/>
                <a:gd name="connsiteX2" fmla="*/ 314750 w 314750"/>
                <a:gd name="connsiteY2" fmla="*/ 128227 h 592250"/>
                <a:gd name="connsiteX3" fmla="*/ 314750 w 314750"/>
                <a:gd name="connsiteY3" fmla="*/ 0 h 592250"/>
                <a:gd name="connsiteX4" fmla="*/ 277012 w 314750"/>
                <a:gd name="connsiteY4" fmla="*/ 0 h 592250"/>
                <a:gd name="connsiteX5" fmla="*/ 121243 w 314750"/>
                <a:gd name="connsiteY5" fmla="*/ 108192 h 592250"/>
                <a:gd name="connsiteX6" fmla="*/ 117228 w 314750"/>
                <a:gd name="connsiteY6" fmla="*/ 108192 h 592250"/>
                <a:gd name="connsiteX7" fmla="*/ 117228 w 314750"/>
                <a:gd name="connsiteY7" fmla="*/ 0 h 592250"/>
                <a:gd name="connsiteX8" fmla="*/ 1606 w 314750"/>
                <a:gd name="connsiteY8" fmla="*/ 0 h 592250"/>
                <a:gd name="connsiteX9" fmla="*/ 0 w 314750"/>
                <a:gd name="connsiteY9" fmla="*/ 592251 h 592250"/>
                <a:gd name="connsiteX10" fmla="*/ 128469 w 314750"/>
                <a:gd name="connsiteY10" fmla="*/ 592251 h 592250"/>
                <a:gd name="connsiteX11" fmla="*/ 128469 w 314750"/>
                <a:gd name="connsiteY11" fmla="*/ 250845 h 592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4750" h="592250">
                  <a:moveTo>
                    <a:pt x="128469" y="250845"/>
                  </a:moveTo>
                  <a:cubicBezTo>
                    <a:pt x="128469" y="171504"/>
                    <a:pt x="158981" y="128227"/>
                    <a:pt x="233654" y="128227"/>
                  </a:cubicBezTo>
                  <a:lnTo>
                    <a:pt x="314750" y="128227"/>
                  </a:lnTo>
                  <a:lnTo>
                    <a:pt x="314750" y="0"/>
                  </a:lnTo>
                  <a:lnTo>
                    <a:pt x="277012" y="0"/>
                  </a:lnTo>
                  <a:cubicBezTo>
                    <a:pt x="191901" y="0"/>
                    <a:pt x="150149" y="32858"/>
                    <a:pt x="121243" y="108192"/>
                  </a:cubicBezTo>
                  <a:lnTo>
                    <a:pt x="117228" y="108192"/>
                  </a:lnTo>
                  <a:lnTo>
                    <a:pt x="117228" y="0"/>
                  </a:lnTo>
                  <a:lnTo>
                    <a:pt x="1606" y="0"/>
                  </a:lnTo>
                  <a:lnTo>
                    <a:pt x="0" y="592251"/>
                  </a:lnTo>
                  <a:lnTo>
                    <a:pt x="128469" y="592251"/>
                  </a:lnTo>
                  <a:lnTo>
                    <a:pt x="128469" y="250845"/>
                  </a:lnTo>
                  <a:close/>
                </a:path>
              </a:pathLst>
            </a:custGeom>
            <a:solidFill>
              <a:srgbClr val="FFFFFF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76" name="Forma libre 75">
              <a:extLst>
                <a:ext uri="{FF2B5EF4-FFF2-40B4-BE49-F238E27FC236}">
                  <a16:creationId xmlns:a16="http://schemas.microsoft.com/office/drawing/2014/main" id="{7FE0F35A-6001-4EFB-E79C-38B2357D3297}"/>
                </a:ext>
              </a:extLst>
            </p:cNvPr>
            <p:cNvSpPr/>
            <p:nvPr/>
          </p:nvSpPr>
          <p:spPr>
            <a:xfrm>
              <a:off x="2725960" y="2488920"/>
              <a:ext cx="548441" cy="851911"/>
            </a:xfrm>
            <a:custGeom>
              <a:avLst/>
              <a:gdLst>
                <a:gd name="connsiteX0" fmla="*/ 281027 w 548441"/>
                <a:gd name="connsiteY0" fmla="*/ 0 h 851911"/>
                <a:gd name="connsiteX1" fmla="*/ 61826 w 548441"/>
                <a:gd name="connsiteY1" fmla="*/ 151469 h 851911"/>
                <a:gd name="connsiteX2" fmla="*/ 56205 w 548441"/>
                <a:gd name="connsiteY2" fmla="*/ 151469 h 851911"/>
                <a:gd name="connsiteX3" fmla="*/ 56205 w 548441"/>
                <a:gd name="connsiteY3" fmla="*/ 17631 h 851911"/>
                <a:gd name="connsiteX4" fmla="*/ 0 w 548441"/>
                <a:gd name="connsiteY4" fmla="*/ 17631 h 851911"/>
                <a:gd name="connsiteX5" fmla="*/ 0 w 548441"/>
                <a:gd name="connsiteY5" fmla="*/ 851911 h 851911"/>
                <a:gd name="connsiteX6" fmla="*/ 56205 w 548441"/>
                <a:gd name="connsiteY6" fmla="*/ 851911 h 851911"/>
                <a:gd name="connsiteX7" fmla="*/ 56205 w 548441"/>
                <a:gd name="connsiteY7" fmla="*/ 488867 h 851911"/>
                <a:gd name="connsiteX8" fmla="*/ 61826 w 548441"/>
                <a:gd name="connsiteY8" fmla="*/ 488867 h 851911"/>
                <a:gd name="connsiteX9" fmla="*/ 277012 w 548441"/>
                <a:gd name="connsiteY9" fmla="*/ 642740 h 851911"/>
                <a:gd name="connsiteX10" fmla="*/ 548404 w 548441"/>
                <a:gd name="connsiteY10" fmla="*/ 322973 h 851911"/>
                <a:gd name="connsiteX11" fmla="*/ 281027 w 548441"/>
                <a:gd name="connsiteY11" fmla="*/ 0 h 851911"/>
                <a:gd name="connsiteX12" fmla="*/ 276209 w 548441"/>
                <a:gd name="connsiteY12" fmla="*/ 585038 h 851911"/>
                <a:gd name="connsiteX13" fmla="*/ 62629 w 548441"/>
                <a:gd name="connsiteY13" fmla="*/ 322973 h 851911"/>
                <a:gd name="connsiteX14" fmla="*/ 281830 w 548441"/>
                <a:gd name="connsiteY14" fmla="*/ 55298 h 851911"/>
                <a:gd name="connsiteX15" fmla="*/ 488184 w 548441"/>
                <a:gd name="connsiteY15" fmla="*/ 322973 h 851911"/>
                <a:gd name="connsiteX16" fmla="*/ 276209 w 548441"/>
                <a:gd name="connsiteY16" fmla="*/ 585038 h 851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8441" h="851911">
                  <a:moveTo>
                    <a:pt x="281027" y="0"/>
                  </a:moveTo>
                  <a:cubicBezTo>
                    <a:pt x="161390" y="0"/>
                    <a:pt x="93140" y="72128"/>
                    <a:pt x="61826" y="151469"/>
                  </a:cubicBezTo>
                  <a:lnTo>
                    <a:pt x="56205" y="151469"/>
                  </a:lnTo>
                  <a:lnTo>
                    <a:pt x="56205" y="17631"/>
                  </a:lnTo>
                  <a:lnTo>
                    <a:pt x="0" y="17631"/>
                  </a:lnTo>
                  <a:lnTo>
                    <a:pt x="0" y="851911"/>
                  </a:lnTo>
                  <a:lnTo>
                    <a:pt x="56205" y="851911"/>
                  </a:lnTo>
                  <a:lnTo>
                    <a:pt x="56205" y="488867"/>
                  </a:lnTo>
                  <a:lnTo>
                    <a:pt x="61826" y="488867"/>
                  </a:lnTo>
                  <a:cubicBezTo>
                    <a:pt x="90731" y="569811"/>
                    <a:pt x="161390" y="642740"/>
                    <a:pt x="277012" y="642740"/>
                  </a:cubicBezTo>
                  <a:cubicBezTo>
                    <a:pt x="431176" y="642740"/>
                    <a:pt x="548404" y="518520"/>
                    <a:pt x="548404" y="322973"/>
                  </a:cubicBezTo>
                  <a:cubicBezTo>
                    <a:pt x="550813" y="131433"/>
                    <a:pt x="438402" y="0"/>
                    <a:pt x="281027" y="0"/>
                  </a:cubicBezTo>
                  <a:close/>
                  <a:moveTo>
                    <a:pt x="276209" y="585038"/>
                  </a:moveTo>
                  <a:cubicBezTo>
                    <a:pt x="133287" y="585038"/>
                    <a:pt x="62629" y="460818"/>
                    <a:pt x="62629" y="322973"/>
                  </a:cubicBezTo>
                  <a:cubicBezTo>
                    <a:pt x="62629" y="185128"/>
                    <a:pt x="140513" y="55298"/>
                    <a:pt x="281830" y="55298"/>
                  </a:cubicBezTo>
                  <a:cubicBezTo>
                    <a:pt x="408693" y="55298"/>
                    <a:pt x="488184" y="161887"/>
                    <a:pt x="488184" y="322973"/>
                  </a:cubicBezTo>
                  <a:cubicBezTo>
                    <a:pt x="487381" y="488867"/>
                    <a:pt x="399058" y="585038"/>
                    <a:pt x="276209" y="585038"/>
                  </a:cubicBezTo>
                  <a:close/>
                </a:path>
              </a:pathLst>
            </a:custGeom>
            <a:solidFill>
              <a:srgbClr val="FFFFFF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77" name="Forma libre 76">
              <a:extLst>
                <a:ext uri="{FF2B5EF4-FFF2-40B4-BE49-F238E27FC236}">
                  <a16:creationId xmlns:a16="http://schemas.microsoft.com/office/drawing/2014/main" id="{3813F993-5610-96F5-B1E4-8697D7FF5161}"/>
                </a:ext>
              </a:extLst>
            </p:cNvPr>
            <p:cNvSpPr/>
            <p:nvPr/>
          </p:nvSpPr>
          <p:spPr>
            <a:xfrm>
              <a:off x="3367504" y="2491324"/>
              <a:ext cx="544389" cy="637931"/>
            </a:xfrm>
            <a:custGeom>
              <a:avLst/>
              <a:gdLst>
                <a:gd name="connsiteX0" fmla="*/ 477746 w 544389"/>
                <a:gd name="connsiteY0" fmla="*/ 546570 h 637931"/>
                <a:gd name="connsiteX1" fmla="*/ 477746 w 544389"/>
                <a:gd name="connsiteY1" fmla="*/ 209171 h 637931"/>
                <a:gd name="connsiteX2" fmla="*/ 264165 w 544389"/>
                <a:gd name="connsiteY2" fmla="*/ 0 h 637931"/>
                <a:gd name="connsiteX3" fmla="*/ 0 w 544389"/>
                <a:gd name="connsiteY3" fmla="*/ 182724 h 637931"/>
                <a:gd name="connsiteX4" fmla="*/ 54600 w 544389"/>
                <a:gd name="connsiteY4" fmla="*/ 208370 h 637931"/>
                <a:gd name="connsiteX5" fmla="*/ 262559 w 544389"/>
                <a:gd name="connsiteY5" fmla="*/ 58504 h 637931"/>
                <a:gd name="connsiteX6" fmla="*/ 418329 w 544389"/>
                <a:gd name="connsiteY6" fmla="*/ 209972 h 637931"/>
                <a:gd name="connsiteX7" fmla="*/ 418329 w 544389"/>
                <a:gd name="connsiteY7" fmla="*/ 287710 h 637931"/>
                <a:gd name="connsiteX8" fmla="*/ 262559 w 544389"/>
                <a:gd name="connsiteY8" fmla="*/ 287710 h 637931"/>
                <a:gd name="connsiteX9" fmla="*/ 0 w 544389"/>
                <a:gd name="connsiteY9" fmla="*/ 468030 h 637931"/>
                <a:gd name="connsiteX10" fmla="*/ 190295 w 544389"/>
                <a:gd name="connsiteY10" fmla="*/ 637932 h 637931"/>
                <a:gd name="connsiteX11" fmla="*/ 411102 w 544389"/>
                <a:gd name="connsiteY11" fmla="*/ 479250 h 637931"/>
                <a:gd name="connsiteX12" fmla="*/ 419935 w 544389"/>
                <a:gd name="connsiteY12" fmla="*/ 479250 h 637931"/>
                <a:gd name="connsiteX13" fmla="*/ 418329 w 544389"/>
                <a:gd name="connsiteY13" fmla="*/ 538555 h 637931"/>
                <a:gd name="connsiteX14" fmla="*/ 484972 w 544389"/>
                <a:gd name="connsiteY14" fmla="*/ 623506 h 637931"/>
                <a:gd name="connsiteX15" fmla="*/ 544389 w 544389"/>
                <a:gd name="connsiteY15" fmla="*/ 623506 h 637931"/>
                <a:gd name="connsiteX16" fmla="*/ 544389 w 544389"/>
                <a:gd name="connsiteY16" fmla="*/ 567407 h 637931"/>
                <a:gd name="connsiteX17" fmla="*/ 489790 w 544389"/>
                <a:gd name="connsiteY17" fmla="*/ 567407 h 637931"/>
                <a:gd name="connsiteX18" fmla="*/ 477746 w 544389"/>
                <a:gd name="connsiteY18" fmla="*/ 546570 h 637931"/>
                <a:gd name="connsiteX19" fmla="*/ 199128 w 544389"/>
                <a:gd name="connsiteY19" fmla="*/ 577024 h 637931"/>
                <a:gd name="connsiteX20" fmla="*/ 63432 w 544389"/>
                <a:gd name="connsiteY20" fmla="*/ 464825 h 637931"/>
                <a:gd name="connsiteX21" fmla="*/ 264165 w 544389"/>
                <a:gd name="connsiteY21" fmla="*/ 334994 h 637931"/>
                <a:gd name="connsiteX22" fmla="*/ 415920 w 544389"/>
                <a:gd name="connsiteY22" fmla="*/ 334994 h 637931"/>
                <a:gd name="connsiteX23" fmla="*/ 199128 w 544389"/>
                <a:gd name="connsiteY23" fmla="*/ 577024 h 637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44389" h="637931">
                  <a:moveTo>
                    <a:pt x="477746" y="546570"/>
                  </a:moveTo>
                  <a:lnTo>
                    <a:pt x="477746" y="209171"/>
                  </a:lnTo>
                  <a:cubicBezTo>
                    <a:pt x="477746" y="93766"/>
                    <a:pt x="405482" y="0"/>
                    <a:pt x="264165" y="0"/>
                  </a:cubicBezTo>
                  <a:cubicBezTo>
                    <a:pt x="148543" y="0"/>
                    <a:pt x="44964" y="68922"/>
                    <a:pt x="0" y="182724"/>
                  </a:cubicBezTo>
                  <a:lnTo>
                    <a:pt x="54600" y="208370"/>
                  </a:lnTo>
                  <a:cubicBezTo>
                    <a:pt x="92337" y="107391"/>
                    <a:pt x="181463" y="58504"/>
                    <a:pt x="262559" y="58504"/>
                  </a:cubicBezTo>
                  <a:cubicBezTo>
                    <a:pt x="362123" y="58504"/>
                    <a:pt x="418329" y="120213"/>
                    <a:pt x="418329" y="209972"/>
                  </a:cubicBezTo>
                  <a:lnTo>
                    <a:pt x="418329" y="287710"/>
                  </a:lnTo>
                  <a:lnTo>
                    <a:pt x="262559" y="287710"/>
                  </a:lnTo>
                  <a:cubicBezTo>
                    <a:pt x="108396" y="287710"/>
                    <a:pt x="0" y="356633"/>
                    <a:pt x="0" y="468030"/>
                  </a:cubicBezTo>
                  <a:cubicBezTo>
                    <a:pt x="0" y="579428"/>
                    <a:pt x="85111" y="637932"/>
                    <a:pt x="190295" y="637932"/>
                  </a:cubicBezTo>
                  <a:cubicBezTo>
                    <a:pt x="295480" y="637932"/>
                    <a:pt x="373364" y="571414"/>
                    <a:pt x="411102" y="479250"/>
                  </a:cubicBezTo>
                  <a:lnTo>
                    <a:pt x="419935" y="479250"/>
                  </a:lnTo>
                  <a:lnTo>
                    <a:pt x="418329" y="538555"/>
                  </a:lnTo>
                  <a:cubicBezTo>
                    <a:pt x="418329" y="593052"/>
                    <a:pt x="434387" y="623506"/>
                    <a:pt x="484972" y="623506"/>
                  </a:cubicBezTo>
                  <a:lnTo>
                    <a:pt x="544389" y="623506"/>
                  </a:lnTo>
                  <a:lnTo>
                    <a:pt x="544389" y="567407"/>
                  </a:lnTo>
                  <a:lnTo>
                    <a:pt x="489790" y="567407"/>
                  </a:lnTo>
                  <a:cubicBezTo>
                    <a:pt x="484972" y="565804"/>
                    <a:pt x="477746" y="556988"/>
                    <a:pt x="477746" y="546570"/>
                  </a:cubicBezTo>
                  <a:close/>
                  <a:moveTo>
                    <a:pt x="199128" y="577024"/>
                  </a:moveTo>
                  <a:cubicBezTo>
                    <a:pt x="122849" y="577024"/>
                    <a:pt x="63432" y="544165"/>
                    <a:pt x="63432" y="464825"/>
                  </a:cubicBezTo>
                  <a:cubicBezTo>
                    <a:pt x="63432" y="379874"/>
                    <a:pt x="155769" y="334994"/>
                    <a:pt x="264165" y="334994"/>
                  </a:cubicBezTo>
                  <a:lnTo>
                    <a:pt x="415920" y="334994"/>
                  </a:lnTo>
                  <a:cubicBezTo>
                    <a:pt x="403073" y="479250"/>
                    <a:pt x="305918" y="577024"/>
                    <a:pt x="199128" y="577024"/>
                  </a:cubicBezTo>
                  <a:close/>
                </a:path>
              </a:pathLst>
            </a:custGeom>
            <a:solidFill>
              <a:srgbClr val="FFFFFF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78" name="Forma libre 77">
              <a:extLst>
                <a:ext uri="{FF2B5EF4-FFF2-40B4-BE49-F238E27FC236}">
                  <a16:creationId xmlns:a16="http://schemas.microsoft.com/office/drawing/2014/main" id="{90865472-0040-6E2C-6E28-FC43563BDF3E}"/>
                </a:ext>
              </a:extLst>
            </p:cNvPr>
            <p:cNvSpPr/>
            <p:nvPr/>
          </p:nvSpPr>
          <p:spPr>
            <a:xfrm>
              <a:off x="3950434" y="2506551"/>
              <a:ext cx="548403" cy="818251"/>
            </a:xfrm>
            <a:custGeom>
              <a:avLst/>
              <a:gdLst>
                <a:gd name="connsiteX0" fmla="*/ 274604 w 548403"/>
                <a:gd name="connsiteY0" fmla="*/ 556187 h 818251"/>
                <a:gd name="connsiteX1" fmla="*/ 267377 w 548403"/>
                <a:gd name="connsiteY1" fmla="*/ 556187 h 818251"/>
                <a:gd name="connsiteX2" fmla="*/ 62629 w 548403"/>
                <a:gd name="connsiteY2" fmla="*/ 0 h 818251"/>
                <a:gd name="connsiteX3" fmla="*/ 0 w 548403"/>
                <a:gd name="connsiteY3" fmla="*/ 0 h 818251"/>
                <a:gd name="connsiteX4" fmla="*/ 222413 w 548403"/>
                <a:gd name="connsiteY4" fmla="*/ 608279 h 818251"/>
                <a:gd name="connsiteX5" fmla="*/ 256939 w 548403"/>
                <a:gd name="connsiteY5" fmla="*/ 608279 h 818251"/>
                <a:gd name="connsiteX6" fmla="*/ 222413 w 548403"/>
                <a:gd name="connsiteY6" fmla="*/ 698840 h 818251"/>
                <a:gd name="connsiteX7" fmla="*/ 158981 w 548403"/>
                <a:gd name="connsiteY7" fmla="*/ 762152 h 818251"/>
                <a:gd name="connsiteX8" fmla="*/ 57811 w 548403"/>
                <a:gd name="connsiteY8" fmla="*/ 762152 h 818251"/>
                <a:gd name="connsiteX9" fmla="*/ 57811 w 548403"/>
                <a:gd name="connsiteY9" fmla="*/ 818252 h 818251"/>
                <a:gd name="connsiteX10" fmla="*/ 166207 w 548403"/>
                <a:gd name="connsiteY10" fmla="*/ 818252 h 818251"/>
                <a:gd name="connsiteX11" fmla="*/ 272998 w 548403"/>
                <a:gd name="connsiteY11" fmla="*/ 717272 h 818251"/>
                <a:gd name="connsiteX12" fmla="*/ 548404 w 548403"/>
                <a:gd name="connsiteY12" fmla="*/ 0 h 818251"/>
                <a:gd name="connsiteX13" fmla="*/ 484972 w 548403"/>
                <a:gd name="connsiteY13" fmla="*/ 0 h 818251"/>
                <a:gd name="connsiteX14" fmla="*/ 274604 w 548403"/>
                <a:gd name="connsiteY14" fmla="*/ 556187 h 81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48403" h="818251">
                  <a:moveTo>
                    <a:pt x="274604" y="556187"/>
                  </a:moveTo>
                  <a:lnTo>
                    <a:pt x="267377" y="556187"/>
                  </a:lnTo>
                  <a:lnTo>
                    <a:pt x="62629" y="0"/>
                  </a:lnTo>
                  <a:lnTo>
                    <a:pt x="0" y="0"/>
                  </a:lnTo>
                  <a:lnTo>
                    <a:pt x="222413" y="608279"/>
                  </a:lnTo>
                  <a:lnTo>
                    <a:pt x="256939" y="608279"/>
                  </a:lnTo>
                  <a:lnTo>
                    <a:pt x="222413" y="698840"/>
                  </a:lnTo>
                  <a:cubicBezTo>
                    <a:pt x="207960" y="736507"/>
                    <a:pt x="189492" y="762152"/>
                    <a:pt x="158981" y="762152"/>
                  </a:cubicBezTo>
                  <a:lnTo>
                    <a:pt x="57811" y="762152"/>
                  </a:lnTo>
                  <a:lnTo>
                    <a:pt x="57811" y="818252"/>
                  </a:lnTo>
                  <a:lnTo>
                    <a:pt x="166207" y="818252"/>
                  </a:lnTo>
                  <a:cubicBezTo>
                    <a:pt x="216792" y="818252"/>
                    <a:pt x="245698" y="783790"/>
                    <a:pt x="272998" y="717272"/>
                  </a:cubicBezTo>
                  <a:lnTo>
                    <a:pt x="548404" y="0"/>
                  </a:lnTo>
                  <a:lnTo>
                    <a:pt x="484972" y="0"/>
                  </a:lnTo>
                  <a:lnTo>
                    <a:pt x="274604" y="556187"/>
                  </a:lnTo>
                  <a:close/>
                </a:path>
              </a:pathLst>
            </a:custGeom>
            <a:solidFill>
              <a:srgbClr val="FFFFFF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grpSp>
        <p:nvGrpSpPr>
          <p:cNvPr id="82" name="Grupo 81">
            <a:extLst>
              <a:ext uri="{FF2B5EF4-FFF2-40B4-BE49-F238E27FC236}">
                <a16:creationId xmlns:a16="http://schemas.microsoft.com/office/drawing/2014/main" id="{3CC9A20C-7CCB-9378-EBA7-501D9CA6FB07}"/>
              </a:ext>
            </a:extLst>
          </p:cNvPr>
          <p:cNvGrpSpPr/>
          <p:nvPr/>
        </p:nvGrpSpPr>
        <p:grpSpPr>
          <a:xfrm>
            <a:off x="3789091" y="3754446"/>
            <a:ext cx="515318" cy="112191"/>
            <a:chOff x="5588723" y="3144791"/>
            <a:chExt cx="515318" cy="112191"/>
          </a:xfrm>
          <a:noFill/>
        </p:grpSpPr>
        <p:sp>
          <p:nvSpPr>
            <p:cNvPr id="83" name="Elipse 82">
              <a:extLst>
                <a:ext uri="{FF2B5EF4-FFF2-40B4-BE49-F238E27FC236}">
                  <a16:creationId xmlns:a16="http://schemas.microsoft.com/office/drawing/2014/main" id="{9C22282B-033F-53C4-892D-A49FB70320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88723" y="3190086"/>
              <a:ext cx="21600" cy="21600"/>
            </a:xfrm>
            <a:prstGeom prst="ellipse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43543" tIns="21771" rIns="43543" bIns="2177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_tradnl" sz="700" noProof="0">
                <a:solidFill>
                  <a:srgbClr val="808080"/>
                </a:solidFill>
                <a:latin typeface="Pulso" pitchFamily="2" charset="0"/>
              </a:endParaRPr>
            </a:p>
          </p:txBody>
        </p:sp>
        <p:sp>
          <p:nvSpPr>
            <p:cNvPr id="84" name="Rectángulo 61">
              <a:extLst>
                <a:ext uri="{FF2B5EF4-FFF2-40B4-BE49-F238E27FC236}">
                  <a16:creationId xmlns:a16="http://schemas.microsoft.com/office/drawing/2014/main" id="{0212CE60-8AF7-E51B-0BB9-44D61BF4AB8D}"/>
                </a:ext>
              </a:extLst>
            </p:cNvPr>
            <p:cNvSpPr/>
            <p:nvPr/>
          </p:nvSpPr>
          <p:spPr>
            <a:xfrm rot="2700000">
              <a:off x="5968614" y="3144791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grpFill/>
            <a:ln w="19050" cap="rnd" cmpd="sng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1400" b="1" noProof="0">
                <a:solidFill>
                  <a:schemeClr val="tx1"/>
                </a:solidFill>
                <a:latin typeface="Pulso" pitchFamily="2" charset="0"/>
              </a:endParaRPr>
            </a:p>
          </p:txBody>
        </p:sp>
        <p:cxnSp>
          <p:nvCxnSpPr>
            <p:cNvPr id="85" name="Conector recto 84">
              <a:extLst>
                <a:ext uri="{FF2B5EF4-FFF2-40B4-BE49-F238E27FC236}">
                  <a16:creationId xmlns:a16="http://schemas.microsoft.com/office/drawing/2014/main" id="{D992A9E6-B265-445F-9EFA-DC34ADB54CF5}"/>
                </a:ext>
              </a:extLst>
            </p:cNvPr>
            <p:cNvCxnSpPr>
              <a:cxnSpLocks/>
            </p:cNvCxnSpPr>
            <p:nvPr/>
          </p:nvCxnSpPr>
          <p:spPr>
            <a:xfrm>
              <a:off x="5670299" y="3200886"/>
              <a:ext cx="433742" cy="0"/>
            </a:xfrm>
            <a:prstGeom prst="line">
              <a:avLst/>
            </a:prstGeom>
            <a:grpFill/>
            <a:ln w="19050" cap="rnd">
              <a:solidFill>
                <a:srgbClr val="FFFFFF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6" name="Title 1">
            <a:extLst>
              <a:ext uri="{FF2B5EF4-FFF2-40B4-BE49-F238E27FC236}">
                <a16:creationId xmlns:a16="http://schemas.microsoft.com/office/drawing/2014/main" id="{1CC5C9A3-1F79-5BD3-A8DF-594D6A9EF0DF}"/>
              </a:ext>
            </a:extLst>
          </p:cNvPr>
          <p:cNvSpPr txBox="1">
            <a:spLocks/>
          </p:cNvSpPr>
          <p:nvPr/>
        </p:nvSpPr>
        <p:spPr>
          <a:xfrm>
            <a:off x="830019" y="3680310"/>
            <a:ext cx="2204803" cy="3144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defRPr sz="4400" spc="-7">
                <a:solidFill>
                  <a:schemeClr val="bg1"/>
                </a:solidFill>
                <a:latin typeface="Pulso Light" pitchFamily="2" charset="0"/>
                <a:ea typeface="Inter Light BETA" panose="020B0402030000000004" pitchFamily="34" charset="0"/>
              </a:defRPr>
            </a:lvl1pPr>
          </a:lstStyle>
          <a:p>
            <a:pPr algn="ctr"/>
            <a:r>
              <a:rPr lang="es-ES_tradnl" sz="2400" noProof="0">
                <a:solidFill>
                  <a:srgbClr val="FFFFFF"/>
                </a:solidFill>
                <a:latin typeface="Pulso Light" pitchFamily="2" charset="0"/>
              </a:rPr>
              <a:t>Estrategia 2026</a:t>
            </a:r>
          </a:p>
        </p:txBody>
      </p:sp>
      <p:sp>
        <p:nvSpPr>
          <p:cNvPr id="87" name="Rectángulo redondeado 86">
            <a:extLst>
              <a:ext uri="{FF2B5EF4-FFF2-40B4-BE49-F238E27FC236}">
                <a16:creationId xmlns:a16="http://schemas.microsoft.com/office/drawing/2014/main" id="{29BF3E9A-297A-3C95-A736-70450E0F9A78}"/>
              </a:ext>
            </a:extLst>
          </p:cNvPr>
          <p:cNvSpPr/>
          <p:nvPr/>
        </p:nvSpPr>
        <p:spPr>
          <a:xfrm>
            <a:off x="559426" y="3529884"/>
            <a:ext cx="2745988" cy="561317"/>
          </a:xfrm>
          <a:prstGeom prst="roundRect">
            <a:avLst>
              <a:gd name="adj" fmla="val 50000"/>
            </a:avLst>
          </a:prstGeom>
          <a:noFill/>
          <a:ln w="6350" cap="rnd" cmpd="sng">
            <a:solidFill>
              <a:srgbClr val="FFFFFF">
                <a:alpha val="75000"/>
              </a:srgb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>
              <a:spcBef>
                <a:spcPts val="1000"/>
              </a:spcBef>
            </a:pPr>
            <a:endParaRPr lang="es-ES_tradnl" sz="1400" b="1" noProof="0">
              <a:solidFill>
                <a:schemeClr val="tx1"/>
              </a:solidFill>
            </a:endParaRPr>
          </a:p>
        </p:txBody>
      </p:sp>
      <p:sp>
        <p:nvSpPr>
          <p:cNvPr id="89" name="Slide Number Placeholder 24">
            <a:extLst>
              <a:ext uri="{FF2B5EF4-FFF2-40B4-BE49-F238E27FC236}">
                <a16:creationId xmlns:a16="http://schemas.microsoft.com/office/drawing/2014/main" id="{5E231A63-E89C-0C54-FEFB-238BAD41F6F3}"/>
              </a:ext>
            </a:extLst>
          </p:cNvPr>
          <p:cNvSpPr txBox="1">
            <a:spLocks/>
          </p:cNvSpPr>
          <p:nvPr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rgbClr val="FFFFFF">
                    <a:alpha val="80000"/>
                  </a:srgb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46</a:t>
            </a:fld>
            <a:endParaRPr lang="en-US" sz="562" b="0" i="0">
              <a:solidFill>
                <a:srgbClr val="FFFFFF">
                  <a:alpha val="80000"/>
                </a:srgb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467A7EF8-D1EB-A5D6-37B2-817111502CCA}"/>
              </a:ext>
            </a:extLst>
          </p:cNvPr>
          <p:cNvCxnSpPr>
            <a:cxnSpLocks/>
          </p:cNvCxnSpPr>
          <p:nvPr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rgbClr val="FFFFFF">
                <a:alpha val="75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0959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716B0E-C02A-0EF4-40B6-D3070464C4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ráfico 23">
            <a:extLst>
              <a:ext uri="{FF2B5EF4-FFF2-40B4-BE49-F238E27FC236}">
                <a16:creationId xmlns:a16="http://schemas.microsoft.com/office/drawing/2014/main" id="{6E8AA844-574B-3339-3CB3-3EC5FD8FAD4F}"/>
              </a:ext>
            </a:extLst>
          </p:cNvPr>
          <p:cNvSpPr/>
          <p:nvPr/>
        </p:nvSpPr>
        <p:spPr>
          <a:xfrm>
            <a:off x="7381773" y="1061987"/>
            <a:ext cx="561003" cy="560934"/>
          </a:xfrm>
          <a:custGeom>
            <a:avLst/>
            <a:gdLst>
              <a:gd name="connsiteX0" fmla="*/ 0 w 748004"/>
              <a:gd name="connsiteY0" fmla="*/ 327252 h 747912"/>
              <a:gd name="connsiteX1" fmla="*/ 140251 w 748004"/>
              <a:gd name="connsiteY1" fmla="*/ 467503 h 747912"/>
              <a:gd name="connsiteX2" fmla="*/ 209207 w 748004"/>
              <a:gd name="connsiteY2" fmla="*/ 467503 h 747912"/>
              <a:gd name="connsiteX3" fmla="*/ 423674 w 748004"/>
              <a:gd name="connsiteY3" fmla="*/ 295841 h 747912"/>
              <a:gd name="connsiteX4" fmla="*/ 511623 w 748004"/>
              <a:gd name="connsiteY4" fmla="*/ 296134 h 747912"/>
              <a:gd name="connsiteX5" fmla="*/ 530323 w 748004"/>
              <a:gd name="connsiteY5" fmla="*/ 382037 h 747912"/>
              <a:gd name="connsiteX6" fmla="*/ 487517 w 748004"/>
              <a:gd name="connsiteY6" fmla="*/ 467503 h 747912"/>
              <a:gd name="connsiteX7" fmla="*/ 514253 w 748004"/>
              <a:gd name="connsiteY7" fmla="*/ 467503 h 747912"/>
              <a:gd name="connsiteX8" fmla="*/ 607753 w 748004"/>
              <a:gd name="connsiteY8" fmla="*/ 467503 h 747912"/>
              <a:gd name="connsiteX9" fmla="*/ 748004 w 748004"/>
              <a:gd name="connsiteY9" fmla="*/ 327252 h 747912"/>
              <a:gd name="connsiteX10" fmla="*/ 607753 w 748004"/>
              <a:gd name="connsiteY10" fmla="*/ 187001 h 747912"/>
              <a:gd name="connsiteX11" fmla="*/ 605416 w 748004"/>
              <a:gd name="connsiteY11" fmla="*/ 187001 h 747912"/>
              <a:gd name="connsiteX12" fmla="*/ 607753 w 748004"/>
              <a:gd name="connsiteY12" fmla="*/ 163626 h 747912"/>
              <a:gd name="connsiteX13" fmla="*/ 490878 w 748004"/>
              <a:gd name="connsiteY13" fmla="*/ 46750 h 747912"/>
              <a:gd name="connsiteX14" fmla="*/ 402052 w 748004"/>
              <a:gd name="connsiteY14" fmla="*/ 87657 h 747912"/>
              <a:gd name="connsiteX15" fmla="*/ 257126 w 748004"/>
              <a:gd name="connsiteY15" fmla="*/ 0 h 747912"/>
              <a:gd name="connsiteX16" fmla="*/ 93501 w 748004"/>
              <a:gd name="connsiteY16" fmla="*/ 163626 h 747912"/>
              <a:gd name="connsiteX17" fmla="*/ 96276 w 748004"/>
              <a:gd name="connsiteY17" fmla="*/ 194014 h 747912"/>
              <a:gd name="connsiteX18" fmla="*/ 0 w 748004"/>
              <a:gd name="connsiteY18" fmla="*/ 327252 h 747912"/>
              <a:gd name="connsiteX19" fmla="*/ 482258 w 748004"/>
              <a:gd name="connsiteY19" fmla="*/ 332511 h 747912"/>
              <a:gd name="connsiteX20" fmla="*/ 452893 w 748004"/>
              <a:gd name="connsiteY20" fmla="*/ 332365 h 747912"/>
              <a:gd name="connsiteX21" fmla="*/ 219142 w 748004"/>
              <a:gd name="connsiteY21" fmla="*/ 519366 h 747912"/>
              <a:gd name="connsiteX22" fmla="*/ 211691 w 748004"/>
              <a:gd name="connsiteY22" fmla="*/ 545371 h 747912"/>
              <a:gd name="connsiteX23" fmla="*/ 233751 w 748004"/>
              <a:gd name="connsiteY23" fmla="*/ 561003 h 747912"/>
              <a:gd name="connsiteX24" fmla="*/ 336164 w 748004"/>
              <a:gd name="connsiteY24" fmla="*/ 561003 h 747912"/>
              <a:gd name="connsiteX25" fmla="*/ 259610 w 748004"/>
              <a:gd name="connsiteY25" fmla="*/ 714110 h 747912"/>
              <a:gd name="connsiteX26" fmla="*/ 265892 w 748004"/>
              <a:gd name="connsiteY26" fmla="*/ 742745 h 747912"/>
              <a:gd name="connsiteX27" fmla="*/ 295257 w 748004"/>
              <a:gd name="connsiteY27" fmla="*/ 742891 h 747912"/>
              <a:gd name="connsiteX28" fmla="*/ 529008 w 748004"/>
              <a:gd name="connsiteY28" fmla="*/ 555890 h 747912"/>
              <a:gd name="connsiteX29" fmla="*/ 536459 w 748004"/>
              <a:gd name="connsiteY29" fmla="*/ 529885 h 747912"/>
              <a:gd name="connsiteX30" fmla="*/ 514399 w 748004"/>
              <a:gd name="connsiteY30" fmla="*/ 514253 h 747912"/>
              <a:gd name="connsiteX31" fmla="*/ 411987 w 748004"/>
              <a:gd name="connsiteY31" fmla="*/ 514253 h 747912"/>
              <a:gd name="connsiteX32" fmla="*/ 488540 w 748004"/>
              <a:gd name="connsiteY32" fmla="*/ 361146 h 747912"/>
              <a:gd name="connsiteX33" fmla="*/ 482404 w 748004"/>
              <a:gd name="connsiteY33" fmla="*/ 332511 h 747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748004" h="747912">
                <a:moveTo>
                  <a:pt x="0" y="327252"/>
                </a:moveTo>
                <a:cubicBezTo>
                  <a:pt x="0" y="404682"/>
                  <a:pt x="62821" y="467503"/>
                  <a:pt x="140251" y="467503"/>
                </a:cubicBezTo>
                <a:lnTo>
                  <a:pt x="209207" y="467503"/>
                </a:lnTo>
                <a:lnTo>
                  <a:pt x="423674" y="295841"/>
                </a:lnTo>
                <a:cubicBezTo>
                  <a:pt x="449387" y="275242"/>
                  <a:pt x="485910" y="275388"/>
                  <a:pt x="511623" y="296134"/>
                </a:cubicBezTo>
                <a:cubicBezTo>
                  <a:pt x="537336" y="316879"/>
                  <a:pt x="544933" y="352526"/>
                  <a:pt x="530323" y="382037"/>
                </a:cubicBezTo>
                <a:lnTo>
                  <a:pt x="487517" y="467503"/>
                </a:lnTo>
                <a:lnTo>
                  <a:pt x="514253" y="467503"/>
                </a:lnTo>
                <a:lnTo>
                  <a:pt x="607753" y="467503"/>
                </a:lnTo>
                <a:cubicBezTo>
                  <a:pt x="685183" y="467503"/>
                  <a:pt x="748004" y="404682"/>
                  <a:pt x="748004" y="327252"/>
                </a:cubicBezTo>
                <a:cubicBezTo>
                  <a:pt x="748004" y="249822"/>
                  <a:pt x="685183" y="187001"/>
                  <a:pt x="607753" y="187001"/>
                </a:cubicBezTo>
                <a:cubicBezTo>
                  <a:pt x="607023" y="187001"/>
                  <a:pt x="606146" y="187001"/>
                  <a:pt x="605416" y="187001"/>
                </a:cubicBezTo>
                <a:cubicBezTo>
                  <a:pt x="607023" y="179404"/>
                  <a:pt x="607753" y="171661"/>
                  <a:pt x="607753" y="163626"/>
                </a:cubicBezTo>
                <a:cubicBezTo>
                  <a:pt x="607753" y="99052"/>
                  <a:pt x="555451" y="46750"/>
                  <a:pt x="490878" y="46750"/>
                </a:cubicBezTo>
                <a:cubicBezTo>
                  <a:pt x="455377" y="46750"/>
                  <a:pt x="423528" y="62675"/>
                  <a:pt x="402052" y="87657"/>
                </a:cubicBezTo>
                <a:cubicBezTo>
                  <a:pt x="374732" y="35501"/>
                  <a:pt x="320093" y="0"/>
                  <a:pt x="257126" y="0"/>
                </a:cubicBezTo>
                <a:cubicBezTo>
                  <a:pt x="166694" y="0"/>
                  <a:pt x="93501" y="73193"/>
                  <a:pt x="93501" y="163626"/>
                </a:cubicBezTo>
                <a:cubicBezTo>
                  <a:pt x="93501" y="173999"/>
                  <a:pt x="94523" y="184225"/>
                  <a:pt x="96276" y="194014"/>
                </a:cubicBezTo>
                <a:cubicBezTo>
                  <a:pt x="40322" y="212421"/>
                  <a:pt x="0" y="265162"/>
                  <a:pt x="0" y="327252"/>
                </a:cubicBezTo>
                <a:close/>
                <a:moveTo>
                  <a:pt x="482258" y="332511"/>
                </a:moveTo>
                <a:cubicBezTo>
                  <a:pt x="473785" y="325645"/>
                  <a:pt x="461513" y="325645"/>
                  <a:pt x="452893" y="332365"/>
                </a:cubicBezTo>
                <a:lnTo>
                  <a:pt x="219142" y="519366"/>
                </a:lnTo>
                <a:cubicBezTo>
                  <a:pt x="211399" y="525502"/>
                  <a:pt x="208331" y="536021"/>
                  <a:pt x="211691" y="545371"/>
                </a:cubicBezTo>
                <a:cubicBezTo>
                  <a:pt x="215051" y="554721"/>
                  <a:pt x="223817" y="561003"/>
                  <a:pt x="233751" y="561003"/>
                </a:cubicBezTo>
                <a:lnTo>
                  <a:pt x="336164" y="561003"/>
                </a:lnTo>
                <a:lnTo>
                  <a:pt x="259610" y="714110"/>
                </a:lnTo>
                <a:cubicBezTo>
                  <a:pt x="254643" y="723898"/>
                  <a:pt x="257272" y="735878"/>
                  <a:pt x="265892" y="742745"/>
                </a:cubicBezTo>
                <a:cubicBezTo>
                  <a:pt x="274512" y="749611"/>
                  <a:pt x="286637" y="749611"/>
                  <a:pt x="295257" y="742891"/>
                </a:cubicBezTo>
                <a:lnTo>
                  <a:pt x="529008" y="555890"/>
                </a:lnTo>
                <a:cubicBezTo>
                  <a:pt x="536751" y="549754"/>
                  <a:pt x="539819" y="539235"/>
                  <a:pt x="536459" y="529885"/>
                </a:cubicBezTo>
                <a:cubicBezTo>
                  <a:pt x="533099" y="520535"/>
                  <a:pt x="524333" y="514253"/>
                  <a:pt x="514399" y="514253"/>
                </a:cubicBezTo>
                <a:lnTo>
                  <a:pt x="411987" y="514253"/>
                </a:lnTo>
                <a:lnTo>
                  <a:pt x="488540" y="361146"/>
                </a:lnTo>
                <a:cubicBezTo>
                  <a:pt x="493507" y="351357"/>
                  <a:pt x="490878" y="339378"/>
                  <a:pt x="482404" y="332511"/>
                </a:cubicBezTo>
                <a:close/>
              </a:path>
            </a:pathLst>
          </a:custGeom>
          <a:solidFill>
            <a:schemeClr val="bg1"/>
          </a:solidFill>
          <a:ln w="571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>
              <a:solidFill>
                <a:srgbClr val="24272A"/>
              </a:solidFill>
              <a:latin typeface="Open Sans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09AA38A-62FF-42D1-C54E-4D05278A5613}"/>
              </a:ext>
            </a:extLst>
          </p:cNvPr>
          <p:cNvSpPr txBox="1">
            <a:spLocks/>
          </p:cNvSpPr>
          <p:nvPr/>
        </p:nvSpPr>
        <p:spPr>
          <a:xfrm>
            <a:off x="540657" y="580494"/>
            <a:ext cx="5495415" cy="359073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ts val="3200"/>
              </a:lnSpc>
              <a:spcAft>
                <a:spcPts val="0"/>
              </a:spcAft>
              <a:buNone/>
              <a:defRPr sz="2800" b="0" i="0" spc="-70" baseline="0">
                <a:solidFill>
                  <a:schemeClr val="tx2"/>
                </a:solidFill>
                <a:latin typeface="Pulso Light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>
                <a:solidFill>
                  <a:srgbClr val="5A50F9"/>
                </a:solidFill>
              </a:rPr>
              <a:t>Nuestros desafíos estratégicos 2025/26</a:t>
            </a:r>
          </a:p>
        </p:txBody>
      </p:sp>
      <p:sp>
        <p:nvSpPr>
          <p:cNvPr id="6" name="Marcador de texto 8">
            <a:extLst>
              <a:ext uri="{FF2B5EF4-FFF2-40B4-BE49-F238E27FC236}">
                <a16:creationId xmlns:a16="http://schemas.microsoft.com/office/drawing/2014/main" id="{07A2C78C-4B86-5C60-E27D-D286C6D28E6A}"/>
              </a:ext>
            </a:extLst>
          </p:cNvPr>
          <p:cNvSpPr txBox="1">
            <a:spLocks/>
          </p:cNvSpPr>
          <p:nvPr/>
        </p:nvSpPr>
        <p:spPr>
          <a:xfrm>
            <a:off x="540657" y="973507"/>
            <a:ext cx="2747025" cy="24000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400" noProof="0">
                <a:solidFill>
                  <a:srgbClr val="150958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Un cambio de escenario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35139E5-44BC-C9BC-96AE-6B3859FAB535}"/>
              </a:ext>
            </a:extLst>
          </p:cNvPr>
          <p:cNvSpPr txBox="1">
            <a:spLocks/>
          </p:cNvSpPr>
          <p:nvPr/>
        </p:nvSpPr>
        <p:spPr>
          <a:xfrm>
            <a:off x="1888532" y="1802490"/>
            <a:ext cx="1163780" cy="18344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lvl1pPr algn="l" defTabSz="91431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spc="-100" baseline="0">
                <a:solidFill>
                  <a:schemeClr val="tx1"/>
                </a:solidFill>
                <a:latin typeface="+mj-lt"/>
                <a:ea typeface="Montserrat" charset="0"/>
                <a:cs typeface="Montserrat" charset="0"/>
              </a:defRPr>
            </a:lvl1pPr>
          </a:lstStyle>
          <a:p>
            <a:pPr algn="ctr" defTabSz="685739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s-ES_tradnl" sz="1400" b="0" spc="0">
                <a:solidFill>
                  <a:srgbClr val="24272A">
                    <a:lumMod val="75000"/>
                    <a:lumOff val="25000"/>
                  </a:srgbClr>
                </a:solidFill>
                <a:latin typeface="Pulso" pitchFamily="2" charset="0"/>
              </a:rPr>
              <a:t>Primera etapa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6C1C6E6-2EE1-703B-E050-38F4C37F5E37}"/>
              </a:ext>
            </a:extLst>
          </p:cNvPr>
          <p:cNvSpPr txBox="1">
            <a:spLocks/>
          </p:cNvSpPr>
          <p:nvPr/>
        </p:nvSpPr>
        <p:spPr>
          <a:xfrm>
            <a:off x="1441230" y="2039807"/>
            <a:ext cx="2058384" cy="183127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lvl1pPr algn="l" defTabSz="91431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spc="-100" baseline="0">
                <a:solidFill>
                  <a:schemeClr val="tx1"/>
                </a:solidFill>
                <a:latin typeface="+mj-lt"/>
                <a:ea typeface="Montserrat" charset="0"/>
                <a:cs typeface="Montserrat" charset="0"/>
              </a:defRPr>
            </a:lvl1pPr>
          </a:lstStyle>
          <a:p>
            <a:pPr algn="ctr" defTabSz="685739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s-ES_tradnl" sz="1400" spc="-38">
                <a:solidFill>
                  <a:schemeClr val="accent1"/>
                </a:solidFill>
                <a:latin typeface="Pulso" pitchFamily="2" charset="0"/>
              </a:rPr>
              <a:t>Crecimiento Sustentab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EACF0D4-A8D6-5544-F0EC-5CC6759F8C06}"/>
              </a:ext>
            </a:extLst>
          </p:cNvPr>
          <p:cNvSpPr txBox="1">
            <a:spLocks/>
          </p:cNvSpPr>
          <p:nvPr/>
        </p:nvSpPr>
        <p:spPr>
          <a:xfrm>
            <a:off x="1315019" y="2369643"/>
            <a:ext cx="2310806" cy="1970732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lvl1pPr algn="l" defTabSz="91431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spc="-100" baseline="0">
                <a:solidFill>
                  <a:schemeClr val="tx1"/>
                </a:solidFill>
                <a:latin typeface="+mj-lt"/>
                <a:ea typeface="Montserrat" charset="0"/>
                <a:cs typeface="Montserrat" charset="0"/>
              </a:defRPr>
            </a:lvl1pPr>
          </a:lstStyle>
          <a:p>
            <a:pPr algn="ctr" defTabSz="685739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s-ES_tradnl" sz="1200" spc="-38">
                <a:solidFill>
                  <a:srgbClr val="24272A"/>
                </a:solidFill>
                <a:latin typeface="Pulso" pitchFamily="2" charset="0"/>
              </a:rPr>
              <a:t>Tenemos que asegurar</a:t>
            </a:r>
          </a:p>
          <a:p>
            <a:pPr algn="ctr" defTabSz="685739" fontAlgn="auto">
              <a:lnSpc>
                <a:spcPct val="85000"/>
              </a:lnSpc>
              <a:spcAft>
                <a:spcPts val="0"/>
              </a:spcAft>
              <a:defRPr/>
            </a:pPr>
            <a:endParaRPr lang="es-ES_tradnl" sz="1100" b="0" spc="-38">
              <a:solidFill>
                <a:srgbClr val="24272A">
                  <a:lumMod val="75000"/>
                  <a:lumOff val="25000"/>
                </a:srgbClr>
              </a:solidFill>
              <a:latin typeface="Pulso" pitchFamily="2" charset="0"/>
            </a:endParaRPr>
          </a:p>
          <a:p>
            <a:pPr algn="ctr" defTabSz="685739" fontAlgn="auto">
              <a:lnSpc>
                <a:spcPct val="85000"/>
              </a:lnSpc>
              <a:spcAft>
                <a:spcPts val="300"/>
              </a:spcAft>
              <a:defRPr/>
            </a:pPr>
            <a:r>
              <a:rPr lang="es-ES_tradnl" sz="1000" b="0" spc="-8">
                <a:solidFill>
                  <a:srgbClr val="24272A"/>
                </a:solidFill>
                <a:latin typeface="Pulso Light" pitchFamily="2" charset="0"/>
                <a:ea typeface="Roboto Light"/>
              </a:rPr>
              <a:t>Crecimiento Sano </a:t>
            </a:r>
            <a:r>
              <a:rPr lang="es-ES_tradnl" sz="1000" b="0" spc="-8">
                <a:solidFill>
                  <a:srgbClr val="24272A"/>
                </a:solidFill>
                <a:latin typeface="Pulso" pitchFamily="2" charset="0"/>
                <a:ea typeface="Roboto Light"/>
              </a:rPr>
              <a:t>Contribución Marginal Positiva ( </a:t>
            </a:r>
            <a:r>
              <a:rPr lang="es-ES_tradnl" sz="1000" b="0" spc="-8" err="1">
                <a:solidFill>
                  <a:srgbClr val="24272A"/>
                </a:solidFill>
                <a:latin typeface="Pulso" pitchFamily="2" charset="0"/>
                <a:ea typeface="Roboto Light"/>
              </a:rPr>
              <a:t>Revenue</a:t>
            </a:r>
            <a:r>
              <a:rPr lang="es-ES_tradnl" sz="1000" b="0" spc="-8">
                <a:solidFill>
                  <a:srgbClr val="24272A"/>
                </a:solidFill>
                <a:latin typeface="Pulso" pitchFamily="2" charset="0"/>
                <a:ea typeface="Roboto Light"/>
              </a:rPr>
              <a:t> &gt;CAC)</a:t>
            </a:r>
          </a:p>
          <a:p>
            <a:pPr algn="ctr" defTabSz="685739" fontAlgn="auto">
              <a:lnSpc>
                <a:spcPct val="85000"/>
              </a:lnSpc>
              <a:spcAft>
                <a:spcPts val="300"/>
              </a:spcAft>
              <a:defRPr/>
            </a:pPr>
            <a:endParaRPr lang="es-ES_tradnl" sz="1000" b="0" spc="-8">
              <a:solidFill>
                <a:srgbClr val="24272A"/>
              </a:solidFill>
              <a:latin typeface="Pulso Light" pitchFamily="2" charset="0"/>
              <a:ea typeface="Roboto Light"/>
            </a:endParaRPr>
          </a:p>
          <a:p>
            <a:pPr algn="ctr" defTabSz="685739" fontAlgn="auto">
              <a:lnSpc>
                <a:spcPct val="85000"/>
              </a:lnSpc>
              <a:spcAft>
                <a:spcPts val="300"/>
              </a:spcAft>
              <a:defRPr/>
            </a:pPr>
            <a:r>
              <a:rPr lang="es-ES_tradnl" sz="1000" b="0" spc="-8">
                <a:solidFill>
                  <a:srgbClr val="24272A"/>
                </a:solidFill>
                <a:latin typeface="Pulso Light" pitchFamily="2" charset="0"/>
                <a:ea typeface="Roboto Light"/>
              </a:rPr>
              <a:t>Reducir el CAC  y el </a:t>
            </a:r>
            <a:r>
              <a:rPr lang="es-ES_tradnl" sz="1000" b="0" spc="-8">
                <a:solidFill>
                  <a:srgbClr val="24272A"/>
                </a:solidFill>
                <a:latin typeface="Pulso" pitchFamily="2" charset="0"/>
                <a:ea typeface="Roboto Light"/>
              </a:rPr>
              <a:t>Crecimiento del negocio de </a:t>
            </a:r>
            <a:r>
              <a:rPr lang="es-ES_tradnl" sz="1000" b="0" spc="-8" err="1">
                <a:solidFill>
                  <a:srgbClr val="24272A"/>
                </a:solidFill>
                <a:latin typeface="Pulso" pitchFamily="2" charset="0"/>
                <a:ea typeface="Roboto Light"/>
              </a:rPr>
              <a:t>Lending</a:t>
            </a:r>
            <a:r>
              <a:rPr lang="es-ES_tradnl" sz="1000" b="0" spc="-8">
                <a:solidFill>
                  <a:srgbClr val="24272A"/>
                </a:solidFill>
                <a:latin typeface="Pulso" pitchFamily="2" charset="0"/>
                <a:ea typeface="Roboto Light"/>
              </a:rPr>
              <a:t> </a:t>
            </a:r>
          </a:p>
          <a:p>
            <a:pPr algn="ctr" defTabSz="685739" fontAlgn="auto">
              <a:lnSpc>
                <a:spcPct val="85000"/>
              </a:lnSpc>
              <a:spcAft>
                <a:spcPts val="300"/>
              </a:spcAft>
              <a:defRPr/>
            </a:pPr>
            <a:endParaRPr lang="es-ES_tradnl" sz="1000" b="0" spc="-8">
              <a:solidFill>
                <a:srgbClr val="24272A"/>
              </a:solidFill>
              <a:latin typeface="Pulso Light" pitchFamily="2" charset="0"/>
              <a:ea typeface="Roboto Light"/>
            </a:endParaRPr>
          </a:p>
          <a:p>
            <a:pPr algn="ctr" defTabSz="685739" fontAlgn="auto">
              <a:lnSpc>
                <a:spcPct val="85000"/>
              </a:lnSpc>
              <a:spcAft>
                <a:spcPts val="300"/>
              </a:spcAft>
              <a:defRPr/>
            </a:pPr>
            <a:r>
              <a:rPr lang="es-ES_tradnl" sz="1000" b="0" spc="-8">
                <a:solidFill>
                  <a:srgbClr val="24272A"/>
                </a:solidFill>
                <a:latin typeface="Pulso Light" pitchFamily="2" charset="0"/>
                <a:ea typeface="Roboto Light"/>
              </a:rPr>
              <a:t>Crecer en la penetración de Clientes </a:t>
            </a:r>
            <a:r>
              <a:rPr lang="es-ES_tradnl" sz="1000" b="0" spc="-8">
                <a:solidFill>
                  <a:srgbClr val="24272A"/>
                </a:solidFill>
                <a:latin typeface="Pulso" pitchFamily="2" charset="0"/>
                <a:ea typeface="Roboto Light"/>
              </a:rPr>
              <a:t>Telecom (+MAU) </a:t>
            </a:r>
            <a:r>
              <a:rPr lang="es-ES_tradnl" sz="1000" b="0" spc="-8">
                <a:solidFill>
                  <a:srgbClr val="24272A"/>
                </a:solidFill>
                <a:latin typeface="Pulso Light" pitchFamily="2" charset="0"/>
                <a:ea typeface="Roboto Light"/>
              </a:rPr>
              <a:t>y Recurrencia</a:t>
            </a:r>
          </a:p>
          <a:p>
            <a:pPr algn="ctr" defTabSz="685739" fontAlgn="auto">
              <a:lnSpc>
                <a:spcPct val="85000"/>
              </a:lnSpc>
              <a:spcAft>
                <a:spcPts val="300"/>
              </a:spcAft>
              <a:defRPr/>
            </a:pPr>
            <a:endParaRPr lang="es-ES_tradnl" sz="1000" b="0" spc="-8">
              <a:solidFill>
                <a:srgbClr val="24272A"/>
              </a:solidFill>
              <a:latin typeface="Pulso Light" pitchFamily="2" charset="0"/>
              <a:ea typeface="Roboto Light"/>
            </a:endParaRPr>
          </a:p>
          <a:p>
            <a:pPr algn="ctr" defTabSz="685739" fontAlgn="auto">
              <a:lnSpc>
                <a:spcPct val="85000"/>
              </a:lnSpc>
              <a:spcAft>
                <a:spcPts val="300"/>
              </a:spcAft>
              <a:defRPr/>
            </a:pPr>
            <a:r>
              <a:rPr lang="es-ES_tradnl" sz="1000" b="0" spc="-8">
                <a:solidFill>
                  <a:srgbClr val="24272A"/>
                </a:solidFill>
                <a:latin typeface="Pulso Light" pitchFamily="2" charset="0"/>
                <a:ea typeface="Roboto Light"/>
              </a:rPr>
              <a:t>Mejorar la </a:t>
            </a:r>
            <a:r>
              <a:rPr lang="es-ES_tradnl" sz="1000" b="0" spc="-8">
                <a:solidFill>
                  <a:srgbClr val="24272A"/>
                </a:solidFill>
                <a:latin typeface="Pulso" pitchFamily="2" charset="0"/>
                <a:ea typeface="Roboto Light"/>
              </a:rPr>
              <a:t>experiencia del usuario </a:t>
            </a:r>
            <a:r>
              <a:rPr lang="es-ES_tradnl" sz="1000" b="0" spc="-8">
                <a:solidFill>
                  <a:srgbClr val="24272A"/>
                </a:solidFill>
                <a:latin typeface="Pulso Light" pitchFamily="2" charset="0"/>
                <a:ea typeface="Roboto Light"/>
              </a:rPr>
              <a:t>y la Propuesta de Valor Ecosistémica</a:t>
            </a:r>
          </a:p>
        </p:txBody>
      </p:sp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id="{92C1C650-F346-FBB7-DD1A-2112DA3DD82D}"/>
              </a:ext>
            </a:extLst>
          </p:cNvPr>
          <p:cNvSpPr/>
          <p:nvPr/>
        </p:nvSpPr>
        <p:spPr>
          <a:xfrm>
            <a:off x="1037461" y="1611796"/>
            <a:ext cx="2865922" cy="2864873"/>
          </a:xfrm>
          <a:prstGeom prst="roundRect">
            <a:avLst>
              <a:gd name="adj" fmla="val 2788"/>
            </a:avLst>
          </a:prstGeom>
          <a:noFill/>
          <a:ln w="25400" cap="rnd" cmpd="sng">
            <a:solidFill>
              <a:srgbClr val="5A50F9"/>
            </a:solidFill>
            <a:prstDash val="sysDot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n-US" sz="105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EEFE2E91-5010-8D18-CC6E-1C5BDFDA8D74}"/>
              </a:ext>
            </a:extLst>
          </p:cNvPr>
          <p:cNvGrpSpPr/>
          <p:nvPr/>
        </p:nvGrpSpPr>
        <p:grpSpPr>
          <a:xfrm>
            <a:off x="2455809" y="3011214"/>
            <a:ext cx="29227" cy="948871"/>
            <a:chOff x="2707125" y="3472911"/>
            <a:chExt cx="29227" cy="948871"/>
          </a:xfrm>
          <a:solidFill>
            <a:srgbClr val="5A50F9"/>
          </a:solidFill>
        </p:grpSpPr>
        <p:sp>
          <p:nvSpPr>
            <p:cNvPr id="17" name="Elipse 16">
              <a:extLst>
                <a:ext uri="{FF2B5EF4-FFF2-40B4-BE49-F238E27FC236}">
                  <a16:creationId xmlns:a16="http://schemas.microsoft.com/office/drawing/2014/main" id="{C628C410-2ADB-53DE-A722-2C2047DE448E}"/>
                </a:ext>
              </a:extLst>
            </p:cNvPr>
            <p:cNvSpPr/>
            <p:nvPr/>
          </p:nvSpPr>
          <p:spPr>
            <a:xfrm>
              <a:off x="2707125" y="3472911"/>
              <a:ext cx="29227" cy="29227"/>
            </a:xfrm>
            <a:prstGeom prst="ellipse">
              <a:avLst/>
            </a:prstGeom>
            <a:grpFill/>
            <a:ln w="3810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670">
                <a:solidFill>
                  <a:schemeClr val="tx1"/>
                </a:solidFill>
                <a:latin typeface="Pulso" pitchFamily="2" charset="0"/>
              </a:endParaRP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6A13F293-BDCA-A231-BAE8-70FFCD2E41BF}"/>
                </a:ext>
              </a:extLst>
            </p:cNvPr>
            <p:cNvSpPr/>
            <p:nvPr/>
          </p:nvSpPr>
          <p:spPr>
            <a:xfrm>
              <a:off x="2707125" y="3934023"/>
              <a:ext cx="29227" cy="29227"/>
            </a:xfrm>
            <a:prstGeom prst="ellipse">
              <a:avLst/>
            </a:prstGeom>
            <a:grpFill/>
            <a:ln w="3810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670">
                <a:solidFill>
                  <a:schemeClr val="tx1"/>
                </a:solidFill>
                <a:latin typeface="Pulso" pitchFamily="2" charset="0"/>
              </a:endParaRPr>
            </a:p>
          </p:txBody>
        </p:sp>
        <p:sp>
          <p:nvSpPr>
            <p:cNvPr id="19" name="Elipse 18">
              <a:extLst>
                <a:ext uri="{FF2B5EF4-FFF2-40B4-BE49-F238E27FC236}">
                  <a16:creationId xmlns:a16="http://schemas.microsoft.com/office/drawing/2014/main" id="{099A8DE9-F2E6-7CFC-9087-B405C1B6FD2D}"/>
                </a:ext>
              </a:extLst>
            </p:cNvPr>
            <p:cNvSpPr/>
            <p:nvPr/>
          </p:nvSpPr>
          <p:spPr>
            <a:xfrm>
              <a:off x="2707125" y="4392555"/>
              <a:ext cx="29227" cy="29227"/>
            </a:xfrm>
            <a:prstGeom prst="ellipse">
              <a:avLst/>
            </a:prstGeom>
            <a:grpFill/>
            <a:ln w="3810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670">
                <a:solidFill>
                  <a:schemeClr val="tx1"/>
                </a:solidFill>
                <a:latin typeface="Pulso" pitchFamily="2" charset="0"/>
              </a:endParaRPr>
            </a:p>
          </p:txBody>
        </p:sp>
      </p:grpSp>
      <p:sp>
        <p:nvSpPr>
          <p:cNvPr id="21" name="Title 1">
            <a:extLst>
              <a:ext uri="{FF2B5EF4-FFF2-40B4-BE49-F238E27FC236}">
                <a16:creationId xmlns:a16="http://schemas.microsoft.com/office/drawing/2014/main" id="{893525D7-EFD3-89E8-FF57-E0F626745D2F}"/>
              </a:ext>
            </a:extLst>
          </p:cNvPr>
          <p:cNvSpPr txBox="1">
            <a:spLocks/>
          </p:cNvSpPr>
          <p:nvPr/>
        </p:nvSpPr>
        <p:spPr>
          <a:xfrm>
            <a:off x="5934012" y="1802490"/>
            <a:ext cx="1261564" cy="18344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lvl1pPr algn="l" defTabSz="91431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spc="-100" baseline="0">
                <a:solidFill>
                  <a:schemeClr val="tx1"/>
                </a:solidFill>
                <a:latin typeface="+mj-lt"/>
                <a:ea typeface="Montserrat" charset="0"/>
                <a:cs typeface="Montserrat" charset="0"/>
              </a:defRPr>
            </a:lvl1pPr>
          </a:lstStyle>
          <a:p>
            <a:pPr algn="ctr" defTabSz="685739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s-ES_tradnl" sz="1400" b="0" spc="0">
                <a:solidFill>
                  <a:srgbClr val="24272A">
                    <a:lumMod val="75000"/>
                    <a:lumOff val="25000"/>
                  </a:srgbClr>
                </a:solidFill>
                <a:latin typeface="Pulso" pitchFamily="2" charset="0"/>
              </a:rPr>
              <a:t>Segunda Etapa</a:t>
            </a:r>
            <a:endParaRPr lang="es-ES_tradnl" sz="1400" b="0" spc="0">
              <a:solidFill>
                <a:srgbClr val="1D46F3"/>
              </a:solidFill>
              <a:latin typeface="Pulso" pitchFamily="2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D09C6D2-9E31-5659-41B4-F2EFE4D910D8}"/>
              </a:ext>
            </a:extLst>
          </p:cNvPr>
          <p:cNvSpPr txBox="1">
            <a:spLocks/>
          </p:cNvSpPr>
          <p:nvPr/>
        </p:nvSpPr>
        <p:spPr>
          <a:xfrm>
            <a:off x="5287319" y="2039807"/>
            <a:ext cx="2554950" cy="183127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lvl1pPr algn="l" defTabSz="91431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spc="-100" baseline="0">
                <a:solidFill>
                  <a:schemeClr val="tx1"/>
                </a:solidFill>
                <a:latin typeface="+mj-lt"/>
                <a:ea typeface="Montserrat" charset="0"/>
                <a:cs typeface="Montserrat" charset="0"/>
              </a:defRPr>
            </a:lvl1pPr>
          </a:lstStyle>
          <a:p>
            <a:pPr algn="ctr" defTabSz="685739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s-ES_tradnl" sz="1400" spc="-38">
                <a:solidFill>
                  <a:schemeClr val="accent1"/>
                </a:solidFill>
                <a:latin typeface="Pulso" pitchFamily="2" charset="0"/>
              </a:rPr>
              <a:t>Intermediación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FFEB2066-6A38-9F9F-3B36-75EEBD3EF133}"/>
              </a:ext>
            </a:extLst>
          </p:cNvPr>
          <p:cNvSpPr txBox="1">
            <a:spLocks/>
          </p:cNvSpPr>
          <p:nvPr/>
        </p:nvSpPr>
        <p:spPr>
          <a:xfrm>
            <a:off x="5330082" y="2369643"/>
            <a:ext cx="2469424" cy="1819344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lvl1pPr algn="l" defTabSz="91431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spc="-100" baseline="0">
                <a:solidFill>
                  <a:schemeClr val="tx1"/>
                </a:solidFill>
                <a:latin typeface="+mj-lt"/>
                <a:ea typeface="Montserrat" charset="0"/>
                <a:cs typeface="Montserrat" charset="0"/>
              </a:defRPr>
            </a:lvl1pPr>
          </a:lstStyle>
          <a:p>
            <a:pPr algn="ctr" defTabSz="685739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s-ES_tradnl" sz="1200" spc="-38">
                <a:solidFill>
                  <a:srgbClr val="24272A"/>
                </a:solidFill>
                <a:latin typeface="Pulso" pitchFamily="2" charset="0"/>
              </a:rPr>
              <a:t>Para después buscar</a:t>
            </a:r>
          </a:p>
          <a:p>
            <a:pPr algn="ctr" defTabSz="685739" fontAlgn="auto">
              <a:lnSpc>
                <a:spcPct val="85000"/>
              </a:lnSpc>
              <a:spcAft>
                <a:spcPts val="0"/>
              </a:spcAft>
              <a:defRPr/>
            </a:pPr>
            <a:endParaRPr lang="es-ES_tradnl" sz="1200" b="0" spc="-38">
              <a:solidFill>
                <a:srgbClr val="24272A">
                  <a:lumMod val="75000"/>
                  <a:lumOff val="25000"/>
                </a:srgbClr>
              </a:solidFill>
              <a:latin typeface="Pulso" pitchFamily="2" charset="0"/>
            </a:endParaRPr>
          </a:p>
          <a:p>
            <a:pPr algn="ctr">
              <a:lnSpc>
                <a:spcPct val="85000"/>
              </a:lnSpc>
              <a:spcAft>
                <a:spcPts val="300"/>
              </a:spcAft>
              <a:defRPr/>
            </a:pPr>
            <a:r>
              <a:rPr lang="es-ES" sz="1000" b="0" spc="-8" err="1">
                <a:solidFill>
                  <a:srgbClr val="24272A"/>
                </a:solidFill>
                <a:latin typeface="Pulso Light" pitchFamily="2" charset="0"/>
                <a:ea typeface="Roboto Light"/>
              </a:rPr>
              <a:t>Maxiimizar</a:t>
            </a:r>
            <a:r>
              <a:rPr lang="es-ES" sz="1000" b="0" spc="-8">
                <a:solidFill>
                  <a:srgbClr val="24272A"/>
                </a:solidFill>
                <a:latin typeface="Pulso Light" pitchFamily="2" charset="0"/>
                <a:ea typeface="Roboto Light"/>
              </a:rPr>
              <a:t> líneas de </a:t>
            </a:r>
            <a:r>
              <a:rPr lang="es-ES" sz="1000" b="0" spc="-8" err="1">
                <a:solidFill>
                  <a:srgbClr val="24272A"/>
                </a:solidFill>
                <a:latin typeface="Pulso Light" pitchFamily="2" charset="0"/>
                <a:ea typeface="Roboto Light"/>
              </a:rPr>
              <a:t>Revenue</a:t>
            </a:r>
            <a:r>
              <a:rPr lang="es-ES" sz="1000" b="0" spc="-8">
                <a:solidFill>
                  <a:srgbClr val="24272A"/>
                </a:solidFill>
                <a:latin typeface="Pulso Light" pitchFamily="2" charset="0"/>
                <a:ea typeface="Roboto Light"/>
              </a:rPr>
              <a:t> y mejora de Eficiencia</a:t>
            </a:r>
            <a:endParaRPr lang="es-ES_tradnl" sz="1000" b="0" spc="-8">
              <a:solidFill>
                <a:srgbClr val="24272A"/>
              </a:solidFill>
              <a:latin typeface="Pulso Light" pitchFamily="2" charset="0"/>
              <a:ea typeface="Roboto Light"/>
            </a:endParaRPr>
          </a:p>
          <a:p>
            <a:pPr algn="ctr">
              <a:lnSpc>
                <a:spcPct val="85000"/>
              </a:lnSpc>
              <a:spcAft>
                <a:spcPts val="300"/>
              </a:spcAft>
              <a:defRPr/>
            </a:pPr>
            <a:endParaRPr lang="es-ES_tradnl" sz="1000" b="0" spc="-8">
              <a:solidFill>
                <a:srgbClr val="24272A"/>
              </a:solidFill>
              <a:latin typeface="Pulso Light" pitchFamily="2" charset="0"/>
              <a:ea typeface="Roboto Light"/>
            </a:endParaRPr>
          </a:p>
          <a:p>
            <a:pPr algn="ctr">
              <a:lnSpc>
                <a:spcPct val="85000"/>
              </a:lnSpc>
              <a:spcAft>
                <a:spcPts val="300"/>
              </a:spcAft>
              <a:defRPr/>
            </a:pPr>
            <a:r>
              <a:rPr lang="es-ES" sz="1000" b="0" spc="-8" err="1">
                <a:solidFill>
                  <a:srgbClr val="24272A"/>
                </a:solidFill>
                <a:latin typeface="Pulso Light" pitchFamily="2" charset="0"/>
                <a:ea typeface="Roboto Light"/>
              </a:rPr>
              <a:t>Evolucion</a:t>
            </a:r>
            <a:r>
              <a:rPr lang="es-ES" sz="1000" b="0" spc="-8">
                <a:solidFill>
                  <a:srgbClr val="24272A"/>
                </a:solidFill>
                <a:latin typeface="Pulso Light" pitchFamily="2" charset="0"/>
                <a:ea typeface="Roboto Light"/>
              </a:rPr>
              <a:t> de la Propuesta de Valor</a:t>
            </a:r>
          </a:p>
          <a:p>
            <a:pPr algn="ctr">
              <a:lnSpc>
                <a:spcPct val="85000"/>
              </a:lnSpc>
              <a:spcAft>
                <a:spcPts val="300"/>
              </a:spcAft>
              <a:defRPr/>
            </a:pPr>
            <a:r>
              <a:rPr lang="es-ES" sz="1000" b="0" spc="-8">
                <a:solidFill>
                  <a:srgbClr val="24272A"/>
                </a:solidFill>
                <a:latin typeface="Pulso Light" pitchFamily="2" charset="0"/>
                <a:ea typeface="Roboto Light"/>
              </a:rPr>
              <a:t>(Nuevos Productos Financieros)</a:t>
            </a:r>
            <a:endParaRPr lang="es-ES_tradnl" sz="1000" b="0" spc="-8">
              <a:solidFill>
                <a:srgbClr val="24272A"/>
              </a:solidFill>
              <a:latin typeface="Pulso Light" pitchFamily="2" charset="0"/>
              <a:ea typeface="Roboto Light"/>
            </a:endParaRPr>
          </a:p>
          <a:p>
            <a:pPr algn="ctr">
              <a:lnSpc>
                <a:spcPct val="85000"/>
              </a:lnSpc>
              <a:spcAft>
                <a:spcPts val="300"/>
              </a:spcAft>
              <a:defRPr/>
            </a:pPr>
            <a:endParaRPr lang="es-ES_tradnl" sz="1000" b="0" spc="-8">
              <a:solidFill>
                <a:srgbClr val="24272A"/>
              </a:solidFill>
              <a:latin typeface="Pulso Light" pitchFamily="2" charset="0"/>
              <a:ea typeface="Roboto Light"/>
            </a:endParaRPr>
          </a:p>
          <a:p>
            <a:pPr algn="ctr">
              <a:lnSpc>
                <a:spcPct val="85000"/>
              </a:lnSpc>
              <a:spcAft>
                <a:spcPts val="300"/>
              </a:spcAft>
              <a:defRPr/>
            </a:pPr>
            <a:r>
              <a:rPr lang="es-ES_tradnl" sz="1000" b="0" spc="-8">
                <a:solidFill>
                  <a:srgbClr val="24272A"/>
                </a:solidFill>
                <a:latin typeface="Pulso Light" pitchFamily="2" charset="0"/>
                <a:ea typeface="Roboto Light"/>
              </a:rPr>
              <a:t>Crecer en </a:t>
            </a:r>
            <a:r>
              <a:rPr lang="es-ES_tradnl" sz="1000" b="0" spc="-8">
                <a:solidFill>
                  <a:srgbClr val="24272A"/>
                </a:solidFill>
                <a:latin typeface="Pulso" pitchFamily="2" charset="0"/>
                <a:ea typeface="Roboto Light"/>
              </a:rPr>
              <a:t>nuevas verticales de Negocios</a:t>
            </a:r>
          </a:p>
          <a:p>
            <a:pPr algn="ctr">
              <a:lnSpc>
                <a:spcPct val="85000"/>
              </a:lnSpc>
              <a:spcAft>
                <a:spcPts val="300"/>
              </a:spcAft>
              <a:defRPr/>
            </a:pPr>
            <a:endParaRPr lang="es-ES_tradnl" sz="1000" b="0" spc="-8">
              <a:solidFill>
                <a:srgbClr val="24272A"/>
              </a:solidFill>
              <a:latin typeface="Pulso Light" pitchFamily="2" charset="0"/>
              <a:ea typeface="Roboto Light"/>
            </a:endParaRPr>
          </a:p>
          <a:p>
            <a:pPr algn="ctr">
              <a:lnSpc>
                <a:spcPct val="85000"/>
              </a:lnSpc>
              <a:spcAft>
                <a:spcPts val="300"/>
              </a:spcAft>
              <a:defRPr/>
            </a:pPr>
            <a:r>
              <a:rPr lang="es-ES" sz="1000" b="0" spc="-8">
                <a:solidFill>
                  <a:srgbClr val="24272A"/>
                </a:solidFill>
                <a:latin typeface="Pulso Light" pitchFamily="2" charset="0"/>
                <a:ea typeface="Roboto Light"/>
              </a:rPr>
              <a:t>Capturar nuevos segmentos de Clientes</a:t>
            </a:r>
            <a:endParaRPr lang="es-ES_tradnl" sz="1000" b="0" spc="-8">
              <a:solidFill>
                <a:srgbClr val="24272A"/>
              </a:solidFill>
              <a:latin typeface="Pulso Light" pitchFamily="2" charset="0"/>
              <a:ea typeface="Roboto Light"/>
            </a:endParaRPr>
          </a:p>
        </p:txBody>
      </p:sp>
      <p:sp>
        <p:nvSpPr>
          <p:cNvPr id="24" name="Rectángulo redondeado 23">
            <a:extLst>
              <a:ext uri="{FF2B5EF4-FFF2-40B4-BE49-F238E27FC236}">
                <a16:creationId xmlns:a16="http://schemas.microsoft.com/office/drawing/2014/main" id="{0621D677-E177-E04C-8CC0-235A7396C5D7}"/>
              </a:ext>
            </a:extLst>
          </p:cNvPr>
          <p:cNvSpPr/>
          <p:nvPr/>
        </p:nvSpPr>
        <p:spPr>
          <a:xfrm>
            <a:off x="5131833" y="1611796"/>
            <a:ext cx="2865922" cy="2911069"/>
          </a:xfrm>
          <a:prstGeom prst="roundRect">
            <a:avLst>
              <a:gd name="adj" fmla="val 2788"/>
            </a:avLst>
          </a:prstGeom>
          <a:noFill/>
          <a:ln w="25400" cap="rnd" cmpd="sng">
            <a:solidFill>
              <a:srgbClr val="5A50F9"/>
            </a:solidFill>
            <a:prstDash val="sysDot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n-US" sz="1050" b="1">
              <a:solidFill>
                <a:schemeClr val="tx1"/>
              </a:solidFill>
              <a:latin typeface="Pulso" pitchFamily="2" charset="0"/>
            </a:endParaRPr>
          </a:p>
        </p:txBody>
      </p:sp>
      <p:pic>
        <p:nvPicPr>
          <p:cNvPr id="32" name="Imagen 30" descr="Imagen que contiene objeto, papel, tabla, frente&#10;&#10;El contenido generado por IA puede ser incorrecto.">
            <a:extLst>
              <a:ext uri="{FF2B5EF4-FFF2-40B4-BE49-F238E27FC236}">
                <a16:creationId xmlns:a16="http://schemas.microsoft.com/office/drawing/2014/main" id="{7BFA0762-4EA2-71C6-2900-667D9B929C4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3450127" y="1160543"/>
            <a:ext cx="899998" cy="900000"/>
          </a:xfrm>
          <a:prstGeom prst="ellipse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D84E0518-D1A3-8D06-C199-762E656CA0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7755" y="1159783"/>
            <a:ext cx="900000" cy="900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Elipse 2">
            <a:extLst>
              <a:ext uri="{FF2B5EF4-FFF2-40B4-BE49-F238E27FC236}">
                <a16:creationId xmlns:a16="http://schemas.microsoft.com/office/drawing/2014/main" id="{7D47230B-3EAA-F6CB-9C45-21B3B940D447}"/>
              </a:ext>
            </a:extLst>
          </p:cNvPr>
          <p:cNvSpPr/>
          <p:nvPr/>
        </p:nvSpPr>
        <p:spPr>
          <a:xfrm>
            <a:off x="6550181" y="3026204"/>
            <a:ext cx="29227" cy="29227"/>
          </a:xfrm>
          <a:prstGeom prst="ellipse">
            <a:avLst/>
          </a:prstGeom>
          <a:solidFill>
            <a:srgbClr val="5A50F9"/>
          </a:solidFill>
          <a:ln w="3810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670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B1EA8111-98C0-6E7E-D551-C0797CD26A56}"/>
              </a:ext>
            </a:extLst>
          </p:cNvPr>
          <p:cNvSpPr/>
          <p:nvPr/>
        </p:nvSpPr>
        <p:spPr>
          <a:xfrm>
            <a:off x="6550181" y="3539781"/>
            <a:ext cx="29227" cy="29227"/>
          </a:xfrm>
          <a:prstGeom prst="ellipse">
            <a:avLst/>
          </a:prstGeom>
          <a:solidFill>
            <a:srgbClr val="5A50F9"/>
          </a:solidFill>
          <a:ln w="3810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670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5AE94276-FF32-FD99-5E59-9F17F778CA62}"/>
              </a:ext>
            </a:extLst>
          </p:cNvPr>
          <p:cNvSpPr/>
          <p:nvPr/>
        </p:nvSpPr>
        <p:spPr>
          <a:xfrm>
            <a:off x="6550181" y="3878393"/>
            <a:ext cx="29227" cy="29227"/>
          </a:xfrm>
          <a:prstGeom prst="ellipse">
            <a:avLst/>
          </a:prstGeom>
          <a:solidFill>
            <a:srgbClr val="5A50F9"/>
          </a:solidFill>
          <a:ln w="3810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670">
              <a:solidFill>
                <a:schemeClr val="tx1"/>
              </a:solidFill>
              <a:latin typeface="Puls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2788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0A5216-0E47-CEEE-E739-864CFF1392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B0C470D5-F594-A701-B891-2BF6C3E8962D}"/>
              </a:ext>
            </a:extLst>
          </p:cNvPr>
          <p:cNvSpPr txBox="1">
            <a:spLocks/>
          </p:cNvSpPr>
          <p:nvPr/>
        </p:nvSpPr>
        <p:spPr>
          <a:xfrm>
            <a:off x="540657" y="540426"/>
            <a:ext cx="6639318" cy="360933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ts val="3200"/>
              </a:lnSpc>
              <a:spcAft>
                <a:spcPts val="0"/>
              </a:spcAft>
              <a:buNone/>
              <a:defRPr sz="2800" b="0" i="0" spc="-70" baseline="0">
                <a:solidFill>
                  <a:schemeClr val="tx2"/>
                </a:solidFill>
                <a:latin typeface="Pulso Light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200">
                <a:solidFill>
                  <a:srgbClr val="5A50F9"/>
                </a:solidFill>
              </a:rPr>
              <a:t>Nuestros principales ejes estratégicos en el Ecosistema  </a:t>
            </a:r>
          </a:p>
        </p:txBody>
      </p:sp>
      <p:sp>
        <p:nvSpPr>
          <p:cNvPr id="6" name="Marcador de texto 8">
            <a:extLst>
              <a:ext uri="{FF2B5EF4-FFF2-40B4-BE49-F238E27FC236}">
                <a16:creationId xmlns:a16="http://schemas.microsoft.com/office/drawing/2014/main" id="{D4D0D07B-86E0-F7BB-7B21-24C2ABA5AB60}"/>
              </a:ext>
            </a:extLst>
          </p:cNvPr>
          <p:cNvSpPr txBox="1">
            <a:spLocks/>
          </p:cNvSpPr>
          <p:nvPr/>
        </p:nvSpPr>
        <p:spPr>
          <a:xfrm>
            <a:off x="540657" y="948601"/>
            <a:ext cx="4108497" cy="205697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200" noProof="0">
                <a:solidFill>
                  <a:srgbClr val="150958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Buscamos Maximizar el valor del Cliente en el ecosistema</a:t>
            </a:r>
          </a:p>
        </p:txBody>
      </p:sp>
      <p:sp>
        <p:nvSpPr>
          <p:cNvPr id="3" name="Flecha: pentágono 36">
            <a:extLst>
              <a:ext uri="{FF2B5EF4-FFF2-40B4-BE49-F238E27FC236}">
                <a16:creationId xmlns:a16="http://schemas.microsoft.com/office/drawing/2014/main" id="{3E846C2C-1650-BFC9-DBA7-C357EDB21DE0}"/>
              </a:ext>
            </a:extLst>
          </p:cNvPr>
          <p:cNvSpPr/>
          <p:nvPr/>
        </p:nvSpPr>
        <p:spPr>
          <a:xfrm>
            <a:off x="540657" y="1440365"/>
            <a:ext cx="2752168" cy="3042069"/>
          </a:xfrm>
          <a:prstGeom prst="homePlate">
            <a:avLst>
              <a:gd name="adj" fmla="val 8962"/>
            </a:avLst>
          </a:prstGeom>
          <a:solidFill>
            <a:srgbClr val="FFFFFF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2A0C6404-D378-0748-149F-22D4D94D29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2311" y="2362536"/>
            <a:ext cx="2359484" cy="1977875"/>
          </a:xfrm>
          <a:prstGeom prst="rect">
            <a:avLst/>
          </a:prstGeom>
        </p:spPr>
      </p:pic>
      <p:sp>
        <p:nvSpPr>
          <p:cNvPr id="7" name="Marcador de texto 8">
            <a:extLst>
              <a:ext uri="{FF2B5EF4-FFF2-40B4-BE49-F238E27FC236}">
                <a16:creationId xmlns:a16="http://schemas.microsoft.com/office/drawing/2014/main" id="{E099881E-A6FE-ACAA-C13D-4300557442D9}"/>
              </a:ext>
            </a:extLst>
          </p:cNvPr>
          <p:cNvSpPr txBox="1">
            <a:spLocks/>
          </p:cNvSpPr>
          <p:nvPr/>
        </p:nvSpPr>
        <p:spPr>
          <a:xfrm>
            <a:off x="702310" y="1602119"/>
            <a:ext cx="1830969" cy="67710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>
                <a:solidFill>
                  <a:srgbClr val="150958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n un contexto de agresividad competitiva, desactivamos promociones que generaban CAC.</a:t>
            </a:r>
          </a:p>
        </p:txBody>
      </p:sp>
      <p:grpSp>
        <p:nvGrpSpPr>
          <p:cNvPr id="110" name="Grupo 109">
            <a:extLst>
              <a:ext uri="{FF2B5EF4-FFF2-40B4-BE49-F238E27FC236}">
                <a16:creationId xmlns:a16="http://schemas.microsoft.com/office/drawing/2014/main" id="{AD801028-2AD0-5A65-C3B5-6018C916BDAD}"/>
              </a:ext>
            </a:extLst>
          </p:cNvPr>
          <p:cNvGrpSpPr/>
          <p:nvPr/>
        </p:nvGrpSpPr>
        <p:grpSpPr>
          <a:xfrm>
            <a:off x="3292825" y="1590095"/>
            <a:ext cx="5432215" cy="2750316"/>
            <a:chOff x="2762012" y="1703469"/>
            <a:chExt cx="5432215" cy="2750316"/>
          </a:xfrm>
        </p:grpSpPr>
        <p:sp>
          <p:nvSpPr>
            <p:cNvPr id="78" name="Elipse 77">
              <a:extLst>
                <a:ext uri="{FF2B5EF4-FFF2-40B4-BE49-F238E27FC236}">
                  <a16:creationId xmlns:a16="http://schemas.microsoft.com/office/drawing/2014/main" id="{670979BF-F644-2D17-28E9-31A0EC06901C}"/>
                </a:ext>
              </a:extLst>
            </p:cNvPr>
            <p:cNvSpPr/>
            <p:nvPr/>
          </p:nvSpPr>
          <p:spPr>
            <a:xfrm>
              <a:off x="4537432" y="2012312"/>
              <a:ext cx="2016000" cy="2016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dist="12700" dir="5400000" algn="ctr" rotWithShape="0">
                <a:prstClr val="black">
                  <a:alpha val="15000"/>
                </a:prstClr>
              </a:outerShdw>
            </a:effectLst>
          </p:spPr>
          <p:txBody>
            <a:bodyPr wrap="square" lIns="0" tIns="0" rIns="0" bIns="0" rtlCol="0" anchor="t">
              <a:noAutofit/>
            </a:bodyPr>
            <a:lstStyle/>
            <a:p>
              <a:pPr algn="ctr" defTabSz="685800" fontAlgn="auto">
                <a:spcBef>
                  <a:spcPts val="683"/>
                </a:spcBef>
                <a:spcAft>
                  <a:spcPts val="0"/>
                </a:spcAft>
                <a:defRPr/>
              </a:pPr>
              <a:endParaRPr lang="es-AR" sz="800" b="1" kern="0">
                <a:solidFill>
                  <a:prstClr val="black"/>
                </a:solidFill>
                <a:latin typeface="Pulso" pitchFamily="2" charset="0"/>
                <a:cs typeface="+mn-cs"/>
              </a:endParaRPr>
            </a:p>
          </p:txBody>
        </p:sp>
        <p:sp>
          <p:nvSpPr>
            <p:cNvPr id="84" name="Marcador de texto 8">
              <a:extLst>
                <a:ext uri="{FF2B5EF4-FFF2-40B4-BE49-F238E27FC236}">
                  <a16:creationId xmlns:a16="http://schemas.microsoft.com/office/drawing/2014/main" id="{F7FCD85B-C993-B983-545C-34338F69F608}"/>
                </a:ext>
              </a:extLst>
            </p:cNvPr>
            <p:cNvSpPr txBox="1">
              <a:spLocks/>
            </p:cNvSpPr>
            <p:nvPr/>
          </p:nvSpPr>
          <p:spPr>
            <a:xfrm>
              <a:off x="6492425" y="3799760"/>
              <a:ext cx="1665855" cy="654025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685800" fontAlgn="auto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None/>
                <a:defRPr/>
              </a:pPr>
              <a:r>
                <a:rPr lang="es-ES" sz="800" b="1">
                  <a:solidFill>
                    <a:srgbClr val="5950F7"/>
                  </a:solidFill>
                  <a:latin typeface="Pulso" pitchFamily="2" charset="0"/>
                </a:rPr>
                <a:t>POSICIONAMIENTO</a:t>
              </a:r>
              <a:endParaRPr lang="es-AR" sz="800" b="1">
                <a:solidFill>
                  <a:srgbClr val="5950F7"/>
                </a:solidFill>
                <a:latin typeface="Pulso" pitchFamily="2" charset="0"/>
              </a:endParaRPr>
            </a:p>
            <a:p>
              <a:pPr marL="0" indent="0" defTabSz="685800" fontAlgn="auto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None/>
                <a:defRPr/>
              </a:pPr>
              <a:r>
                <a:rPr lang="es-AR" sz="800">
                  <a:solidFill>
                    <a:srgbClr val="24272A"/>
                  </a:solidFill>
                  <a:latin typeface="Pulso Light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De la billetera DE USO DIARIO a la billetera DE LOS CLIENTES TELECOM </a:t>
              </a:r>
              <a:r>
                <a:rPr lang="es-AR" sz="800">
                  <a:solidFill>
                    <a:prstClr val="black">
                      <a:lumMod val="75000"/>
                      <a:lumOff val="25000"/>
                    </a:prstClr>
                  </a:solidFill>
                  <a:latin typeface="Pulso Light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Si </a:t>
              </a:r>
              <a:r>
                <a:rPr lang="es-AR" sz="800">
                  <a:solidFill>
                    <a:prstClr val="black">
                      <a:lumMod val="75000"/>
                      <a:lumOff val="25000"/>
                    </a:prstClr>
                  </a:solidFill>
                  <a:latin typeface="Pulso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soy cliente Personal, me conviene tener Pay.</a:t>
              </a:r>
            </a:p>
          </p:txBody>
        </p:sp>
        <p:sp>
          <p:nvSpPr>
            <p:cNvPr id="86" name="Marcador de texto 8">
              <a:extLst>
                <a:ext uri="{FF2B5EF4-FFF2-40B4-BE49-F238E27FC236}">
                  <a16:creationId xmlns:a16="http://schemas.microsoft.com/office/drawing/2014/main" id="{BDA6FDD0-BB1E-281E-40A3-773B7866B37F}"/>
                </a:ext>
              </a:extLst>
            </p:cNvPr>
            <p:cNvSpPr txBox="1">
              <a:spLocks/>
            </p:cNvSpPr>
            <p:nvPr/>
          </p:nvSpPr>
          <p:spPr>
            <a:xfrm>
              <a:off x="2823627" y="3819117"/>
              <a:ext cx="1710713" cy="407804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 defTabSz="685800" fontAlgn="auto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None/>
                <a:defRPr/>
              </a:pPr>
              <a:r>
                <a:rPr lang="es-AR" sz="800" b="1">
                  <a:solidFill>
                    <a:srgbClr val="5950F7"/>
                  </a:solidFill>
                  <a:latin typeface="Pulso" pitchFamily="2" charset="0"/>
                </a:rPr>
                <a:t>SEGMENTOS / PROTO USUARIOS</a:t>
              </a:r>
            </a:p>
            <a:p>
              <a:pPr marL="0" indent="0" algn="r" defTabSz="685800" fontAlgn="auto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None/>
                <a:defRPr/>
              </a:pPr>
              <a:r>
                <a:rPr lang="es-AR" sz="800">
                  <a:solidFill>
                    <a:prstClr val="black">
                      <a:lumMod val="75000"/>
                      <a:lumOff val="25000"/>
                    </a:prstClr>
                  </a:solidFill>
                  <a:latin typeface="Pulso Light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Cliente ecosistema: </a:t>
              </a:r>
              <a:r>
                <a:rPr lang="es-AR" sz="800">
                  <a:solidFill>
                    <a:prstClr val="black">
                      <a:lumMod val="75000"/>
                      <a:lumOff val="25000"/>
                    </a:prstClr>
                  </a:solidFill>
                  <a:latin typeface="Pulso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buscando ROI por tipo de cliente</a:t>
              </a:r>
            </a:p>
          </p:txBody>
        </p:sp>
        <p:sp>
          <p:nvSpPr>
            <p:cNvPr id="88" name="Marcador de texto 8">
              <a:extLst>
                <a:ext uri="{FF2B5EF4-FFF2-40B4-BE49-F238E27FC236}">
                  <a16:creationId xmlns:a16="http://schemas.microsoft.com/office/drawing/2014/main" id="{07D759AC-ED59-2859-E056-E26CCAEC939D}"/>
                </a:ext>
              </a:extLst>
            </p:cNvPr>
            <p:cNvSpPr txBox="1">
              <a:spLocks/>
            </p:cNvSpPr>
            <p:nvPr/>
          </p:nvSpPr>
          <p:spPr>
            <a:xfrm>
              <a:off x="2762012" y="1981923"/>
              <a:ext cx="1748536" cy="654025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 defTabSz="685800" fontAlgn="auto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None/>
                <a:defRPr/>
              </a:pPr>
              <a:r>
                <a:rPr lang="es-ES" sz="800" b="1">
                  <a:solidFill>
                    <a:srgbClr val="5950F7"/>
                  </a:solidFill>
                  <a:latin typeface="Pulso" pitchFamily="2" charset="0"/>
                </a:rPr>
                <a:t>ADQUISICIÓN Y RETENCIÓN</a:t>
              </a:r>
              <a:endParaRPr lang="es-AR" sz="800" b="1">
                <a:solidFill>
                  <a:srgbClr val="5950F7"/>
                </a:solidFill>
                <a:latin typeface="Pulso" pitchFamily="2" charset="0"/>
              </a:endParaRPr>
            </a:p>
            <a:p>
              <a:pPr marL="0" indent="0" algn="r" defTabSz="685800" fontAlgn="auto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None/>
                <a:defRPr/>
              </a:pPr>
              <a:r>
                <a:rPr lang="es-AR" sz="800">
                  <a:solidFill>
                    <a:prstClr val="black">
                      <a:lumMod val="75000"/>
                      <a:lumOff val="25000"/>
                    </a:prstClr>
                  </a:solidFill>
                  <a:latin typeface="Pulso" pitchFamily="2" charset="0"/>
                  <a:ea typeface="Roboto"/>
                  <a:cs typeface="Roboto"/>
                </a:rPr>
                <a:t>Beneficios y propuesta ecosistémica</a:t>
              </a:r>
              <a:br>
                <a:rPr lang="es-AR" sz="800">
                  <a:solidFill>
                    <a:prstClr val="black">
                      <a:lumMod val="75000"/>
                      <a:lumOff val="25000"/>
                    </a:prstClr>
                  </a:solidFill>
                  <a:latin typeface="Pulso" pitchFamily="2" charset="0"/>
                  <a:ea typeface="Roboto"/>
                  <a:cs typeface="Roboto"/>
                </a:rPr>
              </a:br>
              <a:r>
                <a:rPr lang="es-AR" sz="800">
                  <a:solidFill>
                    <a:prstClr val="black">
                      <a:lumMod val="75000"/>
                      <a:lumOff val="25000"/>
                    </a:prstClr>
                  </a:solidFill>
                  <a:latin typeface="Pulso Light" pitchFamily="2" charset="0"/>
                  <a:ea typeface="Roboto"/>
                  <a:cs typeface="Roboto"/>
                </a:rPr>
                <a:t>+ Productos que respondan a sus necesidades. + Alianzas gratuitas + Experiencia y performance </a:t>
              </a:r>
            </a:p>
          </p:txBody>
        </p:sp>
        <p:sp>
          <p:nvSpPr>
            <p:cNvPr id="89" name="Marcador de texto 8">
              <a:extLst>
                <a:ext uri="{FF2B5EF4-FFF2-40B4-BE49-F238E27FC236}">
                  <a16:creationId xmlns:a16="http://schemas.microsoft.com/office/drawing/2014/main" id="{8EFBDBD3-207C-4714-09F3-845048A8801B}"/>
                </a:ext>
              </a:extLst>
            </p:cNvPr>
            <p:cNvSpPr txBox="1">
              <a:spLocks/>
            </p:cNvSpPr>
            <p:nvPr/>
          </p:nvSpPr>
          <p:spPr>
            <a:xfrm>
              <a:off x="2774823" y="2942891"/>
              <a:ext cx="1542701" cy="654025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 defTabSz="685800" fontAlgn="auto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None/>
                <a:defRPr/>
              </a:pPr>
              <a:r>
                <a:rPr lang="es-ES" sz="800" b="1">
                  <a:solidFill>
                    <a:srgbClr val="5950F7"/>
                  </a:solidFill>
                  <a:latin typeface="Pulso" pitchFamily="2" charset="0"/>
                </a:rPr>
                <a:t>CAPTURA Y CRECIMIENTO</a:t>
              </a:r>
              <a:endParaRPr lang="es-AR" sz="800" b="1">
                <a:solidFill>
                  <a:srgbClr val="5950F7"/>
                </a:solidFill>
                <a:latin typeface="Pulso" pitchFamily="2" charset="0"/>
              </a:endParaRPr>
            </a:p>
            <a:p>
              <a:pPr marL="0" indent="0" algn="r" defTabSz="685800" fontAlgn="auto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None/>
                <a:defRPr/>
              </a:pPr>
              <a:r>
                <a:rPr lang="es-AR" sz="800">
                  <a:solidFill>
                    <a:prstClr val="black">
                      <a:lumMod val="75000"/>
                      <a:lumOff val="25000"/>
                    </a:prstClr>
                  </a:solidFill>
                  <a:latin typeface="Pulso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Crecimiento exponencial en clientes ecosistema. </a:t>
              </a:r>
              <a:r>
                <a:rPr lang="es-AR" sz="800">
                  <a:solidFill>
                    <a:prstClr val="black">
                      <a:lumMod val="75000"/>
                      <a:lumOff val="25000"/>
                    </a:prstClr>
                  </a:solidFill>
                  <a:latin typeface="Pulso Light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El Cliente nace en el ECOSISTEMA y se </a:t>
              </a:r>
              <a:r>
                <a:rPr lang="es-AR" sz="80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Pulso Light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crossellea</a:t>
              </a:r>
              <a:r>
                <a:rPr lang="es-AR" sz="800">
                  <a:solidFill>
                    <a:prstClr val="black">
                      <a:lumMod val="75000"/>
                      <a:lumOff val="25000"/>
                    </a:prstClr>
                  </a:solidFill>
                  <a:latin typeface="Pulso Light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a Pay </a:t>
              </a:r>
              <a:r>
                <a:rPr lang="es-AR" sz="700">
                  <a:solidFill>
                    <a:prstClr val="black">
                      <a:lumMod val="75000"/>
                      <a:lumOff val="25000"/>
                    </a:prstClr>
                  </a:solidFill>
                  <a:latin typeface="Pulso Light" pitchFamily="2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90" name="Marcador de texto 8">
              <a:extLst>
                <a:ext uri="{FF2B5EF4-FFF2-40B4-BE49-F238E27FC236}">
                  <a16:creationId xmlns:a16="http://schemas.microsoft.com/office/drawing/2014/main" id="{9185FA4A-CCE3-93A4-9605-14462C3D1FFF}"/>
                </a:ext>
              </a:extLst>
            </p:cNvPr>
            <p:cNvSpPr txBox="1">
              <a:spLocks/>
            </p:cNvSpPr>
            <p:nvPr/>
          </p:nvSpPr>
          <p:spPr>
            <a:xfrm>
              <a:off x="6776896" y="2979059"/>
              <a:ext cx="1417331" cy="530915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685800" fontAlgn="auto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None/>
                <a:defRPr/>
              </a:pPr>
              <a:r>
                <a:rPr lang="es-ES" sz="800" b="1">
                  <a:solidFill>
                    <a:srgbClr val="5950F7"/>
                  </a:solidFill>
                  <a:latin typeface="Pulso" pitchFamily="2" charset="0"/>
                </a:rPr>
                <a:t>MONETIZACION: EBITDA</a:t>
              </a:r>
              <a:endParaRPr lang="es-AR" sz="800" b="1">
                <a:solidFill>
                  <a:srgbClr val="5950F7"/>
                </a:solidFill>
                <a:latin typeface="Pulso" pitchFamily="2" charset="0"/>
              </a:endParaRPr>
            </a:p>
            <a:p>
              <a:pPr marL="0" indent="0" defTabSz="685800" fontAlgn="auto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None/>
                <a:defRPr/>
              </a:pPr>
              <a:r>
                <a:rPr lang="es-AR" sz="800">
                  <a:solidFill>
                    <a:prstClr val="black">
                      <a:lumMod val="75000"/>
                      <a:lumOff val="25000"/>
                    </a:prstClr>
                  </a:solidFill>
                  <a:latin typeface="Pulso Light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Márgenes más sanos basados en transaccionalidad genuina y control de costos y ROI.</a:t>
              </a:r>
              <a:endParaRPr lang="es-AR" sz="800">
                <a:solidFill>
                  <a:prstClr val="black">
                    <a:lumMod val="75000"/>
                    <a:lumOff val="25000"/>
                  </a:prst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95" name="Marcador de texto 8">
              <a:extLst>
                <a:ext uri="{FF2B5EF4-FFF2-40B4-BE49-F238E27FC236}">
                  <a16:creationId xmlns:a16="http://schemas.microsoft.com/office/drawing/2014/main" id="{883A0165-0AD2-150A-6FFB-A23EDE04204B}"/>
                </a:ext>
              </a:extLst>
            </p:cNvPr>
            <p:cNvSpPr txBox="1">
              <a:spLocks/>
            </p:cNvSpPr>
            <p:nvPr/>
          </p:nvSpPr>
          <p:spPr>
            <a:xfrm>
              <a:off x="6154474" y="1703469"/>
              <a:ext cx="1686572" cy="407804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685800" fontAlgn="auto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None/>
                <a:defRPr/>
              </a:pPr>
              <a:r>
                <a:rPr lang="es-ES" sz="800" b="1">
                  <a:solidFill>
                    <a:srgbClr val="5950F7"/>
                  </a:solidFill>
                  <a:latin typeface="Pulso" pitchFamily="2" charset="0"/>
                </a:rPr>
                <a:t>VOLUMEN</a:t>
              </a:r>
              <a:endParaRPr lang="es-AR" sz="800" b="1">
                <a:solidFill>
                  <a:srgbClr val="5950F7"/>
                </a:solidFill>
                <a:latin typeface="Pulso" pitchFamily="2" charset="0"/>
              </a:endParaRPr>
            </a:p>
            <a:p>
              <a:pPr marL="0" indent="0" defTabSz="685800" fontAlgn="auto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None/>
                <a:defRPr/>
              </a:pPr>
              <a:r>
                <a:rPr lang="es-AR" sz="800">
                  <a:solidFill>
                    <a:prstClr val="black">
                      <a:lumMod val="75000"/>
                      <a:lumOff val="25000"/>
                    </a:prstClr>
                  </a:solidFill>
                  <a:latin typeface="Pulso Light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Migración a uso orgánico con leve caída por usuario. </a:t>
              </a:r>
              <a:endParaRPr lang="es-AR" sz="800">
                <a:solidFill>
                  <a:prstClr val="black">
                    <a:lumMod val="75000"/>
                    <a:lumOff val="25000"/>
                  </a:prst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97" name="Marcador de texto 8">
              <a:extLst>
                <a:ext uri="{FF2B5EF4-FFF2-40B4-BE49-F238E27FC236}">
                  <a16:creationId xmlns:a16="http://schemas.microsoft.com/office/drawing/2014/main" id="{20B74DA8-A836-DE34-5FDA-D4B9AC47BAED}"/>
                </a:ext>
              </a:extLst>
            </p:cNvPr>
            <p:cNvSpPr txBox="1">
              <a:spLocks/>
            </p:cNvSpPr>
            <p:nvPr/>
          </p:nvSpPr>
          <p:spPr>
            <a:xfrm>
              <a:off x="6624041" y="2203290"/>
              <a:ext cx="1343874" cy="530915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685800" fontAlgn="auto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None/>
                <a:defRPr/>
              </a:pPr>
              <a:r>
                <a:rPr lang="es-ES" sz="800" b="1">
                  <a:solidFill>
                    <a:srgbClr val="5950F7"/>
                  </a:solidFill>
                  <a:latin typeface="Pulso" pitchFamily="2" charset="0"/>
                </a:rPr>
                <a:t>CAC</a:t>
              </a:r>
            </a:p>
            <a:p>
              <a:pPr marL="0" indent="0" defTabSz="685800" fontAlgn="auto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None/>
                <a:defRPr/>
              </a:pPr>
              <a:r>
                <a:rPr lang="es-AR" sz="800">
                  <a:solidFill>
                    <a:prstClr val="black">
                      <a:lumMod val="75000"/>
                      <a:lumOff val="25000"/>
                    </a:prstClr>
                  </a:solidFill>
                  <a:latin typeface="Pulso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Apalancado en beneficios ecosistémicos. </a:t>
              </a:r>
              <a:r>
                <a:rPr lang="es-AR" sz="800">
                  <a:solidFill>
                    <a:prstClr val="black">
                      <a:lumMod val="75000"/>
                      <a:lumOff val="25000"/>
                    </a:prstClr>
                  </a:solidFill>
                  <a:latin typeface="Pulso Light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Salida de rubros y Alianzas pagas. </a:t>
              </a:r>
            </a:p>
          </p:txBody>
        </p:sp>
      </p:grp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ADDED096-4B30-F40E-2B59-3D62CC68CA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07984507"/>
              </p:ext>
            </p:extLst>
          </p:nvPr>
        </p:nvGraphicFramePr>
        <p:xfrm>
          <a:off x="4843197" y="1512622"/>
          <a:ext cx="2635972" cy="27348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1649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BC26F7-2400-C253-050D-93C525B13B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Marcador de texto 8">
            <a:extLst>
              <a:ext uri="{FF2B5EF4-FFF2-40B4-BE49-F238E27FC236}">
                <a16:creationId xmlns:a16="http://schemas.microsoft.com/office/drawing/2014/main" id="{23C346D3-656B-1E4C-D07D-2EC0433585AF}"/>
              </a:ext>
            </a:extLst>
          </p:cNvPr>
          <p:cNvSpPr txBox="1">
            <a:spLocks/>
          </p:cNvSpPr>
          <p:nvPr/>
        </p:nvSpPr>
        <p:spPr>
          <a:xfrm>
            <a:off x="540657" y="1501871"/>
            <a:ext cx="3089113" cy="5948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Los ciclos de evolución tecnológica y de inversión que antes eran de 10 años, hoy se han reducido a 5 años o incluso menos.</a:t>
            </a: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047B1EB5-E424-28AC-7E80-D366F5104300}"/>
              </a:ext>
            </a:extLst>
          </p:cNvPr>
          <p:cNvSpPr txBox="1">
            <a:spLocks/>
          </p:cNvSpPr>
          <p:nvPr/>
        </p:nvSpPr>
        <p:spPr>
          <a:xfrm>
            <a:off x="540657" y="582357"/>
            <a:ext cx="5031506" cy="769441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noProof="0">
                <a:solidFill>
                  <a:schemeClr val="tx2"/>
                </a:solidFill>
                <a:latin typeface="Pulso Light" pitchFamily="2" charset="0"/>
              </a:rPr>
              <a:t>Punto de partida: </a:t>
            </a:r>
            <a:r>
              <a:rPr lang="es-ES_tradnl" sz="2600" b="0">
                <a:solidFill>
                  <a:schemeClr val="bg2"/>
                </a:solidFill>
                <a:latin typeface="Pulso Light" pitchFamily="2" charset="0"/>
              </a:rPr>
              <a:t>aceleración de los </a:t>
            </a:r>
            <a:br>
              <a:rPr lang="es-ES_tradnl" sz="2600" b="0" noProof="0">
                <a:solidFill>
                  <a:schemeClr val="tx2"/>
                </a:solidFill>
                <a:latin typeface="Pulso Light" pitchFamily="2" charset="0"/>
              </a:rPr>
            </a:b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Ciclos de Innovación Tecnológica</a:t>
            </a:r>
          </a:p>
        </p:txBody>
      </p:sp>
      <p:grpSp>
        <p:nvGrpSpPr>
          <p:cNvPr id="44" name="Grupo 43">
            <a:extLst>
              <a:ext uri="{FF2B5EF4-FFF2-40B4-BE49-F238E27FC236}">
                <a16:creationId xmlns:a16="http://schemas.microsoft.com/office/drawing/2014/main" id="{0F82443E-D730-C923-F617-4FBB92ABEE8F}"/>
              </a:ext>
            </a:extLst>
          </p:cNvPr>
          <p:cNvGrpSpPr/>
          <p:nvPr/>
        </p:nvGrpSpPr>
        <p:grpSpPr>
          <a:xfrm>
            <a:off x="512392" y="445396"/>
            <a:ext cx="7268449" cy="3616138"/>
            <a:chOff x="536494" y="730198"/>
            <a:chExt cx="7495065" cy="3230274"/>
          </a:xfrm>
        </p:grpSpPr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03C846DB-54F8-AEC8-BCAE-C04BF3AFDF21}"/>
                </a:ext>
              </a:extLst>
            </p:cNvPr>
            <p:cNvSpPr/>
            <p:nvPr/>
          </p:nvSpPr>
          <p:spPr>
            <a:xfrm rot="10800000">
              <a:off x="7365028" y="987478"/>
              <a:ext cx="3572" cy="2972994"/>
            </a:xfrm>
            <a:custGeom>
              <a:avLst/>
              <a:gdLst>
                <a:gd name="connsiteX0" fmla="*/ 0 w 2128"/>
                <a:gd name="connsiteY0" fmla="*/ 133110 h 133109"/>
                <a:gd name="connsiteX1" fmla="*/ 0 w 2128"/>
                <a:gd name="connsiteY1" fmla="*/ 0 h 133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28" h="133109">
                  <a:moveTo>
                    <a:pt x="0" y="133110"/>
                  </a:moveTo>
                  <a:lnTo>
                    <a:pt x="0" y="0"/>
                  </a:lnTo>
                </a:path>
              </a:pathLst>
            </a:custGeom>
            <a:ln w="3175" cap="rnd">
              <a:solidFill>
                <a:schemeClr val="bg1">
                  <a:lumMod val="50000"/>
                </a:schemeClr>
              </a:solidFill>
              <a:prstDash val="sysDot"/>
              <a:round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2" name="Forma libre 11">
              <a:extLst>
                <a:ext uri="{FF2B5EF4-FFF2-40B4-BE49-F238E27FC236}">
                  <a16:creationId xmlns:a16="http://schemas.microsoft.com/office/drawing/2014/main" id="{8BB0462B-FC54-0B82-CA15-D3EA2E142345}"/>
                </a:ext>
              </a:extLst>
            </p:cNvPr>
            <p:cNvSpPr/>
            <p:nvPr/>
          </p:nvSpPr>
          <p:spPr>
            <a:xfrm rot="10800000">
              <a:off x="6485752" y="1387688"/>
              <a:ext cx="3572" cy="2572783"/>
            </a:xfrm>
            <a:custGeom>
              <a:avLst/>
              <a:gdLst>
                <a:gd name="connsiteX0" fmla="*/ 0 w 2128"/>
                <a:gd name="connsiteY0" fmla="*/ 0 h 133109"/>
                <a:gd name="connsiteX1" fmla="*/ 0 w 2128"/>
                <a:gd name="connsiteY1" fmla="*/ 133110 h 133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28" h="133109">
                  <a:moveTo>
                    <a:pt x="0" y="0"/>
                  </a:moveTo>
                  <a:lnTo>
                    <a:pt x="0" y="133110"/>
                  </a:lnTo>
                </a:path>
              </a:pathLst>
            </a:custGeom>
            <a:ln w="3175" cap="rnd">
              <a:solidFill>
                <a:schemeClr val="bg1">
                  <a:lumMod val="50000"/>
                </a:schemeClr>
              </a:solidFill>
              <a:prstDash val="sysDot"/>
              <a:round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5CBFCAB8-0F41-AE14-7A06-AD0A52ECA09F}"/>
                </a:ext>
              </a:extLst>
            </p:cNvPr>
            <p:cNvSpPr/>
            <p:nvPr/>
          </p:nvSpPr>
          <p:spPr>
            <a:xfrm rot="10800000">
              <a:off x="5339643" y="1838003"/>
              <a:ext cx="3572" cy="2122466"/>
            </a:xfrm>
            <a:custGeom>
              <a:avLst/>
              <a:gdLst>
                <a:gd name="connsiteX0" fmla="*/ 0 w 2128"/>
                <a:gd name="connsiteY0" fmla="*/ 133110 h 133109"/>
                <a:gd name="connsiteX1" fmla="*/ 0 w 2128"/>
                <a:gd name="connsiteY1" fmla="*/ 0 h 133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28" h="133109">
                  <a:moveTo>
                    <a:pt x="0" y="133110"/>
                  </a:moveTo>
                  <a:lnTo>
                    <a:pt x="0" y="0"/>
                  </a:lnTo>
                </a:path>
              </a:pathLst>
            </a:custGeom>
            <a:ln w="3175" cap="rnd">
              <a:solidFill>
                <a:schemeClr val="bg1">
                  <a:lumMod val="50000"/>
                </a:schemeClr>
              </a:solidFill>
              <a:prstDash val="sysDot"/>
              <a:round/>
            </a:ln>
          </p:spPr>
          <p:txBody>
            <a:bodyPr rtlCol="0" anchor="ctr"/>
            <a:lstStyle/>
            <a:p>
              <a:endParaRPr lang="es-ES_tradnl"/>
            </a:p>
          </p:txBody>
        </p:sp>
        <p:grpSp>
          <p:nvGrpSpPr>
            <p:cNvPr id="36" name="Grupo 35">
              <a:extLst>
                <a:ext uri="{FF2B5EF4-FFF2-40B4-BE49-F238E27FC236}">
                  <a16:creationId xmlns:a16="http://schemas.microsoft.com/office/drawing/2014/main" id="{FC94FACE-E8CD-CF1D-315C-BBA13A2BB607}"/>
                </a:ext>
              </a:extLst>
            </p:cNvPr>
            <p:cNvGrpSpPr/>
            <p:nvPr/>
          </p:nvGrpSpPr>
          <p:grpSpPr>
            <a:xfrm>
              <a:off x="2273469" y="2159585"/>
              <a:ext cx="1585215" cy="1800881"/>
              <a:chOff x="1950981" y="1842145"/>
              <a:chExt cx="1286654" cy="1334398"/>
            </a:xfrm>
          </p:grpSpPr>
          <p:sp>
            <p:nvSpPr>
              <p:cNvPr id="14" name="Forma libre 13">
                <a:extLst>
                  <a:ext uri="{FF2B5EF4-FFF2-40B4-BE49-F238E27FC236}">
                    <a16:creationId xmlns:a16="http://schemas.microsoft.com/office/drawing/2014/main" id="{8A12314E-E981-B525-0924-774F83C00EDF}"/>
                  </a:ext>
                </a:extLst>
              </p:cNvPr>
              <p:cNvSpPr/>
              <p:nvPr/>
            </p:nvSpPr>
            <p:spPr>
              <a:xfrm rot="10800000">
                <a:off x="3234739" y="1842145"/>
                <a:ext cx="2896" cy="1334398"/>
              </a:xfrm>
              <a:custGeom>
                <a:avLst/>
                <a:gdLst>
                  <a:gd name="connsiteX0" fmla="*/ 0 w 2128"/>
                  <a:gd name="connsiteY0" fmla="*/ 0 h 133109"/>
                  <a:gd name="connsiteX1" fmla="*/ 0 w 2128"/>
                  <a:gd name="connsiteY1" fmla="*/ 133110 h 133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28" h="133109">
                    <a:moveTo>
                      <a:pt x="0" y="0"/>
                    </a:moveTo>
                    <a:lnTo>
                      <a:pt x="0" y="133110"/>
                    </a:lnTo>
                  </a:path>
                </a:pathLst>
              </a:custGeom>
              <a:ln w="3175" cap="rnd">
                <a:solidFill>
                  <a:schemeClr val="bg1">
                    <a:lumMod val="50000"/>
                  </a:schemeClr>
                </a:solidFill>
                <a:prstDash val="sysDot"/>
                <a:round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5" name="Forma libre 14">
                <a:extLst>
                  <a:ext uri="{FF2B5EF4-FFF2-40B4-BE49-F238E27FC236}">
                    <a16:creationId xmlns:a16="http://schemas.microsoft.com/office/drawing/2014/main" id="{482AE199-908C-96AC-A3C5-94FBD0FA54F9}"/>
                  </a:ext>
                </a:extLst>
              </p:cNvPr>
              <p:cNvSpPr/>
              <p:nvPr/>
            </p:nvSpPr>
            <p:spPr>
              <a:xfrm rot="10800000">
                <a:off x="1950981" y="2080389"/>
                <a:ext cx="2895" cy="1072284"/>
              </a:xfrm>
              <a:custGeom>
                <a:avLst/>
                <a:gdLst>
                  <a:gd name="connsiteX0" fmla="*/ 0 w 2128"/>
                  <a:gd name="connsiteY0" fmla="*/ 133110 h 133109"/>
                  <a:gd name="connsiteX1" fmla="*/ 0 w 2128"/>
                  <a:gd name="connsiteY1" fmla="*/ 0 h 133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28" h="133109">
                    <a:moveTo>
                      <a:pt x="0" y="133110"/>
                    </a:moveTo>
                    <a:lnTo>
                      <a:pt x="0" y="0"/>
                    </a:lnTo>
                  </a:path>
                </a:pathLst>
              </a:custGeom>
              <a:ln w="3175" cap="rnd">
                <a:solidFill>
                  <a:schemeClr val="bg1">
                    <a:lumMod val="50000"/>
                  </a:schemeClr>
                </a:solidFill>
                <a:prstDash val="sysDot"/>
                <a:round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30913E39-3EF8-D46A-5C70-88A582CAF686}"/>
                </a:ext>
              </a:extLst>
            </p:cNvPr>
            <p:cNvSpPr/>
            <p:nvPr/>
          </p:nvSpPr>
          <p:spPr>
            <a:xfrm rot="10800000">
              <a:off x="536494" y="2770602"/>
              <a:ext cx="3571" cy="1189867"/>
            </a:xfrm>
            <a:custGeom>
              <a:avLst/>
              <a:gdLst>
                <a:gd name="connsiteX0" fmla="*/ 0 w 2128"/>
                <a:gd name="connsiteY0" fmla="*/ 0 h 133109"/>
                <a:gd name="connsiteX1" fmla="*/ 0 w 2128"/>
                <a:gd name="connsiteY1" fmla="*/ 133110 h 133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28" h="133109">
                  <a:moveTo>
                    <a:pt x="0" y="0"/>
                  </a:moveTo>
                  <a:lnTo>
                    <a:pt x="0" y="133110"/>
                  </a:lnTo>
                </a:path>
              </a:pathLst>
            </a:custGeom>
            <a:ln w="3175" cap="rnd">
              <a:solidFill>
                <a:schemeClr val="bg1">
                  <a:lumMod val="50000"/>
                </a:schemeClr>
              </a:solidFill>
              <a:prstDash val="sysDot"/>
              <a:round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81777358-2C87-2CC4-4A1F-4FD28D6BCB67}"/>
                </a:ext>
              </a:extLst>
            </p:cNvPr>
            <p:cNvSpPr/>
            <p:nvPr/>
          </p:nvSpPr>
          <p:spPr>
            <a:xfrm rot="10800000">
              <a:off x="8027987" y="730198"/>
              <a:ext cx="3572" cy="3230274"/>
            </a:xfrm>
            <a:custGeom>
              <a:avLst/>
              <a:gdLst>
                <a:gd name="connsiteX0" fmla="*/ 0 w 2128"/>
                <a:gd name="connsiteY0" fmla="*/ 133110 h 133109"/>
                <a:gd name="connsiteX1" fmla="*/ 0 w 2128"/>
                <a:gd name="connsiteY1" fmla="*/ 0 h 133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28" h="133109">
                  <a:moveTo>
                    <a:pt x="0" y="133110"/>
                  </a:moveTo>
                  <a:lnTo>
                    <a:pt x="0" y="0"/>
                  </a:lnTo>
                </a:path>
              </a:pathLst>
            </a:custGeom>
            <a:ln w="3175" cap="rnd">
              <a:solidFill>
                <a:schemeClr val="bg1">
                  <a:lumMod val="50000"/>
                </a:schemeClr>
              </a:solidFill>
              <a:prstDash val="sysDot"/>
              <a:round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23" name="Rectángulo redondeado 22">
            <a:extLst>
              <a:ext uri="{FF2B5EF4-FFF2-40B4-BE49-F238E27FC236}">
                <a16:creationId xmlns:a16="http://schemas.microsoft.com/office/drawing/2014/main" id="{7D30E1A6-0C75-FBAC-895F-3DFD6344D3AF}"/>
              </a:ext>
            </a:extLst>
          </p:cNvPr>
          <p:cNvSpPr/>
          <p:nvPr/>
        </p:nvSpPr>
        <p:spPr>
          <a:xfrm>
            <a:off x="537418" y="4273024"/>
            <a:ext cx="1651386" cy="257630"/>
          </a:xfrm>
          <a:prstGeom prst="roundRect">
            <a:avLst/>
          </a:prstGeom>
          <a:solidFill>
            <a:srgbClr val="052C50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4" name="Rectángulo redondeado 23">
            <a:extLst>
              <a:ext uri="{FF2B5EF4-FFF2-40B4-BE49-F238E27FC236}">
                <a16:creationId xmlns:a16="http://schemas.microsoft.com/office/drawing/2014/main" id="{5CC1AE2F-500A-A5BD-1855-44832D722736}"/>
              </a:ext>
            </a:extLst>
          </p:cNvPr>
          <p:cNvSpPr/>
          <p:nvPr/>
        </p:nvSpPr>
        <p:spPr>
          <a:xfrm>
            <a:off x="2218194" y="4273024"/>
            <a:ext cx="1494278" cy="257630"/>
          </a:xfrm>
          <a:prstGeom prst="roundRect">
            <a:avLst/>
          </a:prstGeom>
          <a:solidFill>
            <a:srgbClr val="084882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5" name="Rectángulo redondeado 24">
            <a:extLst>
              <a:ext uri="{FF2B5EF4-FFF2-40B4-BE49-F238E27FC236}">
                <a16:creationId xmlns:a16="http://schemas.microsoft.com/office/drawing/2014/main" id="{9C0A5703-8C8E-EC60-AA86-B40F9431C168}"/>
              </a:ext>
            </a:extLst>
          </p:cNvPr>
          <p:cNvSpPr/>
          <p:nvPr/>
        </p:nvSpPr>
        <p:spPr>
          <a:xfrm>
            <a:off x="3748814" y="4273024"/>
            <a:ext cx="1406995" cy="257630"/>
          </a:xfrm>
          <a:prstGeom prst="roundRect">
            <a:avLst/>
          </a:prstGeom>
          <a:solidFill>
            <a:srgbClr val="0B63B4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6" name="Rectángulo redondeado 25">
            <a:extLst>
              <a:ext uri="{FF2B5EF4-FFF2-40B4-BE49-F238E27FC236}">
                <a16:creationId xmlns:a16="http://schemas.microsoft.com/office/drawing/2014/main" id="{9830A233-81B1-3B07-8016-9ED22D1DD059}"/>
              </a:ext>
            </a:extLst>
          </p:cNvPr>
          <p:cNvSpPr/>
          <p:nvPr/>
        </p:nvSpPr>
        <p:spPr>
          <a:xfrm>
            <a:off x="5191505" y="4273024"/>
            <a:ext cx="1075321" cy="257630"/>
          </a:xfrm>
          <a:prstGeom prst="roundRect">
            <a:avLst/>
          </a:prstGeom>
          <a:solidFill>
            <a:srgbClr val="068DD0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11163D37-5269-4267-C26D-180B0ED25B40}"/>
              </a:ext>
            </a:extLst>
          </p:cNvPr>
          <p:cNvSpPr/>
          <p:nvPr/>
        </p:nvSpPr>
        <p:spPr>
          <a:xfrm>
            <a:off x="6303009" y="4273024"/>
            <a:ext cx="813474" cy="257630"/>
          </a:xfrm>
          <a:prstGeom prst="roundRect">
            <a:avLst/>
          </a:prstGeom>
          <a:solidFill>
            <a:srgbClr val="00B7EB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0FBAB6F5-9784-D848-C060-05463F9B0260}"/>
              </a:ext>
            </a:extLst>
          </p:cNvPr>
          <p:cNvSpPr txBox="1">
            <a:spLocks/>
          </p:cNvSpPr>
          <p:nvPr/>
        </p:nvSpPr>
        <p:spPr>
          <a:xfrm>
            <a:off x="538532" y="4324894"/>
            <a:ext cx="335724" cy="153888"/>
          </a:xfrm>
          <a:prstGeom prst="rect">
            <a:avLst/>
          </a:prstGeom>
          <a:effectLst/>
        </p:spPr>
        <p:txBody>
          <a:bodyPr vert="horz" wrap="none" lIns="7200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000" b="0">
                <a:solidFill>
                  <a:srgbClr val="FFFFFF"/>
                </a:solidFill>
              </a:rPr>
              <a:t>1980</a:t>
            </a:r>
            <a:endParaRPr lang="es-ES_tradnl" sz="1000" b="0" noProof="0">
              <a:solidFill>
                <a:srgbClr val="FFFFFF"/>
              </a:solidFill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0F719EEB-C5AA-3A91-50DE-7D270B60DB40}"/>
              </a:ext>
            </a:extLst>
          </p:cNvPr>
          <p:cNvSpPr txBox="1">
            <a:spLocks/>
          </p:cNvSpPr>
          <p:nvPr/>
        </p:nvSpPr>
        <p:spPr>
          <a:xfrm>
            <a:off x="2218193" y="4324894"/>
            <a:ext cx="337277" cy="153888"/>
          </a:xfrm>
          <a:prstGeom prst="rect">
            <a:avLst/>
          </a:prstGeom>
          <a:effectLst/>
        </p:spPr>
        <p:txBody>
          <a:bodyPr vert="horz" wrap="none" lIns="7200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000" b="0">
                <a:solidFill>
                  <a:srgbClr val="FFFFFF"/>
                </a:solidFill>
              </a:rPr>
              <a:t>1990</a:t>
            </a:r>
            <a:endParaRPr lang="es-ES_tradnl" sz="1000" b="0" noProof="0">
              <a:solidFill>
                <a:srgbClr val="FFFFFF"/>
              </a:solidFill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40EF8776-38F4-7628-489C-D4959C647716}"/>
              </a:ext>
            </a:extLst>
          </p:cNvPr>
          <p:cNvSpPr txBox="1">
            <a:spLocks/>
          </p:cNvSpPr>
          <p:nvPr/>
        </p:nvSpPr>
        <p:spPr>
          <a:xfrm>
            <a:off x="3748813" y="4324894"/>
            <a:ext cx="349714" cy="153888"/>
          </a:xfrm>
          <a:prstGeom prst="rect">
            <a:avLst/>
          </a:prstGeom>
          <a:effectLst/>
        </p:spPr>
        <p:txBody>
          <a:bodyPr vert="horz" wrap="none" lIns="7200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000" b="0">
                <a:solidFill>
                  <a:srgbClr val="FFFFFF"/>
                </a:solidFill>
              </a:rPr>
              <a:t>2000</a:t>
            </a:r>
            <a:endParaRPr lang="es-ES_tradnl" sz="1000" b="0" noProof="0">
              <a:solidFill>
                <a:srgbClr val="FFFFFF"/>
              </a:solidFill>
            </a:endParaRP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6A1AA796-2F8B-81FE-988D-DBE1E5F8A0B0}"/>
              </a:ext>
            </a:extLst>
          </p:cNvPr>
          <p:cNvSpPr txBox="1">
            <a:spLocks/>
          </p:cNvSpPr>
          <p:nvPr/>
        </p:nvSpPr>
        <p:spPr>
          <a:xfrm>
            <a:off x="5190006" y="4324894"/>
            <a:ext cx="331059" cy="153888"/>
          </a:xfrm>
          <a:prstGeom prst="rect">
            <a:avLst/>
          </a:prstGeom>
          <a:effectLst/>
        </p:spPr>
        <p:txBody>
          <a:bodyPr vert="horz" wrap="none" lIns="7200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000" b="0">
                <a:solidFill>
                  <a:srgbClr val="FFFFFF"/>
                </a:solidFill>
              </a:rPr>
              <a:t>2010</a:t>
            </a:r>
            <a:endParaRPr lang="es-ES_tradnl" sz="1000" b="0" noProof="0">
              <a:solidFill>
                <a:srgbClr val="FFFFFF"/>
              </a:solidFill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CD13505B-0543-9A65-E1B3-6B5C4C57A010}"/>
              </a:ext>
            </a:extLst>
          </p:cNvPr>
          <p:cNvSpPr txBox="1">
            <a:spLocks/>
          </p:cNvSpPr>
          <p:nvPr/>
        </p:nvSpPr>
        <p:spPr>
          <a:xfrm>
            <a:off x="6303008" y="4324894"/>
            <a:ext cx="327950" cy="153888"/>
          </a:xfrm>
          <a:prstGeom prst="rect">
            <a:avLst/>
          </a:prstGeom>
          <a:effectLst/>
        </p:spPr>
        <p:txBody>
          <a:bodyPr vert="horz" wrap="none" lIns="7200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000" b="0">
                <a:solidFill>
                  <a:srgbClr val="FFFFFF"/>
                </a:solidFill>
              </a:rPr>
              <a:t>2015</a:t>
            </a:r>
            <a:endParaRPr lang="es-ES_tradnl" sz="1000" b="0" noProof="0">
              <a:solidFill>
                <a:srgbClr val="FFFFFF"/>
              </a:solidFill>
            </a:endParaRPr>
          </a:p>
        </p:txBody>
      </p:sp>
      <p:sp>
        <p:nvSpPr>
          <p:cNvPr id="40" name="Rectángulo redondeado 39">
            <a:extLst>
              <a:ext uri="{FF2B5EF4-FFF2-40B4-BE49-F238E27FC236}">
                <a16:creationId xmlns:a16="http://schemas.microsoft.com/office/drawing/2014/main" id="{19521200-8A20-993F-1AF4-98D0CB70A51C}"/>
              </a:ext>
            </a:extLst>
          </p:cNvPr>
          <p:cNvSpPr/>
          <p:nvPr/>
        </p:nvSpPr>
        <p:spPr>
          <a:xfrm>
            <a:off x="7152273" y="4273024"/>
            <a:ext cx="610978" cy="257630"/>
          </a:xfrm>
          <a:prstGeom prst="roundRect">
            <a:avLst/>
          </a:prstGeom>
          <a:solidFill>
            <a:srgbClr val="458AE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1" name="Rectángulo redondeado 40">
            <a:extLst>
              <a:ext uri="{FF2B5EF4-FFF2-40B4-BE49-F238E27FC236}">
                <a16:creationId xmlns:a16="http://schemas.microsoft.com/office/drawing/2014/main" id="{115795CC-BB1B-BFDF-1EEC-78DE24A05F07}"/>
              </a:ext>
            </a:extLst>
          </p:cNvPr>
          <p:cNvSpPr/>
          <p:nvPr/>
        </p:nvSpPr>
        <p:spPr>
          <a:xfrm>
            <a:off x="7796855" y="4273024"/>
            <a:ext cx="768276" cy="257630"/>
          </a:xfrm>
          <a:prstGeom prst="roundRect">
            <a:avLst/>
          </a:prstGeom>
          <a:gradFill>
            <a:gsLst>
              <a:gs pos="0">
                <a:schemeClr val="accent1"/>
              </a:gs>
              <a:gs pos="95000">
                <a:schemeClr val="accent1">
                  <a:alpha val="0"/>
                </a:schemeClr>
              </a:gs>
            </a:gsLst>
            <a:lin ang="0" scaled="0"/>
          </a:gra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29735C7A-C691-286A-34E1-E5A544FC044A}"/>
              </a:ext>
            </a:extLst>
          </p:cNvPr>
          <p:cNvSpPr txBox="1">
            <a:spLocks/>
          </p:cNvSpPr>
          <p:nvPr/>
        </p:nvSpPr>
        <p:spPr>
          <a:xfrm>
            <a:off x="7151243" y="4324894"/>
            <a:ext cx="346605" cy="153888"/>
          </a:xfrm>
          <a:prstGeom prst="rect">
            <a:avLst/>
          </a:prstGeom>
          <a:effectLst/>
        </p:spPr>
        <p:txBody>
          <a:bodyPr vert="horz" wrap="none" lIns="7200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000" b="0">
                <a:solidFill>
                  <a:srgbClr val="FFFFFF"/>
                </a:solidFill>
              </a:rPr>
              <a:t>2020</a:t>
            </a:r>
            <a:endParaRPr lang="es-ES_tradnl" sz="1000" b="0" noProof="0">
              <a:solidFill>
                <a:srgbClr val="FFFFFF"/>
              </a:solidFill>
            </a:endParaRP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C149748-5A18-EE4C-6766-FEFDE5AC6405}"/>
              </a:ext>
            </a:extLst>
          </p:cNvPr>
          <p:cNvSpPr txBox="1">
            <a:spLocks/>
          </p:cNvSpPr>
          <p:nvPr/>
        </p:nvSpPr>
        <p:spPr>
          <a:xfrm>
            <a:off x="7798985" y="4324894"/>
            <a:ext cx="343496" cy="153888"/>
          </a:xfrm>
          <a:prstGeom prst="rect">
            <a:avLst/>
          </a:prstGeom>
          <a:effectLst/>
        </p:spPr>
        <p:txBody>
          <a:bodyPr vert="horz" wrap="none" lIns="7200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000" b="0">
                <a:solidFill>
                  <a:srgbClr val="FFFFFF"/>
                </a:solidFill>
              </a:rPr>
              <a:t>2025</a:t>
            </a:r>
            <a:endParaRPr lang="es-ES_tradnl" sz="1000" b="0" noProof="0">
              <a:solidFill>
                <a:srgbClr val="FFFFFF"/>
              </a:solidFill>
            </a:endParaRP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4FC60689-32EA-48EB-3460-F254BF9DD1E4}"/>
              </a:ext>
            </a:extLst>
          </p:cNvPr>
          <p:cNvSpPr txBox="1"/>
          <p:nvPr/>
        </p:nvSpPr>
        <p:spPr>
          <a:xfrm>
            <a:off x="2218193" y="2733770"/>
            <a:ext cx="1266252" cy="138499"/>
          </a:xfrm>
          <a:prstGeom prst="rect">
            <a:avLst/>
          </a:prstGeom>
          <a:effectLst/>
        </p:spPr>
        <p:txBody>
          <a:bodyPr vert="horz" wrap="square" lIns="7200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sz="1200" b="0" i="0" spc="-70" baseline="0">
                <a:solidFill>
                  <a:schemeClr val="tx2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spcAft>
                <a:spcPts val="300"/>
              </a:spcAft>
            </a:pPr>
            <a:r>
              <a:rPr lang="es-AR" sz="900" spc="0">
                <a:solidFill>
                  <a:srgbClr val="084882"/>
                </a:solidFill>
              </a:rPr>
              <a:t>2da. Ola (‘90s)</a:t>
            </a:r>
            <a:endParaRPr lang="es-AR" sz="900" spc="0">
              <a:solidFill>
                <a:srgbClr val="084882"/>
              </a:solidFill>
              <a:latin typeface="Pulso Light" pitchFamily="2" charset="0"/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A8A1D9D4-2CD3-4022-2BDD-5F2371EC3D87}"/>
              </a:ext>
            </a:extLst>
          </p:cNvPr>
          <p:cNvSpPr txBox="1"/>
          <p:nvPr/>
        </p:nvSpPr>
        <p:spPr>
          <a:xfrm>
            <a:off x="3752402" y="2339551"/>
            <a:ext cx="1403407" cy="138499"/>
          </a:xfrm>
          <a:prstGeom prst="rect">
            <a:avLst/>
          </a:prstGeom>
          <a:effectLst/>
        </p:spPr>
        <p:txBody>
          <a:bodyPr vert="horz" wrap="square" lIns="7200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sz="1200" b="0" i="0" spc="-70" baseline="0">
                <a:solidFill>
                  <a:schemeClr val="tx2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spcAft>
                <a:spcPts val="300"/>
              </a:spcAft>
            </a:pPr>
            <a:r>
              <a:rPr lang="es-AR" sz="900" spc="0">
                <a:solidFill>
                  <a:schemeClr val="tx2">
                    <a:lumMod val="75000"/>
                    <a:lumOff val="25000"/>
                  </a:schemeClr>
                </a:solidFill>
              </a:rPr>
              <a:t>3er. Ola (2000 al 2010)</a:t>
            </a:r>
            <a:endParaRPr lang="es-AR" sz="900" spc="0">
              <a:solidFill>
                <a:schemeClr val="tx2">
                  <a:lumMod val="75000"/>
                  <a:lumOff val="25000"/>
                </a:schemeClr>
              </a:solidFill>
              <a:latin typeface="Pulso Light" pitchFamily="2" charset="0"/>
            </a:endParaRP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id="{32581CCB-3AEC-19E9-F506-07BB3241A320}"/>
              </a:ext>
            </a:extLst>
          </p:cNvPr>
          <p:cNvSpPr txBox="1"/>
          <p:nvPr/>
        </p:nvSpPr>
        <p:spPr>
          <a:xfrm>
            <a:off x="5190006" y="1951090"/>
            <a:ext cx="1316633" cy="138499"/>
          </a:xfrm>
          <a:prstGeom prst="rect">
            <a:avLst/>
          </a:prstGeom>
          <a:effectLst/>
        </p:spPr>
        <p:txBody>
          <a:bodyPr vert="horz" wrap="none" lIns="7200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sz="1200" b="0" i="0" spc="-70" baseline="0">
                <a:solidFill>
                  <a:schemeClr val="tx2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spcAft>
                <a:spcPts val="300"/>
              </a:spcAft>
            </a:pPr>
            <a:r>
              <a:rPr lang="es-AR" sz="900" spc="0">
                <a:solidFill>
                  <a:srgbClr val="068DD0"/>
                </a:solidFill>
              </a:rPr>
              <a:t>4ta. Ola (2010 al 2015)</a:t>
            </a:r>
            <a:endParaRPr lang="es-AR" sz="900" spc="0">
              <a:solidFill>
                <a:srgbClr val="068DD0"/>
              </a:solidFill>
              <a:latin typeface="Pulso Light" pitchFamily="2" charset="0"/>
            </a:endParaRPr>
          </a:p>
        </p:txBody>
      </p:sp>
      <p:sp>
        <p:nvSpPr>
          <p:cNvPr id="52" name="CuadroTexto 51">
            <a:extLst>
              <a:ext uri="{FF2B5EF4-FFF2-40B4-BE49-F238E27FC236}">
                <a16:creationId xmlns:a16="http://schemas.microsoft.com/office/drawing/2014/main" id="{9883B21F-507F-9414-1CE5-905945474B69}"/>
              </a:ext>
            </a:extLst>
          </p:cNvPr>
          <p:cNvSpPr txBox="1"/>
          <p:nvPr/>
        </p:nvSpPr>
        <p:spPr>
          <a:xfrm>
            <a:off x="6303008" y="1395511"/>
            <a:ext cx="907420" cy="276999"/>
          </a:xfrm>
          <a:prstGeom prst="rect">
            <a:avLst/>
          </a:prstGeom>
          <a:effectLst/>
        </p:spPr>
        <p:txBody>
          <a:bodyPr vert="horz" wrap="square" lIns="7200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sz="1200" b="0" i="0" spc="-70" baseline="0">
                <a:solidFill>
                  <a:schemeClr val="tx2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r>
              <a:rPr lang="es-AR" sz="900" spc="0">
                <a:solidFill>
                  <a:schemeClr val="bg2"/>
                </a:solidFill>
              </a:rPr>
              <a:t>5ta. Ola</a:t>
            </a:r>
          </a:p>
          <a:p>
            <a:r>
              <a:rPr lang="es-AR" sz="900" spc="0">
                <a:solidFill>
                  <a:schemeClr val="bg2"/>
                </a:solidFill>
              </a:rPr>
              <a:t>(2015 al 2020)</a:t>
            </a:r>
            <a:endParaRPr lang="es-AR" sz="900" spc="0">
              <a:solidFill>
                <a:schemeClr val="bg2"/>
              </a:solidFill>
              <a:latin typeface="Pulso Light" pitchFamily="2" charset="0"/>
            </a:endParaRPr>
          </a:p>
        </p:txBody>
      </p:sp>
      <p:sp>
        <p:nvSpPr>
          <p:cNvPr id="53" name="CuadroTexto 52">
            <a:extLst>
              <a:ext uri="{FF2B5EF4-FFF2-40B4-BE49-F238E27FC236}">
                <a16:creationId xmlns:a16="http://schemas.microsoft.com/office/drawing/2014/main" id="{682A92AD-DCC5-8405-E467-D26E2F1A75B5}"/>
              </a:ext>
            </a:extLst>
          </p:cNvPr>
          <p:cNvSpPr txBox="1"/>
          <p:nvPr/>
        </p:nvSpPr>
        <p:spPr>
          <a:xfrm>
            <a:off x="7151243" y="898671"/>
            <a:ext cx="612008" cy="415498"/>
          </a:xfrm>
          <a:prstGeom prst="rect">
            <a:avLst/>
          </a:prstGeom>
          <a:effectLst/>
        </p:spPr>
        <p:txBody>
          <a:bodyPr vert="horz" wrap="square" lIns="7200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sz="1200" b="0" i="0" spc="-70" baseline="0">
                <a:solidFill>
                  <a:schemeClr val="tx2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r>
              <a:rPr lang="es-AR" sz="900" spc="0">
                <a:solidFill>
                  <a:srgbClr val="458AEF"/>
                </a:solidFill>
              </a:rPr>
              <a:t>6ta. Ola</a:t>
            </a:r>
          </a:p>
          <a:p>
            <a:r>
              <a:rPr lang="es-AR" sz="900" spc="0">
                <a:solidFill>
                  <a:srgbClr val="458AEF"/>
                </a:solidFill>
              </a:rPr>
              <a:t>(2020 al 2025)</a:t>
            </a:r>
          </a:p>
        </p:txBody>
      </p:sp>
      <p:sp>
        <p:nvSpPr>
          <p:cNvPr id="61" name="CuadroTexto 60">
            <a:extLst>
              <a:ext uri="{FF2B5EF4-FFF2-40B4-BE49-F238E27FC236}">
                <a16:creationId xmlns:a16="http://schemas.microsoft.com/office/drawing/2014/main" id="{5C1117DE-9623-F568-A308-041B24225499}"/>
              </a:ext>
            </a:extLst>
          </p:cNvPr>
          <p:cNvSpPr txBox="1"/>
          <p:nvPr/>
        </p:nvSpPr>
        <p:spPr>
          <a:xfrm>
            <a:off x="7802015" y="554434"/>
            <a:ext cx="655038" cy="276999"/>
          </a:xfrm>
          <a:prstGeom prst="rect">
            <a:avLst/>
          </a:prstGeom>
          <a:effectLst/>
        </p:spPr>
        <p:txBody>
          <a:bodyPr vert="horz" wrap="none" lIns="7200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sz="1200" b="0" i="0" spc="-70" baseline="0">
                <a:solidFill>
                  <a:schemeClr val="tx2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r>
              <a:rPr lang="es-AR" sz="900" spc="0">
                <a:solidFill>
                  <a:schemeClr val="accent1"/>
                </a:solidFill>
              </a:rPr>
              <a:t>7ma. Ola</a:t>
            </a:r>
            <a:br>
              <a:rPr lang="es-AR" sz="900" spc="0">
                <a:solidFill>
                  <a:schemeClr val="accent1"/>
                </a:solidFill>
              </a:rPr>
            </a:br>
            <a:r>
              <a:rPr lang="es-AR" sz="900" spc="0">
                <a:solidFill>
                  <a:schemeClr val="accent1"/>
                </a:solidFill>
              </a:rPr>
              <a:t>(2025 al …)</a:t>
            </a:r>
            <a:endParaRPr lang="es-AR" sz="900" spc="0">
              <a:solidFill>
                <a:schemeClr val="accent1"/>
              </a:solidFill>
              <a:latin typeface="Pulso Light" pitchFamily="2" charset="0"/>
            </a:endParaRPr>
          </a:p>
        </p:txBody>
      </p:sp>
      <p:sp>
        <p:nvSpPr>
          <p:cNvPr id="62" name="Rectángulo redondeado 61">
            <a:extLst>
              <a:ext uri="{FF2B5EF4-FFF2-40B4-BE49-F238E27FC236}">
                <a16:creationId xmlns:a16="http://schemas.microsoft.com/office/drawing/2014/main" id="{259F34B9-FB1F-94D5-43AE-D0973B335A66}"/>
              </a:ext>
            </a:extLst>
          </p:cNvPr>
          <p:cNvSpPr/>
          <p:nvPr/>
        </p:nvSpPr>
        <p:spPr>
          <a:xfrm>
            <a:off x="529997" y="3389633"/>
            <a:ext cx="1058400" cy="345600"/>
          </a:xfrm>
          <a:prstGeom prst="roundRect">
            <a:avLst>
              <a:gd name="adj" fmla="val 28948"/>
            </a:avLst>
          </a:prstGeom>
          <a:solidFill>
            <a:srgbClr val="FFFFFF">
              <a:alpha val="90000"/>
            </a:srgbClr>
          </a:solidFill>
          <a:ln w="3175" cap="rnd" cmpd="sng">
            <a:solidFill>
              <a:schemeClr val="bg1">
                <a:lumMod val="75000"/>
                <a:alpha val="79527"/>
              </a:schemeClr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69" name="CuadroTexto 68">
            <a:extLst>
              <a:ext uri="{FF2B5EF4-FFF2-40B4-BE49-F238E27FC236}">
                <a16:creationId xmlns:a16="http://schemas.microsoft.com/office/drawing/2014/main" id="{C3F9C175-5CDD-7451-0020-B6C6AC38F768}"/>
              </a:ext>
            </a:extLst>
          </p:cNvPr>
          <p:cNvSpPr txBox="1"/>
          <p:nvPr/>
        </p:nvSpPr>
        <p:spPr>
          <a:xfrm>
            <a:off x="537418" y="3027117"/>
            <a:ext cx="805835" cy="138499"/>
          </a:xfrm>
          <a:prstGeom prst="rect">
            <a:avLst/>
          </a:prstGeom>
          <a:effectLst/>
        </p:spPr>
        <p:txBody>
          <a:bodyPr vert="horz" wrap="none" lIns="7200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sz="1200" b="0" i="0" spc="-70" baseline="0">
                <a:solidFill>
                  <a:schemeClr val="tx2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spcAft>
                <a:spcPts val="300"/>
              </a:spcAft>
            </a:pPr>
            <a:r>
              <a:rPr lang="es-AR" sz="900" spc="0"/>
              <a:t>1er. Ola (‘80s)</a:t>
            </a:r>
            <a:endParaRPr lang="es-AR" sz="900" spc="0">
              <a:latin typeface="Pulso Light" pitchFamily="2" charset="0"/>
            </a:endParaRPr>
          </a:p>
        </p:txBody>
      </p:sp>
      <p:sp>
        <p:nvSpPr>
          <p:cNvPr id="70" name="Gráfico 20">
            <a:extLst>
              <a:ext uri="{FF2B5EF4-FFF2-40B4-BE49-F238E27FC236}">
                <a16:creationId xmlns:a16="http://schemas.microsoft.com/office/drawing/2014/main" id="{73F8824A-86C5-0902-92C7-DE0C2D8A0540}"/>
              </a:ext>
            </a:extLst>
          </p:cNvPr>
          <p:cNvSpPr/>
          <p:nvPr/>
        </p:nvSpPr>
        <p:spPr>
          <a:xfrm>
            <a:off x="430682" y="622028"/>
            <a:ext cx="7953731" cy="3573198"/>
          </a:xfrm>
          <a:custGeom>
            <a:avLst/>
            <a:gdLst>
              <a:gd name="connsiteX0" fmla="*/ 7952614 w 7953731"/>
              <a:gd name="connsiteY0" fmla="*/ 8127 h 3573198"/>
              <a:gd name="connsiteX1" fmla="*/ 7929074 w 7953731"/>
              <a:gd name="connsiteY1" fmla="*/ 5494 h 3573198"/>
              <a:gd name="connsiteX2" fmla="*/ 7572129 w 7953731"/>
              <a:gd name="connsiteY2" fmla="*/ 556404 h 3573198"/>
              <a:gd name="connsiteX3" fmla="*/ 7435047 w 7953731"/>
              <a:gd name="connsiteY3" fmla="*/ 959781 h 3573198"/>
              <a:gd name="connsiteX4" fmla="*/ 7316640 w 7953731"/>
              <a:gd name="connsiteY4" fmla="*/ 745801 h 3573198"/>
              <a:gd name="connsiteX5" fmla="*/ 7184280 w 7953731"/>
              <a:gd name="connsiteY5" fmla="*/ 689540 h 3573198"/>
              <a:gd name="connsiteX6" fmla="*/ 7049946 w 7953731"/>
              <a:gd name="connsiteY6" fmla="*/ 779796 h 3573198"/>
              <a:gd name="connsiteX7" fmla="*/ 6926218 w 7953731"/>
              <a:gd name="connsiteY7" fmla="*/ 976848 h 3573198"/>
              <a:gd name="connsiteX8" fmla="*/ 6810491 w 7953731"/>
              <a:gd name="connsiteY8" fmla="*/ 1254850 h 3573198"/>
              <a:gd name="connsiteX9" fmla="*/ 6796782 w 7953731"/>
              <a:gd name="connsiteY9" fmla="*/ 1293692 h 3573198"/>
              <a:gd name="connsiteX10" fmla="*/ 6758195 w 7953731"/>
              <a:gd name="connsiteY10" fmla="*/ 1223173 h 3573198"/>
              <a:gd name="connsiteX11" fmla="*/ 6465740 w 7953731"/>
              <a:gd name="connsiteY11" fmla="*/ 1043048 h 3573198"/>
              <a:gd name="connsiteX12" fmla="*/ 6269912 w 7953731"/>
              <a:gd name="connsiteY12" fmla="*/ 1178431 h 3573198"/>
              <a:gd name="connsiteX13" fmla="*/ 6046809 w 7953731"/>
              <a:gd name="connsiteY13" fmla="*/ 1520314 h 3573198"/>
              <a:gd name="connsiteX14" fmla="*/ 5976435 w 7953731"/>
              <a:gd name="connsiteY14" fmla="*/ 1664969 h 3573198"/>
              <a:gd name="connsiteX15" fmla="*/ 5742266 w 7953731"/>
              <a:gd name="connsiteY15" fmla="*/ 1476310 h 3573198"/>
              <a:gd name="connsiteX16" fmla="*/ 5403435 w 7953731"/>
              <a:gd name="connsiteY16" fmla="*/ 1508584 h 3573198"/>
              <a:gd name="connsiteX17" fmla="*/ 5077749 w 7953731"/>
              <a:gd name="connsiteY17" fmla="*/ 1759334 h 3573198"/>
              <a:gd name="connsiteX18" fmla="*/ 4802913 w 7953731"/>
              <a:gd name="connsiteY18" fmla="*/ 2081866 h 3573198"/>
              <a:gd name="connsiteX19" fmla="*/ 4712841 w 7953731"/>
              <a:gd name="connsiteY19" fmla="*/ 1991013 h 3573198"/>
              <a:gd name="connsiteX20" fmla="*/ 4478813 w 7953731"/>
              <a:gd name="connsiteY20" fmla="*/ 1863391 h 3573198"/>
              <a:gd name="connsiteX21" fmla="*/ 4166623 w 7953731"/>
              <a:gd name="connsiteY21" fmla="*/ 1853488 h 3573198"/>
              <a:gd name="connsiteX22" fmla="*/ 3761365 w 7953731"/>
              <a:gd name="connsiteY22" fmla="*/ 2000074 h 3573198"/>
              <a:gd name="connsiteX23" fmla="*/ 3405654 w 7953731"/>
              <a:gd name="connsiteY23" fmla="*/ 2256091 h 3573198"/>
              <a:gd name="connsiteX24" fmla="*/ 3274773 w 7953731"/>
              <a:gd name="connsiteY24" fmla="*/ 2382449 h 3573198"/>
              <a:gd name="connsiteX25" fmla="*/ 2876881 w 7953731"/>
              <a:gd name="connsiteY25" fmla="*/ 2244116 h 3573198"/>
              <a:gd name="connsiteX26" fmla="*/ 2477437 w 7953731"/>
              <a:gd name="connsiteY26" fmla="*/ 2257426 h 3573198"/>
              <a:gd name="connsiteX27" fmla="*/ 2029045 w 7953731"/>
              <a:gd name="connsiteY27" fmla="*/ 2381712 h 3573198"/>
              <a:gd name="connsiteX28" fmla="*/ 1632456 w 7953731"/>
              <a:gd name="connsiteY28" fmla="*/ 2558781 h 3573198"/>
              <a:gd name="connsiteX29" fmla="*/ 1582064 w 7953731"/>
              <a:gd name="connsiteY29" fmla="*/ 2551196 h 3573198"/>
              <a:gd name="connsiteX30" fmla="*/ 1108335 w 7953731"/>
              <a:gd name="connsiteY30" fmla="*/ 2526296 h 3573198"/>
              <a:gd name="connsiteX31" fmla="*/ 716820 w 7953731"/>
              <a:gd name="connsiteY31" fmla="*/ 2538623 h 3573198"/>
              <a:gd name="connsiteX32" fmla="*/ 23300 w 7953731"/>
              <a:gd name="connsiteY32" fmla="*/ 2712918 h 3573198"/>
              <a:gd name="connsiteX33" fmla="*/ 289 w 7953731"/>
              <a:gd name="connsiteY33" fmla="*/ 2741294 h 3573198"/>
              <a:gd name="connsiteX34" fmla="*/ 14349 w 7953731"/>
              <a:gd name="connsiteY34" fmla="*/ 2760294 h 3573198"/>
              <a:gd name="connsiteX35" fmla="*/ 700892 w 7953731"/>
              <a:gd name="connsiteY35" fmla="*/ 2586666 h 3573198"/>
              <a:gd name="connsiteX36" fmla="*/ 1076125 w 7953731"/>
              <a:gd name="connsiteY36" fmla="*/ 2574304 h 3573198"/>
              <a:gd name="connsiteX37" fmla="*/ 1528499 w 7953731"/>
              <a:gd name="connsiteY37" fmla="*/ 2594954 h 3573198"/>
              <a:gd name="connsiteX38" fmla="*/ 1565430 w 7953731"/>
              <a:gd name="connsiteY38" fmla="*/ 2599590 h 3573198"/>
              <a:gd name="connsiteX39" fmla="*/ 1437439 w 7953731"/>
              <a:gd name="connsiteY39" fmla="*/ 2691847 h 3573198"/>
              <a:gd name="connsiteX40" fmla="*/ 1194320 w 7953731"/>
              <a:gd name="connsiteY40" fmla="*/ 3003879 h 3573198"/>
              <a:gd name="connsiteX41" fmla="*/ 1172788 w 7953731"/>
              <a:gd name="connsiteY41" fmla="*/ 3132730 h 3573198"/>
              <a:gd name="connsiteX42" fmla="*/ 1279459 w 7953731"/>
              <a:gd name="connsiteY42" fmla="*/ 3417756 h 3573198"/>
              <a:gd name="connsiteX43" fmla="*/ 1779547 w 7953731"/>
              <a:gd name="connsiteY43" fmla="*/ 3571787 h 3573198"/>
              <a:gd name="connsiteX44" fmla="*/ 2055581 w 7953731"/>
              <a:gd name="connsiteY44" fmla="*/ 3524447 h 3573198"/>
              <a:gd name="connsiteX45" fmla="*/ 2311352 w 7953731"/>
              <a:gd name="connsiteY45" fmla="*/ 3285638 h 3573198"/>
              <a:gd name="connsiteX46" fmla="*/ 2349059 w 7953731"/>
              <a:gd name="connsiteY46" fmla="*/ 2977820 h 3573198"/>
              <a:gd name="connsiteX47" fmla="*/ 2219446 w 7953731"/>
              <a:gd name="connsiteY47" fmla="*/ 2809882 h 3573198"/>
              <a:gd name="connsiteX48" fmla="*/ 1691941 w 7953731"/>
              <a:gd name="connsiteY48" fmla="*/ 2569563 h 3573198"/>
              <a:gd name="connsiteX49" fmla="*/ 1974001 w 7953731"/>
              <a:gd name="connsiteY49" fmla="*/ 2445734 h 3573198"/>
              <a:gd name="connsiteX50" fmla="*/ 2400121 w 7953731"/>
              <a:gd name="connsiteY50" fmla="*/ 2318954 h 3573198"/>
              <a:gd name="connsiteX51" fmla="*/ 2793151 w 7953731"/>
              <a:gd name="connsiteY51" fmla="*/ 2285380 h 3573198"/>
              <a:gd name="connsiteX52" fmla="*/ 3237454 w 7953731"/>
              <a:gd name="connsiteY52" fmla="*/ 2421607 h 3573198"/>
              <a:gd name="connsiteX53" fmla="*/ 3124088 w 7953731"/>
              <a:gd name="connsiteY53" fmla="*/ 2549967 h 3573198"/>
              <a:gd name="connsiteX54" fmla="*/ 3018756 w 7953731"/>
              <a:gd name="connsiteY54" fmla="*/ 2687527 h 3573198"/>
              <a:gd name="connsiteX55" fmla="*/ 2941792 w 7953731"/>
              <a:gd name="connsiteY55" fmla="*/ 2883034 h 3573198"/>
              <a:gd name="connsiteX56" fmla="*/ 2995110 w 7953731"/>
              <a:gd name="connsiteY56" fmla="*/ 3228570 h 3573198"/>
              <a:gd name="connsiteX57" fmla="*/ 3277734 w 7953731"/>
              <a:gd name="connsiteY57" fmla="*/ 3396017 h 3573198"/>
              <a:gd name="connsiteX58" fmla="*/ 3619807 w 7953731"/>
              <a:gd name="connsiteY58" fmla="*/ 3344989 h 3573198"/>
              <a:gd name="connsiteX59" fmla="*/ 3796816 w 7953731"/>
              <a:gd name="connsiteY59" fmla="*/ 3060842 h 3573198"/>
              <a:gd name="connsiteX60" fmla="*/ 3740609 w 7953731"/>
              <a:gd name="connsiteY60" fmla="*/ 2805176 h 3573198"/>
              <a:gd name="connsiteX61" fmla="*/ 3645320 w 7953731"/>
              <a:gd name="connsiteY61" fmla="*/ 2688897 h 3573198"/>
              <a:gd name="connsiteX62" fmla="*/ 3512255 w 7953731"/>
              <a:gd name="connsiteY62" fmla="*/ 2556112 h 3573198"/>
              <a:gd name="connsiteX63" fmla="*/ 3304199 w 7953731"/>
              <a:gd name="connsiteY63" fmla="*/ 2399903 h 3573198"/>
              <a:gd name="connsiteX64" fmla="*/ 3390818 w 7953731"/>
              <a:gd name="connsiteY64" fmla="*/ 2315758 h 3573198"/>
              <a:gd name="connsiteX65" fmla="*/ 4115137 w 7953731"/>
              <a:gd name="connsiteY65" fmla="*/ 1909256 h 3573198"/>
              <a:gd name="connsiteX66" fmla="*/ 4424966 w 7953731"/>
              <a:gd name="connsiteY66" fmla="*/ 1902724 h 3573198"/>
              <a:gd name="connsiteX67" fmla="*/ 4655787 w 7953731"/>
              <a:gd name="connsiteY67" fmla="*/ 2011698 h 3573198"/>
              <a:gd name="connsiteX68" fmla="*/ 4772466 w 7953731"/>
              <a:gd name="connsiteY68" fmla="*/ 2123658 h 3573198"/>
              <a:gd name="connsiteX69" fmla="*/ 4559547 w 7953731"/>
              <a:gd name="connsiteY69" fmla="*/ 2460448 h 3573198"/>
              <a:gd name="connsiteX70" fmla="*/ 4480786 w 7953731"/>
              <a:gd name="connsiteY70" fmla="*/ 2836748 h 3573198"/>
              <a:gd name="connsiteX71" fmla="*/ 4700119 w 7953731"/>
              <a:gd name="connsiteY71" fmla="*/ 3072958 h 3573198"/>
              <a:gd name="connsiteX72" fmla="*/ 4937635 w 7953731"/>
              <a:gd name="connsiteY72" fmla="*/ 3017540 h 3573198"/>
              <a:gd name="connsiteX73" fmla="*/ 5092937 w 7953731"/>
              <a:gd name="connsiteY73" fmla="*/ 2767423 h 3573198"/>
              <a:gd name="connsiteX74" fmla="*/ 5086523 w 7953731"/>
              <a:gd name="connsiteY74" fmla="*/ 2592495 h 3573198"/>
              <a:gd name="connsiteX75" fmla="*/ 5023339 w 7953731"/>
              <a:gd name="connsiteY75" fmla="*/ 2434987 h 3573198"/>
              <a:gd name="connsiteX76" fmla="*/ 4823916 w 7953731"/>
              <a:gd name="connsiteY76" fmla="*/ 2107152 h 3573198"/>
              <a:gd name="connsiteX77" fmla="*/ 5078594 w 7953731"/>
              <a:gd name="connsiteY77" fmla="*/ 1806147 h 3573198"/>
              <a:gd name="connsiteX78" fmla="*/ 5380988 w 7953731"/>
              <a:gd name="connsiteY78" fmla="*/ 1563335 h 3573198"/>
              <a:gd name="connsiteX79" fmla="*/ 5706815 w 7953731"/>
              <a:gd name="connsiteY79" fmla="*/ 1518593 h 3573198"/>
              <a:gd name="connsiteX80" fmla="*/ 5945812 w 7953731"/>
              <a:gd name="connsiteY80" fmla="*/ 1707463 h 3573198"/>
              <a:gd name="connsiteX81" fmla="*/ 5953177 w 7953731"/>
              <a:gd name="connsiteY81" fmla="*/ 1716840 h 3573198"/>
              <a:gd name="connsiteX82" fmla="*/ 5871491 w 7953731"/>
              <a:gd name="connsiteY82" fmla="*/ 1918703 h 3573198"/>
              <a:gd name="connsiteX83" fmla="*/ 5755622 w 7953731"/>
              <a:gd name="connsiteY83" fmla="*/ 2305082 h 3573198"/>
              <a:gd name="connsiteX84" fmla="*/ 5765489 w 7953731"/>
              <a:gd name="connsiteY84" fmla="*/ 2607878 h 3573198"/>
              <a:gd name="connsiteX85" fmla="*/ 5977703 w 7953731"/>
              <a:gd name="connsiteY85" fmla="*/ 2758503 h 3573198"/>
              <a:gd name="connsiteX86" fmla="*/ 6102030 w 7953731"/>
              <a:gd name="connsiteY86" fmla="*/ 2737747 h 3573198"/>
              <a:gd name="connsiteX87" fmla="*/ 6207714 w 7953731"/>
              <a:gd name="connsiteY87" fmla="*/ 2640924 h 3573198"/>
              <a:gd name="connsiteX88" fmla="*/ 6268115 w 7953731"/>
              <a:gd name="connsiteY88" fmla="*/ 2282501 h 3573198"/>
              <a:gd name="connsiteX89" fmla="*/ 6169338 w 7953731"/>
              <a:gd name="connsiteY89" fmla="*/ 1986483 h 3573198"/>
              <a:gd name="connsiteX90" fmla="*/ 5998566 w 7953731"/>
              <a:gd name="connsiteY90" fmla="*/ 1693451 h 3573198"/>
              <a:gd name="connsiteX91" fmla="*/ 6082049 w 7953731"/>
              <a:gd name="connsiteY91" fmla="*/ 1521262 h 3573198"/>
              <a:gd name="connsiteX92" fmla="*/ 6292043 w 7953731"/>
              <a:gd name="connsiteY92" fmla="*/ 1202909 h 3573198"/>
              <a:gd name="connsiteX93" fmla="*/ 6465775 w 7953731"/>
              <a:gd name="connsiteY93" fmla="*/ 1088492 h 3573198"/>
              <a:gd name="connsiteX94" fmla="*/ 6729863 w 7953731"/>
              <a:gd name="connsiteY94" fmla="*/ 1270478 h 3573198"/>
              <a:gd name="connsiteX95" fmla="*/ 6775322 w 7953731"/>
              <a:gd name="connsiteY95" fmla="*/ 1357187 h 3573198"/>
              <a:gd name="connsiteX96" fmla="*/ 6616848 w 7953731"/>
              <a:gd name="connsiteY96" fmla="*/ 1929134 h 3573198"/>
              <a:gd name="connsiteX97" fmla="*/ 6634045 w 7953731"/>
              <a:gd name="connsiteY97" fmla="*/ 2268945 h 3573198"/>
              <a:gd name="connsiteX98" fmla="*/ 6824517 w 7953731"/>
              <a:gd name="connsiteY98" fmla="*/ 2324152 h 3573198"/>
              <a:gd name="connsiteX99" fmla="*/ 6966145 w 7953731"/>
              <a:gd name="connsiteY99" fmla="*/ 2085308 h 3573198"/>
              <a:gd name="connsiteX100" fmla="*/ 6933126 w 7953731"/>
              <a:gd name="connsiteY100" fmla="*/ 1678419 h 3573198"/>
              <a:gd name="connsiteX101" fmla="*/ 6817045 w 7953731"/>
              <a:gd name="connsiteY101" fmla="*/ 1335729 h 3573198"/>
              <a:gd name="connsiteX102" fmla="*/ 6854822 w 7953731"/>
              <a:gd name="connsiteY102" fmla="*/ 1228476 h 3573198"/>
              <a:gd name="connsiteX103" fmla="*/ 6963045 w 7953731"/>
              <a:gd name="connsiteY103" fmla="*/ 974285 h 3573198"/>
              <a:gd name="connsiteX104" fmla="*/ 7076764 w 7953731"/>
              <a:gd name="connsiteY104" fmla="*/ 799041 h 3573198"/>
              <a:gd name="connsiteX105" fmla="*/ 7087546 w 7953731"/>
              <a:gd name="connsiteY105" fmla="*/ 787768 h 3573198"/>
              <a:gd name="connsiteX106" fmla="*/ 7103722 w 7953731"/>
              <a:gd name="connsiteY106" fmla="*/ 772983 h 3573198"/>
              <a:gd name="connsiteX107" fmla="*/ 7129764 w 7953731"/>
              <a:gd name="connsiteY107" fmla="*/ 754054 h 3573198"/>
              <a:gd name="connsiteX108" fmla="*/ 7183892 w 7953731"/>
              <a:gd name="connsiteY108" fmla="*/ 736143 h 3573198"/>
              <a:gd name="connsiteX109" fmla="*/ 7299303 w 7953731"/>
              <a:gd name="connsiteY109" fmla="*/ 803431 h 3573198"/>
              <a:gd name="connsiteX110" fmla="*/ 7414784 w 7953731"/>
              <a:gd name="connsiteY110" fmla="*/ 1035954 h 3573198"/>
              <a:gd name="connsiteX111" fmla="*/ 7367386 w 7953731"/>
              <a:gd name="connsiteY111" fmla="*/ 1234551 h 3573198"/>
              <a:gd name="connsiteX112" fmla="*/ 7269137 w 7953731"/>
              <a:gd name="connsiteY112" fmla="*/ 1775102 h 3573198"/>
              <a:gd name="connsiteX113" fmla="*/ 7258530 w 7953731"/>
              <a:gd name="connsiteY113" fmla="*/ 1947887 h 3573198"/>
              <a:gd name="connsiteX114" fmla="*/ 7296201 w 7953731"/>
              <a:gd name="connsiteY114" fmla="*/ 2054684 h 3573198"/>
              <a:gd name="connsiteX115" fmla="*/ 7449812 w 7953731"/>
              <a:gd name="connsiteY115" fmla="*/ 2053385 h 3573198"/>
              <a:gd name="connsiteX116" fmla="*/ 7574666 w 7953731"/>
              <a:gd name="connsiteY116" fmla="*/ 1798105 h 3573198"/>
              <a:gd name="connsiteX117" fmla="*/ 7552184 w 7953731"/>
              <a:gd name="connsiteY117" fmla="*/ 1384017 h 3573198"/>
              <a:gd name="connsiteX118" fmla="*/ 7455098 w 7953731"/>
              <a:gd name="connsiteY118" fmla="*/ 1014742 h 3573198"/>
              <a:gd name="connsiteX119" fmla="*/ 7616461 w 7953731"/>
              <a:gd name="connsiteY119" fmla="*/ 534280 h 3573198"/>
              <a:gd name="connsiteX120" fmla="*/ 7939575 w 7953731"/>
              <a:gd name="connsiteY120" fmla="*/ 42263 h 3573198"/>
              <a:gd name="connsiteX121" fmla="*/ 7952719 w 7953731"/>
              <a:gd name="connsiteY121" fmla="*/ 8233 h 3573198"/>
              <a:gd name="connsiteX122" fmla="*/ 2164543 w 7953731"/>
              <a:gd name="connsiteY122" fmla="*/ 2831585 h 3573198"/>
              <a:gd name="connsiteX123" fmla="*/ 2302683 w 7953731"/>
              <a:gd name="connsiteY123" fmla="*/ 2989304 h 3573198"/>
              <a:gd name="connsiteX124" fmla="*/ 2293697 w 7953731"/>
              <a:gd name="connsiteY124" fmla="*/ 3250554 h 3573198"/>
              <a:gd name="connsiteX125" fmla="*/ 2069289 w 7953731"/>
              <a:gd name="connsiteY125" fmla="*/ 3474613 h 3573198"/>
              <a:gd name="connsiteX126" fmla="*/ 1930797 w 7953731"/>
              <a:gd name="connsiteY126" fmla="*/ 3510505 h 3573198"/>
              <a:gd name="connsiteX127" fmla="*/ 1808162 w 7953731"/>
              <a:gd name="connsiteY127" fmla="*/ 3523007 h 3573198"/>
              <a:gd name="connsiteX128" fmla="*/ 1326434 w 7953731"/>
              <a:gd name="connsiteY128" fmla="*/ 3392891 h 3573198"/>
              <a:gd name="connsiteX129" fmla="*/ 1212926 w 7953731"/>
              <a:gd name="connsiteY129" fmla="*/ 3137963 h 3573198"/>
              <a:gd name="connsiteX130" fmla="*/ 1210460 w 7953731"/>
              <a:gd name="connsiteY130" fmla="*/ 3093537 h 3573198"/>
              <a:gd name="connsiteX131" fmla="*/ 1211059 w 7953731"/>
              <a:gd name="connsiteY131" fmla="*/ 3080438 h 3573198"/>
              <a:gd name="connsiteX132" fmla="*/ 1211129 w 7953731"/>
              <a:gd name="connsiteY132" fmla="*/ 3079314 h 3573198"/>
              <a:gd name="connsiteX133" fmla="*/ 1211200 w 7953731"/>
              <a:gd name="connsiteY133" fmla="*/ 3078823 h 3573198"/>
              <a:gd name="connsiteX134" fmla="*/ 1212081 w 7953731"/>
              <a:gd name="connsiteY134" fmla="*/ 3071202 h 3573198"/>
              <a:gd name="connsiteX135" fmla="*/ 1217543 w 7953731"/>
              <a:gd name="connsiteY135" fmla="*/ 3041140 h 3573198"/>
              <a:gd name="connsiteX136" fmla="*/ 1220996 w 7953731"/>
              <a:gd name="connsiteY136" fmla="*/ 3027584 h 3573198"/>
              <a:gd name="connsiteX137" fmla="*/ 1220996 w 7953731"/>
              <a:gd name="connsiteY137" fmla="*/ 3027479 h 3573198"/>
              <a:gd name="connsiteX138" fmla="*/ 1222018 w 7953731"/>
              <a:gd name="connsiteY138" fmla="*/ 3024107 h 3573198"/>
              <a:gd name="connsiteX139" fmla="*/ 1224732 w 7953731"/>
              <a:gd name="connsiteY139" fmla="*/ 3015573 h 3573198"/>
              <a:gd name="connsiteX140" fmla="*/ 1237101 w 7953731"/>
              <a:gd name="connsiteY140" fmla="*/ 2983123 h 3573198"/>
              <a:gd name="connsiteX141" fmla="*/ 1243233 w 7953731"/>
              <a:gd name="connsiteY141" fmla="*/ 2969532 h 3573198"/>
              <a:gd name="connsiteX142" fmla="*/ 1246369 w 7953731"/>
              <a:gd name="connsiteY142" fmla="*/ 2963106 h 3573198"/>
              <a:gd name="connsiteX143" fmla="*/ 1251162 w 7953731"/>
              <a:gd name="connsiteY143" fmla="*/ 2953834 h 3573198"/>
              <a:gd name="connsiteX144" fmla="*/ 1293238 w 7953731"/>
              <a:gd name="connsiteY144" fmla="*/ 2886722 h 3573198"/>
              <a:gd name="connsiteX145" fmla="*/ 1432611 w 7953731"/>
              <a:gd name="connsiteY145" fmla="*/ 2740908 h 3573198"/>
              <a:gd name="connsiteX146" fmla="*/ 1622237 w 7953731"/>
              <a:gd name="connsiteY146" fmla="*/ 2608194 h 3573198"/>
              <a:gd name="connsiteX147" fmla="*/ 2164543 w 7953731"/>
              <a:gd name="connsiteY147" fmla="*/ 2831550 h 3573198"/>
              <a:gd name="connsiteX148" fmla="*/ 3418763 w 7953731"/>
              <a:gd name="connsiteY148" fmla="*/ 2544312 h 3573198"/>
              <a:gd name="connsiteX149" fmla="*/ 3673935 w 7953731"/>
              <a:gd name="connsiteY149" fmla="*/ 2798819 h 3573198"/>
              <a:gd name="connsiteX150" fmla="*/ 3758475 w 7953731"/>
              <a:gd name="connsiteY150" fmla="*/ 3009603 h 3573198"/>
              <a:gd name="connsiteX151" fmla="*/ 3662517 w 7953731"/>
              <a:gd name="connsiteY151" fmla="*/ 3269378 h 3573198"/>
              <a:gd name="connsiteX152" fmla="*/ 3343808 w 7953731"/>
              <a:gd name="connsiteY152" fmla="*/ 3354085 h 3573198"/>
              <a:gd name="connsiteX153" fmla="*/ 3048921 w 7953731"/>
              <a:gd name="connsiteY153" fmla="*/ 3219052 h 3573198"/>
              <a:gd name="connsiteX154" fmla="*/ 2973438 w 7953731"/>
              <a:gd name="connsiteY154" fmla="*/ 2908706 h 3573198"/>
              <a:gd name="connsiteX155" fmla="*/ 3031830 w 7953731"/>
              <a:gd name="connsiteY155" fmla="*/ 2727141 h 3573198"/>
              <a:gd name="connsiteX156" fmla="*/ 3130431 w 7953731"/>
              <a:gd name="connsiteY156" fmla="*/ 2593092 h 3573198"/>
              <a:gd name="connsiteX157" fmla="*/ 3266809 w 7953731"/>
              <a:gd name="connsiteY157" fmla="*/ 2438499 h 3573198"/>
              <a:gd name="connsiteX158" fmla="*/ 3418728 w 7953731"/>
              <a:gd name="connsiteY158" fmla="*/ 2544312 h 3573198"/>
              <a:gd name="connsiteX159" fmla="*/ 5060904 w 7953731"/>
              <a:gd name="connsiteY159" fmla="*/ 2716465 h 3573198"/>
              <a:gd name="connsiteX160" fmla="*/ 4954797 w 7953731"/>
              <a:gd name="connsiteY160" fmla="*/ 2958997 h 3573198"/>
              <a:gd name="connsiteX161" fmla="*/ 4740046 w 7953731"/>
              <a:gd name="connsiteY161" fmla="*/ 3029480 h 3573198"/>
              <a:gd name="connsiteX162" fmla="*/ 4612865 w 7953731"/>
              <a:gd name="connsiteY162" fmla="*/ 2962895 h 3573198"/>
              <a:gd name="connsiteX163" fmla="*/ 4522651 w 7953731"/>
              <a:gd name="connsiteY163" fmla="*/ 2824702 h 3573198"/>
              <a:gd name="connsiteX164" fmla="*/ 4585871 w 7953731"/>
              <a:gd name="connsiteY164" fmla="*/ 2478324 h 3573198"/>
              <a:gd name="connsiteX165" fmla="*/ 4793434 w 7953731"/>
              <a:gd name="connsiteY165" fmla="*/ 2148943 h 3573198"/>
              <a:gd name="connsiteX166" fmla="*/ 4963219 w 7953731"/>
              <a:gd name="connsiteY166" fmla="*/ 2421291 h 3573198"/>
              <a:gd name="connsiteX167" fmla="*/ 5060939 w 7953731"/>
              <a:gd name="connsiteY167" fmla="*/ 2716430 h 3573198"/>
              <a:gd name="connsiteX168" fmla="*/ 6123315 w 7953731"/>
              <a:gd name="connsiteY168" fmla="*/ 1998178 h 3573198"/>
              <a:gd name="connsiteX169" fmla="*/ 6224664 w 7953731"/>
              <a:gd name="connsiteY169" fmla="*/ 2273826 h 3573198"/>
              <a:gd name="connsiteX170" fmla="*/ 6190129 w 7953731"/>
              <a:gd name="connsiteY170" fmla="*/ 2608931 h 3573198"/>
              <a:gd name="connsiteX171" fmla="*/ 6099845 w 7953731"/>
              <a:gd name="connsiteY171" fmla="*/ 2694867 h 3573198"/>
              <a:gd name="connsiteX172" fmla="*/ 5987711 w 7953731"/>
              <a:gd name="connsiteY172" fmla="*/ 2709406 h 3573198"/>
              <a:gd name="connsiteX173" fmla="*/ 5794245 w 7953731"/>
              <a:gd name="connsiteY173" fmla="*/ 2557728 h 3573198"/>
              <a:gd name="connsiteX174" fmla="*/ 5797839 w 7953731"/>
              <a:gd name="connsiteY174" fmla="*/ 2271087 h 3573198"/>
              <a:gd name="connsiteX175" fmla="*/ 5912933 w 7953731"/>
              <a:gd name="connsiteY175" fmla="*/ 1900547 h 3573198"/>
              <a:gd name="connsiteX176" fmla="*/ 5975343 w 7953731"/>
              <a:gd name="connsiteY176" fmla="*/ 1746059 h 3573198"/>
              <a:gd name="connsiteX177" fmla="*/ 6123279 w 7953731"/>
              <a:gd name="connsiteY177" fmla="*/ 1998178 h 3573198"/>
              <a:gd name="connsiteX178" fmla="*/ 6894749 w 7953731"/>
              <a:gd name="connsiteY178" fmla="*/ 1703740 h 3573198"/>
              <a:gd name="connsiteX179" fmla="*/ 6930095 w 7953731"/>
              <a:gd name="connsiteY179" fmla="*/ 2087661 h 3573198"/>
              <a:gd name="connsiteX180" fmla="*/ 6813134 w 7953731"/>
              <a:gd name="connsiteY180" fmla="*/ 2283905 h 3573198"/>
              <a:gd name="connsiteX181" fmla="*/ 6651242 w 7953731"/>
              <a:gd name="connsiteY181" fmla="*/ 2202289 h 3573198"/>
              <a:gd name="connsiteX182" fmla="*/ 6666713 w 7953731"/>
              <a:gd name="connsiteY182" fmla="*/ 1865639 h 3573198"/>
              <a:gd name="connsiteX183" fmla="*/ 6795232 w 7953731"/>
              <a:gd name="connsiteY183" fmla="*/ 1401507 h 3573198"/>
              <a:gd name="connsiteX184" fmla="*/ 6894749 w 7953731"/>
              <a:gd name="connsiteY184" fmla="*/ 1703740 h 3573198"/>
              <a:gd name="connsiteX185" fmla="*/ 7519446 w 7953731"/>
              <a:gd name="connsiteY185" fmla="*/ 1436064 h 3573198"/>
              <a:gd name="connsiteX186" fmla="*/ 7533189 w 7953731"/>
              <a:gd name="connsiteY186" fmla="*/ 1832557 h 3573198"/>
              <a:gd name="connsiteX187" fmla="*/ 7503341 w 7953731"/>
              <a:gd name="connsiteY187" fmla="*/ 1934296 h 3573198"/>
              <a:gd name="connsiteX188" fmla="*/ 7482691 w 7953731"/>
              <a:gd name="connsiteY188" fmla="*/ 1973664 h 3573198"/>
              <a:gd name="connsiteX189" fmla="*/ 7424157 w 7953731"/>
              <a:gd name="connsiteY189" fmla="*/ 2025430 h 3573198"/>
              <a:gd name="connsiteX190" fmla="*/ 7358506 w 7953731"/>
              <a:gd name="connsiteY190" fmla="*/ 2034280 h 3573198"/>
              <a:gd name="connsiteX191" fmla="*/ 7309839 w 7953731"/>
              <a:gd name="connsiteY191" fmla="*/ 1983463 h 3573198"/>
              <a:gd name="connsiteX192" fmla="*/ 7313856 w 7953731"/>
              <a:gd name="connsiteY192" fmla="*/ 1716559 h 3573198"/>
              <a:gd name="connsiteX193" fmla="*/ 7415418 w 7953731"/>
              <a:gd name="connsiteY193" fmla="*/ 1176043 h 3573198"/>
              <a:gd name="connsiteX194" fmla="*/ 7434553 w 7953731"/>
              <a:gd name="connsiteY194" fmla="*/ 1095305 h 3573198"/>
              <a:gd name="connsiteX195" fmla="*/ 7519481 w 7953731"/>
              <a:gd name="connsiteY195" fmla="*/ 1436029 h 3573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</a:cxnLst>
            <a:rect l="l" t="t" r="r" b="b"/>
            <a:pathLst>
              <a:path w="7953731" h="3573198">
                <a:moveTo>
                  <a:pt x="7952614" y="8127"/>
                </a:moveTo>
                <a:cubicBezTo>
                  <a:pt x="7948773" y="-3286"/>
                  <a:pt x="7936580" y="-1249"/>
                  <a:pt x="7929074" y="5494"/>
                </a:cubicBezTo>
                <a:cubicBezTo>
                  <a:pt x="7764751" y="153379"/>
                  <a:pt x="7655930" y="354927"/>
                  <a:pt x="7572129" y="556404"/>
                </a:cubicBezTo>
                <a:cubicBezTo>
                  <a:pt x="7517578" y="687574"/>
                  <a:pt x="7473000" y="822747"/>
                  <a:pt x="7435047" y="959781"/>
                </a:cubicBezTo>
                <a:cubicBezTo>
                  <a:pt x="7406502" y="884345"/>
                  <a:pt x="7372073" y="805117"/>
                  <a:pt x="7316640" y="745801"/>
                </a:cubicBezTo>
                <a:cubicBezTo>
                  <a:pt x="7281895" y="708610"/>
                  <a:pt x="7236858" y="681358"/>
                  <a:pt x="7184280" y="689540"/>
                </a:cubicBezTo>
                <a:cubicBezTo>
                  <a:pt x="7129764" y="698004"/>
                  <a:pt x="7084587" y="739796"/>
                  <a:pt x="7049946" y="779796"/>
                </a:cubicBezTo>
                <a:cubicBezTo>
                  <a:pt x="6999130" y="838445"/>
                  <a:pt x="6960402" y="907629"/>
                  <a:pt x="6926218" y="976848"/>
                </a:cubicBezTo>
                <a:cubicBezTo>
                  <a:pt x="6881711" y="1066929"/>
                  <a:pt x="6844321" y="1160345"/>
                  <a:pt x="6810491" y="1254850"/>
                </a:cubicBezTo>
                <a:cubicBezTo>
                  <a:pt x="6805875" y="1267774"/>
                  <a:pt x="6801293" y="1280733"/>
                  <a:pt x="6796782" y="1293692"/>
                </a:cubicBezTo>
                <a:cubicBezTo>
                  <a:pt x="6784731" y="1269705"/>
                  <a:pt x="6771939" y="1246141"/>
                  <a:pt x="6758195" y="1223173"/>
                </a:cubicBezTo>
                <a:cubicBezTo>
                  <a:pt x="6697125" y="1121293"/>
                  <a:pt x="6597819" y="1010808"/>
                  <a:pt x="6465740" y="1043048"/>
                </a:cubicBezTo>
                <a:cubicBezTo>
                  <a:pt x="6387261" y="1062188"/>
                  <a:pt x="6322596" y="1120274"/>
                  <a:pt x="6269912" y="1178431"/>
                </a:cubicBezTo>
                <a:cubicBezTo>
                  <a:pt x="6178535" y="1279293"/>
                  <a:pt x="6108972" y="1400102"/>
                  <a:pt x="6046809" y="1520314"/>
                </a:cubicBezTo>
                <a:cubicBezTo>
                  <a:pt x="6022176" y="1567935"/>
                  <a:pt x="5998742" y="1616189"/>
                  <a:pt x="5976435" y="1664969"/>
                </a:cubicBezTo>
                <a:cubicBezTo>
                  <a:pt x="5913638" y="1586864"/>
                  <a:pt x="5836779" y="1512799"/>
                  <a:pt x="5742266" y="1476310"/>
                </a:cubicBezTo>
                <a:cubicBezTo>
                  <a:pt x="5630943" y="1433324"/>
                  <a:pt x="5508556" y="1459769"/>
                  <a:pt x="5403435" y="1508584"/>
                </a:cubicBezTo>
                <a:cubicBezTo>
                  <a:pt x="5278087" y="1566776"/>
                  <a:pt x="5172826" y="1661001"/>
                  <a:pt x="5077749" y="1759334"/>
                </a:cubicBezTo>
                <a:cubicBezTo>
                  <a:pt x="4979712" y="1860757"/>
                  <a:pt x="4886714" y="1968432"/>
                  <a:pt x="4802913" y="2081866"/>
                </a:cubicBezTo>
                <a:cubicBezTo>
                  <a:pt x="4775180" y="2049592"/>
                  <a:pt x="4745332" y="2019073"/>
                  <a:pt x="4712841" y="1991013"/>
                </a:cubicBezTo>
                <a:cubicBezTo>
                  <a:pt x="4644686" y="1932154"/>
                  <a:pt x="4565679" y="1888009"/>
                  <a:pt x="4478813" y="1863391"/>
                </a:cubicBezTo>
                <a:cubicBezTo>
                  <a:pt x="4377322" y="1834664"/>
                  <a:pt x="4269946" y="1835507"/>
                  <a:pt x="4166623" y="1853488"/>
                </a:cubicBezTo>
                <a:cubicBezTo>
                  <a:pt x="4025065" y="1878106"/>
                  <a:pt x="3887911" y="1933313"/>
                  <a:pt x="3761365" y="2000074"/>
                </a:cubicBezTo>
                <a:cubicBezTo>
                  <a:pt x="3631859" y="2068345"/>
                  <a:pt x="3514052" y="2158390"/>
                  <a:pt x="3405654" y="2256091"/>
                </a:cubicBezTo>
                <a:cubicBezTo>
                  <a:pt x="3360618" y="2296689"/>
                  <a:pt x="3317026" y="2338902"/>
                  <a:pt x="3274773" y="2382449"/>
                </a:cubicBezTo>
                <a:cubicBezTo>
                  <a:pt x="3152597" y="2312422"/>
                  <a:pt x="3019179" y="2263501"/>
                  <a:pt x="2876881" y="2244116"/>
                </a:cubicBezTo>
                <a:cubicBezTo>
                  <a:pt x="2744203" y="2226029"/>
                  <a:pt x="2608882" y="2233264"/>
                  <a:pt x="2477437" y="2257426"/>
                </a:cubicBezTo>
                <a:cubicBezTo>
                  <a:pt x="2325448" y="2285380"/>
                  <a:pt x="2174692" y="2330473"/>
                  <a:pt x="2029045" y="2381712"/>
                </a:cubicBezTo>
                <a:cubicBezTo>
                  <a:pt x="1893196" y="2429508"/>
                  <a:pt x="1758016" y="2486401"/>
                  <a:pt x="1632456" y="2558781"/>
                </a:cubicBezTo>
                <a:cubicBezTo>
                  <a:pt x="1615612" y="2556007"/>
                  <a:pt x="1598802" y="2553478"/>
                  <a:pt x="1582064" y="2551196"/>
                </a:cubicBezTo>
                <a:cubicBezTo>
                  <a:pt x="1425775" y="2530019"/>
                  <a:pt x="1265857" y="2528579"/>
                  <a:pt x="1108335" y="2526296"/>
                </a:cubicBezTo>
                <a:cubicBezTo>
                  <a:pt x="977736" y="2524400"/>
                  <a:pt x="846961" y="2526612"/>
                  <a:pt x="716820" y="2538623"/>
                </a:cubicBezTo>
                <a:cubicBezTo>
                  <a:pt x="476943" y="2560783"/>
                  <a:pt x="246826" y="2624840"/>
                  <a:pt x="23300" y="2712918"/>
                </a:cubicBezTo>
                <a:cubicBezTo>
                  <a:pt x="11460" y="2717589"/>
                  <a:pt x="2438" y="2728617"/>
                  <a:pt x="289" y="2741294"/>
                </a:cubicBezTo>
                <a:cubicBezTo>
                  <a:pt x="-1086" y="2749301"/>
                  <a:pt x="2262" y="2765035"/>
                  <a:pt x="14349" y="2760294"/>
                </a:cubicBezTo>
                <a:cubicBezTo>
                  <a:pt x="235620" y="2673094"/>
                  <a:pt x="463481" y="2609247"/>
                  <a:pt x="700892" y="2586666"/>
                </a:cubicBezTo>
                <a:cubicBezTo>
                  <a:pt x="825535" y="2574796"/>
                  <a:pt x="950989" y="2572759"/>
                  <a:pt x="1076125" y="2574304"/>
                </a:cubicBezTo>
                <a:cubicBezTo>
                  <a:pt x="1226494" y="2576130"/>
                  <a:pt x="1378976" y="2577745"/>
                  <a:pt x="1528499" y="2594954"/>
                </a:cubicBezTo>
                <a:cubicBezTo>
                  <a:pt x="1540798" y="2596358"/>
                  <a:pt x="1553096" y="2597939"/>
                  <a:pt x="1565430" y="2599590"/>
                </a:cubicBezTo>
                <a:cubicBezTo>
                  <a:pt x="1521134" y="2628036"/>
                  <a:pt x="1478318" y="2658659"/>
                  <a:pt x="1437439" y="2691847"/>
                </a:cubicBezTo>
                <a:cubicBezTo>
                  <a:pt x="1335561" y="2774517"/>
                  <a:pt x="1239251" y="2878504"/>
                  <a:pt x="1194320" y="3003879"/>
                </a:cubicBezTo>
                <a:cubicBezTo>
                  <a:pt x="1179590" y="3045003"/>
                  <a:pt x="1170462" y="3088902"/>
                  <a:pt x="1172788" y="3132730"/>
                </a:cubicBezTo>
                <a:cubicBezTo>
                  <a:pt x="1178215" y="3235418"/>
                  <a:pt x="1209402" y="3340107"/>
                  <a:pt x="1279459" y="3417756"/>
                </a:cubicBezTo>
                <a:cubicBezTo>
                  <a:pt x="1403116" y="3554754"/>
                  <a:pt x="1604723" y="3580075"/>
                  <a:pt x="1779547" y="3571787"/>
                </a:cubicBezTo>
                <a:cubicBezTo>
                  <a:pt x="1870995" y="3567467"/>
                  <a:pt x="1970512" y="3560022"/>
                  <a:pt x="2055581" y="3524447"/>
                </a:cubicBezTo>
                <a:cubicBezTo>
                  <a:pt x="2164719" y="3478827"/>
                  <a:pt x="2255532" y="3388677"/>
                  <a:pt x="2311352" y="3285638"/>
                </a:cubicBezTo>
                <a:cubicBezTo>
                  <a:pt x="2360723" y="3194469"/>
                  <a:pt x="2391135" y="3077523"/>
                  <a:pt x="2349059" y="2977820"/>
                </a:cubicBezTo>
                <a:cubicBezTo>
                  <a:pt x="2321254" y="2911902"/>
                  <a:pt x="2272553" y="2856906"/>
                  <a:pt x="2219446" y="2809882"/>
                </a:cubicBezTo>
                <a:cubicBezTo>
                  <a:pt x="2073730" y="2680890"/>
                  <a:pt x="1883117" y="2607842"/>
                  <a:pt x="1691941" y="2569563"/>
                </a:cubicBezTo>
                <a:cubicBezTo>
                  <a:pt x="1783071" y="2521555"/>
                  <a:pt x="1878395" y="2481133"/>
                  <a:pt x="1974001" y="2445734"/>
                </a:cubicBezTo>
                <a:cubicBezTo>
                  <a:pt x="2112881" y="2394319"/>
                  <a:pt x="2255779" y="2352141"/>
                  <a:pt x="2400121" y="2318954"/>
                </a:cubicBezTo>
                <a:cubicBezTo>
                  <a:pt x="2528782" y="2289349"/>
                  <a:pt x="2661248" y="2275407"/>
                  <a:pt x="2793151" y="2285380"/>
                </a:cubicBezTo>
                <a:cubicBezTo>
                  <a:pt x="2951624" y="2297356"/>
                  <a:pt x="3101252" y="2345890"/>
                  <a:pt x="3237454" y="2421607"/>
                </a:cubicBezTo>
                <a:cubicBezTo>
                  <a:pt x="3198444" y="2463328"/>
                  <a:pt x="3160596" y="2506138"/>
                  <a:pt x="3124088" y="2549967"/>
                </a:cubicBezTo>
                <a:cubicBezTo>
                  <a:pt x="3087298" y="2594146"/>
                  <a:pt x="3049697" y="2639028"/>
                  <a:pt x="3018756" y="2687527"/>
                </a:cubicBezTo>
                <a:cubicBezTo>
                  <a:pt x="2980909" y="2746843"/>
                  <a:pt x="2954725" y="2813956"/>
                  <a:pt x="2941792" y="2883034"/>
                </a:cubicBezTo>
                <a:cubicBezTo>
                  <a:pt x="2920225" y="2998330"/>
                  <a:pt x="2933123" y="3126971"/>
                  <a:pt x="2995110" y="3228570"/>
                </a:cubicBezTo>
                <a:cubicBezTo>
                  <a:pt x="3054877" y="3326516"/>
                  <a:pt x="3168102" y="3377017"/>
                  <a:pt x="3277734" y="3396017"/>
                </a:cubicBezTo>
                <a:cubicBezTo>
                  <a:pt x="3390501" y="3415543"/>
                  <a:pt x="3520501" y="3406377"/>
                  <a:pt x="3619807" y="3344989"/>
                </a:cubicBezTo>
                <a:cubicBezTo>
                  <a:pt x="3721086" y="3282372"/>
                  <a:pt x="3786632" y="3179333"/>
                  <a:pt x="3796816" y="3060842"/>
                </a:cubicBezTo>
                <a:cubicBezTo>
                  <a:pt x="3804287" y="2973852"/>
                  <a:pt x="3784482" y="2880997"/>
                  <a:pt x="3740609" y="2805176"/>
                </a:cubicBezTo>
                <a:cubicBezTo>
                  <a:pt x="3715729" y="2762225"/>
                  <a:pt x="3678587" y="2725385"/>
                  <a:pt x="3645320" y="2688897"/>
                </a:cubicBezTo>
                <a:cubicBezTo>
                  <a:pt x="3603068" y="2642575"/>
                  <a:pt x="3558771" y="2598150"/>
                  <a:pt x="3512255" y="2556112"/>
                </a:cubicBezTo>
                <a:cubicBezTo>
                  <a:pt x="3447554" y="2497604"/>
                  <a:pt x="3378026" y="2444926"/>
                  <a:pt x="3304199" y="2399903"/>
                </a:cubicBezTo>
                <a:cubicBezTo>
                  <a:pt x="3332461" y="2371246"/>
                  <a:pt x="3361287" y="2343116"/>
                  <a:pt x="3390818" y="2315758"/>
                </a:cubicBezTo>
                <a:cubicBezTo>
                  <a:pt x="3595703" y="2126046"/>
                  <a:pt x="3838928" y="1970047"/>
                  <a:pt x="4115137" y="1909256"/>
                </a:cubicBezTo>
                <a:cubicBezTo>
                  <a:pt x="4216805" y="1886886"/>
                  <a:pt x="4322700" y="1880634"/>
                  <a:pt x="4424966" y="1902724"/>
                </a:cubicBezTo>
                <a:cubicBezTo>
                  <a:pt x="4509225" y="1920916"/>
                  <a:pt x="4587633" y="1959336"/>
                  <a:pt x="4655787" y="2011698"/>
                </a:cubicBezTo>
                <a:cubicBezTo>
                  <a:pt x="4698815" y="2044780"/>
                  <a:pt x="4737367" y="2082639"/>
                  <a:pt x="4772466" y="2123658"/>
                </a:cubicBezTo>
                <a:cubicBezTo>
                  <a:pt x="4695080" y="2231613"/>
                  <a:pt x="4623331" y="2344064"/>
                  <a:pt x="4559547" y="2460448"/>
                </a:cubicBezTo>
                <a:cubicBezTo>
                  <a:pt x="4496997" y="2574585"/>
                  <a:pt x="4450374" y="2705579"/>
                  <a:pt x="4480786" y="2836748"/>
                </a:cubicBezTo>
                <a:cubicBezTo>
                  <a:pt x="4505560" y="2943615"/>
                  <a:pt x="4592461" y="3043001"/>
                  <a:pt x="4700119" y="3072958"/>
                </a:cubicBezTo>
                <a:cubicBezTo>
                  <a:pt x="4782228" y="3095785"/>
                  <a:pt x="4870715" y="3065477"/>
                  <a:pt x="4937635" y="3017540"/>
                </a:cubicBezTo>
                <a:cubicBezTo>
                  <a:pt x="5019674" y="2958786"/>
                  <a:pt x="5075776" y="2866353"/>
                  <a:pt x="5092937" y="2767423"/>
                </a:cubicBezTo>
                <a:cubicBezTo>
                  <a:pt x="5103016" y="2709371"/>
                  <a:pt x="5099879" y="2649774"/>
                  <a:pt x="5086523" y="2592495"/>
                </a:cubicBezTo>
                <a:cubicBezTo>
                  <a:pt x="5073450" y="2536551"/>
                  <a:pt x="5049028" y="2485980"/>
                  <a:pt x="5023339" y="2434987"/>
                </a:cubicBezTo>
                <a:cubicBezTo>
                  <a:pt x="4966109" y="2321448"/>
                  <a:pt x="4904052" y="2206819"/>
                  <a:pt x="4823916" y="2107152"/>
                </a:cubicBezTo>
                <a:cubicBezTo>
                  <a:pt x="4902149" y="2001584"/>
                  <a:pt x="4988345" y="1901635"/>
                  <a:pt x="5078594" y="1806147"/>
                </a:cubicBezTo>
                <a:cubicBezTo>
                  <a:pt x="5167258" y="1712345"/>
                  <a:pt x="5265084" y="1622581"/>
                  <a:pt x="5380988" y="1563335"/>
                </a:cubicBezTo>
                <a:cubicBezTo>
                  <a:pt x="5478496" y="1513466"/>
                  <a:pt x="5599756" y="1480665"/>
                  <a:pt x="5706815" y="1518593"/>
                </a:cubicBezTo>
                <a:cubicBezTo>
                  <a:pt x="5804359" y="1553150"/>
                  <a:pt x="5882380" y="1628375"/>
                  <a:pt x="5945812" y="1707463"/>
                </a:cubicBezTo>
                <a:cubicBezTo>
                  <a:pt x="5948278" y="1710553"/>
                  <a:pt x="5950710" y="1713714"/>
                  <a:pt x="5953177" y="1716840"/>
                </a:cubicBezTo>
                <a:cubicBezTo>
                  <a:pt x="5923998" y="1783355"/>
                  <a:pt x="5896828" y="1850713"/>
                  <a:pt x="5871491" y="1918703"/>
                </a:cubicBezTo>
                <a:cubicBezTo>
                  <a:pt x="5824551" y="2044500"/>
                  <a:pt x="5782369" y="2173351"/>
                  <a:pt x="5755622" y="2305082"/>
                </a:cubicBezTo>
                <a:cubicBezTo>
                  <a:pt x="5735430" y="2404539"/>
                  <a:pt x="5721686" y="2512459"/>
                  <a:pt x="5765489" y="2607878"/>
                </a:cubicBezTo>
                <a:cubicBezTo>
                  <a:pt x="5804183" y="2692163"/>
                  <a:pt x="5884600" y="2750460"/>
                  <a:pt x="5977703" y="2758503"/>
                </a:cubicBezTo>
                <a:cubicBezTo>
                  <a:pt x="6020203" y="2762190"/>
                  <a:pt x="6063125" y="2755166"/>
                  <a:pt x="6102030" y="2737747"/>
                </a:cubicBezTo>
                <a:cubicBezTo>
                  <a:pt x="6147102" y="2717554"/>
                  <a:pt x="6180932" y="2681557"/>
                  <a:pt x="6207714" y="2640924"/>
                </a:cubicBezTo>
                <a:cubicBezTo>
                  <a:pt x="6276361" y="2536621"/>
                  <a:pt x="6285206" y="2402888"/>
                  <a:pt x="6268115" y="2282501"/>
                </a:cubicBezTo>
                <a:cubicBezTo>
                  <a:pt x="6253385" y="2178513"/>
                  <a:pt x="6213211" y="2081304"/>
                  <a:pt x="6169338" y="1986483"/>
                </a:cubicBezTo>
                <a:cubicBezTo>
                  <a:pt x="6121870" y="1883936"/>
                  <a:pt x="6066755" y="1783882"/>
                  <a:pt x="5998566" y="1693451"/>
                </a:cubicBezTo>
                <a:cubicBezTo>
                  <a:pt x="6024713" y="1635258"/>
                  <a:pt x="6052447" y="1577769"/>
                  <a:pt x="6082049" y="1521262"/>
                </a:cubicBezTo>
                <a:cubicBezTo>
                  <a:pt x="6140829" y="1409092"/>
                  <a:pt x="6206058" y="1296852"/>
                  <a:pt x="6292043" y="1202909"/>
                </a:cubicBezTo>
                <a:cubicBezTo>
                  <a:pt x="6338595" y="1152092"/>
                  <a:pt x="6396564" y="1102048"/>
                  <a:pt x="6465775" y="1088492"/>
                </a:cubicBezTo>
                <a:cubicBezTo>
                  <a:pt x="6586471" y="1064856"/>
                  <a:pt x="6675910" y="1178220"/>
                  <a:pt x="6729863" y="1270478"/>
                </a:cubicBezTo>
                <a:cubicBezTo>
                  <a:pt x="6746355" y="1298643"/>
                  <a:pt x="6761367" y="1327616"/>
                  <a:pt x="6775322" y="1357187"/>
                </a:cubicBezTo>
                <a:cubicBezTo>
                  <a:pt x="6712983" y="1544968"/>
                  <a:pt x="6662096" y="1736717"/>
                  <a:pt x="6616848" y="1929134"/>
                </a:cubicBezTo>
                <a:cubicBezTo>
                  <a:pt x="6591616" y="2036352"/>
                  <a:pt x="6565574" y="2171103"/>
                  <a:pt x="6634045" y="2268945"/>
                </a:cubicBezTo>
                <a:cubicBezTo>
                  <a:pt x="6676333" y="2329349"/>
                  <a:pt x="6756116" y="2353722"/>
                  <a:pt x="6824517" y="2324152"/>
                </a:cubicBezTo>
                <a:cubicBezTo>
                  <a:pt x="6913955" y="2285486"/>
                  <a:pt x="6951662" y="2173246"/>
                  <a:pt x="6966145" y="2085308"/>
                </a:cubicBezTo>
                <a:cubicBezTo>
                  <a:pt x="6988523" y="1949187"/>
                  <a:pt x="6968154" y="1810502"/>
                  <a:pt x="6933126" y="1678419"/>
                </a:cubicBezTo>
                <a:cubicBezTo>
                  <a:pt x="6902502" y="1562878"/>
                  <a:pt x="6867156" y="1445476"/>
                  <a:pt x="6817045" y="1335729"/>
                </a:cubicBezTo>
                <a:cubicBezTo>
                  <a:pt x="6829169" y="1299837"/>
                  <a:pt x="6841713" y="1264051"/>
                  <a:pt x="6854822" y="1228476"/>
                </a:cubicBezTo>
                <a:cubicBezTo>
                  <a:pt x="6886574" y="1142118"/>
                  <a:pt x="6921179" y="1056358"/>
                  <a:pt x="6963045" y="974285"/>
                </a:cubicBezTo>
                <a:cubicBezTo>
                  <a:pt x="6995888" y="909912"/>
                  <a:pt x="7029365" y="851123"/>
                  <a:pt x="7076764" y="799041"/>
                </a:cubicBezTo>
                <a:cubicBezTo>
                  <a:pt x="7083318" y="791842"/>
                  <a:pt x="7081732" y="793422"/>
                  <a:pt x="7087546" y="787768"/>
                </a:cubicBezTo>
                <a:cubicBezTo>
                  <a:pt x="7092797" y="782676"/>
                  <a:pt x="7098154" y="777724"/>
                  <a:pt x="7103722" y="772983"/>
                </a:cubicBezTo>
                <a:cubicBezTo>
                  <a:pt x="7115069" y="763360"/>
                  <a:pt x="7118593" y="760656"/>
                  <a:pt x="7129764" y="754054"/>
                </a:cubicBezTo>
                <a:cubicBezTo>
                  <a:pt x="7147208" y="743694"/>
                  <a:pt x="7165779" y="736600"/>
                  <a:pt x="7183892" y="736143"/>
                </a:cubicBezTo>
                <a:cubicBezTo>
                  <a:pt x="7231431" y="734949"/>
                  <a:pt x="7269842" y="766626"/>
                  <a:pt x="7299303" y="803431"/>
                </a:cubicBezTo>
                <a:cubicBezTo>
                  <a:pt x="7353432" y="871070"/>
                  <a:pt x="7386557" y="955004"/>
                  <a:pt x="7414784" y="1035954"/>
                </a:cubicBezTo>
                <a:cubicBezTo>
                  <a:pt x="7397727" y="1101907"/>
                  <a:pt x="7382011" y="1168176"/>
                  <a:pt x="7367386" y="1234551"/>
                </a:cubicBezTo>
                <a:cubicBezTo>
                  <a:pt x="7327952" y="1413517"/>
                  <a:pt x="7297506" y="1594134"/>
                  <a:pt x="7269137" y="1775102"/>
                </a:cubicBezTo>
                <a:cubicBezTo>
                  <a:pt x="7260221" y="1832030"/>
                  <a:pt x="7252645" y="1890257"/>
                  <a:pt x="7258530" y="1947887"/>
                </a:cubicBezTo>
                <a:cubicBezTo>
                  <a:pt x="7262301" y="1984832"/>
                  <a:pt x="7270688" y="2025992"/>
                  <a:pt x="7296201" y="2054684"/>
                </a:cubicBezTo>
                <a:cubicBezTo>
                  <a:pt x="7338630" y="2102446"/>
                  <a:pt x="7403613" y="2086537"/>
                  <a:pt x="7449812" y="2053385"/>
                </a:cubicBezTo>
                <a:cubicBezTo>
                  <a:pt x="7530265" y="1995614"/>
                  <a:pt x="7560466" y="1891135"/>
                  <a:pt x="7574666" y="1798105"/>
                </a:cubicBezTo>
                <a:cubicBezTo>
                  <a:pt x="7595670" y="1660474"/>
                  <a:pt x="7579530" y="1519577"/>
                  <a:pt x="7552184" y="1384017"/>
                </a:cubicBezTo>
                <a:cubicBezTo>
                  <a:pt x="7527093" y="1259626"/>
                  <a:pt x="7496752" y="1134954"/>
                  <a:pt x="7455098" y="1014742"/>
                </a:cubicBezTo>
                <a:cubicBezTo>
                  <a:pt x="7498055" y="851158"/>
                  <a:pt x="7549858" y="689751"/>
                  <a:pt x="7616461" y="534280"/>
                </a:cubicBezTo>
                <a:cubicBezTo>
                  <a:pt x="7693425" y="354646"/>
                  <a:pt x="7792519" y="174626"/>
                  <a:pt x="7939575" y="42263"/>
                </a:cubicBezTo>
                <a:cubicBezTo>
                  <a:pt x="7948068" y="34607"/>
                  <a:pt x="7956737" y="20068"/>
                  <a:pt x="7952719" y="8233"/>
                </a:cubicBezTo>
                <a:close/>
                <a:moveTo>
                  <a:pt x="2164543" y="2831585"/>
                </a:moveTo>
                <a:cubicBezTo>
                  <a:pt x="2219059" y="2875168"/>
                  <a:pt x="2269663" y="2927355"/>
                  <a:pt x="2302683" y="2989304"/>
                </a:cubicBezTo>
                <a:cubicBezTo>
                  <a:pt x="2346486" y="3071412"/>
                  <a:pt x="2332707" y="3168657"/>
                  <a:pt x="2293697" y="3250554"/>
                </a:cubicBezTo>
                <a:cubicBezTo>
                  <a:pt x="2247638" y="3347166"/>
                  <a:pt x="2166833" y="3429556"/>
                  <a:pt x="2069289" y="3474613"/>
                </a:cubicBezTo>
                <a:cubicBezTo>
                  <a:pt x="2025275" y="3494947"/>
                  <a:pt x="1978441" y="3503586"/>
                  <a:pt x="1930797" y="3510505"/>
                </a:cubicBezTo>
                <a:cubicBezTo>
                  <a:pt x="1890130" y="3516405"/>
                  <a:pt x="1849217" y="3520724"/>
                  <a:pt x="1808162" y="3523007"/>
                </a:cubicBezTo>
                <a:cubicBezTo>
                  <a:pt x="1643839" y="3532138"/>
                  <a:pt x="1449738" y="3514789"/>
                  <a:pt x="1326434" y="3392891"/>
                </a:cubicBezTo>
                <a:cubicBezTo>
                  <a:pt x="1257681" y="3324901"/>
                  <a:pt x="1222512" y="3232889"/>
                  <a:pt x="1212926" y="3137963"/>
                </a:cubicBezTo>
                <a:cubicBezTo>
                  <a:pt x="1211446" y="3123213"/>
                  <a:pt x="1210178" y="3108393"/>
                  <a:pt x="1210460" y="3093537"/>
                </a:cubicBezTo>
                <a:cubicBezTo>
                  <a:pt x="1210530" y="3089183"/>
                  <a:pt x="1210812" y="3084793"/>
                  <a:pt x="1211059" y="3080438"/>
                </a:cubicBezTo>
                <a:cubicBezTo>
                  <a:pt x="1211059" y="3079982"/>
                  <a:pt x="1211094" y="3079630"/>
                  <a:pt x="1211129" y="3079314"/>
                </a:cubicBezTo>
                <a:cubicBezTo>
                  <a:pt x="1211129" y="3079174"/>
                  <a:pt x="1211129" y="3079033"/>
                  <a:pt x="1211200" y="3078823"/>
                </a:cubicBezTo>
                <a:cubicBezTo>
                  <a:pt x="1211482" y="3076294"/>
                  <a:pt x="1211763" y="3073765"/>
                  <a:pt x="1212081" y="3071202"/>
                </a:cubicBezTo>
                <a:cubicBezTo>
                  <a:pt x="1213385" y="3061088"/>
                  <a:pt x="1215252" y="3051044"/>
                  <a:pt x="1217543" y="3041140"/>
                </a:cubicBezTo>
                <a:cubicBezTo>
                  <a:pt x="1218600" y="3036610"/>
                  <a:pt x="1219763" y="3032079"/>
                  <a:pt x="1220996" y="3027584"/>
                </a:cubicBezTo>
                <a:cubicBezTo>
                  <a:pt x="1220996" y="3027584"/>
                  <a:pt x="1220996" y="3027514"/>
                  <a:pt x="1220996" y="3027479"/>
                </a:cubicBezTo>
                <a:cubicBezTo>
                  <a:pt x="1221349" y="3026355"/>
                  <a:pt x="1221666" y="3025231"/>
                  <a:pt x="1222018" y="3024107"/>
                </a:cubicBezTo>
                <a:cubicBezTo>
                  <a:pt x="1222934" y="3021263"/>
                  <a:pt x="1223815" y="3018418"/>
                  <a:pt x="1224732" y="3015573"/>
                </a:cubicBezTo>
                <a:cubicBezTo>
                  <a:pt x="1228397" y="3004581"/>
                  <a:pt x="1232520" y="2993765"/>
                  <a:pt x="1237101" y="2983123"/>
                </a:cubicBezTo>
                <a:cubicBezTo>
                  <a:pt x="1239039" y="2978558"/>
                  <a:pt x="1241118" y="2974028"/>
                  <a:pt x="1243233" y="2969532"/>
                </a:cubicBezTo>
                <a:cubicBezTo>
                  <a:pt x="1243937" y="2968093"/>
                  <a:pt x="1245981" y="2963913"/>
                  <a:pt x="1246369" y="2963106"/>
                </a:cubicBezTo>
                <a:cubicBezTo>
                  <a:pt x="1247920" y="2960015"/>
                  <a:pt x="1249541" y="2956925"/>
                  <a:pt x="1251162" y="2953834"/>
                </a:cubicBezTo>
                <a:cubicBezTo>
                  <a:pt x="1264447" y="2928759"/>
                  <a:pt x="1279952" y="2904843"/>
                  <a:pt x="1293238" y="2886722"/>
                </a:cubicBezTo>
                <a:cubicBezTo>
                  <a:pt x="1334116" y="2831094"/>
                  <a:pt x="1379893" y="2785158"/>
                  <a:pt x="1432611" y="2740908"/>
                </a:cubicBezTo>
                <a:cubicBezTo>
                  <a:pt x="1491709" y="2691285"/>
                  <a:pt x="1555493" y="2647422"/>
                  <a:pt x="1622237" y="2608194"/>
                </a:cubicBezTo>
                <a:cubicBezTo>
                  <a:pt x="1816620" y="2641030"/>
                  <a:pt x="2010333" y="2708248"/>
                  <a:pt x="2164543" y="2831550"/>
                </a:cubicBezTo>
                <a:close/>
                <a:moveTo>
                  <a:pt x="3418763" y="2544312"/>
                </a:moveTo>
                <a:cubicBezTo>
                  <a:pt x="3512466" y="2619959"/>
                  <a:pt x="3596513" y="2706878"/>
                  <a:pt x="3673935" y="2798819"/>
                </a:cubicBezTo>
                <a:cubicBezTo>
                  <a:pt x="3723905" y="2858170"/>
                  <a:pt x="3751427" y="2932482"/>
                  <a:pt x="3758475" y="3009603"/>
                </a:cubicBezTo>
                <a:cubicBezTo>
                  <a:pt x="3767462" y="3107726"/>
                  <a:pt x="3738529" y="3203460"/>
                  <a:pt x="3662517" y="3269378"/>
                </a:cubicBezTo>
                <a:cubicBezTo>
                  <a:pt x="3575616" y="3344708"/>
                  <a:pt x="3455624" y="3364164"/>
                  <a:pt x="3343808" y="3354085"/>
                </a:cubicBezTo>
                <a:cubicBezTo>
                  <a:pt x="3237243" y="3344497"/>
                  <a:pt x="3117498" y="3305866"/>
                  <a:pt x="3048921" y="3219052"/>
                </a:cubicBezTo>
                <a:cubicBezTo>
                  <a:pt x="2981578" y="3133854"/>
                  <a:pt x="2960892" y="3014379"/>
                  <a:pt x="2973438" y="2908706"/>
                </a:cubicBezTo>
                <a:cubicBezTo>
                  <a:pt x="2980979" y="2845071"/>
                  <a:pt x="3000290" y="2783051"/>
                  <a:pt x="3031830" y="2727141"/>
                </a:cubicBezTo>
                <a:cubicBezTo>
                  <a:pt x="3059035" y="2678923"/>
                  <a:pt x="3095403" y="2635797"/>
                  <a:pt x="3130431" y="2593092"/>
                </a:cubicBezTo>
                <a:cubicBezTo>
                  <a:pt x="3174023" y="2539993"/>
                  <a:pt x="3219518" y="2488403"/>
                  <a:pt x="3266809" y="2438499"/>
                </a:cubicBezTo>
                <a:cubicBezTo>
                  <a:pt x="3319669" y="2469860"/>
                  <a:pt x="3370414" y="2505295"/>
                  <a:pt x="3418728" y="2544312"/>
                </a:cubicBezTo>
                <a:close/>
                <a:moveTo>
                  <a:pt x="5060904" y="2716465"/>
                </a:moveTo>
                <a:cubicBezTo>
                  <a:pt x="5061151" y="2808477"/>
                  <a:pt x="5024466" y="2897749"/>
                  <a:pt x="4954797" y="2958997"/>
                </a:cubicBezTo>
                <a:cubicBezTo>
                  <a:pt x="4897074" y="3009744"/>
                  <a:pt x="4817679" y="3042088"/>
                  <a:pt x="4740046" y="3029480"/>
                </a:cubicBezTo>
                <a:cubicBezTo>
                  <a:pt x="4692507" y="3021754"/>
                  <a:pt x="4648810" y="2993694"/>
                  <a:pt x="4612865" y="2962895"/>
                </a:cubicBezTo>
                <a:cubicBezTo>
                  <a:pt x="4570401" y="2926512"/>
                  <a:pt x="4538650" y="2878153"/>
                  <a:pt x="4522651" y="2824702"/>
                </a:cubicBezTo>
                <a:cubicBezTo>
                  <a:pt x="4486918" y="2705403"/>
                  <a:pt x="4528466" y="2583329"/>
                  <a:pt x="4585871" y="2478324"/>
                </a:cubicBezTo>
                <a:cubicBezTo>
                  <a:pt x="4648070" y="2364538"/>
                  <a:pt x="4717880" y="2254476"/>
                  <a:pt x="4793434" y="2148943"/>
                </a:cubicBezTo>
                <a:cubicBezTo>
                  <a:pt x="4860249" y="2232667"/>
                  <a:pt x="4914271" y="2327558"/>
                  <a:pt x="4963219" y="2421291"/>
                </a:cubicBezTo>
                <a:cubicBezTo>
                  <a:pt x="5011956" y="2514637"/>
                  <a:pt x="5060658" y="2608404"/>
                  <a:pt x="5060939" y="2716430"/>
                </a:cubicBezTo>
                <a:close/>
                <a:moveTo>
                  <a:pt x="6123315" y="1998178"/>
                </a:moveTo>
                <a:cubicBezTo>
                  <a:pt x="6165391" y="2085975"/>
                  <a:pt x="6205881" y="2177916"/>
                  <a:pt x="6224664" y="2273826"/>
                </a:cubicBezTo>
                <a:cubicBezTo>
                  <a:pt x="6246055" y="2382906"/>
                  <a:pt x="6247288" y="2509861"/>
                  <a:pt x="6190129" y="2608931"/>
                </a:cubicBezTo>
                <a:cubicBezTo>
                  <a:pt x="6168386" y="2646614"/>
                  <a:pt x="6140371" y="2677448"/>
                  <a:pt x="6099845" y="2694867"/>
                </a:cubicBezTo>
                <a:cubicBezTo>
                  <a:pt x="6064781" y="2709933"/>
                  <a:pt x="6025383" y="2713902"/>
                  <a:pt x="5987711" y="2709406"/>
                </a:cubicBezTo>
                <a:cubicBezTo>
                  <a:pt x="5900105" y="2698906"/>
                  <a:pt x="5825503" y="2639871"/>
                  <a:pt x="5794245" y="2557728"/>
                </a:cubicBezTo>
                <a:cubicBezTo>
                  <a:pt x="5759217" y="2465611"/>
                  <a:pt x="5777295" y="2364363"/>
                  <a:pt x="5797839" y="2271087"/>
                </a:cubicBezTo>
                <a:cubicBezTo>
                  <a:pt x="5825679" y="2144764"/>
                  <a:pt x="5867050" y="2021356"/>
                  <a:pt x="5912933" y="1900547"/>
                </a:cubicBezTo>
                <a:cubicBezTo>
                  <a:pt x="5932632" y="1848641"/>
                  <a:pt x="5953423" y="1797087"/>
                  <a:pt x="5975343" y="1746059"/>
                </a:cubicBezTo>
                <a:cubicBezTo>
                  <a:pt x="6033065" y="1824690"/>
                  <a:pt x="6081238" y="1910415"/>
                  <a:pt x="6123279" y="1998178"/>
                </a:cubicBezTo>
                <a:close/>
                <a:moveTo>
                  <a:pt x="6894749" y="1703740"/>
                </a:moveTo>
                <a:cubicBezTo>
                  <a:pt x="6928016" y="1828272"/>
                  <a:pt x="6949689" y="1958914"/>
                  <a:pt x="6930095" y="2087661"/>
                </a:cubicBezTo>
                <a:cubicBezTo>
                  <a:pt x="6919170" y="2159409"/>
                  <a:pt x="6892530" y="2262764"/>
                  <a:pt x="6813134" y="2283905"/>
                </a:cubicBezTo>
                <a:cubicBezTo>
                  <a:pt x="6745015" y="2302062"/>
                  <a:pt x="6680033" y="2264239"/>
                  <a:pt x="6651242" y="2202289"/>
                </a:cubicBezTo>
                <a:cubicBezTo>
                  <a:pt x="6602259" y="2096862"/>
                  <a:pt x="6641023" y="1971768"/>
                  <a:pt x="6666713" y="1865639"/>
                </a:cubicBezTo>
                <a:cubicBezTo>
                  <a:pt x="6704454" y="1709711"/>
                  <a:pt x="6746108" y="1554379"/>
                  <a:pt x="6795232" y="1401507"/>
                </a:cubicBezTo>
                <a:cubicBezTo>
                  <a:pt x="6836921" y="1499172"/>
                  <a:pt x="6867580" y="1602141"/>
                  <a:pt x="6894749" y="1703740"/>
                </a:cubicBezTo>
                <a:close/>
                <a:moveTo>
                  <a:pt x="7519446" y="1436064"/>
                </a:moveTo>
                <a:cubicBezTo>
                  <a:pt x="7544255" y="1565653"/>
                  <a:pt x="7558174" y="1701914"/>
                  <a:pt x="7533189" y="1832557"/>
                </a:cubicBezTo>
                <a:cubicBezTo>
                  <a:pt x="7526529" y="1867395"/>
                  <a:pt x="7516838" y="1901460"/>
                  <a:pt x="7503341" y="1934296"/>
                </a:cubicBezTo>
                <a:cubicBezTo>
                  <a:pt x="7497774" y="1947817"/>
                  <a:pt x="7488999" y="1964990"/>
                  <a:pt x="7482691" y="1973664"/>
                </a:cubicBezTo>
                <a:cubicBezTo>
                  <a:pt x="7465846" y="1996667"/>
                  <a:pt x="7448966" y="2012682"/>
                  <a:pt x="7424157" y="2025430"/>
                </a:cubicBezTo>
                <a:cubicBezTo>
                  <a:pt x="7405269" y="2035123"/>
                  <a:pt x="7381588" y="2041304"/>
                  <a:pt x="7358506" y="2034280"/>
                </a:cubicBezTo>
                <a:cubicBezTo>
                  <a:pt x="7336305" y="2027537"/>
                  <a:pt x="7318861" y="2006185"/>
                  <a:pt x="7309839" y="1983463"/>
                </a:cubicBezTo>
                <a:cubicBezTo>
                  <a:pt x="7276679" y="1899915"/>
                  <a:pt x="7300360" y="1802003"/>
                  <a:pt x="7313856" y="1716559"/>
                </a:cubicBezTo>
                <a:cubicBezTo>
                  <a:pt x="7342401" y="1535450"/>
                  <a:pt x="7374399" y="1354834"/>
                  <a:pt x="7415418" y="1176043"/>
                </a:cubicBezTo>
                <a:cubicBezTo>
                  <a:pt x="7421585" y="1149107"/>
                  <a:pt x="7427963" y="1122171"/>
                  <a:pt x="7434553" y="1095305"/>
                </a:cubicBezTo>
                <a:cubicBezTo>
                  <a:pt x="7470075" y="1206772"/>
                  <a:pt x="7497562" y="1321436"/>
                  <a:pt x="7519481" y="1436029"/>
                </a:cubicBezTo>
                <a:close/>
              </a:path>
            </a:pathLst>
          </a:custGeom>
          <a:gradFill>
            <a:gsLst>
              <a:gs pos="52000">
                <a:srgbClr val="0B63B4"/>
              </a:gs>
              <a:gs pos="32000">
                <a:srgbClr val="084882"/>
              </a:gs>
              <a:gs pos="14000">
                <a:srgbClr val="052C50"/>
              </a:gs>
              <a:gs pos="67000">
                <a:srgbClr val="088DD0"/>
              </a:gs>
              <a:gs pos="99000">
                <a:schemeClr val="accent1">
                  <a:alpha val="0"/>
                </a:schemeClr>
              </a:gs>
              <a:gs pos="94000">
                <a:schemeClr val="accent1"/>
              </a:gs>
              <a:gs pos="79000">
                <a:srgbClr val="00B7EC"/>
              </a:gs>
              <a:gs pos="88000">
                <a:srgbClr val="468AF0"/>
              </a:gs>
            </a:gsLst>
            <a:lin ang="0" scaled="0"/>
          </a:gra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1" name="CuadroTexto 70">
            <a:extLst>
              <a:ext uri="{FF2B5EF4-FFF2-40B4-BE49-F238E27FC236}">
                <a16:creationId xmlns:a16="http://schemas.microsoft.com/office/drawing/2014/main" id="{231B52B1-4068-225F-ACA4-6CCB9E429B1F}"/>
              </a:ext>
            </a:extLst>
          </p:cNvPr>
          <p:cNvSpPr txBox="1"/>
          <p:nvPr/>
        </p:nvSpPr>
        <p:spPr>
          <a:xfrm>
            <a:off x="525622" y="3329281"/>
            <a:ext cx="992827" cy="355276"/>
          </a:xfrm>
          <a:prstGeom prst="rect">
            <a:avLst/>
          </a:prstGeom>
          <a:effectLst/>
        </p:spPr>
        <p:txBody>
          <a:bodyPr vert="horz" wrap="none" lIns="72000" tIns="10800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sz="1200" b="0" i="0" spc="-70" baseline="0">
                <a:solidFill>
                  <a:schemeClr val="tx2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marL="104775" indent="-104775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s-AR" sz="80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Móvil 1G</a:t>
            </a:r>
          </a:p>
          <a:p>
            <a:pPr marL="104775" indent="-104775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s-AR" sz="80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Cable Tradicional</a:t>
            </a:r>
          </a:p>
        </p:txBody>
      </p:sp>
      <p:sp>
        <p:nvSpPr>
          <p:cNvPr id="72" name="Rectángulo redondeado 71">
            <a:extLst>
              <a:ext uri="{FF2B5EF4-FFF2-40B4-BE49-F238E27FC236}">
                <a16:creationId xmlns:a16="http://schemas.microsoft.com/office/drawing/2014/main" id="{A57028A5-4D3F-7C1D-FD0C-EF1FD8947BF1}"/>
              </a:ext>
            </a:extLst>
          </p:cNvPr>
          <p:cNvSpPr/>
          <p:nvPr/>
        </p:nvSpPr>
        <p:spPr>
          <a:xfrm>
            <a:off x="2223355" y="3354053"/>
            <a:ext cx="640800" cy="345600"/>
          </a:xfrm>
          <a:prstGeom prst="roundRect">
            <a:avLst>
              <a:gd name="adj" fmla="val 28947"/>
            </a:avLst>
          </a:prstGeom>
          <a:solidFill>
            <a:srgbClr val="FFFFFF">
              <a:alpha val="90000"/>
            </a:srgbClr>
          </a:solidFill>
          <a:ln w="3175" cap="rnd" cmpd="sng">
            <a:solidFill>
              <a:schemeClr val="bg1">
                <a:lumMod val="75000"/>
                <a:alpha val="79527"/>
              </a:schemeClr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73" name="Rectángulo redondeado 72">
            <a:extLst>
              <a:ext uri="{FF2B5EF4-FFF2-40B4-BE49-F238E27FC236}">
                <a16:creationId xmlns:a16="http://schemas.microsoft.com/office/drawing/2014/main" id="{16024ECE-AF1A-B06B-85A4-5C0C7326A6C2}"/>
              </a:ext>
            </a:extLst>
          </p:cNvPr>
          <p:cNvSpPr/>
          <p:nvPr/>
        </p:nvSpPr>
        <p:spPr>
          <a:xfrm>
            <a:off x="3756843" y="3275778"/>
            <a:ext cx="828000" cy="590400"/>
          </a:xfrm>
          <a:prstGeom prst="roundRect">
            <a:avLst>
              <a:gd name="adj" fmla="val 11867"/>
            </a:avLst>
          </a:prstGeom>
          <a:solidFill>
            <a:srgbClr val="FFFFFF">
              <a:alpha val="90000"/>
            </a:srgbClr>
          </a:solidFill>
          <a:ln w="3175" cap="rnd" cmpd="sng">
            <a:solidFill>
              <a:schemeClr val="bg1">
                <a:lumMod val="75000"/>
                <a:alpha val="79527"/>
              </a:schemeClr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74" name="Rectángulo redondeado 73">
            <a:extLst>
              <a:ext uri="{FF2B5EF4-FFF2-40B4-BE49-F238E27FC236}">
                <a16:creationId xmlns:a16="http://schemas.microsoft.com/office/drawing/2014/main" id="{6AB1EB8C-4F6E-09D1-82AB-0F9C8E6092C0}"/>
              </a:ext>
            </a:extLst>
          </p:cNvPr>
          <p:cNvSpPr/>
          <p:nvPr/>
        </p:nvSpPr>
        <p:spPr>
          <a:xfrm>
            <a:off x="5190707" y="3044509"/>
            <a:ext cx="723600" cy="590400"/>
          </a:xfrm>
          <a:prstGeom prst="roundRect">
            <a:avLst>
              <a:gd name="adj" fmla="val 12667"/>
            </a:avLst>
          </a:prstGeom>
          <a:solidFill>
            <a:srgbClr val="FFFFFF">
              <a:alpha val="90000"/>
            </a:srgbClr>
          </a:solidFill>
          <a:ln w="3175" cap="rnd" cmpd="sng">
            <a:solidFill>
              <a:schemeClr val="bg1">
                <a:lumMod val="75000"/>
                <a:alpha val="79527"/>
              </a:schemeClr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75" name="Rectángulo redondeado 74">
            <a:extLst>
              <a:ext uri="{FF2B5EF4-FFF2-40B4-BE49-F238E27FC236}">
                <a16:creationId xmlns:a16="http://schemas.microsoft.com/office/drawing/2014/main" id="{6F7A6FC7-C11B-D991-AB3C-B7ABD755DDD4}"/>
              </a:ext>
            </a:extLst>
          </p:cNvPr>
          <p:cNvSpPr/>
          <p:nvPr/>
        </p:nvSpPr>
        <p:spPr>
          <a:xfrm>
            <a:off x="6322344" y="2967864"/>
            <a:ext cx="684000" cy="601200"/>
          </a:xfrm>
          <a:prstGeom prst="roundRect">
            <a:avLst/>
          </a:prstGeom>
          <a:solidFill>
            <a:srgbClr val="FFFFFF">
              <a:alpha val="90000"/>
            </a:srgbClr>
          </a:solidFill>
          <a:ln w="3175" cap="rnd" cmpd="sng">
            <a:solidFill>
              <a:schemeClr val="bg1">
                <a:lumMod val="75000"/>
                <a:alpha val="79527"/>
              </a:schemeClr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76" name="Rectángulo redondeado 75">
            <a:extLst>
              <a:ext uri="{FF2B5EF4-FFF2-40B4-BE49-F238E27FC236}">
                <a16:creationId xmlns:a16="http://schemas.microsoft.com/office/drawing/2014/main" id="{9DACDA8D-9CE7-E66A-EF1C-CD3D43F4285A}"/>
              </a:ext>
            </a:extLst>
          </p:cNvPr>
          <p:cNvSpPr/>
          <p:nvPr/>
        </p:nvSpPr>
        <p:spPr>
          <a:xfrm>
            <a:off x="7154519" y="2744857"/>
            <a:ext cx="1119600" cy="709200"/>
          </a:xfrm>
          <a:prstGeom prst="roundRect">
            <a:avLst>
              <a:gd name="adj" fmla="val 10377"/>
            </a:avLst>
          </a:prstGeom>
          <a:solidFill>
            <a:srgbClr val="FFFFFF">
              <a:alpha val="90000"/>
            </a:srgbClr>
          </a:solidFill>
          <a:ln w="3175" cap="rnd" cmpd="sng">
            <a:solidFill>
              <a:schemeClr val="bg1">
                <a:lumMod val="75000"/>
                <a:alpha val="79527"/>
              </a:schemeClr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77" name="Rectángulo redondeado 76">
            <a:extLst>
              <a:ext uri="{FF2B5EF4-FFF2-40B4-BE49-F238E27FC236}">
                <a16:creationId xmlns:a16="http://schemas.microsoft.com/office/drawing/2014/main" id="{0623164D-7004-1C7D-A3B1-6AE227F7F6D6}"/>
              </a:ext>
            </a:extLst>
          </p:cNvPr>
          <p:cNvSpPr/>
          <p:nvPr/>
        </p:nvSpPr>
        <p:spPr>
          <a:xfrm>
            <a:off x="7801479" y="1802875"/>
            <a:ext cx="1004400" cy="828000"/>
          </a:xfrm>
          <a:prstGeom prst="roundRect">
            <a:avLst>
              <a:gd name="adj" fmla="val 8854"/>
            </a:avLst>
          </a:prstGeom>
          <a:solidFill>
            <a:srgbClr val="FFFFFF">
              <a:alpha val="90000"/>
            </a:srgbClr>
          </a:solidFill>
          <a:ln w="3175" cap="rnd" cmpd="sng">
            <a:solidFill>
              <a:schemeClr val="bg1">
                <a:lumMod val="75000"/>
                <a:alpha val="79527"/>
              </a:schemeClr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78" name="CuadroTexto 77">
            <a:extLst>
              <a:ext uri="{FF2B5EF4-FFF2-40B4-BE49-F238E27FC236}">
                <a16:creationId xmlns:a16="http://schemas.microsoft.com/office/drawing/2014/main" id="{83B2FA8D-45CF-C178-59B6-7DB7BE6B705B}"/>
              </a:ext>
            </a:extLst>
          </p:cNvPr>
          <p:cNvSpPr txBox="1"/>
          <p:nvPr/>
        </p:nvSpPr>
        <p:spPr>
          <a:xfrm>
            <a:off x="2218465" y="3291779"/>
            <a:ext cx="579252" cy="355276"/>
          </a:xfrm>
          <a:prstGeom prst="rect">
            <a:avLst/>
          </a:prstGeom>
          <a:effectLst/>
        </p:spPr>
        <p:txBody>
          <a:bodyPr vert="horz" wrap="none" lIns="72000" tIns="10800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sz="1200" b="0" i="0" spc="-70" baseline="0">
                <a:solidFill>
                  <a:schemeClr val="tx2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marL="104775" indent="-104775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s-AR" sz="80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Móvil 2G</a:t>
            </a:r>
          </a:p>
          <a:p>
            <a:pPr marL="104775" indent="-104775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s-AR" sz="80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Dial Up</a:t>
            </a:r>
          </a:p>
        </p:txBody>
      </p:sp>
      <p:sp>
        <p:nvSpPr>
          <p:cNvPr id="79" name="CuadroTexto 78">
            <a:extLst>
              <a:ext uri="{FF2B5EF4-FFF2-40B4-BE49-F238E27FC236}">
                <a16:creationId xmlns:a16="http://schemas.microsoft.com/office/drawing/2014/main" id="{D577D3DC-EC99-86CE-3983-56E3185225F3}"/>
              </a:ext>
            </a:extLst>
          </p:cNvPr>
          <p:cNvSpPr txBox="1"/>
          <p:nvPr/>
        </p:nvSpPr>
        <p:spPr>
          <a:xfrm>
            <a:off x="3752402" y="3206171"/>
            <a:ext cx="1301009" cy="601497"/>
          </a:xfrm>
          <a:prstGeom prst="rect">
            <a:avLst/>
          </a:prstGeom>
          <a:effectLst/>
        </p:spPr>
        <p:txBody>
          <a:bodyPr vert="horz" wrap="square" lIns="72000" tIns="10800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sz="1200" b="0" i="0" spc="-70" baseline="0">
                <a:solidFill>
                  <a:schemeClr val="tx2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marL="104775" indent="-104775"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es-AR" sz="80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xDSL</a:t>
            </a:r>
          </a:p>
          <a:p>
            <a:pPr marL="104775" indent="-104775"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es-AR" sz="80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Móvil 3G</a:t>
            </a:r>
          </a:p>
          <a:p>
            <a:pPr marL="104775" indent="-104775"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es-AR" sz="800" spc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Docsis</a:t>
            </a:r>
            <a:r>
              <a:rPr lang="es-AR" sz="80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2.0</a:t>
            </a:r>
          </a:p>
          <a:p>
            <a:pPr marL="104775" indent="-104775"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es-AR" sz="80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Cable Digital</a:t>
            </a:r>
          </a:p>
        </p:txBody>
      </p:sp>
      <p:sp>
        <p:nvSpPr>
          <p:cNvPr id="80" name="CuadroTexto 79">
            <a:extLst>
              <a:ext uri="{FF2B5EF4-FFF2-40B4-BE49-F238E27FC236}">
                <a16:creationId xmlns:a16="http://schemas.microsoft.com/office/drawing/2014/main" id="{F1EE607D-39BE-78DC-FDC0-88F35D7581AF}"/>
              </a:ext>
            </a:extLst>
          </p:cNvPr>
          <p:cNvSpPr txBox="1"/>
          <p:nvPr/>
        </p:nvSpPr>
        <p:spPr>
          <a:xfrm>
            <a:off x="5190006" y="2977005"/>
            <a:ext cx="651388" cy="601497"/>
          </a:xfrm>
          <a:prstGeom prst="rect">
            <a:avLst/>
          </a:prstGeom>
          <a:effectLst/>
        </p:spPr>
        <p:txBody>
          <a:bodyPr vert="horz" wrap="none" lIns="72000" tIns="10800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sz="1200" b="0" i="0" spc="-70" baseline="0">
                <a:solidFill>
                  <a:schemeClr val="tx2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marL="104775" indent="-104775">
              <a:buClr>
                <a:srgbClr val="068DD0"/>
              </a:buClr>
              <a:buFont typeface="Arial" panose="020B0604020202020204" pitchFamily="34" charset="0"/>
              <a:buChar char="•"/>
            </a:pPr>
            <a:r>
              <a:rPr lang="es-AR" sz="800" spc="0" err="1">
                <a:latin typeface="Pulso Light" pitchFamily="2" charset="0"/>
              </a:rPr>
              <a:t>Docsis</a:t>
            </a:r>
            <a:r>
              <a:rPr lang="es-AR" sz="800" spc="0">
                <a:latin typeface="Pulso Light" pitchFamily="2" charset="0"/>
              </a:rPr>
              <a:t> 3.0</a:t>
            </a:r>
          </a:p>
          <a:p>
            <a:pPr marL="104775" indent="-104775">
              <a:buClr>
                <a:srgbClr val="068DD0"/>
              </a:buClr>
              <a:buFont typeface="Arial" panose="020B0604020202020204" pitchFamily="34" charset="0"/>
              <a:buChar char="•"/>
            </a:pPr>
            <a:r>
              <a:rPr lang="es-AR" sz="800" spc="0">
                <a:latin typeface="Pulso Light" pitchFamily="2" charset="0"/>
              </a:rPr>
              <a:t>Netflix</a:t>
            </a:r>
          </a:p>
          <a:p>
            <a:pPr marL="104775" indent="-104775">
              <a:buClr>
                <a:srgbClr val="068DD0"/>
              </a:buClr>
              <a:buFont typeface="Arial" panose="020B0604020202020204" pitchFamily="34" charset="0"/>
              <a:buChar char="•"/>
            </a:pPr>
            <a:r>
              <a:rPr lang="es-AR" sz="800" spc="0">
                <a:latin typeface="Pulso Light" pitchFamily="2" charset="0"/>
              </a:rPr>
              <a:t>Móvil 4G</a:t>
            </a:r>
          </a:p>
          <a:p>
            <a:pPr marL="104775" indent="-104775">
              <a:buClr>
                <a:srgbClr val="068DD0"/>
              </a:buClr>
              <a:buFont typeface="Arial" panose="020B0604020202020204" pitchFamily="34" charset="0"/>
              <a:buChar char="•"/>
            </a:pPr>
            <a:r>
              <a:rPr lang="es-AR" sz="800" spc="0">
                <a:latin typeface="Pulso Light" pitchFamily="2" charset="0"/>
              </a:rPr>
              <a:t>FTTH</a:t>
            </a:r>
          </a:p>
        </p:txBody>
      </p:sp>
      <p:sp>
        <p:nvSpPr>
          <p:cNvPr id="81" name="CuadroTexto 80">
            <a:extLst>
              <a:ext uri="{FF2B5EF4-FFF2-40B4-BE49-F238E27FC236}">
                <a16:creationId xmlns:a16="http://schemas.microsoft.com/office/drawing/2014/main" id="{CDCA3741-978A-251D-747C-C5C95116DA65}"/>
              </a:ext>
            </a:extLst>
          </p:cNvPr>
          <p:cNvSpPr txBox="1"/>
          <p:nvPr/>
        </p:nvSpPr>
        <p:spPr>
          <a:xfrm>
            <a:off x="7796854" y="1734119"/>
            <a:ext cx="1068435" cy="847718"/>
          </a:xfrm>
          <a:prstGeom prst="rect">
            <a:avLst/>
          </a:prstGeom>
          <a:effectLst/>
        </p:spPr>
        <p:txBody>
          <a:bodyPr vert="horz" wrap="square" lIns="72000" tIns="10800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sz="1200" b="0" i="0" spc="-70" baseline="0">
                <a:solidFill>
                  <a:schemeClr val="tx2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marL="104775" indent="-104775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AR" sz="80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Móvil NTN</a:t>
            </a:r>
          </a:p>
          <a:p>
            <a:pPr marL="104775" indent="-104775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AR" sz="80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Móvil 6G</a:t>
            </a:r>
          </a:p>
          <a:p>
            <a:pPr marL="104775" indent="-104775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AR" sz="80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Redes sensitivas</a:t>
            </a:r>
          </a:p>
          <a:p>
            <a:pPr marL="104775" indent="-104775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AR" sz="80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Zero </a:t>
            </a:r>
            <a:r>
              <a:rPr lang="es-AR" sz="800" spc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Touch</a:t>
            </a:r>
            <a:endParaRPr lang="es-AR" sz="800" spc="0">
              <a:solidFill>
                <a:schemeClr val="bg1">
                  <a:lumMod val="25000"/>
                </a:schemeClr>
              </a:solidFill>
              <a:latin typeface="Pulso Light" pitchFamily="2" charset="0"/>
            </a:endParaRPr>
          </a:p>
          <a:p>
            <a:pPr marL="104775" indent="-104775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AR" sz="800" spc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GenAI</a:t>
            </a:r>
            <a:r>
              <a:rPr lang="es-AR" sz="80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/ Agentes</a:t>
            </a:r>
          </a:p>
          <a:p>
            <a:pPr marL="104775" indent="-104775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AR" sz="800" spc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vRAN</a:t>
            </a:r>
            <a:endParaRPr lang="es-AR" sz="800" spc="0">
              <a:solidFill>
                <a:schemeClr val="bg1">
                  <a:lumMod val="25000"/>
                </a:schemeClr>
              </a:solidFill>
              <a:latin typeface="Pulso Light" pitchFamily="2" charset="0"/>
            </a:endParaRPr>
          </a:p>
        </p:txBody>
      </p:sp>
      <p:sp>
        <p:nvSpPr>
          <p:cNvPr id="82" name="CuadroTexto 81">
            <a:extLst>
              <a:ext uri="{FF2B5EF4-FFF2-40B4-BE49-F238E27FC236}">
                <a16:creationId xmlns:a16="http://schemas.microsoft.com/office/drawing/2014/main" id="{41806937-F864-EF2F-048F-A57EEC56A368}"/>
              </a:ext>
            </a:extLst>
          </p:cNvPr>
          <p:cNvSpPr txBox="1"/>
          <p:nvPr/>
        </p:nvSpPr>
        <p:spPr>
          <a:xfrm>
            <a:off x="6303008" y="2911064"/>
            <a:ext cx="636960" cy="601497"/>
          </a:xfrm>
          <a:prstGeom prst="rect">
            <a:avLst/>
          </a:prstGeom>
          <a:effectLst/>
        </p:spPr>
        <p:txBody>
          <a:bodyPr vert="horz" wrap="none" lIns="72000" tIns="10800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sz="1200" b="0" i="0" spc="-70" baseline="0">
                <a:solidFill>
                  <a:schemeClr val="tx2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marL="104775" indent="-104775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s-AR" sz="80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Móvil 5G</a:t>
            </a:r>
          </a:p>
          <a:p>
            <a:pPr marL="104775" indent="-104775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s-AR" sz="80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OTT</a:t>
            </a:r>
            <a:br>
              <a:rPr lang="es-AR" sz="80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</a:br>
            <a:r>
              <a:rPr lang="es-AR" sz="80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Masivos</a:t>
            </a:r>
          </a:p>
          <a:p>
            <a:pPr marL="104775" indent="-104775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s-AR" sz="800" spc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Docsis</a:t>
            </a:r>
            <a:r>
              <a:rPr lang="es-AR" sz="80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3.1</a:t>
            </a:r>
          </a:p>
        </p:txBody>
      </p:sp>
      <p:sp>
        <p:nvSpPr>
          <p:cNvPr id="84" name="CuadroTexto 83">
            <a:extLst>
              <a:ext uri="{FF2B5EF4-FFF2-40B4-BE49-F238E27FC236}">
                <a16:creationId xmlns:a16="http://schemas.microsoft.com/office/drawing/2014/main" id="{213A3F2B-0ADF-BE59-98FA-3C635AE90459}"/>
              </a:ext>
            </a:extLst>
          </p:cNvPr>
          <p:cNvSpPr txBox="1"/>
          <p:nvPr/>
        </p:nvSpPr>
        <p:spPr>
          <a:xfrm>
            <a:off x="7151243" y="2682628"/>
            <a:ext cx="1305810" cy="724608"/>
          </a:xfrm>
          <a:prstGeom prst="rect">
            <a:avLst/>
          </a:prstGeom>
          <a:effectLst/>
        </p:spPr>
        <p:txBody>
          <a:bodyPr vert="horz" wrap="square" lIns="72000" tIns="10800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sz="1200" b="0" i="0" spc="-70" baseline="0">
                <a:solidFill>
                  <a:schemeClr val="tx2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marL="104775" indent="-104775">
              <a:buClr>
                <a:srgbClr val="458AEF"/>
              </a:buClr>
              <a:buFont typeface="Arial" panose="020B0604020202020204" pitchFamily="34" charset="0"/>
              <a:buChar char="•"/>
            </a:pPr>
            <a:r>
              <a:rPr lang="es-AR" sz="800" spc="0">
                <a:latin typeface="Pulso Light" pitchFamily="2" charset="0"/>
              </a:rPr>
              <a:t>Satelital</a:t>
            </a:r>
          </a:p>
          <a:p>
            <a:pPr marL="104775" indent="-104775">
              <a:buClr>
                <a:srgbClr val="458AEF"/>
              </a:buClr>
              <a:buFont typeface="Arial" panose="020B0604020202020204" pitchFamily="34" charset="0"/>
              <a:buChar char="•"/>
            </a:pPr>
            <a:r>
              <a:rPr lang="pt-BR" sz="800" spc="0">
                <a:latin typeface="Pulso Light" pitchFamily="2" charset="0"/>
              </a:rPr>
              <a:t>XGSPON</a:t>
            </a:r>
          </a:p>
          <a:p>
            <a:pPr marL="104775" indent="-104775">
              <a:buClr>
                <a:srgbClr val="458AEF"/>
              </a:buClr>
              <a:buFont typeface="Arial" panose="020B0604020202020204" pitchFamily="34" charset="0"/>
              <a:buChar char="•"/>
            </a:pPr>
            <a:r>
              <a:rPr lang="pt-BR" sz="800" spc="0">
                <a:latin typeface="Pulso Light" pitchFamily="2" charset="0"/>
              </a:rPr>
              <a:t>Redes autónomas</a:t>
            </a:r>
          </a:p>
          <a:p>
            <a:pPr marL="104775" indent="-104775">
              <a:buClr>
                <a:srgbClr val="458AEF"/>
              </a:buClr>
              <a:buFont typeface="Arial" panose="020B0604020202020204" pitchFamily="34" charset="0"/>
              <a:buChar char="•"/>
            </a:pPr>
            <a:r>
              <a:rPr lang="pt-BR" sz="800" spc="0">
                <a:latin typeface="Pulso Light" pitchFamily="2" charset="0"/>
              </a:rPr>
              <a:t>Móvil 5G </a:t>
            </a:r>
            <a:r>
              <a:rPr lang="pt-BR" sz="800" spc="0" err="1">
                <a:latin typeface="Pulso Light" pitchFamily="2" charset="0"/>
              </a:rPr>
              <a:t>Advanced</a:t>
            </a:r>
            <a:endParaRPr lang="pt-BR" sz="800" spc="0">
              <a:latin typeface="Pulso Light" pitchFamily="2" charset="0"/>
            </a:endParaRPr>
          </a:p>
          <a:p>
            <a:pPr marL="104775" indent="-104775">
              <a:buClr>
                <a:srgbClr val="458AEF"/>
              </a:buClr>
              <a:buFont typeface="Arial" panose="020B0604020202020204" pitchFamily="34" charset="0"/>
              <a:buChar char="•"/>
            </a:pPr>
            <a:r>
              <a:rPr lang="pt-BR" sz="800" spc="0">
                <a:latin typeface="Pulso Light" pitchFamily="2" charset="0"/>
              </a:rPr>
              <a:t>IA</a:t>
            </a:r>
          </a:p>
        </p:txBody>
      </p:sp>
    </p:spTree>
    <p:extLst>
      <p:ext uri="{BB962C8B-B14F-4D97-AF65-F5344CB8AC3E}">
        <p14:creationId xmlns:p14="http://schemas.microsoft.com/office/powerpoint/2010/main" val="2480300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5C8510-DCA7-9CAD-5E08-3FD44EDF68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texto 8">
            <a:extLst>
              <a:ext uri="{FF2B5EF4-FFF2-40B4-BE49-F238E27FC236}">
                <a16:creationId xmlns:a16="http://schemas.microsoft.com/office/drawing/2014/main" id="{2C1AFF43-3E74-028A-91EF-BC3039DE30ED}"/>
              </a:ext>
            </a:extLst>
          </p:cNvPr>
          <p:cNvSpPr txBox="1">
            <a:spLocks/>
          </p:cNvSpPr>
          <p:nvPr/>
        </p:nvSpPr>
        <p:spPr>
          <a:xfrm>
            <a:off x="540657" y="949933"/>
            <a:ext cx="5950347" cy="391710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>
                <a:solidFill>
                  <a:srgbClr val="150958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Personal Pay Incrementó su presencia posicionándose por encima de varios bancos líderes.</a:t>
            </a:r>
            <a:br>
              <a:rPr lang="es-ES_tradnl" sz="1100" noProof="0">
                <a:solidFill>
                  <a:srgbClr val="150958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</a:br>
            <a:r>
              <a:rPr lang="es-ES_tradnl" sz="1100" noProof="0">
                <a:solidFill>
                  <a:srgbClr val="150958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n un período de tiempo muy acotado</a:t>
            </a:r>
            <a:r>
              <a:rPr lang="es-ES_tradnl" sz="1100">
                <a:solidFill>
                  <a:srgbClr val="150958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  <a:endParaRPr lang="es-ES_tradnl" sz="1100" noProof="0">
              <a:solidFill>
                <a:srgbClr val="150958"/>
              </a:solidFill>
              <a:latin typeface="Pulso" pitchFamily="2" charset="0"/>
              <a:ea typeface="Roboto" panose="02000000000000000000" pitchFamily="2" charset="0"/>
              <a:cs typeface="Open Sans" pitchFamily="2" charset="0"/>
            </a:endParaRPr>
          </a:p>
        </p:txBody>
      </p:sp>
      <p:sp>
        <p:nvSpPr>
          <p:cNvPr id="52" name="Rectángulo redondeado 21">
            <a:extLst>
              <a:ext uri="{FF2B5EF4-FFF2-40B4-BE49-F238E27FC236}">
                <a16:creationId xmlns:a16="http://schemas.microsoft.com/office/drawing/2014/main" id="{B8B37B59-5C0C-5898-E23E-E881F94E75F7}"/>
              </a:ext>
            </a:extLst>
          </p:cNvPr>
          <p:cNvSpPr/>
          <p:nvPr/>
        </p:nvSpPr>
        <p:spPr>
          <a:xfrm>
            <a:off x="6974406" y="1572626"/>
            <a:ext cx="1632340" cy="2968521"/>
          </a:xfrm>
          <a:prstGeom prst="roundRect">
            <a:avLst>
              <a:gd name="adj" fmla="val 3581"/>
            </a:avLst>
          </a:prstGeom>
          <a:solidFill>
            <a:srgbClr val="150958"/>
          </a:solidFill>
          <a:ln w="12700" cap="flat" cmpd="sng" algn="ctr">
            <a:noFill/>
            <a:prstDash val="solid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s-AR" sz="1228" kern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0E5F793-DFCC-6DBD-1803-E00597618DC6}"/>
              </a:ext>
            </a:extLst>
          </p:cNvPr>
          <p:cNvSpPr txBox="1">
            <a:spLocks/>
          </p:cNvSpPr>
          <p:nvPr/>
        </p:nvSpPr>
        <p:spPr>
          <a:xfrm>
            <a:off x="540657" y="538309"/>
            <a:ext cx="8071120" cy="360933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ts val="3200"/>
              </a:lnSpc>
              <a:spcAft>
                <a:spcPts val="0"/>
              </a:spcAft>
              <a:buNone/>
              <a:defRPr sz="2800" b="0" i="0" spc="-70" baseline="0">
                <a:solidFill>
                  <a:schemeClr val="tx2"/>
                </a:solidFill>
                <a:latin typeface="Pulso Light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200">
                <a:solidFill>
                  <a:srgbClr val="5A50F9"/>
                </a:solidFill>
              </a:rPr>
              <a:t>En un contexto de crecimiento de las billeteras y estabilidad bancaria</a:t>
            </a:r>
          </a:p>
        </p:txBody>
      </p:sp>
      <p:sp>
        <p:nvSpPr>
          <p:cNvPr id="7" name="Rectángulo redondeado 21">
            <a:extLst>
              <a:ext uri="{FF2B5EF4-FFF2-40B4-BE49-F238E27FC236}">
                <a16:creationId xmlns:a16="http://schemas.microsoft.com/office/drawing/2014/main" id="{F58217F8-0405-FDC2-9BD4-CF971917277A}"/>
              </a:ext>
            </a:extLst>
          </p:cNvPr>
          <p:cNvSpPr/>
          <p:nvPr/>
        </p:nvSpPr>
        <p:spPr>
          <a:xfrm>
            <a:off x="537254" y="1572626"/>
            <a:ext cx="6360597" cy="2968521"/>
          </a:xfrm>
          <a:prstGeom prst="roundRect">
            <a:avLst>
              <a:gd name="adj" fmla="val 1903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s-AR" sz="1228" kern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9C52D44-A9F2-1497-0F9D-C336114BC2B3}"/>
              </a:ext>
            </a:extLst>
          </p:cNvPr>
          <p:cNvSpPr txBox="1">
            <a:spLocks/>
          </p:cNvSpPr>
          <p:nvPr/>
        </p:nvSpPr>
        <p:spPr>
          <a:xfrm>
            <a:off x="675662" y="1682208"/>
            <a:ext cx="2896627" cy="15388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000" b="0" spc="0" noProof="0">
                <a:solidFill>
                  <a:srgbClr val="5A50F9"/>
                </a:solidFill>
              </a:rPr>
              <a:t>Estudio imagen y posicionamiento </a:t>
            </a:r>
            <a:r>
              <a:rPr lang="es-ES_tradnl" sz="1000" b="0" spc="0" noProof="0" err="1">
                <a:solidFill>
                  <a:srgbClr val="5A50F9"/>
                </a:solidFill>
              </a:rPr>
              <a:t>Brain</a:t>
            </a:r>
            <a:r>
              <a:rPr lang="es-ES_tradnl" sz="1000" b="0" spc="0" noProof="0">
                <a:solidFill>
                  <a:srgbClr val="5A50F9"/>
                </a:solidFill>
              </a:rPr>
              <a:t> Network</a:t>
            </a:r>
          </a:p>
        </p:txBody>
      </p:sp>
      <p:grpSp>
        <p:nvGrpSpPr>
          <p:cNvPr id="93" name="Grupo 92">
            <a:extLst>
              <a:ext uri="{FF2B5EF4-FFF2-40B4-BE49-F238E27FC236}">
                <a16:creationId xmlns:a16="http://schemas.microsoft.com/office/drawing/2014/main" id="{ABF3B04B-756B-DE67-6AC6-9F7A15671F8F}"/>
              </a:ext>
            </a:extLst>
          </p:cNvPr>
          <p:cNvGrpSpPr/>
          <p:nvPr/>
        </p:nvGrpSpPr>
        <p:grpSpPr>
          <a:xfrm>
            <a:off x="786213" y="2082323"/>
            <a:ext cx="5865915" cy="1919409"/>
            <a:chOff x="914701" y="1579133"/>
            <a:chExt cx="6293699" cy="2947607"/>
          </a:xfrm>
        </p:grpSpPr>
        <p:graphicFrame>
          <p:nvGraphicFramePr>
            <p:cNvPr id="38" name="Gráfico 37">
              <a:extLst>
                <a:ext uri="{FF2B5EF4-FFF2-40B4-BE49-F238E27FC236}">
                  <a16:creationId xmlns:a16="http://schemas.microsoft.com/office/drawing/2014/main" id="{36F34678-D037-BF50-9C9E-DE7EB66514FB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370761669"/>
                </p:ext>
              </p:extLst>
            </p:nvPr>
          </p:nvGraphicFramePr>
          <p:xfrm>
            <a:off x="914701" y="1892466"/>
            <a:ext cx="6293699" cy="263427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cxnSp>
          <p:nvCxnSpPr>
            <p:cNvPr id="45" name="Conector recto 44">
              <a:extLst>
                <a:ext uri="{FF2B5EF4-FFF2-40B4-BE49-F238E27FC236}">
                  <a16:creationId xmlns:a16="http://schemas.microsoft.com/office/drawing/2014/main" id="{910D22D8-4C05-B9B6-DDDC-B738DD0D690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19515" y="1579133"/>
              <a:ext cx="0" cy="2550830"/>
            </a:xfrm>
            <a:prstGeom prst="line">
              <a:avLst/>
            </a:prstGeom>
            <a:ln cap="rnd">
              <a:solidFill>
                <a:schemeClr val="bg1">
                  <a:lumMod val="75000"/>
                </a:schemeClr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Conector recto 45">
              <a:extLst>
                <a:ext uri="{FF2B5EF4-FFF2-40B4-BE49-F238E27FC236}">
                  <a16:creationId xmlns:a16="http://schemas.microsoft.com/office/drawing/2014/main" id="{6D3DB62E-85F9-C044-7BB9-CD744BE437C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92921" y="1579134"/>
              <a:ext cx="0" cy="2550828"/>
            </a:xfrm>
            <a:prstGeom prst="line">
              <a:avLst/>
            </a:prstGeom>
            <a:ln cap="rnd">
              <a:solidFill>
                <a:schemeClr val="bg1">
                  <a:lumMod val="75000"/>
                </a:schemeClr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ector recto 46">
              <a:extLst>
                <a:ext uri="{FF2B5EF4-FFF2-40B4-BE49-F238E27FC236}">
                  <a16:creationId xmlns:a16="http://schemas.microsoft.com/office/drawing/2014/main" id="{99FC77C5-B396-33C8-4192-77DFA53C94A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10163" y="1579133"/>
              <a:ext cx="0" cy="2550828"/>
            </a:xfrm>
            <a:prstGeom prst="line">
              <a:avLst/>
            </a:prstGeom>
            <a:ln cap="rnd">
              <a:solidFill>
                <a:schemeClr val="bg1">
                  <a:lumMod val="75000"/>
                </a:schemeClr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ector recto 47">
              <a:extLst>
                <a:ext uri="{FF2B5EF4-FFF2-40B4-BE49-F238E27FC236}">
                  <a16:creationId xmlns:a16="http://schemas.microsoft.com/office/drawing/2014/main" id="{24F8B5FA-5D0E-B310-F859-1D17CBCF189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81652" y="1579133"/>
              <a:ext cx="0" cy="2550828"/>
            </a:xfrm>
            <a:prstGeom prst="line">
              <a:avLst/>
            </a:prstGeom>
            <a:ln cap="rnd">
              <a:solidFill>
                <a:schemeClr val="bg1">
                  <a:lumMod val="75000"/>
                </a:schemeClr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ector recto 48">
              <a:extLst>
                <a:ext uri="{FF2B5EF4-FFF2-40B4-BE49-F238E27FC236}">
                  <a16:creationId xmlns:a16="http://schemas.microsoft.com/office/drawing/2014/main" id="{E37E8B53-786A-C869-093D-9309D34CBB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57396" y="1579133"/>
              <a:ext cx="0" cy="2550828"/>
            </a:xfrm>
            <a:prstGeom prst="line">
              <a:avLst/>
            </a:prstGeom>
            <a:ln cap="rnd">
              <a:solidFill>
                <a:schemeClr val="bg1">
                  <a:lumMod val="75000"/>
                </a:schemeClr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15 Forma">
              <a:extLst>
                <a:ext uri="{FF2B5EF4-FFF2-40B4-BE49-F238E27FC236}">
                  <a16:creationId xmlns:a16="http://schemas.microsoft.com/office/drawing/2014/main" id="{8C602528-92B5-2F15-C95C-2309265A1F51}"/>
                </a:ext>
              </a:extLst>
            </p:cNvPr>
            <p:cNvSpPr/>
            <p:nvPr/>
          </p:nvSpPr>
          <p:spPr>
            <a:xfrm rot="18211175" flipV="1">
              <a:off x="3217641" y="3623655"/>
              <a:ext cx="722503" cy="340443"/>
            </a:xfrm>
            <a:prstGeom prst="swooshArrow">
              <a:avLst>
                <a:gd name="adj1" fmla="val 16310"/>
                <a:gd name="adj2" fmla="val 74381"/>
              </a:avLst>
            </a:prstGeom>
            <a:solidFill>
              <a:srgbClr val="5A50F9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AR" sz="1350">
                <a:solidFill>
                  <a:srgbClr val="F0F0F0"/>
                </a:solidFill>
                <a:latin typeface="Open Sans"/>
              </a:endParaRPr>
            </a:p>
          </p:txBody>
        </p:sp>
      </p:grpSp>
      <p:sp>
        <p:nvSpPr>
          <p:cNvPr id="94" name="15 CuadroTexto">
            <a:extLst>
              <a:ext uri="{FF2B5EF4-FFF2-40B4-BE49-F238E27FC236}">
                <a16:creationId xmlns:a16="http://schemas.microsoft.com/office/drawing/2014/main" id="{AB90E11A-080C-AE99-4DF6-34923AE2CA60}"/>
              </a:ext>
            </a:extLst>
          </p:cNvPr>
          <p:cNvSpPr txBox="1"/>
          <p:nvPr/>
        </p:nvSpPr>
        <p:spPr>
          <a:xfrm>
            <a:off x="1688535" y="2314044"/>
            <a:ext cx="245260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s-AR"/>
            </a:defPPr>
            <a:lvl1pPr marL="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8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1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4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10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Open Sans" pitchFamily="2" charset="0"/>
                <a:cs typeface="Open Sans" pitchFamily="2" charset="0"/>
              </a:rPr>
              <a:t>88%</a:t>
            </a:r>
          </a:p>
        </p:txBody>
      </p:sp>
      <p:sp>
        <p:nvSpPr>
          <p:cNvPr id="96" name="15 CuadroTexto">
            <a:extLst>
              <a:ext uri="{FF2B5EF4-FFF2-40B4-BE49-F238E27FC236}">
                <a16:creationId xmlns:a16="http://schemas.microsoft.com/office/drawing/2014/main" id="{70190A5A-B5A9-0A44-5F4A-B3779BB30F76}"/>
              </a:ext>
            </a:extLst>
          </p:cNvPr>
          <p:cNvSpPr txBox="1"/>
          <p:nvPr/>
        </p:nvSpPr>
        <p:spPr>
          <a:xfrm>
            <a:off x="828135" y="2627609"/>
            <a:ext cx="23243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s-AR"/>
            </a:defPPr>
            <a:lvl1pPr marL="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8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1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4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90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Open Sans" pitchFamily="2" charset="0"/>
                <a:cs typeface="Open Sans" pitchFamily="2" charset="0"/>
              </a:rPr>
              <a:t>67%</a:t>
            </a:r>
          </a:p>
        </p:txBody>
      </p:sp>
      <p:sp>
        <p:nvSpPr>
          <p:cNvPr id="98" name="15 CuadroTexto">
            <a:extLst>
              <a:ext uri="{FF2B5EF4-FFF2-40B4-BE49-F238E27FC236}">
                <a16:creationId xmlns:a16="http://schemas.microsoft.com/office/drawing/2014/main" id="{D764F37E-D7C7-1276-5AB9-33C05E95371A}"/>
              </a:ext>
            </a:extLst>
          </p:cNvPr>
          <p:cNvSpPr txBox="1"/>
          <p:nvPr/>
        </p:nvSpPr>
        <p:spPr>
          <a:xfrm>
            <a:off x="2557295" y="3203214"/>
            <a:ext cx="245260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s-AR"/>
            </a:defPPr>
            <a:lvl1pPr marL="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8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1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4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10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Open Sans" pitchFamily="2" charset="0"/>
                <a:cs typeface="Open Sans" pitchFamily="2" charset="0"/>
              </a:rPr>
              <a:t>35%</a:t>
            </a:r>
          </a:p>
        </p:txBody>
      </p:sp>
      <p:sp>
        <p:nvSpPr>
          <p:cNvPr id="99" name="15 CuadroTexto">
            <a:extLst>
              <a:ext uri="{FF2B5EF4-FFF2-40B4-BE49-F238E27FC236}">
                <a16:creationId xmlns:a16="http://schemas.microsoft.com/office/drawing/2014/main" id="{C1717367-C36D-D75D-5F11-B80E66DA3C18}"/>
              </a:ext>
            </a:extLst>
          </p:cNvPr>
          <p:cNvSpPr txBox="1"/>
          <p:nvPr/>
        </p:nvSpPr>
        <p:spPr>
          <a:xfrm>
            <a:off x="1906958" y="3428720"/>
            <a:ext cx="22121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s-AR"/>
            </a:defPPr>
            <a:lvl1pPr marL="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8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1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4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90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Open Sans" pitchFamily="2" charset="0"/>
                <a:cs typeface="Open Sans" pitchFamily="2" charset="0"/>
              </a:rPr>
              <a:t>12%</a:t>
            </a:r>
          </a:p>
        </p:txBody>
      </p:sp>
      <p:sp>
        <p:nvSpPr>
          <p:cNvPr id="100" name="15 CuadroTexto">
            <a:extLst>
              <a:ext uri="{FF2B5EF4-FFF2-40B4-BE49-F238E27FC236}">
                <a16:creationId xmlns:a16="http://schemas.microsoft.com/office/drawing/2014/main" id="{9D268A45-8C23-CAD0-DC15-72FCD607588E}"/>
              </a:ext>
            </a:extLst>
          </p:cNvPr>
          <p:cNvSpPr txBox="1"/>
          <p:nvPr/>
        </p:nvSpPr>
        <p:spPr>
          <a:xfrm>
            <a:off x="3362422" y="3204421"/>
            <a:ext cx="245260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s-AR"/>
            </a:defPPr>
            <a:lvl1pPr marL="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8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1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4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10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Open Sans" pitchFamily="2" charset="0"/>
                <a:cs typeface="Open Sans" pitchFamily="2" charset="0"/>
              </a:rPr>
              <a:t>25%</a:t>
            </a:r>
          </a:p>
        </p:txBody>
      </p:sp>
      <p:sp>
        <p:nvSpPr>
          <p:cNvPr id="101" name="15 CuadroTexto">
            <a:extLst>
              <a:ext uri="{FF2B5EF4-FFF2-40B4-BE49-F238E27FC236}">
                <a16:creationId xmlns:a16="http://schemas.microsoft.com/office/drawing/2014/main" id="{B40F7D57-487B-ACC8-F568-6F3D36378E6C}"/>
              </a:ext>
            </a:extLst>
          </p:cNvPr>
          <p:cNvSpPr txBox="1"/>
          <p:nvPr/>
        </p:nvSpPr>
        <p:spPr>
          <a:xfrm>
            <a:off x="2926924" y="3512426"/>
            <a:ext cx="16831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s-AR"/>
            </a:defPPr>
            <a:lvl1pPr marL="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8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1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4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90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Open Sans" pitchFamily="2" charset="0"/>
                <a:cs typeface="Open Sans" pitchFamily="2" charset="0"/>
              </a:rPr>
              <a:t>2%</a:t>
            </a:r>
          </a:p>
        </p:txBody>
      </p:sp>
      <p:sp>
        <p:nvSpPr>
          <p:cNvPr id="102" name="15 CuadroTexto">
            <a:extLst>
              <a:ext uri="{FF2B5EF4-FFF2-40B4-BE49-F238E27FC236}">
                <a16:creationId xmlns:a16="http://schemas.microsoft.com/office/drawing/2014/main" id="{A72AEEBE-7D17-5490-4C3B-35C1554A2AA7}"/>
              </a:ext>
            </a:extLst>
          </p:cNvPr>
          <p:cNvSpPr txBox="1"/>
          <p:nvPr/>
        </p:nvSpPr>
        <p:spPr>
          <a:xfrm>
            <a:off x="4211695" y="3282853"/>
            <a:ext cx="245260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s-AR"/>
            </a:defPPr>
            <a:lvl1pPr marL="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8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1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4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10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Open Sans" pitchFamily="2" charset="0"/>
                <a:cs typeface="Open Sans" pitchFamily="2" charset="0"/>
              </a:rPr>
              <a:t>25%</a:t>
            </a:r>
          </a:p>
        </p:txBody>
      </p:sp>
      <p:sp>
        <p:nvSpPr>
          <p:cNvPr id="103" name="15 CuadroTexto">
            <a:extLst>
              <a:ext uri="{FF2B5EF4-FFF2-40B4-BE49-F238E27FC236}">
                <a16:creationId xmlns:a16="http://schemas.microsoft.com/office/drawing/2014/main" id="{3CC87A58-0319-BBFB-D2E9-657863B990A6}"/>
              </a:ext>
            </a:extLst>
          </p:cNvPr>
          <p:cNvSpPr txBox="1"/>
          <p:nvPr/>
        </p:nvSpPr>
        <p:spPr>
          <a:xfrm>
            <a:off x="3555954" y="3337258"/>
            <a:ext cx="22281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s-AR"/>
            </a:defPPr>
            <a:lvl1pPr marL="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8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1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4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90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Open Sans" pitchFamily="2" charset="0"/>
                <a:cs typeface="Open Sans" pitchFamily="2" charset="0"/>
              </a:rPr>
              <a:t>18%</a:t>
            </a:r>
          </a:p>
        </p:txBody>
      </p:sp>
      <p:sp>
        <p:nvSpPr>
          <p:cNvPr id="104" name="15 CuadroTexto">
            <a:extLst>
              <a:ext uri="{FF2B5EF4-FFF2-40B4-BE49-F238E27FC236}">
                <a16:creationId xmlns:a16="http://schemas.microsoft.com/office/drawing/2014/main" id="{2EE863EE-0F1D-E109-76F9-D380BDCCCF22}"/>
              </a:ext>
            </a:extLst>
          </p:cNvPr>
          <p:cNvSpPr txBox="1"/>
          <p:nvPr/>
        </p:nvSpPr>
        <p:spPr>
          <a:xfrm>
            <a:off x="5372062" y="3264657"/>
            <a:ext cx="245260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s-AR"/>
            </a:defPPr>
            <a:lvl1pPr marL="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8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1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4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10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Open Sans" pitchFamily="2" charset="0"/>
                <a:cs typeface="Open Sans" pitchFamily="2" charset="0"/>
              </a:rPr>
              <a:t>22%</a:t>
            </a:r>
          </a:p>
        </p:txBody>
      </p:sp>
      <p:sp>
        <p:nvSpPr>
          <p:cNvPr id="105" name="15 CuadroTexto">
            <a:extLst>
              <a:ext uri="{FF2B5EF4-FFF2-40B4-BE49-F238E27FC236}">
                <a16:creationId xmlns:a16="http://schemas.microsoft.com/office/drawing/2014/main" id="{4C82A118-A0BD-7904-C118-F4DEC77777DB}"/>
              </a:ext>
            </a:extLst>
          </p:cNvPr>
          <p:cNvSpPr txBox="1"/>
          <p:nvPr/>
        </p:nvSpPr>
        <p:spPr>
          <a:xfrm>
            <a:off x="6368984" y="3250386"/>
            <a:ext cx="245260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s-AR"/>
            </a:defPPr>
            <a:lvl1pPr marL="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8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1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4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10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Open Sans" pitchFamily="2" charset="0"/>
                <a:cs typeface="Open Sans" pitchFamily="2" charset="0"/>
              </a:rPr>
              <a:t>26%</a:t>
            </a:r>
          </a:p>
        </p:txBody>
      </p:sp>
      <p:sp>
        <p:nvSpPr>
          <p:cNvPr id="106" name="15 CuadroTexto">
            <a:extLst>
              <a:ext uri="{FF2B5EF4-FFF2-40B4-BE49-F238E27FC236}">
                <a16:creationId xmlns:a16="http://schemas.microsoft.com/office/drawing/2014/main" id="{11023C8C-12AF-E93E-C392-345B6D646EEC}"/>
              </a:ext>
            </a:extLst>
          </p:cNvPr>
          <p:cNvSpPr txBox="1"/>
          <p:nvPr/>
        </p:nvSpPr>
        <p:spPr>
          <a:xfrm>
            <a:off x="4539570" y="3194267"/>
            <a:ext cx="32060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s-AR"/>
            </a:defPPr>
            <a:lvl1pPr marL="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8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1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4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20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Open Sans" pitchFamily="2" charset="0"/>
                <a:cs typeface="Open Sans" pitchFamily="2" charset="0"/>
              </a:rPr>
              <a:t>26%</a:t>
            </a:r>
          </a:p>
        </p:txBody>
      </p:sp>
      <p:sp>
        <p:nvSpPr>
          <p:cNvPr id="107" name="15 CuadroTexto">
            <a:extLst>
              <a:ext uri="{FF2B5EF4-FFF2-40B4-BE49-F238E27FC236}">
                <a16:creationId xmlns:a16="http://schemas.microsoft.com/office/drawing/2014/main" id="{95299839-54D0-CD9A-0CBF-C2D133CEC7AD}"/>
              </a:ext>
            </a:extLst>
          </p:cNvPr>
          <p:cNvSpPr txBox="1"/>
          <p:nvPr/>
        </p:nvSpPr>
        <p:spPr>
          <a:xfrm>
            <a:off x="5589877" y="3393249"/>
            <a:ext cx="22121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s-AR"/>
            </a:defPPr>
            <a:lvl1pPr marL="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8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1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4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3" algn="l" defTabSz="68576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90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Open Sans" pitchFamily="2" charset="0"/>
                <a:cs typeface="Open Sans" pitchFamily="2" charset="0"/>
              </a:rPr>
              <a:t>15%</a:t>
            </a:r>
          </a:p>
        </p:txBody>
      </p:sp>
      <p:grpSp>
        <p:nvGrpSpPr>
          <p:cNvPr id="113" name="Grupo 112">
            <a:extLst>
              <a:ext uri="{FF2B5EF4-FFF2-40B4-BE49-F238E27FC236}">
                <a16:creationId xmlns:a16="http://schemas.microsoft.com/office/drawing/2014/main" id="{5A182C57-B5B3-114D-C60F-84BDFB1B6445}"/>
              </a:ext>
            </a:extLst>
          </p:cNvPr>
          <p:cNvGrpSpPr/>
          <p:nvPr/>
        </p:nvGrpSpPr>
        <p:grpSpPr>
          <a:xfrm>
            <a:off x="3014660" y="4310967"/>
            <a:ext cx="1409020" cy="123715"/>
            <a:chOff x="2626601" y="4344289"/>
            <a:chExt cx="1409020" cy="123715"/>
          </a:xfrm>
        </p:grpSpPr>
        <p:sp>
          <p:nvSpPr>
            <p:cNvPr id="108" name="Elipse 107">
              <a:extLst>
                <a:ext uri="{FF2B5EF4-FFF2-40B4-BE49-F238E27FC236}">
                  <a16:creationId xmlns:a16="http://schemas.microsoft.com/office/drawing/2014/main" id="{9BDC6DC5-71AC-0931-0B54-A1209F8E5DD9}"/>
                </a:ext>
              </a:extLst>
            </p:cNvPr>
            <p:cNvSpPr/>
            <p:nvPr/>
          </p:nvSpPr>
          <p:spPr>
            <a:xfrm>
              <a:off x="2626601" y="4344289"/>
              <a:ext cx="123715" cy="123715"/>
            </a:xfrm>
            <a:prstGeom prst="ellipse">
              <a:avLst/>
            </a:prstGeom>
            <a:solidFill>
              <a:srgbClr val="150958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700" b="1">
                <a:solidFill>
                  <a:schemeClr val="tx1"/>
                </a:solidFill>
              </a:endParaRPr>
            </a:p>
          </p:txBody>
        </p:sp>
        <p:sp>
          <p:nvSpPr>
            <p:cNvPr id="109" name="Elipse 108">
              <a:extLst>
                <a:ext uri="{FF2B5EF4-FFF2-40B4-BE49-F238E27FC236}">
                  <a16:creationId xmlns:a16="http://schemas.microsoft.com/office/drawing/2014/main" id="{C134B1F5-B89A-D227-7C74-4EC41D24F6A9}"/>
                </a:ext>
              </a:extLst>
            </p:cNvPr>
            <p:cNvSpPr/>
            <p:nvPr/>
          </p:nvSpPr>
          <p:spPr>
            <a:xfrm>
              <a:off x="3385529" y="4344289"/>
              <a:ext cx="123715" cy="123715"/>
            </a:xfrm>
            <a:prstGeom prst="ellipse">
              <a:avLst/>
            </a:prstGeom>
            <a:solidFill>
              <a:schemeClr val="accent6"/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700" b="1">
                <a:solidFill>
                  <a:schemeClr val="tx1"/>
                </a:solidFill>
              </a:endParaRPr>
            </a:p>
          </p:txBody>
        </p:sp>
        <p:sp>
          <p:nvSpPr>
            <p:cNvPr id="111" name="15 CuadroTexto">
              <a:extLst>
                <a:ext uri="{FF2B5EF4-FFF2-40B4-BE49-F238E27FC236}">
                  <a16:creationId xmlns:a16="http://schemas.microsoft.com/office/drawing/2014/main" id="{E69949F8-DEA7-E4F0-E22D-2228D3B2F153}"/>
                </a:ext>
              </a:extLst>
            </p:cNvPr>
            <p:cNvSpPr txBox="1"/>
            <p:nvPr/>
          </p:nvSpPr>
          <p:spPr>
            <a:xfrm>
              <a:off x="2792939" y="4352285"/>
              <a:ext cx="444032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s-AR"/>
              </a:defPPr>
              <a:lvl1pPr marL="0" algn="l" defTabSz="685766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883" algn="l" defTabSz="685766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66" algn="l" defTabSz="685766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49" algn="l" defTabSz="685766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31" algn="l" defTabSz="685766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14" algn="l" defTabSz="685766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297" algn="l" defTabSz="685766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180" algn="l" defTabSz="685766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063" algn="l" defTabSz="685766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2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sz="7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  <a:ea typeface="Open Sans" pitchFamily="2" charset="0"/>
                  <a:cs typeface="Open Sans" pitchFamily="2" charset="0"/>
                </a:rPr>
                <a:t>Principales</a:t>
              </a:r>
            </a:p>
          </p:txBody>
        </p:sp>
        <p:sp>
          <p:nvSpPr>
            <p:cNvPr id="112" name="15 CuadroTexto">
              <a:extLst>
                <a:ext uri="{FF2B5EF4-FFF2-40B4-BE49-F238E27FC236}">
                  <a16:creationId xmlns:a16="http://schemas.microsoft.com/office/drawing/2014/main" id="{4600474B-C848-94D6-3CAC-73C1130D2A6D}"/>
                </a:ext>
              </a:extLst>
            </p:cNvPr>
            <p:cNvSpPr txBox="1"/>
            <p:nvPr/>
          </p:nvSpPr>
          <p:spPr>
            <a:xfrm>
              <a:off x="3548308" y="4352285"/>
              <a:ext cx="487313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s-AR"/>
              </a:defPPr>
              <a:lvl1pPr marL="0" algn="l" defTabSz="685766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883" algn="l" defTabSz="685766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66" algn="l" defTabSz="685766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49" algn="l" defTabSz="685766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31" algn="l" defTabSz="685766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14" algn="l" defTabSz="685766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297" algn="l" defTabSz="685766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180" algn="l" defTabSz="685766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063" algn="l" defTabSz="685766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2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sz="7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  <a:ea typeface="Open Sans" pitchFamily="2" charset="0"/>
                  <a:cs typeface="Open Sans" pitchFamily="2" charset="0"/>
                </a:rPr>
                <a:t>Alternativos</a:t>
              </a:r>
            </a:p>
          </p:txBody>
        </p:sp>
      </p:grpSp>
      <p:pic>
        <p:nvPicPr>
          <p:cNvPr id="114" name="Picture 22">
            <a:extLst>
              <a:ext uri="{FF2B5EF4-FFF2-40B4-BE49-F238E27FC236}">
                <a16:creationId xmlns:a16="http://schemas.microsoft.com/office/drawing/2014/main" id="{2C46DFD2-02C7-35D4-378B-9BA739BEB1A4}"/>
              </a:ext>
            </a:extLst>
          </p:cNvPr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46270" y="2037101"/>
            <a:ext cx="324000" cy="324000"/>
          </a:xfrm>
          <a:prstGeom prst="roundRect">
            <a:avLst/>
          </a:prstGeom>
          <a:solidFill>
            <a:srgbClr val="FFFFFF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</p:pic>
      <p:pic>
        <p:nvPicPr>
          <p:cNvPr id="115" name="Picture 24">
            <a:extLst>
              <a:ext uri="{FF2B5EF4-FFF2-40B4-BE49-F238E27FC236}">
                <a16:creationId xmlns:a16="http://schemas.microsoft.com/office/drawing/2014/main" id="{C3DC69B2-31E1-A879-82FE-8D1BBACEB40B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925811" y="2037101"/>
            <a:ext cx="324000" cy="324000"/>
          </a:xfrm>
          <a:prstGeom prst="roundRect">
            <a:avLst/>
          </a:prstGeom>
          <a:solidFill>
            <a:srgbClr val="FFFFFF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</p:pic>
      <p:pic>
        <p:nvPicPr>
          <p:cNvPr id="116" name="Picture 12">
            <a:extLst>
              <a:ext uri="{FF2B5EF4-FFF2-40B4-BE49-F238E27FC236}">
                <a16:creationId xmlns:a16="http://schemas.microsoft.com/office/drawing/2014/main" id="{7FC594FD-F6F2-836E-5A56-3937F470086C}"/>
              </a:ext>
            </a:extLst>
          </p:cNvPr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079915" y="2037101"/>
            <a:ext cx="324000" cy="324000"/>
          </a:xfrm>
          <a:prstGeom prst="roundRect">
            <a:avLst/>
          </a:prstGeom>
          <a:solidFill>
            <a:srgbClr val="FFFFFF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</p:pic>
      <p:pic>
        <p:nvPicPr>
          <p:cNvPr id="117" name="Picture 24">
            <a:extLst>
              <a:ext uri="{FF2B5EF4-FFF2-40B4-BE49-F238E27FC236}">
                <a16:creationId xmlns:a16="http://schemas.microsoft.com/office/drawing/2014/main" id="{F8984BCD-5720-AA0D-2710-A503400110C9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9" r="2029"/>
          <a:stretch/>
        </p:blipFill>
        <p:spPr bwMode="auto">
          <a:xfrm>
            <a:off x="4916045" y="2037101"/>
            <a:ext cx="324000" cy="324000"/>
          </a:xfrm>
          <a:prstGeom prst="roundRect">
            <a:avLst/>
          </a:prstGeom>
          <a:solidFill>
            <a:srgbClr val="FFFFFF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</p:pic>
      <p:pic>
        <p:nvPicPr>
          <p:cNvPr id="118" name="Picture 24">
            <a:extLst>
              <a:ext uri="{FF2B5EF4-FFF2-40B4-BE49-F238E27FC236}">
                <a16:creationId xmlns:a16="http://schemas.microsoft.com/office/drawing/2014/main" id="{816DCFD8-786A-12CE-0E79-621BF2C2F547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9" r="2029"/>
          <a:stretch/>
        </p:blipFill>
        <p:spPr bwMode="auto">
          <a:xfrm>
            <a:off x="3913420" y="2037101"/>
            <a:ext cx="324000" cy="324000"/>
          </a:xfrm>
          <a:prstGeom prst="roundRect">
            <a:avLst/>
          </a:prstGeom>
          <a:solidFill>
            <a:srgbClr val="FFFFFF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</p:pic>
      <p:pic>
        <p:nvPicPr>
          <p:cNvPr id="119" name="Picture 24">
            <a:extLst>
              <a:ext uri="{FF2B5EF4-FFF2-40B4-BE49-F238E27FC236}">
                <a16:creationId xmlns:a16="http://schemas.microsoft.com/office/drawing/2014/main" id="{A8886352-83FD-B674-4C7D-1B3D24F87617}"/>
              </a:ext>
            </a:extLst>
          </p:cNvPr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245823" y="2037101"/>
            <a:ext cx="324000" cy="324000"/>
          </a:xfrm>
          <a:prstGeom prst="roundRect">
            <a:avLst/>
          </a:prstGeom>
          <a:solidFill>
            <a:srgbClr val="FFFFFF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</p:pic>
      <p:pic>
        <p:nvPicPr>
          <p:cNvPr id="125" name="Picture 24">
            <a:extLst>
              <a:ext uri="{FF2B5EF4-FFF2-40B4-BE49-F238E27FC236}">
                <a16:creationId xmlns:a16="http://schemas.microsoft.com/office/drawing/2014/main" id="{0CE99BF2-6BB9-F5F1-923C-C90ECA3C4CDA}"/>
              </a:ext>
            </a:extLst>
          </p:cNvPr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726370" y="3045315"/>
            <a:ext cx="251534" cy="251533"/>
          </a:xfrm>
          <a:prstGeom prst="roundRect">
            <a:avLst/>
          </a:prstGeom>
          <a:solidFill>
            <a:srgbClr val="FFFFFF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</p:pic>
      <p:pic>
        <p:nvPicPr>
          <p:cNvPr id="126" name="Picture 24">
            <a:extLst>
              <a:ext uri="{FF2B5EF4-FFF2-40B4-BE49-F238E27FC236}">
                <a16:creationId xmlns:a16="http://schemas.microsoft.com/office/drawing/2014/main" id="{E8566A75-FC40-748D-4B15-87A4214D1308}"/>
              </a:ext>
            </a:extLst>
          </p:cNvPr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726370" y="3330143"/>
            <a:ext cx="251534" cy="251533"/>
          </a:xfrm>
          <a:prstGeom prst="roundRect">
            <a:avLst/>
          </a:prstGeom>
          <a:solidFill>
            <a:srgbClr val="FFFFFF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</p:pic>
      <p:pic>
        <p:nvPicPr>
          <p:cNvPr id="127" name="Picture 24">
            <a:extLst>
              <a:ext uri="{FF2B5EF4-FFF2-40B4-BE49-F238E27FC236}">
                <a16:creationId xmlns:a16="http://schemas.microsoft.com/office/drawing/2014/main" id="{26E16995-C8D2-FB50-DCDD-F0763B822A55}"/>
              </a:ext>
            </a:extLst>
          </p:cNvPr>
          <p:cNvPicPr>
            <a:picLocks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726370" y="3614971"/>
            <a:ext cx="251534" cy="251533"/>
          </a:xfrm>
          <a:prstGeom prst="roundRect">
            <a:avLst/>
          </a:prstGeom>
          <a:solidFill>
            <a:srgbClr val="FFFFFF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</p:pic>
      <p:pic>
        <p:nvPicPr>
          <p:cNvPr id="128" name="Picture 24">
            <a:extLst>
              <a:ext uri="{FF2B5EF4-FFF2-40B4-BE49-F238E27FC236}">
                <a16:creationId xmlns:a16="http://schemas.microsoft.com/office/drawing/2014/main" id="{FDE2E5FB-3DF5-9F86-8951-15BD861505B1}"/>
              </a:ext>
            </a:extLst>
          </p:cNvPr>
          <p:cNvPicPr>
            <a:picLocks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726370" y="3899799"/>
            <a:ext cx="251534" cy="251533"/>
          </a:xfrm>
          <a:prstGeom prst="roundRect">
            <a:avLst/>
          </a:prstGeom>
          <a:solidFill>
            <a:srgbClr val="FFFFFF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</p:pic>
      <p:pic>
        <p:nvPicPr>
          <p:cNvPr id="129" name="Picture 24">
            <a:extLst>
              <a:ext uri="{FF2B5EF4-FFF2-40B4-BE49-F238E27FC236}">
                <a16:creationId xmlns:a16="http://schemas.microsoft.com/office/drawing/2014/main" id="{3575E7F0-5569-B49C-C984-0FDDF7EC0387}"/>
              </a:ext>
            </a:extLst>
          </p:cNvPr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726370" y="4184629"/>
            <a:ext cx="251534" cy="251533"/>
          </a:xfrm>
          <a:prstGeom prst="roundRect">
            <a:avLst/>
          </a:prstGeom>
          <a:solidFill>
            <a:srgbClr val="FFFFFF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</p:pic>
      <p:pic>
        <p:nvPicPr>
          <p:cNvPr id="131" name="Picture 24">
            <a:extLst>
              <a:ext uri="{FF2B5EF4-FFF2-40B4-BE49-F238E27FC236}">
                <a16:creationId xmlns:a16="http://schemas.microsoft.com/office/drawing/2014/main" id="{5402ACF8-6392-0DE0-7DC4-9A09610BC9B8}"/>
              </a:ext>
            </a:extLst>
          </p:cNvPr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726370" y="1906003"/>
            <a:ext cx="251534" cy="251533"/>
          </a:xfrm>
          <a:prstGeom prst="roundRect">
            <a:avLst/>
          </a:prstGeom>
          <a:solidFill>
            <a:srgbClr val="FFFFFF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</p:pic>
      <p:pic>
        <p:nvPicPr>
          <p:cNvPr id="132" name="Picture 24">
            <a:extLst>
              <a:ext uri="{FF2B5EF4-FFF2-40B4-BE49-F238E27FC236}">
                <a16:creationId xmlns:a16="http://schemas.microsoft.com/office/drawing/2014/main" id="{99033DED-253C-34AF-D98E-43A61E89DC7B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726370" y="2190831"/>
            <a:ext cx="251534" cy="251533"/>
          </a:xfrm>
          <a:prstGeom prst="roundRect">
            <a:avLst/>
          </a:prstGeom>
          <a:solidFill>
            <a:srgbClr val="FFFFFF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</p:pic>
      <p:pic>
        <p:nvPicPr>
          <p:cNvPr id="133" name="Picture 24">
            <a:extLst>
              <a:ext uri="{FF2B5EF4-FFF2-40B4-BE49-F238E27FC236}">
                <a16:creationId xmlns:a16="http://schemas.microsoft.com/office/drawing/2014/main" id="{0E140315-9A44-1211-CDDC-39E94E71C806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726370" y="2475659"/>
            <a:ext cx="251534" cy="251533"/>
          </a:xfrm>
          <a:prstGeom prst="roundRect">
            <a:avLst/>
          </a:prstGeom>
          <a:solidFill>
            <a:srgbClr val="FFFFFF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</p:pic>
      <p:pic>
        <p:nvPicPr>
          <p:cNvPr id="134" name="Picture 24">
            <a:extLst>
              <a:ext uri="{FF2B5EF4-FFF2-40B4-BE49-F238E27FC236}">
                <a16:creationId xmlns:a16="http://schemas.microsoft.com/office/drawing/2014/main" id="{086DB4C0-7F0D-AF73-4149-17A3022FD1BA}"/>
              </a:ext>
            </a:extLst>
          </p:cNvPr>
          <p:cNvPicPr>
            <a:picLocks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726370" y="2760487"/>
            <a:ext cx="251534" cy="251533"/>
          </a:xfrm>
          <a:prstGeom prst="roundRect">
            <a:avLst/>
          </a:prstGeom>
          <a:solidFill>
            <a:srgbClr val="FFFFFF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</p:pic>
      <p:sp>
        <p:nvSpPr>
          <p:cNvPr id="136" name="Title 1">
            <a:extLst>
              <a:ext uri="{FF2B5EF4-FFF2-40B4-BE49-F238E27FC236}">
                <a16:creationId xmlns:a16="http://schemas.microsoft.com/office/drawing/2014/main" id="{25023F64-38CE-26DF-7B4C-6ACC84B7352E}"/>
              </a:ext>
            </a:extLst>
          </p:cNvPr>
          <p:cNvSpPr txBox="1">
            <a:spLocks/>
          </p:cNvSpPr>
          <p:nvPr/>
        </p:nvSpPr>
        <p:spPr>
          <a:xfrm>
            <a:off x="7090694" y="1682208"/>
            <a:ext cx="1439497" cy="15388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000" b="0" spc="0" noProof="0">
                <a:solidFill>
                  <a:srgbClr val="FFFFFF"/>
                </a:solidFill>
              </a:rPr>
              <a:t>Ranking PRINCIPALIDAD</a:t>
            </a:r>
          </a:p>
        </p:txBody>
      </p:sp>
      <p:sp>
        <p:nvSpPr>
          <p:cNvPr id="137" name="Title 1">
            <a:extLst>
              <a:ext uri="{FF2B5EF4-FFF2-40B4-BE49-F238E27FC236}">
                <a16:creationId xmlns:a16="http://schemas.microsoft.com/office/drawing/2014/main" id="{60D7D4EB-5C38-503E-2663-4353AFBC7159}"/>
              </a:ext>
            </a:extLst>
          </p:cNvPr>
          <p:cNvSpPr txBox="1">
            <a:spLocks/>
          </p:cNvSpPr>
          <p:nvPr/>
        </p:nvSpPr>
        <p:spPr>
          <a:xfrm>
            <a:off x="7527171" y="1965949"/>
            <a:ext cx="113814" cy="15388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es-ES_tradnl" sz="1000" b="0" spc="0" noProof="0">
                <a:solidFill>
                  <a:srgbClr val="FFFFFF"/>
                </a:solidFill>
              </a:rPr>
              <a:t>1º</a:t>
            </a:r>
          </a:p>
        </p:txBody>
      </p:sp>
      <p:sp>
        <p:nvSpPr>
          <p:cNvPr id="138" name="Title 1">
            <a:extLst>
              <a:ext uri="{FF2B5EF4-FFF2-40B4-BE49-F238E27FC236}">
                <a16:creationId xmlns:a16="http://schemas.microsoft.com/office/drawing/2014/main" id="{FEE849AD-DEEF-1C46-FED0-4D85F4D81154}"/>
              </a:ext>
            </a:extLst>
          </p:cNvPr>
          <p:cNvSpPr txBox="1">
            <a:spLocks/>
          </p:cNvSpPr>
          <p:nvPr/>
        </p:nvSpPr>
        <p:spPr>
          <a:xfrm>
            <a:off x="7511141" y="2250602"/>
            <a:ext cx="129844" cy="15388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es-ES_tradnl" sz="1000" b="0" spc="0" noProof="0">
                <a:solidFill>
                  <a:srgbClr val="FFFFFF"/>
                </a:solidFill>
              </a:rPr>
              <a:t>2º</a:t>
            </a:r>
          </a:p>
        </p:txBody>
      </p:sp>
      <p:sp>
        <p:nvSpPr>
          <p:cNvPr id="139" name="Title 1">
            <a:extLst>
              <a:ext uri="{FF2B5EF4-FFF2-40B4-BE49-F238E27FC236}">
                <a16:creationId xmlns:a16="http://schemas.microsoft.com/office/drawing/2014/main" id="{4E13B40F-CFC8-3F4B-2194-DD09D17CF8A2}"/>
              </a:ext>
            </a:extLst>
          </p:cNvPr>
          <p:cNvSpPr txBox="1">
            <a:spLocks/>
          </p:cNvSpPr>
          <p:nvPr/>
        </p:nvSpPr>
        <p:spPr>
          <a:xfrm>
            <a:off x="7511141" y="2535255"/>
            <a:ext cx="129844" cy="15388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es-ES_tradnl" sz="1000" b="0" spc="0" noProof="0">
                <a:solidFill>
                  <a:srgbClr val="FFFFFF"/>
                </a:solidFill>
              </a:rPr>
              <a:t>3º</a:t>
            </a:r>
          </a:p>
        </p:txBody>
      </p:sp>
      <p:sp>
        <p:nvSpPr>
          <p:cNvPr id="140" name="Title 1">
            <a:extLst>
              <a:ext uri="{FF2B5EF4-FFF2-40B4-BE49-F238E27FC236}">
                <a16:creationId xmlns:a16="http://schemas.microsoft.com/office/drawing/2014/main" id="{B448E597-47A3-BDB1-67DA-B4F9E2E8AA1B}"/>
              </a:ext>
            </a:extLst>
          </p:cNvPr>
          <p:cNvSpPr txBox="1">
            <a:spLocks/>
          </p:cNvSpPr>
          <p:nvPr/>
        </p:nvSpPr>
        <p:spPr>
          <a:xfrm>
            <a:off x="7501523" y="2819908"/>
            <a:ext cx="139462" cy="15388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es-ES_tradnl" sz="1000" b="0" spc="0" noProof="0">
                <a:solidFill>
                  <a:srgbClr val="FFFFFF"/>
                </a:solidFill>
              </a:rPr>
              <a:t>4º</a:t>
            </a:r>
          </a:p>
        </p:txBody>
      </p:sp>
      <p:sp>
        <p:nvSpPr>
          <p:cNvPr id="141" name="Title 1">
            <a:extLst>
              <a:ext uri="{FF2B5EF4-FFF2-40B4-BE49-F238E27FC236}">
                <a16:creationId xmlns:a16="http://schemas.microsoft.com/office/drawing/2014/main" id="{C246FDC2-8AC1-EB9D-F339-AC0D8538C158}"/>
              </a:ext>
            </a:extLst>
          </p:cNvPr>
          <p:cNvSpPr txBox="1">
            <a:spLocks/>
          </p:cNvSpPr>
          <p:nvPr/>
        </p:nvSpPr>
        <p:spPr>
          <a:xfrm>
            <a:off x="7511141" y="3104561"/>
            <a:ext cx="129844" cy="15388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es-ES_tradnl" sz="1000" b="0" spc="0" noProof="0">
                <a:solidFill>
                  <a:srgbClr val="FFFFFF"/>
                </a:solidFill>
              </a:rPr>
              <a:t>5º</a:t>
            </a:r>
          </a:p>
        </p:txBody>
      </p:sp>
      <p:sp>
        <p:nvSpPr>
          <p:cNvPr id="142" name="Title 1">
            <a:extLst>
              <a:ext uri="{FF2B5EF4-FFF2-40B4-BE49-F238E27FC236}">
                <a16:creationId xmlns:a16="http://schemas.microsoft.com/office/drawing/2014/main" id="{DEBDB9C5-0FF8-94FF-0A36-9444E8F6E8E2}"/>
              </a:ext>
            </a:extLst>
          </p:cNvPr>
          <p:cNvSpPr txBox="1">
            <a:spLocks/>
          </p:cNvSpPr>
          <p:nvPr/>
        </p:nvSpPr>
        <p:spPr>
          <a:xfrm>
            <a:off x="7504729" y="3389214"/>
            <a:ext cx="136256" cy="15388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es-ES_tradnl" sz="1000" b="0" spc="0" noProof="0">
                <a:solidFill>
                  <a:srgbClr val="FFFFFF"/>
                </a:solidFill>
              </a:rPr>
              <a:t>6º</a:t>
            </a:r>
          </a:p>
        </p:txBody>
      </p:sp>
      <p:sp>
        <p:nvSpPr>
          <p:cNvPr id="143" name="Title 1">
            <a:extLst>
              <a:ext uri="{FF2B5EF4-FFF2-40B4-BE49-F238E27FC236}">
                <a16:creationId xmlns:a16="http://schemas.microsoft.com/office/drawing/2014/main" id="{079D1574-A078-36C7-C2B6-EE10CC3288A5}"/>
              </a:ext>
            </a:extLst>
          </p:cNvPr>
          <p:cNvSpPr txBox="1">
            <a:spLocks/>
          </p:cNvSpPr>
          <p:nvPr/>
        </p:nvSpPr>
        <p:spPr>
          <a:xfrm>
            <a:off x="7519156" y="3673867"/>
            <a:ext cx="121829" cy="15388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es-ES_tradnl" sz="1000" b="0" spc="0" noProof="0">
                <a:solidFill>
                  <a:srgbClr val="FFFFFF"/>
                </a:solidFill>
              </a:rPr>
              <a:t>7º</a:t>
            </a:r>
          </a:p>
        </p:txBody>
      </p:sp>
      <p:sp>
        <p:nvSpPr>
          <p:cNvPr id="144" name="Title 1">
            <a:extLst>
              <a:ext uri="{FF2B5EF4-FFF2-40B4-BE49-F238E27FC236}">
                <a16:creationId xmlns:a16="http://schemas.microsoft.com/office/drawing/2014/main" id="{B4BC9648-776E-7043-8555-C63D918FF1D9}"/>
              </a:ext>
            </a:extLst>
          </p:cNvPr>
          <p:cNvSpPr txBox="1">
            <a:spLocks/>
          </p:cNvSpPr>
          <p:nvPr/>
        </p:nvSpPr>
        <p:spPr>
          <a:xfrm>
            <a:off x="7507935" y="3958520"/>
            <a:ext cx="133050" cy="15388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es-ES_tradnl" sz="1000" b="0" spc="0" noProof="0">
                <a:solidFill>
                  <a:srgbClr val="FFFFFF"/>
                </a:solidFill>
              </a:rPr>
              <a:t>8º</a:t>
            </a:r>
          </a:p>
        </p:txBody>
      </p:sp>
      <p:sp>
        <p:nvSpPr>
          <p:cNvPr id="145" name="Title 1">
            <a:extLst>
              <a:ext uri="{FF2B5EF4-FFF2-40B4-BE49-F238E27FC236}">
                <a16:creationId xmlns:a16="http://schemas.microsoft.com/office/drawing/2014/main" id="{B5EFDE36-B85C-339D-BC54-FC2CF2E211B1}"/>
              </a:ext>
            </a:extLst>
          </p:cNvPr>
          <p:cNvSpPr txBox="1">
            <a:spLocks/>
          </p:cNvSpPr>
          <p:nvPr/>
        </p:nvSpPr>
        <p:spPr>
          <a:xfrm>
            <a:off x="7506332" y="4243173"/>
            <a:ext cx="134653" cy="153888"/>
          </a:xfrm>
          <a:prstGeom prst="rect">
            <a:avLst/>
          </a:prstGeom>
          <a:effectLst/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es-ES_tradnl" sz="1000" b="0" spc="0" noProof="0">
                <a:solidFill>
                  <a:srgbClr val="FFFFFF"/>
                </a:solidFill>
              </a:rPr>
              <a:t>9º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760D7E5F-53F9-62C2-3E68-01879CD5F120}"/>
              </a:ext>
            </a:extLst>
          </p:cNvPr>
          <p:cNvSpPr txBox="1"/>
          <p:nvPr/>
        </p:nvSpPr>
        <p:spPr>
          <a:xfrm>
            <a:off x="938809" y="4039028"/>
            <a:ext cx="93726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587"/>
              </a:spcBef>
            </a:pPr>
            <a:r>
              <a:rPr lang="es-AR" sz="800">
                <a:solidFill>
                  <a:schemeClr val="tx2"/>
                </a:solidFill>
                <a:latin typeface="Pulso" pitchFamily="2" charset="0"/>
                <a:cs typeface="Poppins"/>
              </a:rPr>
              <a:t>26 años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73C2083D-55E7-E97A-95B9-8A79A62FACC5}"/>
              </a:ext>
            </a:extLst>
          </p:cNvPr>
          <p:cNvSpPr txBox="1"/>
          <p:nvPr/>
        </p:nvSpPr>
        <p:spPr>
          <a:xfrm>
            <a:off x="5606690" y="4039028"/>
            <a:ext cx="94890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587"/>
              </a:spcBef>
            </a:pPr>
            <a:r>
              <a:rPr lang="es-AR" sz="800">
                <a:solidFill>
                  <a:schemeClr val="tx2"/>
                </a:solidFill>
                <a:latin typeface="Pulso" pitchFamily="2" charset="0"/>
                <a:cs typeface="Poppins"/>
              </a:rPr>
              <a:t>8 años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03548899-5D6F-10BE-7BB1-76C3FDDDC498}"/>
              </a:ext>
            </a:extLst>
          </p:cNvPr>
          <p:cNvSpPr txBox="1"/>
          <p:nvPr/>
        </p:nvSpPr>
        <p:spPr>
          <a:xfrm>
            <a:off x="1932107" y="4039028"/>
            <a:ext cx="94738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587"/>
              </a:spcBef>
            </a:pPr>
            <a:r>
              <a:rPr lang="es-AR" sz="800">
                <a:solidFill>
                  <a:schemeClr val="tx2"/>
                </a:solidFill>
                <a:latin typeface="Pulso" pitchFamily="2" charset="0"/>
                <a:cs typeface="Poppins"/>
              </a:rPr>
              <a:t>7 años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25180256-C368-AE2B-82A8-E8F01EF7158E}"/>
              </a:ext>
            </a:extLst>
          </p:cNvPr>
          <p:cNvSpPr txBox="1"/>
          <p:nvPr/>
        </p:nvSpPr>
        <p:spPr>
          <a:xfrm>
            <a:off x="3615204" y="4039028"/>
            <a:ext cx="924366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587"/>
              </a:spcBef>
            </a:pPr>
            <a:r>
              <a:rPr lang="es-AR" sz="800">
                <a:solidFill>
                  <a:schemeClr val="tx2"/>
                </a:solidFill>
                <a:latin typeface="Pulso" pitchFamily="2" charset="0"/>
                <a:cs typeface="Poppins"/>
              </a:rPr>
              <a:t>26 años*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41DD6652-1FFA-459F-6908-B1375F30DDA4}"/>
              </a:ext>
            </a:extLst>
          </p:cNvPr>
          <p:cNvSpPr txBox="1"/>
          <p:nvPr/>
        </p:nvSpPr>
        <p:spPr>
          <a:xfrm>
            <a:off x="2956051" y="4039028"/>
            <a:ext cx="59283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587"/>
              </a:spcBef>
            </a:pPr>
            <a:r>
              <a:rPr lang="es-AR" sz="800">
                <a:solidFill>
                  <a:schemeClr val="tx2"/>
                </a:solidFill>
                <a:latin typeface="Pulso" pitchFamily="2" charset="0"/>
                <a:cs typeface="Poppins"/>
              </a:rPr>
              <a:t>4 años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9B3B9C2-7E58-556C-7A42-8587CCE70E12}"/>
              </a:ext>
            </a:extLst>
          </p:cNvPr>
          <p:cNvSpPr txBox="1"/>
          <p:nvPr/>
        </p:nvSpPr>
        <p:spPr>
          <a:xfrm>
            <a:off x="4602235" y="4039028"/>
            <a:ext cx="951573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587"/>
              </a:spcBef>
            </a:pPr>
            <a:r>
              <a:rPr lang="es-AR" sz="800">
                <a:solidFill>
                  <a:schemeClr val="tx2"/>
                </a:solidFill>
                <a:latin typeface="Pulso" pitchFamily="2" charset="0"/>
                <a:cs typeface="Poppins"/>
              </a:rPr>
              <a:t>28 años</a:t>
            </a:r>
          </a:p>
        </p:txBody>
      </p:sp>
      <p:sp>
        <p:nvSpPr>
          <p:cNvPr id="12" name="Corchetes 11">
            <a:extLst>
              <a:ext uri="{FF2B5EF4-FFF2-40B4-BE49-F238E27FC236}">
                <a16:creationId xmlns:a16="http://schemas.microsoft.com/office/drawing/2014/main" id="{FB81964F-4DDF-6E89-E5EC-B8399A1DD001}"/>
              </a:ext>
            </a:extLst>
          </p:cNvPr>
          <p:cNvSpPr/>
          <p:nvPr/>
        </p:nvSpPr>
        <p:spPr>
          <a:xfrm>
            <a:off x="938808" y="4015077"/>
            <a:ext cx="937268" cy="171013"/>
          </a:xfrm>
          <a:prstGeom prst="bracketPair">
            <a:avLst/>
          </a:prstGeom>
          <a:ln>
            <a:solidFill>
              <a:srgbClr val="7F048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AR" sz="1000"/>
          </a:p>
        </p:txBody>
      </p:sp>
      <p:sp>
        <p:nvSpPr>
          <p:cNvPr id="13" name="Corchetes 12">
            <a:extLst>
              <a:ext uri="{FF2B5EF4-FFF2-40B4-BE49-F238E27FC236}">
                <a16:creationId xmlns:a16="http://schemas.microsoft.com/office/drawing/2014/main" id="{8B14D2DC-E4BC-5CC2-B0E8-5BBA61D076A3}"/>
              </a:ext>
            </a:extLst>
          </p:cNvPr>
          <p:cNvSpPr/>
          <p:nvPr/>
        </p:nvSpPr>
        <p:spPr>
          <a:xfrm>
            <a:off x="1932109" y="4016709"/>
            <a:ext cx="947389" cy="167748"/>
          </a:xfrm>
          <a:prstGeom prst="bracketPair">
            <a:avLst/>
          </a:prstGeom>
          <a:ln>
            <a:solidFill>
              <a:srgbClr val="7F048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AR" sz="1000"/>
          </a:p>
        </p:txBody>
      </p:sp>
      <p:sp>
        <p:nvSpPr>
          <p:cNvPr id="14" name="Corchetes 13">
            <a:extLst>
              <a:ext uri="{FF2B5EF4-FFF2-40B4-BE49-F238E27FC236}">
                <a16:creationId xmlns:a16="http://schemas.microsoft.com/office/drawing/2014/main" id="{2B4CCAAF-AC35-63AE-29F2-E3A3B97E4E9A}"/>
              </a:ext>
            </a:extLst>
          </p:cNvPr>
          <p:cNvSpPr/>
          <p:nvPr/>
        </p:nvSpPr>
        <p:spPr>
          <a:xfrm>
            <a:off x="2946601" y="4015077"/>
            <a:ext cx="602290" cy="171013"/>
          </a:xfrm>
          <a:prstGeom prst="bracketPair">
            <a:avLst/>
          </a:prstGeom>
          <a:ln>
            <a:solidFill>
              <a:srgbClr val="7F048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AR" sz="1000"/>
          </a:p>
        </p:txBody>
      </p:sp>
      <p:sp>
        <p:nvSpPr>
          <p:cNvPr id="15" name="Corchetes 14">
            <a:extLst>
              <a:ext uri="{FF2B5EF4-FFF2-40B4-BE49-F238E27FC236}">
                <a16:creationId xmlns:a16="http://schemas.microsoft.com/office/drawing/2014/main" id="{0533C577-3AB3-4811-8FD0-61FE751D6EC7}"/>
              </a:ext>
            </a:extLst>
          </p:cNvPr>
          <p:cNvSpPr/>
          <p:nvPr/>
        </p:nvSpPr>
        <p:spPr>
          <a:xfrm>
            <a:off x="3615205" y="4016571"/>
            <a:ext cx="926563" cy="168024"/>
          </a:xfrm>
          <a:prstGeom prst="bracketPair">
            <a:avLst/>
          </a:prstGeom>
          <a:ln>
            <a:solidFill>
              <a:srgbClr val="7F048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AR" sz="1000"/>
          </a:p>
        </p:txBody>
      </p:sp>
      <p:sp>
        <p:nvSpPr>
          <p:cNvPr id="16" name="Corchetes 15">
            <a:extLst>
              <a:ext uri="{FF2B5EF4-FFF2-40B4-BE49-F238E27FC236}">
                <a16:creationId xmlns:a16="http://schemas.microsoft.com/office/drawing/2014/main" id="{815E0AB9-59C3-702A-9C74-0B20782355FE}"/>
              </a:ext>
            </a:extLst>
          </p:cNvPr>
          <p:cNvSpPr/>
          <p:nvPr/>
        </p:nvSpPr>
        <p:spPr>
          <a:xfrm>
            <a:off x="4608083" y="4016571"/>
            <a:ext cx="945726" cy="168024"/>
          </a:xfrm>
          <a:prstGeom prst="bracketPair">
            <a:avLst/>
          </a:prstGeom>
          <a:ln>
            <a:solidFill>
              <a:srgbClr val="7F048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AR" sz="1000"/>
          </a:p>
        </p:txBody>
      </p:sp>
      <p:sp>
        <p:nvSpPr>
          <p:cNvPr id="17" name="Corchetes 16">
            <a:extLst>
              <a:ext uri="{FF2B5EF4-FFF2-40B4-BE49-F238E27FC236}">
                <a16:creationId xmlns:a16="http://schemas.microsoft.com/office/drawing/2014/main" id="{651534AB-D574-2439-D4FE-1D1D28E3AA48}"/>
              </a:ext>
            </a:extLst>
          </p:cNvPr>
          <p:cNvSpPr/>
          <p:nvPr/>
        </p:nvSpPr>
        <p:spPr>
          <a:xfrm>
            <a:off x="5606691" y="4030677"/>
            <a:ext cx="948909" cy="139813"/>
          </a:xfrm>
          <a:prstGeom prst="bracketPair">
            <a:avLst/>
          </a:prstGeom>
          <a:ln>
            <a:solidFill>
              <a:srgbClr val="7F048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AR" sz="1000"/>
          </a:p>
        </p:txBody>
      </p:sp>
    </p:spTree>
    <p:extLst>
      <p:ext uri="{BB962C8B-B14F-4D97-AF65-F5344CB8AC3E}">
        <p14:creationId xmlns:p14="http://schemas.microsoft.com/office/powerpoint/2010/main" val="4080004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D92FDF-7A34-6582-EC92-208BA02209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ángulo redondeado 87">
            <a:extLst>
              <a:ext uri="{FF2B5EF4-FFF2-40B4-BE49-F238E27FC236}">
                <a16:creationId xmlns:a16="http://schemas.microsoft.com/office/drawing/2014/main" id="{A2BBF3A7-F51B-BF26-32B0-8AA4AC7AEEE3}"/>
              </a:ext>
            </a:extLst>
          </p:cNvPr>
          <p:cNvSpPr/>
          <p:nvPr/>
        </p:nvSpPr>
        <p:spPr>
          <a:xfrm>
            <a:off x="6730213" y="1343767"/>
            <a:ext cx="1936574" cy="3234689"/>
          </a:xfrm>
          <a:prstGeom prst="roundRect">
            <a:avLst>
              <a:gd name="adj" fmla="val 2398"/>
            </a:avLst>
          </a:prstGeom>
          <a:solidFill>
            <a:srgbClr val="150958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156" name="Rectángulo redondeado 155">
            <a:extLst>
              <a:ext uri="{FF2B5EF4-FFF2-40B4-BE49-F238E27FC236}">
                <a16:creationId xmlns:a16="http://schemas.microsoft.com/office/drawing/2014/main" id="{60A2AF0D-C7BE-D674-C340-BE6A28013336}"/>
              </a:ext>
            </a:extLst>
          </p:cNvPr>
          <p:cNvSpPr/>
          <p:nvPr/>
        </p:nvSpPr>
        <p:spPr>
          <a:xfrm>
            <a:off x="8049890" y="2380345"/>
            <a:ext cx="931108" cy="2116890"/>
          </a:xfrm>
          <a:prstGeom prst="roundRect">
            <a:avLst>
              <a:gd name="adj" fmla="val 8551"/>
            </a:avLst>
          </a:prstGeom>
          <a:solidFill>
            <a:srgbClr val="5E54FF">
              <a:alpha val="50000"/>
            </a:srgbClr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26" name="Rectángulo redondeado 25">
            <a:extLst>
              <a:ext uri="{FF2B5EF4-FFF2-40B4-BE49-F238E27FC236}">
                <a16:creationId xmlns:a16="http://schemas.microsoft.com/office/drawing/2014/main" id="{FDB5233F-C79B-B8D9-EC30-6E475AC56919}"/>
              </a:ext>
            </a:extLst>
          </p:cNvPr>
          <p:cNvSpPr/>
          <p:nvPr/>
        </p:nvSpPr>
        <p:spPr>
          <a:xfrm>
            <a:off x="3526372" y="1343768"/>
            <a:ext cx="2888367" cy="3196423"/>
          </a:xfrm>
          <a:prstGeom prst="roundRect">
            <a:avLst>
              <a:gd name="adj" fmla="val 2398"/>
            </a:avLst>
          </a:prstGeom>
          <a:gradFill>
            <a:gsLst>
              <a:gs pos="40000">
                <a:schemeClr val="tx2">
                  <a:lumMod val="75000"/>
                  <a:lumOff val="25000"/>
                </a:schemeClr>
              </a:gs>
              <a:gs pos="100000">
                <a:schemeClr val="tx2">
                  <a:lumMod val="75000"/>
                  <a:lumOff val="25000"/>
                  <a:alpha val="0"/>
                </a:schemeClr>
              </a:gs>
            </a:gsLst>
            <a:lin ang="5400000" scaled="0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563"/>
              </a:spcBef>
            </a:pPr>
            <a:endParaRPr lang="es-ES_tradnl" sz="825" b="1">
              <a:solidFill>
                <a:schemeClr val="tx1"/>
              </a:solidFill>
            </a:endParaRPr>
          </a:p>
        </p:txBody>
      </p:sp>
      <p:sp>
        <p:nvSpPr>
          <p:cNvPr id="21" name="Rectángulo redondeado 20">
            <a:extLst>
              <a:ext uri="{FF2B5EF4-FFF2-40B4-BE49-F238E27FC236}">
                <a16:creationId xmlns:a16="http://schemas.microsoft.com/office/drawing/2014/main" id="{2BE4BE74-9CE8-8C42-7A24-E55A81865C04}"/>
              </a:ext>
            </a:extLst>
          </p:cNvPr>
          <p:cNvSpPr/>
          <p:nvPr/>
        </p:nvSpPr>
        <p:spPr>
          <a:xfrm>
            <a:off x="540657" y="1343768"/>
            <a:ext cx="2888367" cy="3196423"/>
          </a:xfrm>
          <a:prstGeom prst="roundRect">
            <a:avLst>
              <a:gd name="adj" fmla="val 2398"/>
            </a:avLst>
          </a:prstGeom>
          <a:gradFill>
            <a:gsLst>
              <a:gs pos="40000">
                <a:srgbClr val="FFFFFF"/>
              </a:gs>
              <a:gs pos="100000">
                <a:srgbClr val="F0F0F0">
                  <a:alpha val="0"/>
                </a:srgbClr>
              </a:gs>
            </a:gsLst>
            <a:lin ang="5400000" scaled="0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563"/>
              </a:spcBef>
            </a:pPr>
            <a:endParaRPr lang="es-ES_tradnl" sz="825" b="1">
              <a:solidFill>
                <a:schemeClr val="tx1"/>
              </a:solidFill>
            </a:endParaRPr>
          </a:p>
        </p:txBody>
      </p:sp>
      <p:sp>
        <p:nvSpPr>
          <p:cNvPr id="24" name="Rectángulo redondeado 23">
            <a:extLst>
              <a:ext uri="{FF2B5EF4-FFF2-40B4-BE49-F238E27FC236}">
                <a16:creationId xmlns:a16="http://schemas.microsoft.com/office/drawing/2014/main" id="{1890DADA-609A-BB4C-4B58-1F4203DA9192}"/>
              </a:ext>
            </a:extLst>
          </p:cNvPr>
          <p:cNvSpPr/>
          <p:nvPr/>
        </p:nvSpPr>
        <p:spPr>
          <a:xfrm>
            <a:off x="5059786" y="1395301"/>
            <a:ext cx="1303268" cy="1729562"/>
          </a:xfrm>
          <a:prstGeom prst="roundRect">
            <a:avLst>
              <a:gd name="adj" fmla="val 2573"/>
            </a:avLst>
          </a:prstGeom>
          <a:solidFill>
            <a:srgbClr val="150958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6" name="Marcador de texto 8">
            <a:extLst>
              <a:ext uri="{FF2B5EF4-FFF2-40B4-BE49-F238E27FC236}">
                <a16:creationId xmlns:a16="http://schemas.microsoft.com/office/drawing/2014/main" id="{2CC033E6-02EB-452A-A1B2-58253300E207}"/>
              </a:ext>
            </a:extLst>
          </p:cNvPr>
          <p:cNvSpPr txBox="1">
            <a:spLocks/>
          </p:cNvSpPr>
          <p:nvPr/>
        </p:nvSpPr>
        <p:spPr>
          <a:xfrm>
            <a:off x="540657" y="949933"/>
            <a:ext cx="6357510" cy="188578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>
                <a:solidFill>
                  <a:srgbClr val="150958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Personal Pay está transitando el camino de producto específico a plataforma financiera completa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B959908-4DBF-5F36-AA15-C0818B3F3C36}"/>
              </a:ext>
            </a:extLst>
          </p:cNvPr>
          <p:cNvSpPr txBox="1">
            <a:spLocks/>
          </p:cNvSpPr>
          <p:nvPr/>
        </p:nvSpPr>
        <p:spPr>
          <a:xfrm>
            <a:off x="540657" y="537252"/>
            <a:ext cx="4727384" cy="363048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ts val="3200"/>
              </a:lnSpc>
              <a:spcAft>
                <a:spcPts val="0"/>
              </a:spcAft>
              <a:buNone/>
              <a:defRPr sz="2800" b="0" i="0" spc="-70" baseline="0">
                <a:solidFill>
                  <a:schemeClr val="tx2"/>
                </a:solidFill>
                <a:latin typeface="Pulso Light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200">
                <a:solidFill>
                  <a:srgbClr val="5A50F9"/>
                </a:solidFill>
                <a:latin typeface="Pulso Light"/>
              </a:rPr>
              <a:t>Nuestras prioridades estratégicas 2026/2030</a:t>
            </a:r>
            <a:endParaRPr lang="es-ES_tradnl" sz="2200">
              <a:solidFill>
                <a:srgbClr val="5A50F9"/>
              </a:solidFill>
            </a:endParaRPr>
          </a:p>
        </p:txBody>
      </p:sp>
      <p:sp>
        <p:nvSpPr>
          <p:cNvPr id="4" name="Text 1">
            <a:extLst>
              <a:ext uri="{FF2B5EF4-FFF2-40B4-BE49-F238E27FC236}">
                <a16:creationId xmlns:a16="http://schemas.microsoft.com/office/drawing/2014/main" id="{49175E95-8CDC-C26E-EF85-BBEB38DAA903}"/>
              </a:ext>
            </a:extLst>
          </p:cNvPr>
          <p:cNvSpPr/>
          <p:nvPr/>
        </p:nvSpPr>
        <p:spPr>
          <a:xfrm>
            <a:off x="767125" y="2125991"/>
            <a:ext cx="946120" cy="892552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300"/>
              </a:spcAft>
              <a:defRPr/>
            </a:pPr>
            <a:r>
              <a:rPr lang="es-ES_tradnl" sz="1050" noProof="0" err="1">
                <a:solidFill>
                  <a:srgbClr val="5B57F4"/>
                </a:solidFill>
                <a:latin typeface="Pulso" pitchFamily="2" charset="0"/>
                <a:cs typeface="+mn-cs"/>
              </a:rPr>
              <a:t>Start</a:t>
            </a:r>
            <a:r>
              <a:rPr lang="es-ES_tradnl" sz="1050" noProof="0">
                <a:solidFill>
                  <a:srgbClr val="5B57F4"/>
                </a:solidFill>
                <a:latin typeface="Pulso" pitchFamily="2" charset="0"/>
                <a:cs typeface="+mn-cs"/>
              </a:rPr>
              <a:t> up</a:t>
            </a:r>
          </a:p>
          <a:p>
            <a:pPr algn="ctr" defTabSz="685800" fontAlgn="auto">
              <a:spcBef>
                <a:spcPts val="0"/>
              </a:spcBef>
              <a:spcAft>
                <a:spcPts val="300"/>
              </a:spcAft>
              <a:defRPr/>
            </a:pPr>
            <a:r>
              <a:rPr lang="es-ES_tradnl" sz="9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 Light" pitchFamily="34" charset="-122"/>
                <a:cs typeface="Roboto Light" pitchFamily="34" charset="-120"/>
              </a:rPr>
              <a:t>Lanzamiento enfocado en pagos móviles, recargas y transferencias</a:t>
            </a:r>
          </a:p>
        </p:txBody>
      </p:sp>
      <p:sp>
        <p:nvSpPr>
          <p:cNvPr id="37" name="Text 1">
            <a:extLst>
              <a:ext uri="{FF2B5EF4-FFF2-40B4-BE49-F238E27FC236}">
                <a16:creationId xmlns:a16="http://schemas.microsoft.com/office/drawing/2014/main" id="{0FCCB868-A585-269B-D18E-76BE8E0852A1}"/>
              </a:ext>
            </a:extLst>
          </p:cNvPr>
          <p:cNvSpPr/>
          <p:nvPr/>
        </p:nvSpPr>
        <p:spPr>
          <a:xfrm>
            <a:off x="2142846" y="2125991"/>
            <a:ext cx="1178834" cy="892552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300"/>
              </a:spcAft>
              <a:defRPr/>
            </a:pPr>
            <a:r>
              <a:rPr lang="es-ES_tradnl" sz="1050" noProof="0">
                <a:solidFill>
                  <a:srgbClr val="5B57F4"/>
                </a:solidFill>
                <a:latin typeface="Pulso" pitchFamily="2" charset="0"/>
                <a:cs typeface="+mn-cs"/>
              </a:rPr>
              <a:t>Fintech</a:t>
            </a:r>
          </a:p>
          <a:p>
            <a:pPr algn="ctr" defTabSz="685800" fontAlgn="auto">
              <a:spcBef>
                <a:spcPts val="0"/>
              </a:spcBef>
              <a:spcAft>
                <a:spcPts val="300"/>
              </a:spcAft>
              <a:defRPr/>
            </a:pPr>
            <a:r>
              <a:rPr lang="es-ES_tradnl" sz="9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 Light" pitchFamily="34" charset="-122"/>
                <a:cs typeface="Roboto Light" pitchFamily="34" charset="-120"/>
              </a:rPr>
              <a:t>Tarjeta prepaga, </a:t>
            </a:r>
            <a:r>
              <a:rPr lang="es-ES_tradnl" sz="900" noProof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 Light" pitchFamily="34" charset="-122"/>
                <a:cs typeface="Roboto Light" pitchFamily="34" charset="-120"/>
              </a:rPr>
              <a:t>cashback</a:t>
            </a:r>
            <a:r>
              <a:rPr lang="es-ES_tradnl" sz="9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 Light" pitchFamily="34" charset="-122"/>
                <a:cs typeface="Roboto Light" pitchFamily="34" charset="-120"/>
              </a:rPr>
              <a:t> y alianzas con comercios, créditos personales, FCI de Money Market</a:t>
            </a:r>
          </a:p>
        </p:txBody>
      </p:sp>
      <p:sp>
        <p:nvSpPr>
          <p:cNvPr id="44" name="Text 1">
            <a:extLst>
              <a:ext uri="{FF2B5EF4-FFF2-40B4-BE49-F238E27FC236}">
                <a16:creationId xmlns:a16="http://schemas.microsoft.com/office/drawing/2014/main" id="{6C13A641-5DCF-6D21-DCF9-0C680ED2B551}"/>
              </a:ext>
            </a:extLst>
          </p:cNvPr>
          <p:cNvSpPr/>
          <p:nvPr/>
        </p:nvSpPr>
        <p:spPr>
          <a:xfrm>
            <a:off x="3723597" y="2125991"/>
            <a:ext cx="1001488" cy="892552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300"/>
              </a:spcAft>
              <a:defRPr/>
            </a:pPr>
            <a:r>
              <a:rPr lang="es-ES_tradnl" sz="1050" noProof="0">
                <a:solidFill>
                  <a:srgbClr val="FFFFFF"/>
                </a:solidFill>
                <a:latin typeface="Pulso" pitchFamily="2" charset="0"/>
                <a:cs typeface="+mn-cs"/>
              </a:rPr>
              <a:t>Intermediación</a:t>
            </a:r>
          </a:p>
          <a:p>
            <a:pPr algn="ctr" defTabSz="685800" fontAlgn="auto">
              <a:spcBef>
                <a:spcPts val="0"/>
              </a:spcBef>
              <a:spcAft>
                <a:spcPts val="300"/>
              </a:spcAft>
              <a:defRPr/>
            </a:pPr>
            <a:r>
              <a:rPr lang="es-ES_tradnl" sz="900" noProof="0">
                <a:solidFill>
                  <a:srgbClr val="FFFFFF"/>
                </a:solidFill>
                <a:latin typeface="Pulso Light" pitchFamily="2" charset="0"/>
                <a:ea typeface="Roboto Light" pitchFamily="34" charset="-122"/>
                <a:cs typeface="Roboto Light" pitchFamily="34" charset="-120"/>
              </a:rPr>
              <a:t>Lanzamiento de nuevos productos de inversión, financiación y ahorro</a:t>
            </a:r>
          </a:p>
        </p:txBody>
      </p:sp>
      <p:sp>
        <p:nvSpPr>
          <p:cNvPr id="57" name="Text 1">
            <a:extLst>
              <a:ext uri="{FF2B5EF4-FFF2-40B4-BE49-F238E27FC236}">
                <a16:creationId xmlns:a16="http://schemas.microsoft.com/office/drawing/2014/main" id="{09912A1B-5408-10EC-1A0C-DFF075E12DE5}"/>
              </a:ext>
            </a:extLst>
          </p:cNvPr>
          <p:cNvSpPr/>
          <p:nvPr/>
        </p:nvSpPr>
        <p:spPr>
          <a:xfrm>
            <a:off x="5127554" y="2125991"/>
            <a:ext cx="1177732" cy="915635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300"/>
              </a:spcAft>
              <a:defRPr/>
            </a:pPr>
            <a:r>
              <a:rPr lang="es-ES_tradnl" sz="1050" noProof="0">
                <a:solidFill>
                  <a:srgbClr val="FFFFFF"/>
                </a:solidFill>
                <a:latin typeface="Pulso" pitchFamily="2" charset="0"/>
                <a:cs typeface="+mn-cs"/>
              </a:rPr>
              <a:t>Ecosistema financiero</a:t>
            </a:r>
          </a:p>
          <a:p>
            <a:pPr algn="ctr" defTabSz="685800" fontAlgn="auto">
              <a:spcBef>
                <a:spcPts val="0"/>
              </a:spcBef>
              <a:spcAft>
                <a:spcPts val="300"/>
              </a:spcAft>
              <a:defRPr/>
            </a:pPr>
            <a:r>
              <a:rPr lang="es-ES_tradnl" sz="900" noProof="0">
                <a:solidFill>
                  <a:srgbClr val="FFFFFF"/>
                </a:solidFill>
                <a:latin typeface="Pulso Light" pitchFamily="2" charset="0"/>
                <a:ea typeface="Roboto Light" pitchFamily="34" charset="-122"/>
                <a:cs typeface="Roboto Light" pitchFamily="34" charset="-120"/>
              </a:rPr>
              <a:t>Convergencia total</a:t>
            </a:r>
            <a:br>
              <a:rPr lang="es-ES_tradnl" sz="900" noProof="0">
                <a:solidFill>
                  <a:srgbClr val="FFFFFF"/>
                </a:solidFill>
                <a:latin typeface="Pulso Light" pitchFamily="2" charset="0"/>
                <a:ea typeface="Roboto Light" pitchFamily="34" charset="-122"/>
                <a:cs typeface="Roboto Light" pitchFamily="34" charset="-120"/>
              </a:rPr>
            </a:br>
            <a:r>
              <a:rPr lang="es-ES_tradnl" sz="900" noProof="0">
                <a:solidFill>
                  <a:srgbClr val="FFFFFF"/>
                </a:solidFill>
                <a:latin typeface="Pulso Light" pitchFamily="2" charset="0"/>
                <a:ea typeface="Roboto Light" pitchFamily="34" charset="-122"/>
                <a:cs typeface="Roboto Light" pitchFamily="34" charset="-120"/>
              </a:rPr>
              <a:t>con servicios Telecom y  Nuevas verticales</a:t>
            </a:r>
            <a:br>
              <a:rPr lang="es-ES_tradnl" sz="900" noProof="0">
                <a:solidFill>
                  <a:srgbClr val="FFFFFF"/>
                </a:solidFill>
                <a:latin typeface="Pulso Light" pitchFamily="2" charset="0"/>
                <a:ea typeface="Roboto Light" pitchFamily="34" charset="-122"/>
                <a:cs typeface="Roboto Light" pitchFamily="34" charset="-120"/>
              </a:rPr>
            </a:br>
            <a:r>
              <a:rPr lang="es-ES_tradnl" sz="900" noProof="0">
                <a:solidFill>
                  <a:srgbClr val="FFFFFF"/>
                </a:solidFill>
                <a:latin typeface="Pulso Light" pitchFamily="2" charset="0"/>
                <a:ea typeface="Roboto Light" pitchFamily="34" charset="-122"/>
                <a:cs typeface="Roboto Light" pitchFamily="34" charset="-120"/>
              </a:rPr>
              <a:t>de Negocio </a:t>
            </a:r>
          </a:p>
        </p:txBody>
      </p:sp>
      <p:grpSp>
        <p:nvGrpSpPr>
          <p:cNvPr id="40" name="Grupo 39">
            <a:extLst>
              <a:ext uri="{FF2B5EF4-FFF2-40B4-BE49-F238E27FC236}">
                <a16:creationId xmlns:a16="http://schemas.microsoft.com/office/drawing/2014/main" id="{19157D4F-DF14-47D9-8052-D1FF845B123C}"/>
              </a:ext>
            </a:extLst>
          </p:cNvPr>
          <p:cNvGrpSpPr/>
          <p:nvPr/>
        </p:nvGrpSpPr>
        <p:grpSpPr>
          <a:xfrm>
            <a:off x="838105" y="3351986"/>
            <a:ext cx="719479" cy="487254"/>
            <a:chOff x="834003" y="3265497"/>
            <a:chExt cx="719479" cy="487254"/>
          </a:xfrm>
        </p:grpSpPr>
        <p:sp>
          <p:nvSpPr>
            <p:cNvPr id="9" name="CuadroTexto 8">
              <a:extLst>
                <a:ext uri="{FF2B5EF4-FFF2-40B4-BE49-F238E27FC236}">
                  <a16:creationId xmlns:a16="http://schemas.microsoft.com/office/drawing/2014/main" id="{C66D08A3-98BF-BCEF-F6C4-3DAC16C0C12B}"/>
                </a:ext>
              </a:extLst>
            </p:cNvPr>
            <p:cNvSpPr txBox="1"/>
            <p:nvPr/>
          </p:nvSpPr>
          <p:spPr>
            <a:xfrm>
              <a:off x="834003" y="3265497"/>
              <a:ext cx="676587" cy="307777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defTabSz="642909" eaLnBrk="1" fontAlgn="auto" latinLnBrk="0" hangingPunct="1">
                <a:lnSpc>
                  <a:spcPct val="100000"/>
                </a:lnSpc>
                <a:spcAft>
                  <a:spcPts val="0"/>
                </a:spcAft>
                <a:buNone/>
                <a:defRPr sz="1000" b="0" i="0" spc="0" baseline="0">
                  <a:solidFill>
                    <a:srgbClr val="5A50F9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r>
                <a:rPr lang="es-AR"/>
                <a:t>Saldos Billeteras $</a:t>
              </a:r>
            </a:p>
          </p:txBody>
        </p:sp>
        <p:sp>
          <p:nvSpPr>
            <p:cNvPr id="16" name="CuadroTexto 15">
              <a:extLst>
                <a:ext uri="{FF2B5EF4-FFF2-40B4-BE49-F238E27FC236}">
                  <a16:creationId xmlns:a16="http://schemas.microsoft.com/office/drawing/2014/main" id="{E3FF8F48-A5DD-305A-A871-0A42590EED9A}"/>
                </a:ext>
              </a:extLst>
            </p:cNvPr>
            <p:cNvSpPr txBox="1"/>
            <p:nvPr/>
          </p:nvSpPr>
          <p:spPr>
            <a:xfrm>
              <a:off x="838543" y="3614252"/>
              <a:ext cx="714939" cy="138499"/>
            </a:xfrm>
            <a:prstGeom prst="rect">
              <a:avLst/>
            </a:prstGeom>
            <a:effectLst/>
          </p:spPr>
          <p:txBody>
            <a:bodyPr vert="horz" wrap="none" lIns="0" tIns="0" rIns="0" bIns="0" rtlCol="0" anchor="t" anchorCtr="0">
              <a:spAutoFit/>
            </a:bodyPr>
            <a:lstStyle>
              <a:defPPr>
                <a:defRPr lang="en-US"/>
              </a:defPPr>
              <a:lvl1pPr defTabSz="642909" eaLnBrk="1" fontAlgn="auto" latinLnBrk="0" hangingPunct="1">
                <a:lnSpc>
                  <a:spcPct val="100000"/>
                </a:lnSpc>
                <a:spcAft>
                  <a:spcPts val="0"/>
                </a:spcAft>
                <a:buNone/>
                <a:defRPr sz="1000" b="0" i="0" spc="0" baseline="0">
                  <a:solidFill>
                    <a:srgbClr val="5A50F9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r>
                <a:rPr lang="es-ES" sz="9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100% encajes</a:t>
              </a:r>
              <a:endParaRPr lang="es-AR" sz="90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endParaRPr>
            </a:p>
          </p:txBody>
        </p:sp>
      </p:grpSp>
      <p:grpSp>
        <p:nvGrpSpPr>
          <p:cNvPr id="38" name="Grupo 37">
            <a:extLst>
              <a:ext uri="{FF2B5EF4-FFF2-40B4-BE49-F238E27FC236}">
                <a16:creationId xmlns:a16="http://schemas.microsoft.com/office/drawing/2014/main" id="{6236DE70-2A76-70F7-00E2-BDB8A601DCC0}"/>
              </a:ext>
            </a:extLst>
          </p:cNvPr>
          <p:cNvGrpSpPr/>
          <p:nvPr/>
        </p:nvGrpSpPr>
        <p:grpSpPr>
          <a:xfrm>
            <a:off x="3740841" y="3296901"/>
            <a:ext cx="772391" cy="625378"/>
            <a:chOff x="3520512" y="3222281"/>
            <a:chExt cx="772391" cy="625378"/>
          </a:xfrm>
        </p:grpSpPr>
        <p:sp>
          <p:nvSpPr>
            <p:cNvPr id="33" name="CuadroTexto 32">
              <a:extLst>
                <a:ext uri="{FF2B5EF4-FFF2-40B4-BE49-F238E27FC236}">
                  <a16:creationId xmlns:a16="http://schemas.microsoft.com/office/drawing/2014/main" id="{F353CFB8-68E9-4F86-FB68-16D1F3A42E46}"/>
                </a:ext>
              </a:extLst>
            </p:cNvPr>
            <p:cNvSpPr txBox="1"/>
            <p:nvPr/>
          </p:nvSpPr>
          <p:spPr>
            <a:xfrm>
              <a:off x="3520512" y="3222281"/>
              <a:ext cx="772391" cy="461665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defTabSz="642909" eaLnBrk="1" fontAlgn="auto" latinLnBrk="0" hangingPunct="1">
                <a:lnSpc>
                  <a:spcPct val="100000"/>
                </a:lnSpc>
                <a:spcAft>
                  <a:spcPts val="0"/>
                </a:spcAft>
                <a:buNone/>
                <a:defRPr sz="1000" b="0" i="0" spc="0" baseline="0">
                  <a:solidFill>
                    <a:srgbClr val="5A50F9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r>
                <a:rPr lang="es-AR">
                  <a:solidFill>
                    <a:srgbClr val="150958"/>
                  </a:solidFill>
                </a:rPr>
                <a:t>Depósitos y FCI Sistema Financiero</a:t>
              </a:r>
            </a:p>
          </p:txBody>
        </p:sp>
        <p:sp>
          <p:nvSpPr>
            <p:cNvPr id="34" name="CuadroTexto 33">
              <a:extLst>
                <a:ext uri="{FF2B5EF4-FFF2-40B4-BE49-F238E27FC236}">
                  <a16:creationId xmlns:a16="http://schemas.microsoft.com/office/drawing/2014/main" id="{AB118CA3-A0C4-F68C-4825-075D58FF90A5}"/>
                </a:ext>
              </a:extLst>
            </p:cNvPr>
            <p:cNvSpPr txBox="1"/>
            <p:nvPr/>
          </p:nvSpPr>
          <p:spPr>
            <a:xfrm>
              <a:off x="3525052" y="3724548"/>
              <a:ext cx="492122" cy="123111"/>
            </a:xfrm>
            <a:prstGeom prst="rect">
              <a:avLst/>
            </a:prstGeom>
            <a:effectLst/>
          </p:spPr>
          <p:txBody>
            <a:bodyPr vert="horz" wrap="none" lIns="0" tIns="0" rIns="0" bIns="0" rtlCol="0" anchor="t" anchorCtr="0">
              <a:spAutoFit/>
            </a:bodyPr>
            <a:lstStyle>
              <a:defPPr>
                <a:defRPr lang="en-US"/>
              </a:defPPr>
              <a:lvl1pPr defTabSz="642909" eaLnBrk="1" fontAlgn="auto" latinLnBrk="0" hangingPunct="1">
                <a:lnSpc>
                  <a:spcPct val="100000"/>
                </a:lnSpc>
                <a:spcAft>
                  <a:spcPts val="0"/>
                </a:spcAft>
                <a:buNone/>
                <a:defRPr sz="1000" b="0" i="0" spc="0" baseline="0">
                  <a:solidFill>
                    <a:srgbClr val="5A50F9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r>
                <a:rPr lang="es-ES" sz="800">
                  <a:solidFill>
                    <a:srgbClr val="150958"/>
                  </a:solidFill>
                  <a:latin typeface="Pulso Light" pitchFamily="2" charset="0"/>
                </a:rPr>
                <a:t>s/vehículo</a:t>
              </a:r>
            </a:p>
          </p:txBody>
        </p:sp>
      </p:grpSp>
      <p:graphicFrame>
        <p:nvGraphicFramePr>
          <p:cNvPr id="8" name="Gráfico 7">
            <a:extLst>
              <a:ext uri="{FF2B5EF4-FFF2-40B4-BE49-F238E27FC236}">
                <a16:creationId xmlns:a16="http://schemas.microsoft.com/office/drawing/2014/main" id="{A49DD732-E10B-7E2A-6AC0-F2EF712AAF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7264928"/>
              </p:ext>
            </p:extLst>
          </p:nvPr>
        </p:nvGraphicFramePr>
        <p:xfrm>
          <a:off x="1660546" y="3244878"/>
          <a:ext cx="1599317" cy="1415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3" name="CuadroTexto 42">
            <a:extLst>
              <a:ext uri="{FF2B5EF4-FFF2-40B4-BE49-F238E27FC236}">
                <a16:creationId xmlns:a16="http://schemas.microsoft.com/office/drawing/2014/main" id="{144E7D3B-E69B-328B-9844-39ACFC322A6E}"/>
              </a:ext>
            </a:extLst>
          </p:cNvPr>
          <p:cNvSpPr txBox="1"/>
          <p:nvPr/>
        </p:nvSpPr>
        <p:spPr>
          <a:xfrm>
            <a:off x="2205656" y="3792453"/>
            <a:ext cx="55261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900" b="1">
                <a:solidFill>
                  <a:srgbClr val="150958"/>
                </a:solidFill>
                <a:latin typeface="Pulso" pitchFamily="2" charset="0"/>
                <a:ea typeface="Open Sans" pitchFamily="2" charset="0"/>
                <a:cs typeface="Open Sans" pitchFamily="2" charset="0"/>
              </a:rPr>
              <a:t>$ 6Bn</a:t>
            </a:r>
            <a:endParaRPr lang="es-AR" sz="788" b="1">
              <a:solidFill>
                <a:srgbClr val="150958"/>
              </a:solidFill>
              <a:latin typeface="Pulso" pitchFamily="2" charset="0"/>
              <a:ea typeface="Open Sans" pitchFamily="2" charset="0"/>
              <a:cs typeface="Open Sans" pitchFamily="2" charset="0"/>
            </a:endParaRPr>
          </a:p>
        </p:txBody>
      </p:sp>
      <p:graphicFrame>
        <p:nvGraphicFramePr>
          <p:cNvPr id="46" name="Gráfico 45">
            <a:extLst>
              <a:ext uri="{FF2B5EF4-FFF2-40B4-BE49-F238E27FC236}">
                <a16:creationId xmlns:a16="http://schemas.microsoft.com/office/drawing/2014/main" id="{4AF79F88-F430-827A-84BE-1D58CEE9CE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4930860"/>
              </p:ext>
            </p:extLst>
          </p:nvPr>
        </p:nvGraphicFramePr>
        <p:xfrm>
          <a:off x="4447666" y="3244878"/>
          <a:ext cx="1957426" cy="14157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8" name="CuadroTexto 47">
            <a:extLst>
              <a:ext uri="{FF2B5EF4-FFF2-40B4-BE49-F238E27FC236}">
                <a16:creationId xmlns:a16="http://schemas.microsoft.com/office/drawing/2014/main" id="{6EFE04CF-99FB-FD3E-0E9F-AA51E9C8AAB7}"/>
              </a:ext>
            </a:extLst>
          </p:cNvPr>
          <p:cNvSpPr txBox="1"/>
          <p:nvPr/>
        </p:nvSpPr>
        <p:spPr>
          <a:xfrm>
            <a:off x="5179346" y="3792453"/>
            <a:ext cx="60608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 defTabSz="685800" fontAlgn="auto">
              <a:spcBef>
                <a:spcPts val="0"/>
              </a:spcBef>
              <a:spcAft>
                <a:spcPts val="0"/>
              </a:spcAft>
              <a:defRPr sz="900" b="1">
                <a:solidFill>
                  <a:srgbClr val="150958"/>
                </a:solidFill>
                <a:latin typeface="Pulso" pitchFamily="2" charset="0"/>
                <a:ea typeface="Open Sans" pitchFamily="2" charset="0"/>
                <a:cs typeface="Open Sans" pitchFamily="2" charset="0"/>
              </a:defRPr>
            </a:lvl1pPr>
          </a:lstStyle>
          <a:p>
            <a:r>
              <a:rPr lang="es-AR"/>
              <a:t>$ 124Bn</a:t>
            </a:r>
          </a:p>
        </p:txBody>
      </p:sp>
      <p:sp>
        <p:nvSpPr>
          <p:cNvPr id="92" name="Nuestra ambicin">
            <a:extLst>
              <a:ext uri="{FF2B5EF4-FFF2-40B4-BE49-F238E27FC236}">
                <a16:creationId xmlns:a16="http://schemas.microsoft.com/office/drawing/2014/main" id="{E988218A-0AFE-F2C1-BB55-C01E4DEFD60D}"/>
              </a:ext>
            </a:extLst>
          </p:cNvPr>
          <p:cNvSpPr/>
          <p:nvPr/>
        </p:nvSpPr>
        <p:spPr>
          <a:xfrm>
            <a:off x="7038911" y="1476807"/>
            <a:ext cx="1319178" cy="16927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es-ES_tradnl" sz="1100" noProof="0">
                <a:solidFill>
                  <a:srgbClr val="FFFFFF"/>
                </a:solidFill>
                <a:latin typeface="Pulso Light" pitchFamily="2" charset="0"/>
                <a:cs typeface="+mn-cs"/>
              </a:rPr>
              <a:t>Nuestra ambición:</a:t>
            </a:r>
          </a:p>
        </p:txBody>
      </p:sp>
      <p:sp>
        <p:nvSpPr>
          <p:cNvPr id="93" name="Jugar entre los principales 5 BANCOS del mercado">
            <a:extLst>
              <a:ext uri="{FF2B5EF4-FFF2-40B4-BE49-F238E27FC236}">
                <a16:creationId xmlns:a16="http://schemas.microsoft.com/office/drawing/2014/main" id="{7D2AB5D2-CBA4-5041-EE09-E9559B830085}"/>
              </a:ext>
            </a:extLst>
          </p:cNvPr>
          <p:cNvSpPr/>
          <p:nvPr/>
        </p:nvSpPr>
        <p:spPr>
          <a:xfrm>
            <a:off x="6768566" y="1672807"/>
            <a:ext cx="1859868" cy="16927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100" noProof="0">
                <a:solidFill>
                  <a:srgbClr val="FFFFFF"/>
                </a:solidFill>
                <a:latin typeface="Pulso" pitchFamily="2" charset="0"/>
                <a:ea typeface="Poppins Regular" pitchFamily="34" charset="-122"/>
                <a:cs typeface="Poppins Regular" pitchFamily="34" charset="-120"/>
              </a:rPr>
              <a:t>Jugar entre los principales</a:t>
            </a:r>
            <a:endParaRPr lang="es-ES_tradnl" sz="1600" noProof="0">
              <a:solidFill>
                <a:srgbClr val="FFFFFF"/>
              </a:solidFill>
              <a:latin typeface="Pulso" pitchFamily="2" charset="0"/>
              <a:cs typeface="+mn-cs"/>
            </a:endParaRPr>
          </a:p>
        </p:txBody>
      </p:sp>
      <p:sp>
        <p:nvSpPr>
          <p:cNvPr id="94" name="CuadroTexto 93">
            <a:extLst>
              <a:ext uri="{FF2B5EF4-FFF2-40B4-BE49-F238E27FC236}">
                <a16:creationId xmlns:a16="http://schemas.microsoft.com/office/drawing/2014/main" id="{D0B7EAF1-B8DF-E3F8-BB28-C26309C0F204}"/>
              </a:ext>
            </a:extLst>
          </p:cNvPr>
          <p:cNvSpPr txBox="1"/>
          <p:nvPr/>
        </p:nvSpPr>
        <p:spPr>
          <a:xfrm>
            <a:off x="7314324" y="1868835"/>
            <a:ext cx="76835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s-ES_tradnl" sz="1600" b="1" noProof="0">
                <a:solidFill>
                  <a:srgbClr val="A1B9FF"/>
                </a:solidFill>
                <a:latin typeface="Pulso" pitchFamily="2" charset="0"/>
                <a:ea typeface="Poppins Bold" pitchFamily="34" charset="-122"/>
                <a:cs typeface="Poppins Bold" pitchFamily="34" charset="-120"/>
              </a:rPr>
              <a:t> PLAYERS</a:t>
            </a:r>
            <a:endParaRPr lang="es-ES_tradnl" sz="1600" b="1" noProof="0">
              <a:solidFill>
                <a:srgbClr val="A1B9FF"/>
              </a:solidFill>
            </a:endParaRPr>
          </a:p>
        </p:txBody>
      </p:sp>
      <p:sp>
        <p:nvSpPr>
          <p:cNvPr id="95" name="CuadroTexto 94">
            <a:extLst>
              <a:ext uri="{FF2B5EF4-FFF2-40B4-BE49-F238E27FC236}">
                <a16:creationId xmlns:a16="http://schemas.microsoft.com/office/drawing/2014/main" id="{570AB17B-0811-877C-EEBF-D48E63A007FB}"/>
              </a:ext>
            </a:extLst>
          </p:cNvPr>
          <p:cNvSpPr txBox="1"/>
          <p:nvPr/>
        </p:nvSpPr>
        <p:spPr>
          <a:xfrm>
            <a:off x="7156685" y="2119714"/>
            <a:ext cx="108363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s-ES_tradnl" sz="1400" noProof="0">
                <a:solidFill>
                  <a:srgbClr val="FFFFFF"/>
                </a:solidFill>
                <a:latin typeface="Pulso" pitchFamily="2" charset="0"/>
                <a:ea typeface="Poppins Bold" pitchFamily="34" charset="-122"/>
                <a:cs typeface="Poppins Bold" pitchFamily="34" charset="-120"/>
              </a:rPr>
              <a:t>del mercado</a:t>
            </a:r>
            <a:endParaRPr lang="es-ES_tradnl" sz="1400" noProof="0">
              <a:latin typeface="Pulso" pitchFamily="2" charset="0"/>
            </a:endParaRPr>
          </a:p>
        </p:txBody>
      </p:sp>
      <p:pic>
        <p:nvPicPr>
          <p:cNvPr id="118" name="Gráfico 117">
            <a:extLst>
              <a:ext uri="{FF2B5EF4-FFF2-40B4-BE49-F238E27FC236}">
                <a16:creationId xmlns:a16="http://schemas.microsoft.com/office/drawing/2014/main" id="{3848E1B1-E80C-5D80-3F4D-3466729302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46304" y="2345402"/>
            <a:ext cx="704392" cy="704392"/>
          </a:xfrm>
          <a:prstGeom prst="rect">
            <a:avLst/>
          </a:prstGeom>
        </p:spPr>
      </p:pic>
      <p:sp>
        <p:nvSpPr>
          <p:cNvPr id="132" name="Rectángulo redondeado 131">
            <a:extLst>
              <a:ext uri="{FF2B5EF4-FFF2-40B4-BE49-F238E27FC236}">
                <a16:creationId xmlns:a16="http://schemas.microsoft.com/office/drawing/2014/main" id="{21DDDC4C-E395-FFD8-A564-2D2BCBAC56ED}"/>
              </a:ext>
            </a:extLst>
          </p:cNvPr>
          <p:cNvSpPr/>
          <p:nvPr/>
        </p:nvSpPr>
        <p:spPr>
          <a:xfrm>
            <a:off x="7335536" y="3189712"/>
            <a:ext cx="725936" cy="396258"/>
          </a:xfrm>
          <a:prstGeom prst="roundRect">
            <a:avLst>
              <a:gd name="adj" fmla="val 13333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ES_tradnl" sz="1000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10%</a:t>
            </a:r>
          </a:p>
        </p:txBody>
      </p:sp>
      <p:sp>
        <p:nvSpPr>
          <p:cNvPr id="137" name="Rectángulo redondeado 136">
            <a:extLst>
              <a:ext uri="{FF2B5EF4-FFF2-40B4-BE49-F238E27FC236}">
                <a16:creationId xmlns:a16="http://schemas.microsoft.com/office/drawing/2014/main" id="{4A53EEDA-CC8B-D3DC-DD46-FEEEB99D85E2}"/>
              </a:ext>
            </a:extLst>
          </p:cNvPr>
          <p:cNvSpPr/>
          <p:nvPr/>
        </p:nvSpPr>
        <p:spPr>
          <a:xfrm>
            <a:off x="7335536" y="3617004"/>
            <a:ext cx="725936" cy="396258"/>
          </a:xfrm>
          <a:prstGeom prst="roundRect">
            <a:avLst>
              <a:gd name="adj" fmla="val 13333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ES_tradnl" sz="1000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7,4%</a:t>
            </a:r>
          </a:p>
        </p:txBody>
      </p:sp>
      <p:sp>
        <p:nvSpPr>
          <p:cNvPr id="135" name="Rectángulo redondeado 134">
            <a:extLst>
              <a:ext uri="{FF2B5EF4-FFF2-40B4-BE49-F238E27FC236}">
                <a16:creationId xmlns:a16="http://schemas.microsoft.com/office/drawing/2014/main" id="{44DDEEB5-6444-417C-88BC-0569C469F40B}"/>
              </a:ext>
            </a:extLst>
          </p:cNvPr>
          <p:cNvSpPr/>
          <p:nvPr/>
        </p:nvSpPr>
        <p:spPr>
          <a:xfrm>
            <a:off x="8097609" y="3189712"/>
            <a:ext cx="835686" cy="396258"/>
          </a:xfrm>
          <a:prstGeom prst="roundRect">
            <a:avLst>
              <a:gd name="adj" fmla="val 13333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ES_tradnl" sz="1000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41%</a:t>
            </a:r>
          </a:p>
        </p:txBody>
      </p:sp>
      <p:sp>
        <p:nvSpPr>
          <p:cNvPr id="138" name="Rectángulo redondeado 137">
            <a:extLst>
              <a:ext uri="{FF2B5EF4-FFF2-40B4-BE49-F238E27FC236}">
                <a16:creationId xmlns:a16="http://schemas.microsoft.com/office/drawing/2014/main" id="{E3E2A865-B7CE-AA25-726C-EBCF1DA2686A}"/>
              </a:ext>
            </a:extLst>
          </p:cNvPr>
          <p:cNvSpPr/>
          <p:nvPr/>
        </p:nvSpPr>
        <p:spPr>
          <a:xfrm>
            <a:off x="8097609" y="3617004"/>
            <a:ext cx="835686" cy="396258"/>
          </a:xfrm>
          <a:prstGeom prst="roundRect">
            <a:avLst>
              <a:gd name="adj" fmla="val 13333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ES_tradnl" sz="1000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9%</a:t>
            </a:r>
          </a:p>
        </p:txBody>
      </p:sp>
      <p:sp>
        <p:nvSpPr>
          <p:cNvPr id="141" name="Rectángulo redondeado 140">
            <a:extLst>
              <a:ext uri="{FF2B5EF4-FFF2-40B4-BE49-F238E27FC236}">
                <a16:creationId xmlns:a16="http://schemas.microsoft.com/office/drawing/2014/main" id="{1E80AFC1-5C0D-EFE3-43C8-EEFFE6662F0C}"/>
              </a:ext>
            </a:extLst>
          </p:cNvPr>
          <p:cNvSpPr/>
          <p:nvPr/>
        </p:nvSpPr>
        <p:spPr>
          <a:xfrm>
            <a:off x="7335536" y="4052524"/>
            <a:ext cx="725936" cy="396258"/>
          </a:xfrm>
          <a:prstGeom prst="roundRect">
            <a:avLst>
              <a:gd name="adj" fmla="val 13333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ES_tradnl" sz="1000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1%</a:t>
            </a:r>
          </a:p>
        </p:txBody>
      </p:sp>
      <p:sp>
        <p:nvSpPr>
          <p:cNvPr id="142" name="Rectángulo redondeado 141">
            <a:extLst>
              <a:ext uri="{FF2B5EF4-FFF2-40B4-BE49-F238E27FC236}">
                <a16:creationId xmlns:a16="http://schemas.microsoft.com/office/drawing/2014/main" id="{E5B131C2-39EF-49B8-2E47-F89D137957B7}"/>
              </a:ext>
            </a:extLst>
          </p:cNvPr>
          <p:cNvSpPr/>
          <p:nvPr/>
        </p:nvSpPr>
        <p:spPr>
          <a:xfrm>
            <a:off x="8097609" y="4052524"/>
            <a:ext cx="835686" cy="396258"/>
          </a:xfrm>
          <a:prstGeom prst="roundRect">
            <a:avLst>
              <a:gd name="adj" fmla="val 13333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ES_tradnl" sz="1000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38%</a:t>
            </a:r>
          </a:p>
        </p:txBody>
      </p:sp>
      <p:sp>
        <p:nvSpPr>
          <p:cNvPr id="144" name="Rectángulo redondeado 143">
            <a:extLst>
              <a:ext uri="{FF2B5EF4-FFF2-40B4-BE49-F238E27FC236}">
                <a16:creationId xmlns:a16="http://schemas.microsoft.com/office/drawing/2014/main" id="{47D489C7-DA78-775C-7E9D-8F593531D9CB}"/>
              </a:ext>
            </a:extLst>
          </p:cNvPr>
          <p:cNvSpPr/>
          <p:nvPr/>
        </p:nvSpPr>
        <p:spPr>
          <a:xfrm>
            <a:off x="6463716" y="3189712"/>
            <a:ext cx="835686" cy="396258"/>
          </a:xfrm>
          <a:prstGeom prst="roundRect">
            <a:avLst>
              <a:gd name="adj" fmla="val 13333"/>
            </a:avLst>
          </a:prstGeom>
          <a:solidFill>
            <a:srgbClr val="5E54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0" rIns="0" bIns="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s-ES_tradnl" sz="900">
                <a:solidFill>
                  <a:srgbClr val="FFFFFF"/>
                </a:solidFill>
                <a:latin typeface="Pulso" pitchFamily="2" charset="0"/>
              </a:rPr>
              <a:t>Depósitos</a:t>
            </a:r>
          </a:p>
          <a:p>
            <a:pPr>
              <a:spcBef>
                <a:spcPts val="0"/>
              </a:spcBef>
            </a:pPr>
            <a:r>
              <a:rPr lang="es-ES_tradnl" sz="900">
                <a:solidFill>
                  <a:srgbClr val="FFFFFF"/>
                </a:solidFill>
                <a:latin typeface="Pulso Light" pitchFamily="2" charset="0"/>
              </a:rPr>
              <a:t>$ saldos</a:t>
            </a:r>
          </a:p>
        </p:txBody>
      </p:sp>
      <p:sp>
        <p:nvSpPr>
          <p:cNvPr id="148" name="Rectángulo redondeado 147">
            <a:extLst>
              <a:ext uri="{FF2B5EF4-FFF2-40B4-BE49-F238E27FC236}">
                <a16:creationId xmlns:a16="http://schemas.microsoft.com/office/drawing/2014/main" id="{A29A824F-903A-3C97-75B4-057E9AD11EBB}"/>
              </a:ext>
            </a:extLst>
          </p:cNvPr>
          <p:cNvSpPr/>
          <p:nvPr/>
        </p:nvSpPr>
        <p:spPr>
          <a:xfrm>
            <a:off x="6463716" y="3617004"/>
            <a:ext cx="835686" cy="396258"/>
          </a:xfrm>
          <a:prstGeom prst="roundRect">
            <a:avLst>
              <a:gd name="adj" fmla="val 13333"/>
            </a:avLst>
          </a:prstGeom>
          <a:solidFill>
            <a:srgbClr val="5E54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0" rIns="0" bIns="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s-ES_tradnl" sz="900">
                <a:solidFill>
                  <a:srgbClr val="FFFFFF"/>
                </a:solidFill>
                <a:latin typeface="Pulso" pitchFamily="2" charset="0"/>
              </a:rPr>
              <a:t>FCI</a:t>
            </a:r>
          </a:p>
          <a:p>
            <a:pPr>
              <a:spcBef>
                <a:spcPts val="0"/>
              </a:spcBef>
            </a:pPr>
            <a:r>
              <a:rPr lang="es-ES_tradnl" sz="900">
                <a:solidFill>
                  <a:srgbClr val="FFFFFF"/>
                </a:solidFill>
                <a:latin typeface="Pulso Light" pitchFamily="2" charset="0"/>
              </a:rPr>
              <a:t>$ saldos</a:t>
            </a:r>
          </a:p>
        </p:txBody>
      </p:sp>
      <p:sp>
        <p:nvSpPr>
          <p:cNvPr id="149" name="Rectángulo redondeado 148">
            <a:extLst>
              <a:ext uri="{FF2B5EF4-FFF2-40B4-BE49-F238E27FC236}">
                <a16:creationId xmlns:a16="http://schemas.microsoft.com/office/drawing/2014/main" id="{9FB4C353-8D40-B57F-6A1F-0CDE6365569D}"/>
              </a:ext>
            </a:extLst>
          </p:cNvPr>
          <p:cNvSpPr/>
          <p:nvPr/>
        </p:nvSpPr>
        <p:spPr>
          <a:xfrm>
            <a:off x="6463716" y="4052524"/>
            <a:ext cx="835686" cy="396258"/>
          </a:xfrm>
          <a:prstGeom prst="roundRect">
            <a:avLst>
              <a:gd name="adj" fmla="val 13333"/>
            </a:avLst>
          </a:prstGeom>
          <a:solidFill>
            <a:srgbClr val="5E54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0" rIns="0" bIns="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s-ES_tradnl" sz="900">
                <a:solidFill>
                  <a:srgbClr val="FFFFFF"/>
                </a:solidFill>
                <a:latin typeface="Pulso" pitchFamily="2" charset="0"/>
              </a:rPr>
              <a:t>Créditos</a:t>
            </a:r>
          </a:p>
          <a:p>
            <a:pPr>
              <a:spcBef>
                <a:spcPts val="0"/>
              </a:spcBef>
            </a:pPr>
            <a:r>
              <a:rPr lang="es-ES_tradnl" sz="900">
                <a:solidFill>
                  <a:srgbClr val="FFFFFF"/>
                </a:solidFill>
                <a:latin typeface="Pulso Light" pitchFamily="2" charset="0"/>
              </a:rPr>
              <a:t>$ Vol. Deudas</a:t>
            </a:r>
          </a:p>
        </p:txBody>
      </p:sp>
      <p:grpSp>
        <p:nvGrpSpPr>
          <p:cNvPr id="155" name="Grupo 154">
            <a:extLst>
              <a:ext uri="{FF2B5EF4-FFF2-40B4-BE49-F238E27FC236}">
                <a16:creationId xmlns:a16="http://schemas.microsoft.com/office/drawing/2014/main" id="{6C13B3F4-A3F9-E94E-AF70-C670E6C55C2F}"/>
              </a:ext>
            </a:extLst>
          </p:cNvPr>
          <p:cNvGrpSpPr/>
          <p:nvPr/>
        </p:nvGrpSpPr>
        <p:grpSpPr>
          <a:xfrm>
            <a:off x="8283694" y="2657538"/>
            <a:ext cx="460759" cy="459867"/>
            <a:chOff x="8216800" y="2326033"/>
            <a:chExt cx="537401" cy="536361"/>
          </a:xfrm>
        </p:grpSpPr>
        <p:pic>
          <p:nvPicPr>
            <p:cNvPr id="151" name="Picture 24">
              <a:extLst>
                <a:ext uri="{FF2B5EF4-FFF2-40B4-BE49-F238E27FC236}">
                  <a16:creationId xmlns:a16="http://schemas.microsoft.com/office/drawing/2014/main" id="{2E27FB82-B4C1-4BA7-F717-4EB698EC7A2D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8502667" y="2326033"/>
              <a:ext cx="251534" cy="251533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  <a:effectLst>
              <a:outerShdw blurRad="25400" dist="25400" dir="2700000" algn="t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152" name="Picture 24">
              <a:extLst>
                <a:ext uri="{FF2B5EF4-FFF2-40B4-BE49-F238E27FC236}">
                  <a16:creationId xmlns:a16="http://schemas.microsoft.com/office/drawing/2014/main" id="{2099F5FA-2AF8-805E-4DBC-9120B10C518F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8502667" y="2610861"/>
              <a:ext cx="251534" cy="251533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  <a:effectLst>
              <a:outerShdw blurRad="25400" dist="25400" dir="2700000" algn="t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153" name="Picture 24">
              <a:extLst>
                <a:ext uri="{FF2B5EF4-FFF2-40B4-BE49-F238E27FC236}">
                  <a16:creationId xmlns:a16="http://schemas.microsoft.com/office/drawing/2014/main" id="{5F28FB36-32A6-ED98-6AFA-725723673B23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8216800" y="2326033"/>
              <a:ext cx="251534" cy="251533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  <a:effectLst>
              <a:outerShdw blurRad="25400" dist="25400" dir="2700000" algn="t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154" name="Picture 24">
              <a:extLst>
                <a:ext uri="{FF2B5EF4-FFF2-40B4-BE49-F238E27FC236}">
                  <a16:creationId xmlns:a16="http://schemas.microsoft.com/office/drawing/2014/main" id="{841027E3-77F8-271E-F885-70430F02E861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8216800" y="2610861"/>
              <a:ext cx="251534" cy="251533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  <a:effectLst>
              <a:outerShdw blurRad="25400" dist="25400" dir="2700000" algn="tl" rotWithShape="0">
                <a:prstClr val="black">
                  <a:alpha val="20000"/>
                </a:prstClr>
              </a:outerShdw>
            </a:effectLst>
          </p:spPr>
        </p:pic>
      </p:grpSp>
      <p:sp>
        <p:nvSpPr>
          <p:cNvPr id="157" name="Nuestra ambicin">
            <a:extLst>
              <a:ext uri="{FF2B5EF4-FFF2-40B4-BE49-F238E27FC236}">
                <a16:creationId xmlns:a16="http://schemas.microsoft.com/office/drawing/2014/main" id="{16C598EC-6A2C-3EED-6A6D-6D882A4905FB}"/>
              </a:ext>
            </a:extLst>
          </p:cNvPr>
          <p:cNvSpPr/>
          <p:nvPr/>
        </p:nvSpPr>
        <p:spPr>
          <a:xfrm>
            <a:off x="8044761" y="2457445"/>
            <a:ext cx="931107" cy="138499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es-ES_tradnl" sz="900" noProof="0">
                <a:solidFill>
                  <a:srgbClr val="FFFFFF"/>
                </a:solidFill>
                <a:latin typeface="Pulso Light" pitchFamily="2" charset="0"/>
                <a:cs typeface="+mn-cs"/>
              </a:rPr>
              <a:t>Top 4 bancos</a:t>
            </a:r>
          </a:p>
        </p:txBody>
      </p:sp>
      <p:sp>
        <p:nvSpPr>
          <p:cNvPr id="158" name="Gráfico 7">
            <a:extLst>
              <a:ext uri="{FF2B5EF4-FFF2-40B4-BE49-F238E27FC236}">
                <a16:creationId xmlns:a16="http://schemas.microsoft.com/office/drawing/2014/main" id="{7115820B-DF13-0C72-5E5D-E60E0DA043EF}"/>
              </a:ext>
            </a:extLst>
          </p:cNvPr>
          <p:cNvSpPr/>
          <p:nvPr/>
        </p:nvSpPr>
        <p:spPr>
          <a:xfrm>
            <a:off x="7637559" y="3040316"/>
            <a:ext cx="121881" cy="69137"/>
          </a:xfrm>
          <a:custGeom>
            <a:avLst/>
            <a:gdLst>
              <a:gd name="connsiteX0" fmla="*/ 14771 w 219527"/>
              <a:gd name="connsiteY0" fmla="*/ 0 h 124528"/>
              <a:gd name="connsiteX1" fmla="*/ 204757 w 219527"/>
              <a:gd name="connsiteY1" fmla="*/ 0 h 124528"/>
              <a:gd name="connsiteX2" fmla="*/ 215168 w 219527"/>
              <a:gd name="connsiteY2" fmla="*/ 25179 h 124528"/>
              <a:gd name="connsiteX3" fmla="*/ 120212 w 219527"/>
              <a:gd name="connsiteY3" fmla="*/ 120209 h 124528"/>
              <a:gd name="connsiteX4" fmla="*/ 99316 w 219527"/>
              <a:gd name="connsiteY4" fmla="*/ 120209 h 124528"/>
              <a:gd name="connsiteX5" fmla="*/ 4360 w 219527"/>
              <a:gd name="connsiteY5" fmla="*/ 25179 h 124528"/>
              <a:gd name="connsiteX6" fmla="*/ 14771 w 219527"/>
              <a:gd name="connsiteY6" fmla="*/ 0 h 124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9527" h="124528">
                <a:moveTo>
                  <a:pt x="14771" y="0"/>
                </a:moveTo>
                <a:lnTo>
                  <a:pt x="204757" y="0"/>
                </a:lnTo>
                <a:cubicBezTo>
                  <a:pt x="217900" y="0"/>
                  <a:pt x="224471" y="15875"/>
                  <a:pt x="215168" y="25179"/>
                </a:cubicBezTo>
                <a:lnTo>
                  <a:pt x="120212" y="120209"/>
                </a:lnTo>
                <a:cubicBezTo>
                  <a:pt x="114453" y="125968"/>
                  <a:pt x="105075" y="125968"/>
                  <a:pt x="99316" y="120209"/>
                </a:cubicBezTo>
                <a:lnTo>
                  <a:pt x="4360" y="25179"/>
                </a:lnTo>
                <a:cubicBezTo>
                  <a:pt x="-4944" y="15875"/>
                  <a:pt x="1628" y="0"/>
                  <a:pt x="14771" y="0"/>
                </a:cubicBezTo>
                <a:close/>
              </a:path>
            </a:pathLst>
          </a:custGeom>
          <a:solidFill>
            <a:srgbClr val="5E54FF"/>
          </a:solidFill>
          <a:ln w="714" cap="flat">
            <a:noFill/>
            <a:prstDash val="solid"/>
            <a:miter/>
          </a:ln>
        </p:spPr>
        <p:txBody>
          <a:bodyPr rtlCol="0" anchor="ctr"/>
          <a:lstStyle/>
          <a:p>
            <a:endParaRPr lang="es-AR"/>
          </a:p>
        </p:txBody>
      </p:sp>
      <p:sp>
        <p:nvSpPr>
          <p:cNvPr id="161" name="Forma libre 160">
            <a:extLst>
              <a:ext uri="{FF2B5EF4-FFF2-40B4-BE49-F238E27FC236}">
                <a16:creationId xmlns:a16="http://schemas.microsoft.com/office/drawing/2014/main" id="{C146C295-B8D0-9B07-B0EC-E489996CF04D}"/>
              </a:ext>
            </a:extLst>
          </p:cNvPr>
          <p:cNvSpPr/>
          <p:nvPr/>
        </p:nvSpPr>
        <p:spPr>
          <a:xfrm>
            <a:off x="431383" y="1626204"/>
            <a:ext cx="6389772" cy="467701"/>
          </a:xfrm>
          <a:custGeom>
            <a:avLst/>
            <a:gdLst>
              <a:gd name="connsiteX0" fmla="*/ 0 w 6389772"/>
              <a:gd name="connsiteY0" fmla="*/ 235169 h 467701"/>
              <a:gd name="connsiteX1" fmla="*/ 0 w 6389772"/>
              <a:gd name="connsiteY1" fmla="*/ 235170 h 467701"/>
              <a:gd name="connsiteX2" fmla="*/ 0 w 6389772"/>
              <a:gd name="connsiteY2" fmla="*/ 235170 h 467701"/>
              <a:gd name="connsiteX3" fmla="*/ 6188730 w 6389772"/>
              <a:gd name="connsiteY3" fmla="*/ 454 h 467701"/>
              <a:gd name="connsiteX4" fmla="*/ 6203468 w 6389772"/>
              <a:gd name="connsiteY4" fmla="*/ 9288 h 467701"/>
              <a:gd name="connsiteX5" fmla="*/ 6381672 w 6389772"/>
              <a:gd name="connsiteY5" fmla="*/ 211591 h 467701"/>
              <a:gd name="connsiteX6" fmla="*/ 6381672 w 6389772"/>
              <a:gd name="connsiteY6" fmla="*/ 256109 h 467701"/>
              <a:gd name="connsiteX7" fmla="*/ 6203468 w 6389772"/>
              <a:gd name="connsiteY7" fmla="*/ 458412 h 467701"/>
              <a:gd name="connsiteX8" fmla="*/ 6156251 w 6389772"/>
              <a:gd name="connsiteY8" fmla="*/ 436232 h 467701"/>
              <a:gd name="connsiteX9" fmla="*/ 6156251 w 6389772"/>
              <a:gd name="connsiteY9" fmla="*/ 342748 h 467701"/>
              <a:gd name="connsiteX10" fmla="*/ 107578 w 6389772"/>
              <a:gd name="connsiteY10" fmla="*/ 342747 h 467701"/>
              <a:gd name="connsiteX11" fmla="*/ 8454 w 6389772"/>
              <a:gd name="connsiteY11" fmla="*/ 277043 h 467701"/>
              <a:gd name="connsiteX12" fmla="*/ 0 w 6389772"/>
              <a:gd name="connsiteY12" fmla="*/ 235170 h 467701"/>
              <a:gd name="connsiteX13" fmla="*/ 8454 w 6389772"/>
              <a:gd name="connsiteY13" fmla="*/ 193296 h 467701"/>
              <a:gd name="connsiteX14" fmla="*/ 107578 w 6389772"/>
              <a:gd name="connsiteY14" fmla="*/ 127592 h 467701"/>
              <a:gd name="connsiteX15" fmla="*/ 6156251 w 6389772"/>
              <a:gd name="connsiteY15" fmla="*/ 127592 h 467701"/>
              <a:gd name="connsiteX16" fmla="*/ 6156251 w 6389772"/>
              <a:gd name="connsiteY16" fmla="*/ 31468 h 467701"/>
              <a:gd name="connsiteX17" fmla="*/ 6188730 w 6389772"/>
              <a:gd name="connsiteY17" fmla="*/ 454 h 4677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389772" h="467701">
                <a:moveTo>
                  <a:pt x="0" y="235169"/>
                </a:moveTo>
                <a:lnTo>
                  <a:pt x="0" y="235170"/>
                </a:lnTo>
                <a:lnTo>
                  <a:pt x="0" y="235170"/>
                </a:lnTo>
                <a:close/>
                <a:moveTo>
                  <a:pt x="6188730" y="454"/>
                </a:moveTo>
                <a:cubicBezTo>
                  <a:pt x="6193974" y="1491"/>
                  <a:pt x="6199106" y="4333"/>
                  <a:pt x="6203468" y="9288"/>
                </a:cubicBezTo>
                <a:lnTo>
                  <a:pt x="6381672" y="211591"/>
                </a:lnTo>
                <a:cubicBezTo>
                  <a:pt x="6392472" y="223860"/>
                  <a:pt x="6392472" y="243840"/>
                  <a:pt x="6381672" y="256109"/>
                </a:cubicBezTo>
                <a:lnTo>
                  <a:pt x="6203468" y="458412"/>
                </a:lnTo>
                <a:cubicBezTo>
                  <a:pt x="6186021" y="478234"/>
                  <a:pt x="6156251" y="464233"/>
                  <a:pt x="6156251" y="436232"/>
                </a:cubicBezTo>
                <a:lnTo>
                  <a:pt x="6156251" y="342748"/>
                </a:lnTo>
                <a:lnTo>
                  <a:pt x="107578" y="342747"/>
                </a:lnTo>
                <a:cubicBezTo>
                  <a:pt x="63018" y="342747"/>
                  <a:pt x="24785" y="315655"/>
                  <a:pt x="8454" y="277043"/>
                </a:cubicBezTo>
                <a:lnTo>
                  <a:pt x="0" y="235170"/>
                </a:lnTo>
                <a:lnTo>
                  <a:pt x="8454" y="193296"/>
                </a:lnTo>
                <a:cubicBezTo>
                  <a:pt x="24785" y="154684"/>
                  <a:pt x="63018" y="127592"/>
                  <a:pt x="107578" y="127592"/>
                </a:cubicBezTo>
                <a:lnTo>
                  <a:pt x="6156251" y="127592"/>
                </a:lnTo>
                <a:lnTo>
                  <a:pt x="6156251" y="31468"/>
                </a:lnTo>
                <a:cubicBezTo>
                  <a:pt x="6156251" y="10467"/>
                  <a:pt x="6172997" y="-2657"/>
                  <a:pt x="6188730" y="454"/>
                </a:cubicBezTo>
                <a:close/>
              </a:path>
            </a:pathLst>
          </a:custGeom>
          <a:solidFill>
            <a:srgbClr val="A1B9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162" name="CuadroTexto 161">
            <a:extLst>
              <a:ext uri="{FF2B5EF4-FFF2-40B4-BE49-F238E27FC236}">
                <a16:creationId xmlns:a16="http://schemas.microsoft.com/office/drawing/2014/main" id="{AB2AC130-EBEB-54A1-00EB-003FE9491C8F}"/>
              </a:ext>
            </a:extLst>
          </p:cNvPr>
          <p:cNvSpPr txBox="1"/>
          <p:nvPr/>
        </p:nvSpPr>
        <p:spPr>
          <a:xfrm>
            <a:off x="1059419" y="1456928"/>
            <a:ext cx="359999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100">
                <a:solidFill>
                  <a:srgbClr val="150958"/>
                </a:solidFill>
                <a:latin typeface="Pulso" pitchFamily="2" charset="0"/>
                <a:cs typeface="+mn-cs"/>
              </a:rPr>
              <a:t>2022</a:t>
            </a:r>
            <a:endParaRPr lang="es-AR" sz="1100">
              <a:solidFill>
                <a:srgbClr val="150958"/>
              </a:solidFill>
              <a:latin typeface="Pulso" pitchFamily="2" charset="0"/>
              <a:cs typeface="+mn-cs"/>
            </a:endParaRPr>
          </a:p>
        </p:txBody>
      </p:sp>
      <p:grpSp>
        <p:nvGrpSpPr>
          <p:cNvPr id="163" name="Grupo 162">
            <a:extLst>
              <a:ext uri="{FF2B5EF4-FFF2-40B4-BE49-F238E27FC236}">
                <a16:creationId xmlns:a16="http://schemas.microsoft.com/office/drawing/2014/main" id="{49DCFDBE-E927-4003-3C0A-D5219F8F601F}"/>
              </a:ext>
            </a:extLst>
          </p:cNvPr>
          <p:cNvGrpSpPr/>
          <p:nvPr/>
        </p:nvGrpSpPr>
        <p:grpSpPr>
          <a:xfrm>
            <a:off x="1060185" y="1685877"/>
            <a:ext cx="360000" cy="360000"/>
            <a:chOff x="696922" y="1865288"/>
            <a:chExt cx="603948" cy="603948"/>
          </a:xfrm>
        </p:grpSpPr>
        <p:sp>
          <p:nvSpPr>
            <p:cNvPr id="164" name="Shape 3">
              <a:extLst>
                <a:ext uri="{FF2B5EF4-FFF2-40B4-BE49-F238E27FC236}">
                  <a16:creationId xmlns:a16="http://schemas.microsoft.com/office/drawing/2014/main" id="{2447BBF9-387B-E4BA-10BB-291AE48A7A39}"/>
                </a:ext>
              </a:extLst>
            </p:cNvPr>
            <p:cNvSpPr/>
            <p:nvPr/>
          </p:nvSpPr>
          <p:spPr>
            <a:xfrm>
              <a:off x="696922" y="1865288"/>
              <a:ext cx="603948" cy="603948"/>
            </a:xfrm>
            <a:prstGeom prst="roundRect">
              <a:avLst>
                <a:gd name="adj" fmla="val 18826259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65" name="Shape 3">
              <a:extLst>
                <a:ext uri="{FF2B5EF4-FFF2-40B4-BE49-F238E27FC236}">
                  <a16:creationId xmlns:a16="http://schemas.microsoft.com/office/drawing/2014/main" id="{54BEE681-BB63-C6F2-A1A8-90F8A64B571E}"/>
                </a:ext>
              </a:extLst>
            </p:cNvPr>
            <p:cNvSpPr/>
            <p:nvPr/>
          </p:nvSpPr>
          <p:spPr>
            <a:xfrm>
              <a:off x="767351" y="1935717"/>
              <a:ext cx="463090" cy="463090"/>
            </a:xfrm>
            <a:prstGeom prst="roundRect">
              <a:avLst>
                <a:gd name="adj" fmla="val 18826259"/>
              </a:avLst>
            </a:prstGeom>
            <a:solidFill>
              <a:srgbClr val="5A50F9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66" name="CuadroTexto 165">
            <a:extLst>
              <a:ext uri="{FF2B5EF4-FFF2-40B4-BE49-F238E27FC236}">
                <a16:creationId xmlns:a16="http://schemas.microsoft.com/office/drawing/2014/main" id="{44B994E6-5C63-B222-6B38-8F007575FFEB}"/>
              </a:ext>
            </a:extLst>
          </p:cNvPr>
          <p:cNvSpPr txBox="1"/>
          <p:nvPr/>
        </p:nvSpPr>
        <p:spPr>
          <a:xfrm>
            <a:off x="2554329" y="1456928"/>
            <a:ext cx="35586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100">
                <a:solidFill>
                  <a:srgbClr val="150958"/>
                </a:solidFill>
                <a:latin typeface="Pulso" pitchFamily="2" charset="0"/>
                <a:cs typeface="+mn-cs"/>
              </a:rPr>
              <a:t>2023</a:t>
            </a:r>
            <a:endParaRPr lang="es-AR" sz="1100">
              <a:solidFill>
                <a:srgbClr val="150958"/>
              </a:solidFill>
              <a:latin typeface="Pulso" pitchFamily="2" charset="0"/>
              <a:cs typeface="+mn-cs"/>
            </a:endParaRPr>
          </a:p>
        </p:txBody>
      </p:sp>
      <p:sp>
        <p:nvSpPr>
          <p:cNvPr id="167" name="CuadroTexto 166">
            <a:extLst>
              <a:ext uri="{FF2B5EF4-FFF2-40B4-BE49-F238E27FC236}">
                <a16:creationId xmlns:a16="http://schemas.microsoft.com/office/drawing/2014/main" id="{C1C22AD5-FE3F-4334-4294-85F2811407DF}"/>
              </a:ext>
            </a:extLst>
          </p:cNvPr>
          <p:cNvSpPr txBox="1"/>
          <p:nvPr/>
        </p:nvSpPr>
        <p:spPr>
          <a:xfrm>
            <a:off x="4044341" y="1456928"/>
            <a:ext cx="35586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100">
                <a:solidFill>
                  <a:srgbClr val="FFFFFF"/>
                </a:solidFill>
                <a:latin typeface="Pulso" pitchFamily="2" charset="0"/>
                <a:cs typeface="+mn-cs"/>
              </a:rPr>
              <a:t>2026</a:t>
            </a:r>
            <a:endParaRPr lang="es-AR" sz="1100">
              <a:solidFill>
                <a:srgbClr val="FFFFFF"/>
              </a:solidFill>
              <a:latin typeface="Pulso" pitchFamily="2" charset="0"/>
              <a:cs typeface="+mn-cs"/>
            </a:endParaRPr>
          </a:p>
        </p:txBody>
      </p:sp>
      <p:sp>
        <p:nvSpPr>
          <p:cNvPr id="168" name="CuadroTexto 167">
            <a:extLst>
              <a:ext uri="{FF2B5EF4-FFF2-40B4-BE49-F238E27FC236}">
                <a16:creationId xmlns:a16="http://schemas.microsoft.com/office/drawing/2014/main" id="{54D8D982-A32C-D4B0-F30F-8132957CED2C}"/>
              </a:ext>
            </a:extLst>
          </p:cNvPr>
          <p:cNvSpPr txBox="1"/>
          <p:nvPr/>
        </p:nvSpPr>
        <p:spPr>
          <a:xfrm>
            <a:off x="5536420" y="1456928"/>
            <a:ext cx="35586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100">
                <a:solidFill>
                  <a:srgbClr val="FFFFFF"/>
                </a:solidFill>
                <a:latin typeface="Pulso" pitchFamily="2" charset="0"/>
                <a:cs typeface="+mn-cs"/>
              </a:rPr>
              <a:t>2030</a:t>
            </a:r>
            <a:endParaRPr lang="es-AR" sz="1100">
              <a:solidFill>
                <a:srgbClr val="FFFFFF"/>
              </a:solidFill>
              <a:latin typeface="Pulso" pitchFamily="2" charset="0"/>
              <a:cs typeface="+mn-cs"/>
            </a:endParaRPr>
          </a:p>
        </p:txBody>
      </p:sp>
      <p:grpSp>
        <p:nvGrpSpPr>
          <p:cNvPr id="169" name="Grupo 168">
            <a:extLst>
              <a:ext uri="{FF2B5EF4-FFF2-40B4-BE49-F238E27FC236}">
                <a16:creationId xmlns:a16="http://schemas.microsoft.com/office/drawing/2014/main" id="{1CD31ED6-F9AD-F1F8-F0CD-9337656FEC6F}"/>
              </a:ext>
            </a:extLst>
          </p:cNvPr>
          <p:cNvGrpSpPr/>
          <p:nvPr/>
        </p:nvGrpSpPr>
        <p:grpSpPr>
          <a:xfrm>
            <a:off x="2552263" y="1685966"/>
            <a:ext cx="360000" cy="360000"/>
            <a:chOff x="2387491" y="1865288"/>
            <a:chExt cx="603948" cy="603948"/>
          </a:xfrm>
        </p:grpSpPr>
        <p:sp>
          <p:nvSpPr>
            <p:cNvPr id="170" name="Shape 3">
              <a:extLst>
                <a:ext uri="{FF2B5EF4-FFF2-40B4-BE49-F238E27FC236}">
                  <a16:creationId xmlns:a16="http://schemas.microsoft.com/office/drawing/2014/main" id="{B97209B9-713A-C18F-76E5-8B9907602D71}"/>
                </a:ext>
              </a:extLst>
            </p:cNvPr>
            <p:cNvSpPr/>
            <p:nvPr/>
          </p:nvSpPr>
          <p:spPr>
            <a:xfrm>
              <a:off x="2387491" y="1865288"/>
              <a:ext cx="603948" cy="603948"/>
            </a:xfrm>
            <a:prstGeom prst="roundRect">
              <a:avLst>
                <a:gd name="adj" fmla="val 18826259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71" name="Shape 3">
              <a:extLst>
                <a:ext uri="{FF2B5EF4-FFF2-40B4-BE49-F238E27FC236}">
                  <a16:creationId xmlns:a16="http://schemas.microsoft.com/office/drawing/2014/main" id="{EE464D5E-840B-303D-49E2-D88F2B56357D}"/>
                </a:ext>
              </a:extLst>
            </p:cNvPr>
            <p:cNvSpPr/>
            <p:nvPr/>
          </p:nvSpPr>
          <p:spPr>
            <a:xfrm>
              <a:off x="2457920" y="1935717"/>
              <a:ext cx="463090" cy="463090"/>
            </a:xfrm>
            <a:prstGeom prst="roundRect">
              <a:avLst>
                <a:gd name="adj" fmla="val 18826259"/>
              </a:avLst>
            </a:prstGeom>
            <a:solidFill>
              <a:srgbClr val="5A50F9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172" name="Grupo 171">
            <a:extLst>
              <a:ext uri="{FF2B5EF4-FFF2-40B4-BE49-F238E27FC236}">
                <a16:creationId xmlns:a16="http://schemas.microsoft.com/office/drawing/2014/main" id="{8889FD57-B629-949A-8CDA-CBA74135DB8B}"/>
              </a:ext>
            </a:extLst>
          </p:cNvPr>
          <p:cNvGrpSpPr/>
          <p:nvPr/>
        </p:nvGrpSpPr>
        <p:grpSpPr>
          <a:xfrm>
            <a:off x="4044341" y="1685877"/>
            <a:ext cx="360000" cy="360000"/>
            <a:chOff x="3910305" y="1865288"/>
            <a:chExt cx="603948" cy="603948"/>
          </a:xfrm>
        </p:grpSpPr>
        <p:sp>
          <p:nvSpPr>
            <p:cNvPr id="173" name="Shape 3">
              <a:extLst>
                <a:ext uri="{FF2B5EF4-FFF2-40B4-BE49-F238E27FC236}">
                  <a16:creationId xmlns:a16="http://schemas.microsoft.com/office/drawing/2014/main" id="{A8613CB6-F85B-7528-F664-98FA1C09E478}"/>
                </a:ext>
              </a:extLst>
            </p:cNvPr>
            <p:cNvSpPr/>
            <p:nvPr/>
          </p:nvSpPr>
          <p:spPr>
            <a:xfrm>
              <a:off x="3910305" y="1865288"/>
              <a:ext cx="603948" cy="603948"/>
            </a:xfrm>
            <a:prstGeom prst="roundRect">
              <a:avLst>
                <a:gd name="adj" fmla="val 18826259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74" name="Shape 3">
              <a:extLst>
                <a:ext uri="{FF2B5EF4-FFF2-40B4-BE49-F238E27FC236}">
                  <a16:creationId xmlns:a16="http://schemas.microsoft.com/office/drawing/2014/main" id="{7A66333C-DDCA-7801-7BC0-E3B1BCF05FE7}"/>
                </a:ext>
              </a:extLst>
            </p:cNvPr>
            <p:cNvSpPr/>
            <p:nvPr/>
          </p:nvSpPr>
          <p:spPr>
            <a:xfrm>
              <a:off x="3980734" y="1935717"/>
              <a:ext cx="463090" cy="463090"/>
            </a:xfrm>
            <a:prstGeom prst="roundRect">
              <a:avLst>
                <a:gd name="adj" fmla="val 18826259"/>
              </a:avLst>
            </a:prstGeom>
            <a:solidFill>
              <a:srgbClr val="5A50F9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175" name="Grupo 174">
            <a:extLst>
              <a:ext uri="{FF2B5EF4-FFF2-40B4-BE49-F238E27FC236}">
                <a16:creationId xmlns:a16="http://schemas.microsoft.com/office/drawing/2014/main" id="{03BB231D-7CE0-51C2-12B1-1736A58B0046}"/>
              </a:ext>
            </a:extLst>
          </p:cNvPr>
          <p:cNvGrpSpPr/>
          <p:nvPr/>
        </p:nvGrpSpPr>
        <p:grpSpPr>
          <a:xfrm>
            <a:off x="5536420" y="1686456"/>
            <a:ext cx="360000" cy="360000"/>
            <a:chOff x="5476305" y="1865288"/>
            <a:chExt cx="603948" cy="603948"/>
          </a:xfrm>
        </p:grpSpPr>
        <p:sp>
          <p:nvSpPr>
            <p:cNvPr id="176" name="Shape 3">
              <a:extLst>
                <a:ext uri="{FF2B5EF4-FFF2-40B4-BE49-F238E27FC236}">
                  <a16:creationId xmlns:a16="http://schemas.microsoft.com/office/drawing/2014/main" id="{C31BB070-DFBA-0371-59A2-D791765D3F34}"/>
                </a:ext>
              </a:extLst>
            </p:cNvPr>
            <p:cNvSpPr/>
            <p:nvPr/>
          </p:nvSpPr>
          <p:spPr>
            <a:xfrm>
              <a:off x="5476305" y="1865288"/>
              <a:ext cx="603948" cy="603948"/>
            </a:xfrm>
            <a:prstGeom prst="roundRect">
              <a:avLst>
                <a:gd name="adj" fmla="val 18826259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77" name="Shape 3">
              <a:extLst>
                <a:ext uri="{FF2B5EF4-FFF2-40B4-BE49-F238E27FC236}">
                  <a16:creationId xmlns:a16="http://schemas.microsoft.com/office/drawing/2014/main" id="{900EA52A-DEE3-BB71-85FC-1779252CD399}"/>
                </a:ext>
              </a:extLst>
            </p:cNvPr>
            <p:cNvSpPr/>
            <p:nvPr/>
          </p:nvSpPr>
          <p:spPr>
            <a:xfrm>
              <a:off x="5546734" y="1935717"/>
              <a:ext cx="463090" cy="463090"/>
            </a:xfrm>
            <a:prstGeom prst="roundRect">
              <a:avLst>
                <a:gd name="adj" fmla="val 18826259"/>
              </a:avLst>
            </a:prstGeom>
            <a:solidFill>
              <a:srgbClr val="5A50F9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2" name="CuadroTexto 1">
            <a:extLst>
              <a:ext uri="{FF2B5EF4-FFF2-40B4-BE49-F238E27FC236}">
                <a16:creationId xmlns:a16="http://schemas.microsoft.com/office/drawing/2014/main" id="{ADC4AE58-9A85-91D2-813D-F9E55BB3C462}"/>
              </a:ext>
            </a:extLst>
          </p:cNvPr>
          <p:cNvSpPr txBox="1"/>
          <p:nvPr/>
        </p:nvSpPr>
        <p:spPr>
          <a:xfrm>
            <a:off x="840165" y="3947966"/>
            <a:ext cx="72303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ES" sz="90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Margen 1% s/sados </a:t>
            </a:r>
          </a:p>
          <a:p>
            <a:r>
              <a:rPr lang="es-ES" sz="90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(fee topeado por FCI)</a:t>
            </a:r>
            <a:endParaRPr lang="es-AR" sz="900">
              <a:solidFill>
                <a:schemeClr val="bg1">
                  <a:lumMod val="25000"/>
                </a:schemeClr>
              </a:solidFill>
              <a:latin typeface="Pulso Light" pitchFamily="2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917BA5A5-82ED-D0E4-2163-A9376A6B377C}"/>
              </a:ext>
            </a:extLst>
          </p:cNvPr>
          <p:cNvSpPr txBox="1"/>
          <p:nvPr/>
        </p:nvSpPr>
        <p:spPr>
          <a:xfrm>
            <a:off x="3728531" y="3964839"/>
            <a:ext cx="110982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ES" sz="90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Margen 4-6% (spread de tasas y remuneración discrecional a clientes)</a:t>
            </a:r>
          </a:p>
        </p:txBody>
      </p:sp>
    </p:spTree>
    <p:extLst>
      <p:ext uri="{BB962C8B-B14F-4D97-AF65-F5344CB8AC3E}">
        <p14:creationId xmlns:p14="http://schemas.microsoft.com/office/powerpoint/2010/main" val="953874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5B81A8-FB2A-0E3B-3ADD-A3813A36EF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2" name="Imagen 151">
            <a:extLst>
              <a:ext uri="{FF2B5EF4-FFF2-40B4-BE49-F238E27FC236}">
                <a16:creationId xmlns:a16="http://schemas.microsoft.com/office/drawing/2014/main" id="{89245F84-635B-067E-068D-B9D76CF4A6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" t="8634" r="-15" b="4750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Marcador de texto 8">
            <a:extLst>
              <a:ext uri="{FF2B5EF4-FFF2-40B4-BE49-F238E27FC236}">
                <a16:creationId xmlns:a16="http://schemas.microsoft.com/office/drawing/2014/main" id="{11C6EB27-1D46-A6B6-6DD4-715BF4CAE527}"/>
              </a:ext>
            </a:extLst>
          </p:cNvPr>
          <p:cNvSpPr txBox="1">
            <a:spLocks/>
          </p:cNvSpPr>
          <p:nvPr/>
        </p:nvSpPr>
        <p:spPr>
          <a:xfrm>
            <a:off x="2002287" y="1361177"/>
            <a:ext cx="5139430" cy="42729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>
                <a:schemeClr val="bg2"/>
              </a:buClr>
              <a:buNone/>
            </a:pPr>
            <a:r>
              <a:rPr lang="es-AR" sz="1200" spc="-15">
                <a:solidFill>
                  <a:srgbClr val="FFFFFF"/>
                </a:solidFill>
                <a:latin typeface="Pulso Light" pitchFamily="2" charset="0"/>
                <a:ea typeface="Open Sans Light"/>
                <a:cs typeface="Open Sans Light"/>
              </a:rPr>
              <a:t>Apalancándonos en nuestras capacidades, continuar nuestra expansión de Negocio Core en Paraguay y en todo mercado donde existan oportunidades.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3C7F545-0073-C392-F739-779483470154}"/>
              </a:ext>
            </a:extLst>
          </p:cNvPr>
          <p:cNvSpPr txBox="1">
            <a:spLocks/>
          </p:cNvSpPr>
          <p:nvPr/>
        </p:nvSpPr>
        <p:spPr>
          <a:xfrm>
            <a:off x="2334838" y="858799"/>
            <a:ext cx="4474329" cy="359073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ts val="3200"/>
              </a:lnSpc>
              <a:spcAft>
                <a:spcPts val="0"/>
              </a:spcAft>
              <a:buNone/>
              <a:defRPr sz="2800" b="0" i="0" spc="-70" baseline="0">
                <a:solidFill>
                  <a:schemeClr val="tx2"/>
                </a:solidFill>
                <a:latin typeface="Pulso Light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ts val="2800"/>
              </a:lnSpc>
            </a:pPr>
            <a:r>
              <a:rPr lang="es-ES_tradnl" sz="2500">
                <a:solidFill>
                  <a:srgbClr val="FFFFFF"/>
                </a:solidFill>
              </a:rPr>
              <a:t>Regionalización del Negocio Core</a:t>
            </a:r>
          </a:p>
        </p:txBody>
      </p:sp>
      <p:sp>
        <p:nvSpPr>
          <p:cNvPr id="166" name="Rectángulo 165">
            <a:extLst>
              <a:ext uri="{FF2B5EF4-FFF2-40B4-BE49-F238E27FC236}">
                <a16:creationId xmlns:a16="http://schemas.microsoft.com/office/drawing/2014/main" id="{627F3354-3FA4-2AC7-0D97-A7A80662EBF0}"/>
              </a:ext>
            </a:extLst>
          </p:cNvPr>
          <p:cNvSpPr/>
          <p:nvPr/>
        </p:nvSpPr>
        <p:spPr>
          <a:xfrm>
            <a:off x="547970" y="166052"/>
            <a:ext cx="1324209" cy="916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rgbClr val="FFFFFF"/>
                </a:solidFill>
                <a:latin typeface="Pulso Light" pitchFamily="2" charset="0"/>
                <a:ea typeface="Inter Light BETA" panose="020B0402030000000004" pitchFamily="34" charset="0"/>
              </a:rPr>
              <a:t>Desafíos Estratégicos Planteados</a:t>
            </a:r>
          </a:p>
        </p:txBody>
      </p:sp>
      <p:sp>
        <p:nvSpPr>
          <p:cNvPr id="167" name="Redondear rectángulo de esquina del mismo lado 166">
            <a:extLst>
              <a:ext uri="{FF2B5EF4-FFF2-40B4-BE49-F238E27FC236}">
                <a16:creationId xmlns:a16="http://schemas.microsoft.com/office/drawing/2014/main" id="{54761915-BCA5-A1BF-8D0A-045E82F6201C}"/>
              </a:ext>
            </a:extLst>
          </p:cNvPr>
          <p:cNvSpPr/>
          <p:nvPr/>
        </p:nvSpPr>
        <p:spPr>
          <a:xfrm>
            <a:off x="398274" y="0"/>
            <a:ext cx="1623600" cy="360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145952" dir="5400000" sx="117760" sy="117760" algn="t" rotWithShape="0">
              <a:schemeClr val="bg2">
                <a:alpha val="23653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168" name="Rectángulo 167">
            <a:extLst>
              <a:ext uri="{FF2B5EF4-FFF2-40B4-BE49-F238E27FC236}">
                <a16:creationId xmlns:a16="http://schemas.microsoft.com/office/drawing/2014/main" id="{E820A8E7-1860-0751-1991-BB84A2C7086D}"/>
              </a:ext>
            </a:extLst>
          </p:cNvPr>
          <p:cNvSpPr/>
          <p:nvPr/>
        </p:nvSpPr>
        <p:spPr>
          <a:xfrm>
            <a:off x="2791850" y="127925"/>
            <a:ext cx="827727" cy="1832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700" b="0" i="0" spc="-7" noProof="1">
                <a:solidFill>
                  <a:srgbClr val="FFFFFF"/>
                </a:solidFill>
                <a:latin typeface="Pulso" pitchFamily="2" charset="0"/>
                <a:ea typeface="Inter Light BETA" panose="020B0402030000000004" pitchFamily="34" charset="0"/>
              </a:rPr>
              <a:t>Evolucionar Nuestro</a:t>
            </a:r>
            <a:br>
              <a:rPr lang="en-US" sz="700" b="0" i="0" spc="-7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700" b="0" i="0" spc="-7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Negocio Core</a:t>
            </a:r>
          </a:p>
        </p:txBody>
      </p:sp>
      <p:grpSp>
        <p:nvGrpSpPr>
          <p:cNvPr id="169" name="Grupo 168">
            <a:extLst>
              <a:ext uri="{FF2B5EF4-FFF2-40B4-BE49-F238E27FC236}">
                <a16:creationId xmlns:a16="http://schemas.microsoft.com/office/drawing/2014/main" id="{6EEE4953-54DC-6873-4CCA-0288DF5DEAD8}"/>
              </a:ext>
            </a:extLst>
          </p:cNvPr>
          <p:cNvGrpSpPr>
            <a:grpSpLocks noChangeAspect="1"/>
          </p:cNvGrpSpPr>
          <p:nvPr/>
        </p:nvGrpSpPr>
        <p:grpSpPr>
          <a:xfrm>
            <a:off x="2102794" y="198211"/>
            <a:ext cx="139179" cy="36000"/>
            <a:chOff x="4907127" y="353637"/>
            <a:chExt cx="433742" cy="112191"/>
          </a:xfrm>
        </p:grpSpPr>
        <p:sp>
          <p:nvSpPr>
            <p:cNvPr id="170" name="Rectángulo 61">
              <a:extLst>
                <a:ext uri="{FF2B5EF4-FFF2-40B4-BE49-F238E27FC236}">
                  <a16:creationId xmlns:a16="http://schemas.microsoft.com/office/drawing/2014/main" id="{F42264F6-852F-BDA5-307C-4B72B3E7F23C}"/>
                </a:ext>
              </a:extLst>
            </p:cNvPr>
            <p:cNvSpPr/>
            <p:nvPr/>
          </p:nvSpPr>
          <p:spPr>
            <a:xfrm rot="2700000">
              <a:off x="5205442" y="353637"/>
              <a:ext cx="112191" cy="112191"/>
            </a:xfrm>
            <a:custGeom>
              <a:avLst/>
              <a:gdLst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  <a:gd name="connsiteX3" fmla="*/ 0 w 450850"/>
                <a:gd name="connsiteY3" fmla="*/ 450850 h 450850"/>
                <a:gd name="connsiteX4" fmla="*/ 0 w 450850"/>
                <a:gd name="connsiteY4" fmla="*/ 0 h 450850"/>
                <a:gd name="connsiteX0" fmla="*/ 0 w 450850"/>
                <a:gd name="connsiteY0" fmla="*/ 450850 h 542290"/>
                <a:gd name="connsiteX1" fmla="*/ 0 w 450850"/>
                <a:gd name="connsiteY1" fmla="*/ 0 h 542290"/>
                <a:gd name="connsiteX2" fmla="*/ 450850 w 450850"/>
                <a:gd name="connsiteY2" fmla="*/ 0 h 542290"/>
                <a:gd name="connsiteX3" fmla="*/ 450850 w 450850"/>
                <a:gd name="connsiteY3" fmla="*/ 450850 h 542290"/>
                <a:gd name="connsiteX4" fmla="*/ 91440 w 450850"/>
                <a:gd name="connsiteY4" fmla="*/ 542290 h 542290"/>
                <a:gd name="connsiteX0" fmla="*/ 0 w 450850"/>
                <a:gd name="connsiteY0" fmla="*/ 0 h 542290"/>
                <a:gd name="connsiteX1" fmla="*/ 450850 w 450850"/>
                <a:gd name="connsiteY1" fmla="*/ 0 h 542290"/>
                <a:gd name="connsiteX2" fmla="*/ 450850 w 450850"/>
                <a:gd name="connsiteY2" fmla="*/ 450850 h 542290"/>
                <a:gd name="connsiteX3" fmla="*/ 91440 w 450850"/>
                <a:gd name="connsiteY3" fmla="*/ 542290 h 542290"/>
                <a:gd name="connsiteX0" fmla="*/ 0 w 450850"/>
                <a:gd name="connsiteY0" fmla="*/ 0 h 450850"/>
                <a:gd name="connsiteX1" fmla="*/ 450850 w 450850"/>
                <a:gd name="connsiteY1" fmla="*/ 0 h 450850"/>
                <a:gd name="connsiteX2" fmla="*/ 450850 w 450850"/>
                <a:gd name="connsiteY2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0850" h="450850">
                  <a:moveTo>
                    <a:pt x="0" y="0"/>
                  </a:moveTo>
                  <a:lnTo>
                    <a:pt x="450850" y="0"/>
                  </a:lnTo>
                  <a:lnTo>
                    <a:pt x="450850" y="450850"/>
                  </a:lnTo>
                </a:path>
              </a:pathLst>
            </a:custGeom>
            <a:noFill/>
            <a:ln w="8890" cap="rnd" cmpd="sng">
              <a:solidFill>
                <a:schemeClr val="bg2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cxnSp>
          <p:nvCxnSpPr>
            <p:cNvPr id="171" name="Conector recto 170">
              <a:extLst>
                <a:ext uri="{FF2B5EF4-FFF2-40B4-BE49-F238E27FC236}">
                  <a16:creationId xmlns:a16="http://schemas.microsoft.com/office/drawing/2014/main" id="{3779CEFD-B874-C3A4-68EF-7354A5CE850C}"/>
                </a:ext>
              </a:extLst>
            </p:cNvPr>
            <p:cNvCxnSpPr>
              <a:cxnSpLocks/>
            </p:cNvCxnSpPr>
            <p:nvPr/>
          </p:nvCxnSpPr>
          <p:spPr>
            <a:xfrm>
              <a:off x="4907127" y="409732"/>
              <a:ext cx="433742" cy="0"/>
            </a:xfrm>
            <a:prstGeom prst="line">
              <a:avLst/>
            </a:prstGeom>
            <a:ln w="889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2" name="Grupo 171">
            <a:extLst>
              <a:ext uri="{FF2B5EF4-FFF2-40B4-BE49-F238E27FC236}">
                <a16:creationId xmlns:a16="http://schemas.microsoft.com/office/drawing/2014/main" id="{DAAB381D-C887-6F26-91ED-9F46AECA0C5A}"/>
              </a:ext>
            </a:extLst>
          </p:cNvPr>
          <p:cNvGrpSpPr/>
          <p:nvPr/>
        </p:nvGrpSpPr>
        <p:grpSpPr>
          <a:xfrm>
            <a:off x="2487446" y="93783"/>
            <a:ext cx="236474" cy="236230"/>
            <a:chOff x="3955161" y="1943655"/>
            <a:chExt cx="1169097" cy="1167892"/>
          </a:xfrm>
        </p:grpSpPr>
        <p:sp>
          <p:nvSpPr>
            <p:cNvPr id="173" name="Forma libre 172">
              <a:extLst>
                <a:ext uri="{FF2B5EF4-FFF2-40B4-BE49-F238E27FC236}">
                  <a16:creationId xmlns:a16="http://schemas.microsoft.com/office/drawing/2014/main" id="{159DF5E8-91E1-A66B-C3EC-A5B68538089B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4" name="Forma libre 173">
              <a:extLst>
                <a:ext uri="{FF2B5EF4-FFF2-40B4-BE49-F238E27FC236}">
                  <a16:creationId xmlns:a16="http://schemas.microsoft.com/office/drawing/2014/main" id="{E7376955-1B81-3FE9-0363-2860BCBC095D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5" name="Forma libre 174">
              <a:extLst>
                <a:ext uri="{FF2B5EF4-FFF2-40B4-BE49-F238E27FC236}">
                  <a16:creationId xmlns:a16="http://schemas.microsoft.com/office/drawing/2014/main" id="{91DC8DFC-C878-81D3-EA44-9A511AAC3E49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6" name="Forma libre 175">
              <a:extLst>
                <a:ext uri="{FF2B5EF4-FFF2-40B4-BE49-F238E27FC236}">
                  <a16:creationId xmlns:a16="http://schemas.microsoft.com/office/drawing/2014/main" id="{E50EC0EF-33E5-3F98-006E-6DCDB5014056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7" name="Forma libre 176">
              <a:extLst>
                <a:ext uri="{FF2B5EF4-FFF2-40B4-BE49-F238E27FC236}">
                  <a16:creationId xmlns:a16="http://schemas.microsoft.com/office/drawing/2014/main" id="{647EBA22-6F9A-B874-601A-691541B460AE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8" name="Forma libre 177">
              <a:extLst>
                <a:ext uri="{FF2B5EF4-FFF2-40B4-BE49-F238E27FC236}">
                  <a16:creationId xmlns:a16="http://schemas.microsoft.com/office/drawing/2014/main" id="{B1083443-56F9-AB88-8211-B4DFD594EDFE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9" name="Forma libre 178">
              <a:extLst>
                <a:ext uri="{FF2B5EF4-FFF2-40B4-BE49-F238E27FC236}">
                  <a16:creationId xmlns:a16="http://schemas.microsoft.com/office/drawing/2014/main" id="{F83D2C96-843C-C5CD-3293-3844E511624B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180" name="Slide Number Placeholder 24">
            <a:extLst>
              <a:ext uri="{FF2B5EF4-FFF2-40B4-BE49-F238E27FC236}">
                <a16:creationId xmlns:a16="http://schemas.microsoft.com/office/drawing/2014/main" id="{C523A63C-DE97-D728-624C-5516413C7A83}"/>
              </a:ext>
            </a:extLst>
          </p:cNvPr>
          <p:cNvSpPr txBox="1">
            <a:spLocks/>
          </p:cNvSpPr>
          <p:nvPr/>
        </p:nvSpPr>
        <p:spPr>
          <a:xfrm>
            <a:off x="8531999" y="160843"/>
            <a:ext cx="540001" cy="126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lvl="0" algn="ctr">
              <a:defRPr sz="800" b="0" i="0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6C48702-E445-134E-B960-6F692773524F}" type="slidenum">
              <a:rPr lang="en-US" sz="562" b="0" i="0" smtClean="0">
                <a:solidFill>
                  <a:schemeClr val="bg1">
                    <a:lumMod val="75000"/>
                    <a:alpha val="80000"/>
                  </a:schemeClr>
                </a:solidFill>
                <a:latin typeface="Pulso Light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lvl="0"/>
              <a:t>51</a:t>
            </a:fld>
            <a:endParaRPr lang="en-US" sz="562" b="0" i="0">
              <a:solidFill>
                <a:schemeClr val="bg1">
                  <a:lumMod val="75000"/>
                  <a:alpha val="80000"/>
                </a:schemeClr>
              </a:solidFill>
              <a:latin typeface="Pulso Light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81" name="Conector recto 180">
            <a:extLst>
              <a:ext uri="{FF2B5EF4-FFF2-40B4-BE49-F238E27FC236}">
                <a16:creationId xmlns:a16="http://schemas.microsoft.com/office/drawing/2014/main" id="{31DCFA49-3D72-0E46-4C8B-64B2467BDABB}"/>
              </a:ext>
            </a:extLst>
          </p:cNvPr>
          <p:cNvCxnSpPr>
            <a:cxnSpLocks/>
          </p:cNvCxnSpPr>
          <p:nvPr/>
        </p:nvCxnSpPr>
        <p:spPr>
          <a:xfrm flipV="1">
            <a:off x="8532000" y="120940"/>
            <a:ext cx="0" cy="188266"/>
          </a:xfrm>
          <a:prstGeom prst="line">
            <a:avLst/>
          </a:prstGeom>
          <a:ln w="6350">
            <a:solidFill>
              <a:schemeClr val="bg1">
                <a:lumMod val="75000"/>
                <a:alpha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Rectángulo 181">
            <a:extLst>
              <a:ext uri="{FF2B5EF4-FFF2-40B4-BE49-F238E27FC236}">
                <a16:creationId xmlns:a16="http://schemas.microsoft.com/office/drawing/2014/main" id="{14D2BD7B-4BA0-4585-A221-37449768F826}"/>
              </a:ext>
            </a:extLst>
          </p:cNvPr>
          <p:cNvSpPr/>
          <p:nvPr/>
        </p:nvSpPr>
        <p:spPr>
          <a:xfrm rot="10800000">
            <a:off x="0" y="4134678"/>
            <a:ext cx="9144000" cy="1008822"/>
          </a:xfrm>
          <a:prstGeom prst="rect">
            <a:avLst/>
          </a:prstGeom>
          <a:gradFill>
            <a:gsLst>
              <a:gs pos="0">
                <a:schemeClr val="bg2">
                  <a:alpha val="10188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n-US" sz="1400" b="1">
              <a:gradFill>
                <a:gsLst>
                  <a:gs pos="0">
                    <a:srgbClr val="FFFFFF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183" name="Rectángulo redondeado 182">
            <a:extLst>
              <a:ext uri="{FF2B5EF4-FFF2-40B4-BE49-F238E27FC236}">
                <a16:creationId xmlns:a16="http://schemas.microsoft.com/office/drawing/2014/main" id="{F88020BA-BBC6-BD8E-2FB5-A73A83A7F7A3}"/>
              </a:ext>
            </a:extLst>
          </p:cNvPr>
          <p:cNvSpPr/>
          <p:nvPr/>
        </p:nvSpPr>
        <p:spPr>
          <a:xfrm>
            <a:off x="117446" y="4735746"/>
            <a:ext cx="8909108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184" name="Gráfico 3">
            <a:extLst>
              <a:ext uri="{FF2B5EF4-FFF2-40B4-BE49-F238E27FC236}">
                <a16:creationId xmlns:a16="http://schemas.microsoft.com/office/drawing/2014/main" id="{10A6DF78-6CEB-31FE-E06E-186F38339831}"/>
              </a:ext>
            </a:extLst>
          </p:cNvPr>
          <p:cNvGrpSpPr/>
          <p:nvPr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185" name="Forma libre 184">
              <a:extLst>
                <a:ext uri="{FF2B5EF4-FFF2-40B4-BE49-F238E27FC236}">
                  <a16:creationId xmlns:a16="http://schemas.microsoft.com/office/drawing/2014/main" id="{9DF094F4-9715-ACFA-D453-47F9DB91871F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86" name="Forma libre 185">
              <a:extLst>
                <a:ext uri="{FF2B5EF4-FFF2-40B4-BE49-F238E27FC236}">
                  <a16:creationId xmlns:a16="http://schemas.microsoft.com/office/drawing/2014/main" id="{5DF12889-3248-9464-A8E3-0588524F15FF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87" name="Forma libre 186">
              <a:extLst>
                <a:ext uri="{FF2B5EF4-FFF2-40B4-BE49-F238E27FC236}">
                  <a16:creationId xmlns:a16="http://schemas.microsoft.com/office/drawing/2014/main" id="{E69B4664-4170-544C-F19A-713CDDC19F25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88" name="Forma libre 187">
              <a:extLst>
                <a:ext uri="{FF2B5EF4-FFF2-40B4-BE49-F238E27FC236}">
                  <a16:creationId xmlns:a16="http://schemas.microsoft.com/office/drawing/2014/main" id="{3FCBCDC3-66BE-B847-F3D9-BBE4E2227480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89" name="Forma libre 188">
              <a:extLst>
                <a:ext uri="{FF2B5EF4-FFF2-40B4-BE49-F238E27FC236}">
                  <a16:creationId xmlns:a16="http://schemas.microsoft.com/office/drawing/2014/main" id="{9477AF1B-8594-57EF-C177-DA9FB59A0B57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90" name="Forma libre 189">
              <a:extLst>
                <a:ext uri="{FF2B5EF4-FFF2-40B4-BE49-F238E27FC236}">
                  <a16:creationId xmlns:a16="http://schemas.microsoft.com/office/drawing/2014/main" id="{56D37094-7D27-9617-6582-97F69AFBE3A6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91" name="Forma libre 190">
              <a:extLst>
                <a:ext uri="{FF2B5EF4-FFF2-40B4-BE49-F238E27FC236}">
                  <a16:creationId xmlns:a16="http://schemas.microsoft.com/office/drawing/2014/main" id="{8BE10809-CC24-23C0-5CAF-304F92157FA2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92" name="Forma libre 191">
              <a:extLst>
                <a:ext uri="{FF2B5EF4-FFF2-40B4-BE49-F238E27FC236}">
                  <a16:creationId xmlns:a16="http://schemas.microsoft.com/office/drawing/2014/main" id="{BEDFB1C4-4541-33D4-E135-EB6D1C4F4330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193" name="Rectángulo 192">
            <a:extLst>
              <a:ext uri="{FF2B5EF4-FFF2-40B4-BE49-F238E27FC236}">
                <a16:creationId xmlns:a16="http://schemas.microsoft.com/office/drawing/2014/main" id="{3765EAE7-3A2E-458B-8B24-787FB807B8EF}"/>
              </a:ext>
            </a:extLst>
          </p:cNvPr>
          <p:cNvSpPr/>
          <p:nvPr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481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FBF7BA-DB99-5C40-A235-C3A27AC031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ángulo: esquinas redondeadas 13">
            <a:extLst>
              <a:ext uri="{FF2B5EF4-FFF2-40B4-BE49-F238E27FC236}">
                <a16:creationId xmlns:a16="http://schemas.microsoft.com/office/drawing/2014/main" id="{30EB9DC5-BC1D-852A-5761-28502CDEE1C6}"/>
              </a:ext>
            </a:extLst>
          </p:cNvPr>
          <p:cNvSpPr>
            <a:spLocks/>
          </p:cNvSpPr>
          <p:nvPr/>
        </p:nvSpPr>
        <p:spPr bwMode="auto">
          <a:xfrm>
            <a:off x="3642653" y="3294523"/>
            <a:ext cx="4723425" cy="1291180"/>
          </a:xfrm>
          <a:prstGeom prst="roundRect">
            <a:avLst>
              <a:gd name="adj" fmla="val 5518"/>
            </a:avLst>
          </a:prstGeom>
          <a:solidFill>
            <a:srgbClr val="FFFFFF"/>
          </a:soli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02"/>
            <a:endParaRPr lang="es-AR" sz="1187">
              <a:solidFill>
                <a:srgbClr val="F0F0F0"/>
              </a:solidFill>
              <a:latin typeface="Pulso" pitchFamily="2" charset="0"/>
              <a:ea typeface="Roboto" panose="02000000000000000000" pitchFamily="2" charset="0"/>
            </a:endParaRPr>
          </a:p>
        </p:txBody>
      </p:sp>
      <p:sp>
        <p:nvSpPr>
          <p:cNvPr id="14" name="Rectángulo: esquinas redondeadas 13">
            <a:extLst>
              <a:ext uri="{FF2B5EF4-FFF2-40B4-BE49-F238E27FC236}">
                <a16:creationId xmlns:a16="http://schemas.microsoft.com/office/drawing/2014/main" id="{E12C9A51-A814-DAB3-6E1D-A0607A4EE8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auto">
          <a:xfrm>
            <a:off x="3646803" y="697723"/>
            <a:ext cx="2016223" cy="2500457"/>
          </a:xfrm>
          <a:prstGeom prst="roundRect">
            <a:avLst>
              <a:gd name="adj" fmla="val 3601"/>
            </a:avLst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02"/>
            <a:endParaRPr lang="es-AR" sz="1187">
              <a:solidFill>
                <a:srgbClr val="F0F0F0"/>
              </a:solidFill>
              <a:latin typeface="Pulso" pitchFamily="2" charset="0"/>
              <a:ea typeface="Roboto" panose="02000000000000000000" pitchFamily="2" charset="0"/>
            </a:endParaRPr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2BC10AB3-4335-9091-FFD8-8BB3ED3E4805}"/>
              </a:ext>
            </a:extLst>
          </p:cNvPr>
          <p:cNvGrpSpPr/>
          <p:nvPr/>
        </p:nvGrpSpPr>
        <p:grpSpPr>
          <a:xfrm>
            <a:off x="29744" y="987188"/>
            <a:ext cx="2593255" cy="3422821"/>
            <a:chOff x="2646658" y="3072772"/>
            <a:chExt cx="1060570" cy="1399840"/>
          </a:xfrm>
          <a:solidFill>
            <a:schemeClr val="bg1">
              <a:lumMod val="90000"/>
            </a:schemeClr>
          </a:solidFill>
        </p:grpSpPr>
        <p:sp>
          <p:nvSpPr>
            <p:cNvPr id="23" name="Forma libre 16">
              <a:extLst>
                <a:ext uri="{FF2B5EF4-FFF2-40B4-BE49-F238E27FC236}">
                  <a16:creationId xmlns:a16="http://schemas.microsoft.com/office/drawing/2014/main" id="{3CC9BAEA-32B2-CE21-37F9-B7FF34A263AD}"/>
                </a:ext>
              </a:extLst>
            </p:cNvPr>
            <p:cNvSpPr/>
            <p:nvPr/>
          </p:nvSpPr>
          <p:spPr>
            <a:xfrm>
              <a:off x="2972185" y="3209872"/>
              <a:ext cx="735043" cy="758719"/>
            </a:xfrm>
            <a:custGeom>
              <a:avLst/>
              <a:gdLst>
                <a:gd name="connsiteX0" fmla="*/ 328527 w 615124"/>
                <a:gd name="connsiteY0" fmla="*/ 629504 h 634937"/>
                <a:gd name="connsiteX1" fmla="*/ 340164 w 615124"/>
                <a:gd name="connsiteY1" fmla="*/ 610101 h 634937"/>
                <a:gd name="connsiteX2" fmla="*/ 348698 w 615124"/>
                <a:gd name="connsiteY2" fmla="*/ 590697 h 634937"/>
                <a:gd name="connsiteX3" fmla="*/ 357231 w 615124"/>
                <a:gd name="connsiteY3" fmla="*/ 574398 h 634937"/>
                <a:gd name="connsiteX4" fmla="*/ 357231 w 615124"/>
                <a:gd name="connsiteY4" fmla="*/ 588369 h 634937"/>
                <a:gd name="connsiteX5" fmla="*/ 358007 w 615124"/>
                <a:gd name="connsiteY5" fmla="*/ 593802 h 634937"/>
                <a:gd name="connsiteX6" fmla="*/ 378178 w 615124"/>
                <a:gd name="connsiteY6" fmla="*/ 563532 h 634937"/>
                <a:gd name="connsiteX7" fmla="*/ 393694 w 615124"/>
                <a:gd name="connsiteY7" fmla="*/ 547233 h 634937"/>
                <a:gd name="connsiteX8" fmla="*/ 398349 w 615124"/>
                <a:gd name="connsiteY8" fmla="*/ 524725 h 634937"/>
                <a:gd name="connsiteX9" fmla="*/ 398349 w 615124"/>
                <a:gd name="connsiteY9" fmla="*/ 501440 h 634937"/>
                <a:gd name="connsiteX10" fmla="*/ 403003 w 615124"/>
                <a:gd name="connsiteY10" fmla="*/ 489798 h 634937"/>
                <a:gd name="connsiteX11" fmla="*/ 422398 w 615124"/>
                <a:gd name="connsiteY11" fmla="*/ 475051 h 634937"/>
                <a:gd name="connsiteX12" fmla="*/ 442569 w 615124"/>
                <a:gd name="connsiteY12" fmla="*/ 465738 h 634937"/>
                <a:gd name="connsiteX13" fmla="*/ 451103 w 615124"/>
                <a:gd name="connsiteY13" fmla="*/ 461081 h 634937"/>
                <a:gd name="connsiteX14" fmla="*/ 463516 w 615124"/>
                <a:gd name="connsiteY14" fmla="*/ 451767 h 634937"/>
                <a:gd name="connsiteX15" fmla="*/ 489117 w 615124"/>
                <a:gd name="connsiteY15" fmla="*/ 451767 h 634937"/>
                <a:gd name="connsiteX16" fmla="*/ 503081 w 615124"/>
                <a:gd name="connsiteY16" fmla="*/ 447110 h 634937"/>
                <a:gd name="connsiteX17" fmla="*/ 511615 w 615124"/>
                <a:gd name="connsiteY17" fmla="*/ 437796 h 634937"/>
                <a:gd name="connsiteX18" fmla="*/ 518597 w 615124"/>
                <a:gd name="connsiteY18" fmla="*/ 429259 h 634937"/>
                <a:gd name="connsiteX19" fmla="*/ 524803 w 615124"/>
                <a:gd name="connsiteY19" fmla="*/ 415288 h 634937"/>
                <a:gd name="connsiteX20" fmla="*/ 531010 w 615124"/>
                <a:gd name="connsiteY20" fmla="*/ 400541 h 634937"/>
                <a:gd name="connsiteX21" fmla="*/ 537216 w 615124"/>
                <a:gd name="connsiteY21" fmla="*/ 392004 h 634937"/>
                <a:gd name="connsiteX22" fmla="*/ 539543 w 615124"/>
                <a:gd name="connsiteY22" fmla="*/ 372600 h 634937"/>
                <a:gd name="connsiteX23" fmla="*/ 547301 w 615124"/>
                <a:gd name="connsiteY23" fmla="*/ 364063 h 634937"/>
                <a:gd name="connsiteX24" fmla="*/ 548853 w 615124"/>
                <a:gd name="connsiteY24" fmla="*/ 344659 h 634937"/>
                <a:gd name="connsiteX25" fmla="*/ 548853 w 615124"/>
                <a:gd name="connsiteY25" fmla="*/ 314389 h 634937"/>
                <a:gd name="connsiteX26" fmla="*/ 551956 w 615124"/>
                <a:gd name="connsiteY26" fmla="*/ 291881 h 634937"/>
                <a:gd name="connsiteX27" fmla="*/ 551180 w 615124"/>
                <a:gd name="connsiteY27" fmla="*/ 285672 h 634937"/>
                <a:gd name="connsiteX28" fmla="*/ 554284 w 615124"/>
                <a:gd name="connsiteY28" fmla="*/ 281015 h 634937"/>
                <a:gd name="connsiteX29" fmla="*/ 563593 w 615124"/>
                <a:gd name="connsiteY29" fmla="*/ 284119 h 634937"/>
                <a:gd name="connsiteX30" fmla="*/ 576006 w 615124"/>
                <a:gd name="connsiteY30" fmla="*/ 260059 h 634937"/>
                <a:gd name="connsiteX31" fmla="*/ 590746 w 615124"/>
                <a:gd name="connsiteY31" fmla="*/ 248417 h 634937"/>
                <a:gd name="connsiteX32" fmla="*/ 612469 w 615124"/>
                <a:gd name="connsiteY32" fmla="*/ 217371 h 634937"/>
                <a:gd name="connsiteX33" fmla="*/ 609365 w 615124"/>
                <a:gd name="connsiteY33" fmla="*/ 172354 h 634937"/>
                <a:gd name="connsiteX34" fmla="*/ 596177 w 615124"/>
                <a:gd name="connsiteY34" fmla="*/ 163041 h 634937"/>
                <a:gd name="connsiteX35" fmla="*/ 558938 w 615124"/>
                <a:gd name="connsiteY35" fmla="*/ 142861 h 634937"/>
                <a:gd name="connsiteX36" fmla="*/ 513166 w 615124"/>
                <a:gd name="connsiteY36" fmla="*/ 128890 h 634937"/>
                <a:gd name="connsiteX37" fmla="*/ 482135 w 615124"/>
                <a:gd name="connsiteY37" fmla="*/ 121905 h 634937"/>
                <a:gd name="connsiteX38" fmla="*/ 461964 w 615124"/>
                <a:gd name="connsiteY38" fmla="*/ 131995 h 634937"/>
                <a:gd name="connsiteX39" fmla="*/ 465067 w 615124"/>
                <a:gd name="connsiteY39" fmla="*/ 117248 h 634937"/>
                <a:gd name="connsiteX40" fmla="*/ 428605 w 615124"/>
                <a:gd name="connsiteY40" fmla="*/ 94740 h 634937"/>
                <a:gd name="connsiteX41" fmla="*/ 406107 w 615124"/>
                <a:gd name="connsiteY41" fmla="*/ 101725 h 634937"/>
                <a:gd name="connsiteX42" fmla="*/ 395245 w 615124"/>
                <a:gd name="connsiteY42" fmla="*/ 109486 h 634937"/>
                <a:gd name="connsiteX43" fmla="*/ 387487 w 615124"/>
                <a:gd name="connsiteY43" fmla="*/ 109486 h 634937"/>
                <a:gd name="connsiteX44" fmla="*/ 400676 w 615124"/>
                <a:gd name="connsiteY44" fmla="*/ 91635 h 634937"/>
                <a:gd name="connsiteX45" fmla="*/ 368868 w 615124"/>
                <a:gd name="connsiteY45" fmla="*/ 83097 h 634937"/>
                <a:gd name="connsiteX46" fmla="*/ 358783 w 615124"/>
                <a:gd name="connsiteY46" fmla="*/ 95516 h 634937"/>
                <a:gd name="connsiteX47" fmla="*/ 362662 w 615124"/>
                <a:gd name="connsiteY47" fmla="*/ 82321 h 634937"/>
                <a:gd name="connsiteX48" fmla="*/ 378178 w 615124"/>
                <a:gd name="connsiteY48" fmla="*/ 62918 h 634937"/>
                <a:gd name="connsiteX49" fmla="*/ 365765 w 615124"/>
                <a:gd name="connsiteY49" fmla="*/ 46619 h 634937"/>
                <a:gd name="connsiteX50" fmla="*/ 354904 w 615124"/>
                <a:gd name="connsiteY50" fmla="*/ 16349 h 634937"/>
                <a:gd name="connsiteX51" fmla="*/ 336285 w 615124"/>
                <a:gd name="connsiteY51" fmla="*/ 41186 h 634937"/>
                <a:gd name="connsiteX52" fmla="*/ 319993 w 615124"/>
                <a:gd name="connsiteY52" fmla="*/ 48171 h 634937"/>
                <a:gd name="connsiteX53" fmla="*/ 304477 w 615124"/>
                <a:gd name="connsiteY53" fmla="*/ 43514 h 634937"/>
                <a:gd name="connsiteX54" fmla="*/ 287410 w 615124"/>
                <a:gd name="connsiteY54" fmla="*/ 42738 h 634937"/>
                <a:gd name="connsiteX55" fmla="*/ 281203 w 615124"/>
                <a:gd name="connsiteY55" fmla="*/ 52828 h 634937"/>
                <a:gd name="connsiteX56" fmla="*/ 262584 w 615124"/>
                <a:gd name="connsiteY56" fmla="*/ 52052 h 634937"/>
                <a:gd name="connsiteX57" fmla="*/ 254826 w 615124"/>
                <a:gd name="connsiteY57" fmla="*/ 55932 h 634937"/>
                <a:gd name="connsiteX58" fmla="*/ 244741 w 615124"/>
                <a:gd name="connsiteY58" fmla="*/ 59813 h 634937"/>
                <a:gd name="connsiteX59" fmla="*/ 227673 w 615124"/>
                <a:gd name="connsiteY59" fmla="*/ 54380 h 634937"/>
                <a:gd name="connsiteX60" fmla="*/ 224570 w 615124"/>
                <a:gd name="connsiteY60" fmla="*/ 26439 h 634937"/>
                <a:gd name="connsiteX61" fmla="*/ 223019 w 615124"/>
                <a:gd name="connsiteY61" fmla="*/ 13244 h 634937"/>
                <a:gd name="connsiteX62" fmla="*/ 216812 w 615124"/>
                <a:gd name="connsiteY62" fmla="*/ 50 h 634937"/>
                <a:gd name="connsiteX63" fmla="*/ 206727 w 615124"/>
                <a:gd name="connsiteY63" fmla="*/ 8587 h 634937"/>
                <a:gd name="connsiteX64" fmla="*/ 187332 w 615124"/>
                <a:gd name="connsiteY64" fmla="*/ 16349 h 634937"/>
                <a:gd name="connsiteX65" fmla="*/ 176471 w 615124"/>
                <a:gd name="connsiteY65" fmla="*/ 22558 h 634937"/>
                <a:gd name="connsiteX66" fmla="*/ 170264 w 615124"/>
                <a:gd name="connsiteY66" fmla="*/ 21782 h 634937"/>
                <a:gd name="connsiteX67" fmla="*/ 156300 w 615124"/>
                <a:gd name="connsiteY67" fmla="*/ 17125 h 634937"/>
                <a:gd name="connsiteX68" fmla="*/ 146215 w 615124"/>
                <a:gd name="connsiteY68" fmla="*/ 18677 h 634937"/>
                <a:gd name="connsiteX69" fmla="*/ 152421 w 615124"/>
                <a:gd name="connsiteY69" fmla="*/ 30320 h 634937"/>
                <a:gd name="connsiteX70" fmla="*/ 156300 w 615124"/>
                <a:gd name="connsiteY70" fmla="*/ 40409 h 634937"/>
                <a:gd name="connsiteX71" fmla="*/ 164058 w 615124"/>
                <a:gd name="connsiteY71" fmla="*/ 41962 h 634937"/>
                <a:gd name="connsiteX72" fmla="*/ 162507 w 615124"/>
                <a:gd name="connsiteY72" fmla="*/ 48171 h 634937"/>
                <a:gd name="connsiteX73" fmla="*/ 153973 w 615124"/>
                <a:gd name="connsiteY73" fmla="*/ 56709 h 634937"/>
                <a:gd name="connsiteX74" fmla="*/ 143887 w 615124"/>
                <a:gd name="connsiteY74" fmla="*/ 62142 h 634937"/>
                <a:gd name="connsiteX75" fmla="*/ 133026 w 615124"/>
                <a:gd name="connsiteY75" fmla="*/ 67575 h 634937"/>
                <a:gd name="connsiteX76" fmla="*/ 124493 w 615124"/>
                <a:gd name="connsiteY76" fmla="*/ 69127 h 634937"/>
                <a:gd name="connsiteX77" fmla="*/ 115183 w 615124"/>
                <a:gd name="connsiteY77" fmla="*/ 65246 h 634937"/>
                <a:gd name="connsiteX78" fmla="*/ 103546 w 615124"/>
                <a:gd name="connsiteY78" fmla="*/ 49723 h 634937"/>
                <a:gd name="connsiteX79" fmla="*/ 88030 w 615124"/>
                <a:gd name="connsiteY79" fmla="*/ 54380 h 634937"/>
                <a:gd name="connsiteX80" fmla="*/ 64756 w 615124"/>
                <a:gd name="connsiteY80" fmla="*/ 55932 h 634937"/>
                <a:gd name="connsiteX81" fmla="*/ 68635 w 615124"/>
                <a:gd name="connsiteY81" fmla="*/ 64470 h 634937"/>
                <a:gd name="connsiteX82" fmla="*/ 71738 w 615124"/>
                <a:gd name="connsiteY82" fmla="*/ 70679 h 634937"/>
                <a:gd name="connsiteX83" fmla="*/ 60877 w 615124"/>
                <a:gd name="connsiteY83" fmla="*/ 79217 h 634937"/>
                <a:gd name="connsiteX84" fmla="*/ 70963 w 615124"/>
                <a:gd name="connsiteY84" fmla="*/ 104830 h 634937"/>
                <a:gd name="connsiteX85" fmla="*/ 67859 w 615124"/>
                <a:gd name="connsiteY85" fmla="*/ 125785 h 634937"/>
                <a:gd name="connsiteX86" fmla="*/ 61653 w 615124"/>
                <a:gd name="connsiteY86" fmla="*/ 146742 h 634937"/>
                <a:gd name="connsiteX87" fmla="*/ 48464 w 615124"/>
                <a:gd name="connsiteY87" fmla="*/ 147518 h 634937"/>
                <a:gd name="connsiteX88" fmla="*/ 29845 w 615124"/>
                <a:gd name="connsiteY88" fmla="*/ 154503 h 634937"/>
                <a:gd name="connsiteX89" fmla="*/ 15881 w 615124"/>
                <a:gd name="connsiteY89" fmla="*/ 163817 h 634937"/>
                <a:gd name="connsiteX90" fmla="*/ 10450 w 615124"/>
                <a:gd name="connsiteY90" fmla="*/ 178563 h 634937"/>
                <a:gd name="connsiteX91" fmla="*/ 3468 w 615124"/>
                <a:gd name="connsiteY91" fmla="*/ 187101 h 634937"/>
                <a:gd name="connsiteX92" fmla="*/ 1141 w 615124"/>
                <a:gd name="connsiteY92" fmla="*/ 197191 h 634937"/>
                <a:gd name="connsiteX93" fmla="*/ 5020 w 615124"/>
                <a:gd name="connsiteY93" fmla="*/ 210386 h 634937"/>
                <a:gd name="connsiteX94" fmla="*/ 11226 w 615124"/>
                <a:gd name="connsiteY94" fmla="*/ 223580 h 634937"/>
                <a:gd name="connsiteX95" fmla="*/ 18984 w 615124"/>
                <a:gd name="connsiteY95" fmla="*/ 229789 h 634937"/>
                <a:gd name="connsiteX96" fmla="*/ 27518 w 615124"/>
                <a:gd name="connsiteY96" fmla="*/ 238327 h 634937"/>
                <a:gd name="connsiteX97" fmla="*/ 43810 w 615124"/>
                <a:gd name="connsiteY97" fmla="*/ 235998 h 634937"/>
                <a:gd name="connsiteX98" fmla="*/ 50792 w 615124"/>
                <a:gd name="connsiteY98" fmla="*/ 234446 h 634937"/>
                <a:gd name="connsiteX99" fmla="*/ 54671 w 615124"/>
                <a:gd name="connsiteY99" fmla="*/ 254626 h 634937"/>
                <a:gd name="connsiteX100" fmla="*/ 74841 w 615124"/>
                <a:gd name="connsiteY100" fmla="*/ 255402 h 634937"/>
                <a:gd name="connsiteX101" fmla="*/ 88030 w 615124"/>
                <a:gd name="connsiteY101" fmla="*/ 252297 h 634937"/>
                <a:gd name="connsiteX102" fmla="*/ 101219 w 615124"/>
                <a:gd name="connsiteY102" fmla="*/ 245312 h 634937"/>
                <a:gd name="connsiteX103" fmla="*/ 119838 w 615124"/>
                <a:gd name="connsiteY103" fmla="*/ 236775 h 634937"/>
                <a:gd name="connsiteX104" fmla="*/ 134578 w 615124"/>
                <a:gd name="connsiteY104" fmla="*/ 237551 h 634937"/>
                <a:gd name="connsiteX105" fmla="*/ 140008 w 615124"/>
                <a:gd name="connsiteY105" fmla="*/ 267820 h 634937"/>
                <a:gd name="connsiteX106" fmla="*/ 158628 w 615124"/>
                <a:gd name="connsiteY106" fmla="*/ 278686 h 634937"/>
                <a:gd name="connsiteX107" fmla="*/ 169489 w 615124"/>
                <a:gd name="connsiteY107" fmla="*/ 281015 h 634937"/>
                <a:gd name="connsiteX108" fmla="*/ 175695 w 615124"/>
                <a:gd name="connsiteY108" fmla="*/ 286448 h 634937"/>
                <a:gd name="connsiteX109" fmla="*/ 188884 w 615124"/>
                <a:gd name="connsiteY109" fmla="*/ 292657 h 634937"/>
                <a:gd name="connsiteX110" fmla="*/ 205951 w 615124"/>
                <a:gd name="connsiteY110" fmla="*/ 296538 h 634937"/>
                <a:gd name="connsiteX111" fmla="*/ 212158 w 615124"/>
                <a:gd name="connsiteY111" fmla="*/ 307404 h 634937"/>
                <a:gd name="connsiteX112" fmla="*/ 214485 w 615124"/>
                <a:gd name="connsiteY112" fmla="*/ 319046 h 634937"/>
                <a:gd name="connsiteX113" fmla="*/ 216037 w 615124"/>
                <a:gd name="connsiteY113" fmla="*/ 332240 h 634937"/>
                <a:gd name="connsiteX114" fmla="*/ 233104 w 615124"/>
                <a:gd name="connsiteY114" fmla="*/ 340002 h 634937"/>
                <a:gd name="connsiteX115" fmla="*/ 246293 w 615124"/>
                <a:gd name="connsiteY115" fmla="*/ 347763 h 634937"/>
                <a:gd name="connsiteX116" fmla="*/ 255602 w 615124"/>
                <a:gd name="connsiteY116" fmla="*/ 363286 h 634937"/>
                <a:gd name="connsiteX117" fmla="*/ 254050 w 615124"/>
                <a:gd name="connsiteY117" fmla="*/ 383466 h 634937"/>
                <a:gd name="connsiteX118" fmla="*/ 249396 w 615124"/>
                <a:gd name="connsiteY118" fmla="*/ 394332 h 634937"/>
                <a:gd name="connsiteX119" fmla="*/ 250172 w 615124"/>
                <a:gd name="connsiteY119" fmla="*/ 402870 h 634937"/>
                <a:gd name="connsiteX120" fmla="*/ 253275 w 615124"/>
                <a:gd name="connsiteY120" fmla="*/ 422273 h 634937"/>
                <a:gd name="connsiteX121" fmla="*/ 261033 w 615124"/>
                <a:gd name="connsiteY121" fmla="*/ 434692 h 634937"/>
                <a:gd name="connsiteX122" fmla="*/ 274221 w 615124"/>
                <a:gd name="connsiteY122" fmla="*/ 436244 h 634937"/>
                <a:gd name="connsiteX123" fmla="*/ 285082 w 615124"/>
                <a:gd name="connsiteY123" fmla="*/ 449439 h 634937"/>
                <a:gd name="connsiteX124" fmla="*/ 292840 w 615124"/>
                <a:gd name="connsiteY124" fmla="*/ 466514 h 634937"/>
                <a:gd name="connsiteX125" fmla="*/ 306029 w 615124"/>
                <a:gd name="connsiteY125" fmla="*/ 463409 h 634937"/>
                <a:gd name="connsiteX126" fmla="*/ 304477 w 615124"/>
                <a:gd name="connsiteY126" fmla="*/ 491350 h 634937"/>
                <a:gd name="connsiteX127" fmla="*/ 314563 w 615124"/>
                <a:gd name="connsiteY127" fmla="*/ 492127 h 634937"/>
                <a:gd name="connsiteX128" fmla="*/ 317666 w 615124"/>
                <a:gd name="connsiteY128" fmla="*/ 516187 h 634937"/>
                <a:gd name="connsiteX129" fmla="*/ 299047 w 615124"/>
                <a:gd name="connsiteY129" fmla="*/ 527053 h 634937"/>
                <a:gd name="connsiteX130" fmla="*/ 271894 w 615124"/>
                <a:gd name="connsiteY130" fmla="*/ 555771 h 634937"/>
                <a:gd name="connsiteX131" fmla="*/ 257929 w 615124"/>
                <a:gd name="connsiteY131" fmla="*/ 572070 h 634937"/>
                <a:gd name="connsiteX132" fmla="*/ 262584 w 615124"/>
                <a:gd name="connsiteY132" fmla="*/ 572070 h 634937"/>
                <a:gd name="connsiteX133" fmla="*/ 275773 w 615124"/>
                <a:gd name="connsiteY133" fmla="*/ 576727 h 634937"/>
                <a:gd name="connsiteX134" fmla="*/ 282755 w 615124"/>
                <a:gd name="connsiteY134" fmla="*/ 587593 h 634937"/>
                <a:gd name="connsiteX135" fmla="*/ 291289 w 615124"/>
                <a:gd name="connsiteY135" fmla="*/ 585264 h 634937"/>
                <a:gd name="connsiteX136" fmla="*/ 309132 w 615124"/>
                <a:gd name="connsiteY136" fmla="*/ 598459 h 634937"/>
                <a:gd name="connsiteX137" fmla="*/ 319993 w 615124"/>
                <a:gd name="connsiteY137" fmla="*/ 610877 h 634937"/>
                <a:gd name="connsiteX138" fmla="*/ 321545 w 615124"/>
                <a:gd name="connsiteY138" fmla="*/ 634938 h 634937"/>
                <a:gd name="connsiteX139" fmla="*/ 328527 w 615124"/>
                <a:gd name="connsiteY139" fmla="*/ 629504 h 634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</a:cxnLst>
              <a:rect l="l" t="t" r="r" b="b"/>
              <a:pathLst>
                <a:path w="615124" h="634937">
                  <a:moveTo>
                    <a:pt x="328527" y="629504"/>
                  </a:moveTo>
                  <a:cubicBezTo>
                    <a:pt x="337837" y="622519"/>
                    <a:pt x="335509" y="618638"/>
                    <a:pt x="340164" y="610101"/>
                  </a:cubicBezTo>
                  <a:cubicBezTo>
                    <a:pt x="344819" y="601563"/>
                    <a:pt x="340940" y="598459"/>
                    <a:pt x="348698" y="590697"/>
                  </a:cubicBezTo>
                  <a:cubicBezTo>
                    <a:pt x="356456" y="583712"/>
                    <a:pt x="347146" y="578279"/>
                    <a:pt x="357231" y="574398"/>
                  </a:cubicBezTo>
                  <a:cubicBezTo>
                    <a:pt x="366541" y="569741"/>
                    <a:pt x="365765" y="578279"/>
                    <a:pt x="357231" y="588369"/>
                  </a:cubicBezTo>
                  <a:cubicBezTo>
                    <a:pt x="349473" y="598459"/>
                    <a:pt x="347922" y="601563"/>
                    <a:pt x="358007" y="593802"/>
                  </a:cubicBezTo>
                  <a:cubicBezTo>
                    <a:pt x="368093" y="586040"/>
                    <a:pt x="371972" y="575174"/>
                    <a:pt x="378178" y="563532"/>
                  </a:cubicBezTo>
                  <a:cubicBezTo>
                    <a:pt x="384384" y="551114"/>
                    <a:pt x="388263" y="548009"/>
                    <a:pt x="393694" y="547233"/>
                  </a:cubicBezTo>
                  <a:cubicBezTo>
                    <a:pt x="399124" y="546457"/>
                    <a:pt x="399124" y="534039"/>
                    <a:pt x="398349" y="524725"/>
                  </a:cubicBezTo>
                  <a:cubicBezTo>
                    <a:pt x="397573" y="515411"/>
                    <a:pt x="395245" y="507650"/>
                    <a:pt x="398349" y="501440"/>
                  </a:cubicBezTo>
                  <a:cubicBezTo>
                    <a:pt x="402228" y="495231"/>
                    <a:pt x="398349" y="489798"/>
                    <a:pt x="403003" y="489798"/>
                  </a:cubicBezTo>
                  <a:cubicBezTo>
                    <a:pt x="407658" y="489798"/>
                    <a:pt x="415416" y="482813"/>
                    <a:pt x="422398" y="475051"/>
                  </a:cubicBezTo>
                  <a:cubicBezTo>
                    <a:pt x="430156" y="467290"/>
                    <a:pt x="434811" y="466514"/>
                    <a:pt x="442569" y="465738"/>
                  </a:cubicBezTo>
                  <a:cubicBezTo>
                    <a:pt x="450327" y="464962"/>
                    <a:pt x="445672" y="462633"/>
                    <a:pt x="451103" y="461081"/>
                  </a:cubicBezTo>
                  <a:cubicBezTo>
                    <a:pt x="456533" y="459528"/>
                    <a:pt x="459637" y="454871"/>
                    <a:pt x="463516" y="451767"/>
                  </a:cubicBezTo>
                  <a:cubicBezTo>
                    <a:pt x="466619" y="448662"/>
                    <a:pt x="481359" y="451767"/>
                    <a:pt x="489117" y="451767"/>
                  </a:cubicBezTo>
                  <a:cubicBezTo>
                    <a:pt x="497651" y="451767"/>
                    <a:pt x="503081" y="452543"/>
                    <a:pt x="503081" y="447110"/>
                  </a:cubicBezTo>
                  <a:cubicBezTo>
                    <a:pt x="503081" y="441677"/>
                    <a:pt x="506960" y="437796"/>
                    <a:pt x="511615" y="437796"/>
                  </a:cubicBezTo>
                  <a:cubicBezTo>
                    <a:pt x="516270" y="437796"/>
                    <a:pt x="518597" y="436244"/>
                    <a:pt x="518597" y="429259"/>
                  </a:cubicBezTo>
                  <a:cubicBezTo>
                    <a:pt x="518597" y="422273"/>
                    <a:pt x="520924" y="418393"/>
                    <a:pt x="524803" y="415288"/>
                  </a:cubicBezTo>
                  <a:cubicBezTo>
                    <a:pt x="528682" y="412183"/>
                    <a:pt x="529458" y="405198"/>
                    <a:pt x="531010" y="400541"/>
                  </a:cubicBezTo>
                  <a:cubicBezTo>
                    <a:pt x="532561" y="395885"/>
                    <a:pt x="537216" y="398989"/>
                    <a:pt x="537216" y="392004"/>
                  </a:cubicBezTo>
                  <a:cubicBezTo>
                    <a:pt x="537216" y="385795"/>
                    <a:pt x="539543" y="378033"/>
                    <a:pt x="539543" y="372600"/>
                  </a:cubicBezTo>
                  <a:cubicBezTo>
                    <a:pt x="539543" y="367167"/>
                    <a:pt x="544974" y="367943"/>
                    <a:pt x="547301" y="364063"/>
                  </a:cubicBezTo>
                  <a:cubicBezTo>
                    <a:pt x="549629" y="360182"/>
                    <a:pt x="544974" y="355525"/>
                    <a:pt x="548853" y="344659"/>
                  </a:cubicBezTo>
                  <a:cubicBezTo>
                    <a:pt x="552732" y="333793"/>
                    <a:pt x="548853" y="323703"/>
                    <a:pt x="548853" y="314389"/>
                  </a:cubicBezTo>
                  <a:cubicBezTo>
                    <a:pt x="548853" y="305075"/>
                    <a:pt x="548853" y="294986"/>
                    <a:pt x="551956" y="291881"/>
                  </a:cubicBezTo>
                  <a:cubicBezTo>
                    <a:pt x="555059" y="288776"/>
                    <a:pt x="553508" y="287224"/>
                    <a:pt x="551180" y="285672"/>
                  </a:cubicBezTo>
                  <a:cubicBezTo>
                    <a:pt x="548077" y="284119"/>
                    <a:pt x="551180" y="280239"/>
                    <a:pt x="554284" y="281015"/>
                  </a:cubicBezTo>
                  <a:cubicBezTo>
                    <a:pt x="556611" y="281791"/>
                    <a:pt x="559714" y="287224"/>
                    <a:pt x="563593" y="284119"/>
                  </a:cubicBezTo>
                  <a:cubicBezTo>
                    <a:pt x="568248" y="281015"/>
                    <a:pt x="572127" y="269373"/>
                    <a:pt x="576006" y="260059"/>
                  </a:cubicBezTo>
                  <a:cubicBezTo>
                    <a:pt x="579885" y="250745"/>
                    <a:pt x="586091" y="250745"/>
                    <a:pt x="590746" y="248417"/>
                  </a:cubicBezTo>
                  <a:cubicBezTo>
                    <a:pt x="595401" y="246088"/>
                    <a:pt x="606262" y="234446"/>
                    <a:pt x="612469" y="217371"/>
                  </a:cubicBezTo>
                  <a:cubicBezTo>
                    <a:pt x="618675" y="200296"/>
                    <a:pt x="612469" y="183996"/>
                    <a:pt x="609365" y="172354"/>
                  </a:cubicBezTo>
                  <a:cubicBezTo>
                    <a:pt x="606262" y="160712"/>
                    <a:pt x="603159" y="163041"/>
                    <a:pt x="596177" y="163041"/>
                  </a:cubicBezTo>
                  <a:cubicBezTo>
                    <a:pt x="589195" y="163041"/>
                    <a:pt x="576006" y="161488"/>
                    <a:pt x="558938" y="142861"/>
                  </a:cubicBezTo>
                  <a:cubicBezTo>
                    <a:pt x="541871" y="124233"/>
                    <a:pt x="524803" y="125785"/>
                    <a:pt x="513166" y="128890"/>
                  </a:cubicBezTo>
                  <a:cubicBezTo>
                    <a:pt x="501529" y="131995"/>
                    <a:pt x="489893" y="123457"/>
                    <a:pt x="482135" y="121905"/>
                  </a:cubicBezTo>
                  <a:cubicBezTo>
                    <a:pt x="474377" y="120352"/>
                    <a:pt x="467394" y="129666"/>
                    <a:pt x="461964" y="131995"/>
                  </a:cubicBezTo>
                  <a:cubicBezTo>
                    <a:pt x="456533" y="134323"/>
                    <a:pt x="465067" y="123457"/>
                    <a:pt x="465067" y="117248"/>
                  </a:cubicBezTo>
                  <a:cubicBezTo>
                    <a:pt x="465067" y="111039"/>
                    <a:pt x="444121" y="100949"/>
                    <a:pt x="428605" y="94740"/>
                  </a:cubicBezTo>
                  <a:cubicBezTo>
                    <a:pt x="412313" y="88531"/>
                    <a:pt x="406107" y="91635"/>
                    <a:pt x="406107" y="101725"/>
                  </a:cubicBezTo>
                  <a:cubicBezTo>
                    <a:pt x="406107" y="111815"/>
                    <a:pt x="399900" y="98620"/>
                    <a:pt x="395245" y="109486"/>
                  </a:cubicBezTo>
                  <a:cubicBezTo>
                    <a:pt x="390591" y="120352"/>
                    <a:pt x="381281" y="113367"/>
                    <a:pt x="387487" y="109486"/>
                  </a:cubicBezTo>
                  <a:cubicBezTo>
                    <a:pt x="393694" y="106382"/>
                    <a:pt x="399124" y="97844"/>
                    <a:pt x="400676" y="91635"/>
                  </a:cubicBezTo>
                  <a:cubicBezTo>
                    <a:pt x="403003" y="85426"/>
                    <a:pt x="378178" y="79993"/>
                    <a:pt x="368868" y="83097"/>
                  </a:cubicBezTo>
                  <a:cubicBezTo>
                    <a:pt x="360335" y="86202"/>
                    <a:pt x="365765" y="99397"/>
                    <a:pt x="358783" y="95516"/>
                  </a:cubicBezTo>
                  <a:cubicBezTo>
                    <a:pt x="351801" y="91635"/>
                    <a:pt x="357231" y="82321"/>
                    <a:pt x="362662" y="82321"/>
                  </a:cubicBezTo>
                  <a:cubicBezTo>
                    <a:pt x="368093" y="82321"/>
                    <a:pt x="374299" y="71455"/>
                    <a:pt x="378178" y="62918"/>
                  </a:cubicBezTo>
                  <a:cubicBezTo>
                    <a:pt x="382057" y="54380"/>
                    <a:pt x="371972" y="53604"/>
                    <a:pt x="365765" y="46619"/>
                  </a:cubicBezTo>
                  <a:cubicBezTo>
                    <a:pt x="359559" y="39633"/>
                    <a:pt x="361110" y="19453"/>
                    <a:pt x="354904" y="16349"/>
                  </a:cubicBezTo>
                  <a:cubicBezTo>
                    <a:pt x="347922" y="23334"/>
                    <a:pt x="339388" y="33424"/>
                    <a:pt x="336285" y="41186"/>
                  </a:cubicBezTo>
                  <a:cubicBezTo>
                    <a:pt x="333182" y="51276"/>
                    <a:pt x="328527" y="45066"/>
                    <a:pt x="319993" y="48171"/>
                  </a:cubicBezTo>
                  <a:cubicBezTo>
                    <a:pt x="311459" y="51276"/>
                    <a:pt x="306805" y="47395"/>
                    <a:pt x="304477" y="43514"/>
                  </a:cubicBezTo>
                  <a:cubicBezTo>
                    <a:pt x="302150" y="39633"/>
                    <a:pt x="293616" y="43514"/>
                    <a:pt x="287410" y="42738"/>
                  </a:cubicBezTo>
                  <a:cubicBezTo>
                    <a:pt x="281203" y="41962"/>
                    <a:pt x="285082" y="50499"/>
                    <a:pt x="281203" y="52828"/>
                  </a:cubicBezTo>
                  <a:cubicBezTo>
                    <a:pt x="277324" y="55156"/>
                    <a:pt x="266463" y="48171"/>
                    <a:pt x="262584" y="52052"/>
                  </a:cubicBezTo>
                  <a:cubicBezTo>
                    <a:pt x="258705" y="55932"/>
                    <a:pt x="256378" y="52052"/>
                    <a:pt x="254826" y="55932"/>
                  </a:cubicBezTo>
                  <a:cubicBezTo>
                    <a:pt x="253275" y="59813"/>
                    <a:pt x="246293" y="57485"/>
                    <a:pt x="244741" y="59813"/>
                  </a:cubicBezTo>
                  <a:cubicBezTo>
                    <a:pt x="243189" y="62142"/>
                    <a:pt x="236207" y="63694"/>
                    <a:pt x="227673" y="54380"/>
                  </a:cubicBezTo>
                  <a:cubicBezTo>
                    <a:pt x="219140" y="45066"/>
                    <a:pt x="220691" y="29543"/>
                    <a:pt x="224570" y="26439"/>
                  </a:cubicBezTo>
                  <a:cubicBezTo>
                    <a:pt x="228449" y="23334"/>
                    <a:pt x="228449" y="15573"/>
                    <a:pt x="223019" y="13244"/>
                  </a:cubicBezTo>
                  <a:cubicBezTo>
                    <a:pt x="217588" y="10916"/>
                    <a:pt x="223019" y="826"/>
                    <a:pt x="216812" y="50"/>
                  </a:cubicBezTo>
                  <a:cubicBezTo>
                    <a:pt x="210606" y="-726"/>
                    <a:pt x="211382" y="7811"/>
                    <a:pt x="206727" y="8587"/>
                  </a:cubicBezTo>
                  <a:cubicBezTo>
                    <a:pt x="202848" y="10140"/>
                    <a:pt x="191987" y="17125"/>
                    <a:pt x="187332" y="16349"/>
                  </a:cubicBezTo>
                  <a:cubicBezTo>
                    <a:pt x="182677" y="15573"/>
                    <a:pt x="176471" y="17125"/>
                    <a:pt x="176471" y="22558"/>
                  </a:cubicBezTo>
                  <a:cubicBezTo>
                    <a:pt x="176471" y="27991"/>
                    <a:pt x="171040" y="26439"/>
                    <a:pt x="170264" y="21782"/>
                  </a:cubicBezTo>
                  <a:cubicBezTo>
                    <a:pt x="169489" y="17901"/>
                    <a:pt x="159403" y="20230"/>
                    <a:pt x="156300" y="17125"/>
                  </a:cubicBezTo>
                  <a:cubicBezTo>
                    <a:pt x="153197" y="14020"/>
                    <a:pt x="140008" y="15573"/>
                    <a:pt x="146215" y="18677"/>
                  </a:cubicBezTo>
                  <a:cubicBezTo>
                    <a:pt x="151645" y="21782"/>
                    <a:pt x="152421" y="24886"/>
                    <a:pt x="152421" y="30320"/>
                  </a:cubicBezTo>
                  <a:cubicBezTo>
                    <a:pt x="152421" y="35753"/>
                    <a:pt x="156300" y="34200"/>
                    <a:pt x="156300" y="40409"/>
                  </a:cubicBezTo>
                  <a:cubicBezTo>
                    <a:pt x="156300" y="46619"/>
                    <a:pt x="160955" y="41962"/>
                    <a:pt x="164058" y="41962"/>
                  </a:cubicBezTo>
                  <a:cubicBezTo>
                    <a:pt x="167161" y="41962"/>
                    <a:pt x="167161" y="47395"/>
                    <a:pt x="162507" y="48171"/>
                  </a:cubicBezTo>
                  <a:cubicBezTo>
                    <a:pt x="157076" y="48947"/>
                    <a:pt x="154749" y="52052"/>
                    <a:pt x="153973" y="56709"/>
                  </a:cubicBezTo>
                  <a:cubicBezTo>
                    <a:pt x="152421" y="61365"/>
                    <a:pt x="147766" y="58261"/>
                    <a:pt x="143887" y="62142"/>
                  </a:cubicBezTo>
                  <a:cubicBezTo>
                    <a:pt x="140008" y="66022"/>
                    <a:pt x="136129" y="69903"/>
                    <a:pt x="133026" y="67575"/>
                  </a:cubicBezTo>
                  <a:cubicBezTo>
                    <a:pt x="129923" y="66022"/>
                    <a:pt x="127596" y="66798"/>
                    <a:pt x="124493" y="69127"/>
                  </a:cubicBezTo>
                  <a:cubicBezTo>
                    <a:pt x="121389" y="70679"/>
                    <a:pt x="119838" y="69127"/>
                    <a:pt x="115183" y="65246"/>
                  </a:cubicBezTo>
                  <a:cubicBezTo>
                    <a:pt x="111304" y="62142"/>
                    <a:pt x="109752" y="55932"/>
                    <a:pt x="103546" y="49723"/>
                  </a:cubicBezTo>
                  <a:cubicBezTo>
                    <a:pt x="99667" y="51276"/>
                    <a:pt x="92685" y="54380"/>
                    <a:pt x="88030" y="54380"/>
                  </a:cubicBezTo>
                  <a:cubicBezTo>
                    <a:pt x="82599" y="54380"/>
                    <a:pt x="65532" y="52828"/>
                    <a:pt x="64756" y="55932"/>
                  </a:cubicBezTo>
                  <a:cubicBezTo>
                    <a:pt x="63980" y="59037"/>
                    <a:pt x="66308" y="63694"/>
                    <a:pt x="68635" y="64470"/>
                  </a:cubicBezTo>
                  <a:cubicBezTo>
                    <a:pt x="71738" y="65246"/>
                    <a:pt x="77169" y="66798"/>
                    <a:pt x="71738" y="70679"/>
                  </a:cubicBezTo>
                  <a:cubicBezTo>
                    <a:pt x="66308" y="74560"/>
                    <a:pt x="60877" y="69127"/>
                    <a:pt x="60877" y="79217"/>
                  </a:cubicBezTo>
                  <a:cubicBezTo>
                    <a:pt x="60877" y="89307"/>
                    <a:pt x="73290" y="95516"/>
                    <a:pt x="70963" y="104830"/>
                  </a:cubicBezTo>
                  <a:cubicBezTo>
                    <a:pt x="69411" y="109486"/>
                    <a:pt x="67859" y="121129"/>
                    <a:pt x="67859" y="125785"/>
                  </a:cubicBezTo>
                  <a:cubicBezTo>
                    <a:pt x="67859" y="130442"/>
                    <a:pt x="66308" y="145965"/>
                    <a:pt x="61653" y="146742"/>
                  </a:cubicBezTo>
                  <a:cubicBezTo>
                    <a:pt x="57774" y="147518"/>
                    <a:pt x="53895" y="142861"/>
                    <a:pt x="48464" y="147518"/>
                  </a:cubicBezTo>
                  <a:cubicBezTo>
                    <a:pt x="43034" y="152175"/>
                    <a:pt x="36052" y="149070"/>
                    <a:pt x="29845" y="154503"/>
                  </a:cubicBezTo>
                  <a:cubicBezTo>
                    <a:pt x="23639" y="159936"/>
                    <a:pt x="16657" y="157608"/>
                    <a:pt x="15881" y="163817"/>
                  </a:cubicBezTo>
                  <a:cubicBezTo>
                    <a:pt x="15105" y="170026"/>
                    <a:pt x="9675" y="173130"/>
                    <a:pt x="10450" y="178563"/>
                  </a:cubicBezTo>
                  <a:cubicBezTo>
                    <a:pt x="12002" y="183996"/>
                    <a:pt x="7347" y="182444"/>
                    <a:pt x="3468" y="187101"/>
                  </a:cubicBezTo>
                  <a:cubicBezTo>
                    <a:pt x="-411" y="190982"/>
                    <a:pt x="4244" y="194086"/>
                    <a:pt x="1141" y="197191"/>
                  </a:cubicBezTo>
                  <a:cubicBezTo>
                    <a:pt x="-1962" y="200296"/>
                    <a:pt x="1917" y="205729"/>
                    <a:pt x="5020" y="210386"/>
                  </a:cubicBezTo>
                  <a:cubicBezTo>
                    <a:pt x="8123" y="215819"/>
                    <a:pt x="12002" y="218923"/>
                    <a:pt x="11226" y="223580"/>
                  </a:cubicBezTo>
                  <a:cubicBezTo>
                    <a:pt x="10450" y="228237"/>
                    <a:pt x="14329" y="229789"/>
                    <a:pt x="18984" y="229789"/>
                  </a:cubicBezTo>
                  <a:cubicBezTo>
                    <a:pt x="23639" y="229013"/>
                    <a:pt x="19760" y="238327"/>
                    <a:pt x="27518" y="238327"/>
                  </a:cubicBezTo>
                  <a:cubicBezTo>
                    <a:pt x="35276" y="238327"/>
                    <a:pt x="42258" y="239879"/>
                    <a:pt x="43810" y="235998"/>
                  </a:cubicBezTo>
                  <a:cubicBezTo>
                    <a:pt x="45361" y="232118"/>
                    <a:pt x="50792" y="228237"/>
                    <a:pt x="50792" y="234446"/>
                  </a:cubicBezTo>
                  <a:cubicBezTo>
                    <a:pt x="50792" y="240655"/>
                    <a:pt x="49240" y="256954"/>
                    <a:pt x="54671" y="254626"/>
                  </a:cubicBezTo>
                  <a:cubicBezTo>
                    <a:pt x="60101" y="253073"/>
                    <a:pt x="70187" y="253073"/>
                    <a:pt x="74841" y="255402"/>
                  </a:cubicBezTo>
                  <a:cubicBezTo>
                    <a:pt x="80272" y="256954"/>
                    <a:pt x="84927" y="255402"/>
                    <a:pt x="88030" y="252297"/>
                  </a:cubicBezTo>
                  <a:cubicBezTo>
                    <a:pt x="91133" y="249193"/>
                    <a:pt x="95012" y="249193"/>
                    <a:pt x="101219" y="245312"/>
                  </a:cubicBezTo>
                  <a:cubicBezTo>
                    <a:pt x="107425" y="241431"/>
                    <a:pt x="113631" y="236775"/>
                    <a:pt x="119838" y="236775"/>
                  </a:cubicBezTo>
                  <a:cubicBezTo>
                    <a:pt x="126044" y="236775"/>
                    <a:pt x="136129" y="232894"/>
                    <a:pt x="134578" y="237551"/>
                  </a:cubicBezTo>
                  <a:cubicBezTo>
                    <a:pt x="133026" y="242207"/>
                    <a:pt x="132250" y="259283"/>
                    <a:pt x="140008" y="267820"/>
                  </a:cubicBezTo>
                  <a:cubicBezTo>
                    <a:pt x="147766" y="276358"/>
                    <a:pt x="151645" y="279463"/>
                    <a:pt x="158628" y="278686"/>
                  </a:cubicBezTo>
                  <a:cubicBezTo>
                    <a:pt x="165610" y="277910"/>
                    <a:pt x="164834" y="281791"/>
                    <a:pt x="169489" y="281015"/>
                  </a:cubicBezTo>
                  <a:cubicBezTo>
                    <a:pt x="174919" y="280239"/>
                    <a:pt x="171040" y="286448"/>
                    <a:pt x="175695" y="286448"/>
                  </a:cubicBezTo>
                  <a:cubicBezTo>
                    <a:pt x="180350" y="286448"/>
                    <a:pt x="188884" y="287224"/>
                    <a:pt x="188884" y="292657"/>
                  </a:cubicBezTo>
                  <a:cubicBezTo>
                    <a:pt x="188884" y="298090"/>
                    <a:pt x="202848" y="293433"/>
                    <a:pt x="205951" y="296538"/>
                  </a:cubicBezTo>
                  <a:cubicBezTo>
                    <a:pt x="209054" y="299642"/>
                    <a:pt x="212933" y="301971"/>
                    <a:pt x="212158" y="307404"/>
                  </a:cubicBezTo>
                  <a:cubicBezTo>
                    <a:pt x="211382" y="312837"/>
                    <a:pt x="219140" y="316718"/>
                    <a:pt x="214485" y="319046"/>
                  </a:cubicBezTo>
                  <a:cubicBezTo>
                    <a:pt x="209830" y="321374"/>
                    <a:pt x="216037" y="326031"/>
                    <a:pt x="216037" y="332240"/>
                  </a:cubicBezTo>
                  <a:cubicBezTo>
                    <a:pt x="216812" y="338450"/>
                    <a:pt x="223019" y="340778"/>
                    <a:pt x="233104" y="340002"/>
                  </a:cubicBezTo>
                  <a:cubicBezTo>
                    <a:pt x="243189" y="339226"/>
                    <a:pt x="246293" y="340778"/>
                    <a:pt x="246293" y="347763"/>
                  </a:cubicBezTo>
                  <a:cubicBezTo>
                    <a:pt x="246293" y="354749"/>
                    <a:pt x="253275" y="356301"/>
                    <a:pt x="255602" y="363286"/>
                  </a:cubicBezTo>
                  <a:cubicBezTo>
                    <a:pt x="257929" y="370272"/>
                    <a:pt x="252499" y="378033"/>
                    <a:pt x="254050" y="383466"/>
                  </a:cubicBezTo>
                  <a:cubicBezTo>
                    <a:pt x="254826" y="387347"/>
                    <a:pt x="252499" y="392004"/>
                    <a:pt x="249396" y="394332"/>
                  </a:cubicBezTo>
                  <a:cubicBezTo>
                    <a:pt x="253275" y="398989"/>
                    <a:pt x="253275" y="400541"/>
                    <a:pt x="250172" y="402870"/>
                  </a:cubicBezTo>
                  <a:cubicBezTo>
                    <a:pt x="246293" y="405198"/>
                    <a:pt x="255602" y="411407"/>
                    <a:pt x="253275" y="422273"/>
                  </a:cubicBezTo>
                  <a:cubicBezTo>
                    <a:pt x="250947" y="432363"/>
                    <a:pt x="250172" y="434692"/>
                    <a:pt x="261033" y="434692"/>
                  </a:cubicBezTo>
                  <a:cubicBezTo>
                    <a:pt x="271894" y="435468"/>
                    <a:pt x="271118" y="438573"/>
                    <a:pt x="274221" y="436244"/>
                  </a:cubicBezTo>
                  <a:cubicBezTo>
                    <a:pt x="278100" y="433916"/>
                    <a:pt x="283531" y="444005"/>
                    <a:pt x="285082" y="449439"/>
                  </a:cubicBezTo>
                  <a:cubicBezTo>
                    <a:pt x="286634" y="454871"/>
                    <a:pt x="290513" y="466514"/>
                    <a:pt x="292840" y="466514"/>
                  </a:cubicBezTo>
                  <a:cubicBezTo>
                    <a:pt x="294392" y="466514"/>
                    <a:pt x="300598" y="461081"/>
                    <a:pt x="306029" y="463409"/>
                  </a:cubicBezTo>
                  <a:cubicBezTo>
                    <a:pt x="311459" y="465738"/>
                    <a:pt x="304477" y="483589"/>
                    <a:pt x="304477" y="491350"/>
                  </a:cubicBezTo>
                  <a:cubicBezTo>
                    <a:pt x="308356" y="491350"/>
                    <a:pt x="313011" y="491350"/>
                    <a:pt x="314563" y="492127"/>
                  </a:cubicBezTo>
                  <a:cubicBezTo>
                    <a:pt x="317666" y="493679"/>
                    <a:pt x="318442" y="512307"/>
                    <a:pt x="317666" y="516187"/>
                  </a:cubicBezTo>
                  <a:cubicBezTo>
                    <a:pt x="316114" y="520068"/>
                    <a:pt x="304477" y="523173"/>
                    <a:pt x="299047" y="527053"/>
                  </a:cubicBezTo>
                  <a:cubicBezTo>
                    <a:pt x="292840" y="530934"/>
                    <a:pt x="278876" y="544905"/>
                    <a:pt x="271894" y="555771"/>
                  </a:cubicBezTo>
                  <a:cubicBezTo>
                    <a:pt x="268015" y="561980"/>
                    <a:pt x="261808" y="567413"/>
                    <a:pt x="257929" y="572070"/>
                  </a:cubicBezTo>
                  <a:cubicBezTo>
                    <a:pt x="259481" y="572070"/>
                    <a:pt x="261808" y="572070"/>
                    <a:pt x="262584" y="572070"/>
                  </a:cubicBezTo>
                  <a:cubicBezTo>
                    <a:pt x="265687" y="570518"/>
                    <a:pt x="270342" y="570518"/>
                    <a:pt x="275773" y="576727"/>
                  </a:cubicBezTo>
                  <a:cubicBezTo>
                    <a:pt x="281203" y="582936"/>
                    <a:pt x="280428" y="587593"/>
                    <a:pt x="282755" y="587593"/>
                  </a:cubicBezTo>
                  <a:cubicBezTo>
                    <a:pt x="285082" y="587593"/>
                    <a:pt x="287410" y="579055"/>
                    <a:pt x="291289" y="585264"/>
                  </a:cubicBezTo>
                  <a:cubicBezTo>
                    <a:pt x="295168" y="591473"/>
                    <a:pt x="306029" y="596130"/>
                    <a:pt x="309132" y="598459"/>
                  </a:cubicBezTo>
                  <a:cubicBezTo>
                    <a:pt x="311459" y="601563"/>
                    <a:pt x="319993" y="603116"/>
                    <a:pt x="319993" y="610877"/>
                  </a:cubicBezTo>
                  <a:cubicBezTo>
                    <a:pt x="319993" y="616310"/>
                    <a:pt x="317666" y="626400"/>
                    <a:pt x="321545" y="634938"/>
                  </a:cubicBezTo>
                  <a:cubicBezTo>
                    <a:pt x="323872" y="634161"/>
                    <a:pt x="325424" y="631057"/>
                    <a:pt x="328527" y="629504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24" name="Forma libre 17">
              <a:extLst>
                <a:ext uri="{FF2B5EF4-FFF2-40B4-BE49-F238E27FC236}">
                  <a16:creationId xmlns:a16="http://schemas.microsoft.com/office/drawing/2014/main" id="{1B7E29F8-14D8-5DAD-1223-22FD4DD7A398}"/>
                </a:ext>
              </a:extLst>
            </p:cNvPr>
            <p:cNvSpPr/>
            <p:nvPr/>
          </p:nvSpPr>
          <p:spPr>
            <a:xfrm>
              <a:off x="3265509" y="3892493"/>
              <a:ext cx="93630" cy="97092"/>
            </a:xfrm>
            <a:custGeom>
              <a:avLst/>
              <a:gdLst>
                <a:gd name="connsiteX0" fmla="*/ 76028 w 78355"/>
                <a:gd name="connsiteY0" fmla="*/ 39670 h 81252"/>
                <a:gd name="connsiteX1" fmla="*/ 65167 w 78355"/>
                <a:gd name="connsiteY1" fmla="*/ 27251 h 81252"/>
                <a:gd name="connsiteX2" fmla="*/ 47324 w 78355"/>
                <a:gd name="connsiteY2" fmla="*/ 14057 h 81252"/>
                <a:gd name="connsiteX3" fmla="*/ 38790 w 78355"/>
                <a:gd name="connsiteY3" fmla="*/ 16385 h 81252"/>
                <a:gd name="connsiteX4" fmla="*/ 31808 w 78355"/>
                <a:gd name="connsiteY4" fmla="*/ 5519 h 81252"/>
                <a:gd name="connsiteX5" fmla="*/ 18619 w 78355"/>
                <a:gd name="connsiteY5" fmla="*/ 862 h 81252"/>
                <a:gd name="connsiteX6" fmla="*/ 13964 w 78355"/>
                <a:gd name="connsiteY6" fmla="*/ 862 h 81252"/>
                <a:gd name="connsiteX7" fmla="*/ 9310 w 78355"/>
                <a:gd name="connsiteY7" fmla="*/ 9400 h 81252"/>
                <a:gd name="connsiteX8" fmla="*/ 3879 w 78355"/>
                <a:gd name="connsiteY8" fmla="*/ 35789 h 81252"/>
                <a:gd name="connsiteX9" fmla="*/ 0 w 78355"/>
                <a:gd name="connsiteY9" fmla="*/ 55969 h 81252"/>
                <a:gd name="connsiteX10" fmla="*/ 4655 w 78355"/>
                <a:gd name="connsiteY10" fmla="*/ 65282 h 81252"/>
                <a:gd name="connsiteX11" fmla="*/ 3879 w 78355"/>
                <a:gd name="connsiteY11" fmla="*/ 71492 h 81252"/>
                <a:gd name="connsiteX12" fmla="*/ 10085 w 78355"/>
                <a:gd name="connsiteY12" fmla="*/ 74596 h 81252"/>
                <a:gd name="connsiteX13" fmla="*/ 30256 w 78355"/>
                <a:gd name="connsiteY13" fmla="*/ 80029 h 81252"/>
                <a:gd name="connsiteX14" fmla="*/ 42669 w 78355"/>
                <a:gd name="connsiteY14" fmla="*/ 80029 h 81252"/>
                <a:gd name="connsiteX15" fmla="*/ 65943 w 78355"/>
                <a:gd name="connsiteY15" fmla="*/ 76925 h 81252"/>
                <a:gd name="connsiteX16" fmla="*/ 78355 w 78355"/>
                <a:gd name="connsiteY16" fmla="*/ 62178 h 81252"/>
                <a:gd name="connsiteX17" fmla="*/ 76028 w 78355"/>
                <a:gd name="connsiteY17" fmla="*/ 39670 h 81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8355" h="81252">
                  <a:moveTo>
                    <a:pt x="76028" y="39670"/>
                  </a:moveTo>
                  <a:cubicBezTo>
                    <a:pt x="76028" y="32684"/>
                    <a:pt x="68270" y="30356"/>
                    <a:pt x="65167" y="27251"/>
                  </a:cubicBezTo>
                  <a:cubicBezTo>
                    <a:pt x="62840" y="24147"/>
                    <a:pt x="51978" y="20266"/>
                    <a:pt x="47324" y="14057"/>
                  </a:cubicBezTo>
                  <a:cubicBezTo>
                    <a:pt x="43445" y="7848"/>
                    <a:pt x="40341" y="16385"/>
                    <a:pt x="38790" y="16385"/>
                  </a:cubicBezTo>
                  <a:cubicBezTo>
                    <a:pt x="36462" y="16385"/>
                    <a:pt x="37238" y="11728"/>
                    <a:pt x="31808" y="5519"/>
                  </a:cubicBezTo>
                  <a:cubicBezTo>
                    <a:pt x="26377" y="-690"/>
                    <a:pt x="21722" y="-690"/>
                    <a:pt x="18619" y="862"/>
                  </a:cubicBezTo>
                  <a:cubicBezTo>
                    <a:pt x="17843" y="1639"/>
                    <a:pt x="15516" y="1639"/>
                    <a:pt x="13964" y="862"/>
                  </a:cubicBezTo>
                  <a:cubicBezTo>
                    <a:pt x="10861" y="3967"/>
                    <a:pt x="9310" y="7072"/>
                    <a:pt x="9310" y="9400"/>
                  </a:cubicBezTo>
                  <a:cubicBezTo>
                    <a:pt x="9310" y="16385"/>
                    <a:pt x="4655" y="23371"/>
                    <a:pt x="3879" y="35789"/>
                  </a:cubicBezTo>
                  <a:cubicBezTo>
                    <a:pt x="3879" y="48207"/>
                    <a:pt x="0" y="46655"/>
                    <a:pt x="0" y="55969"/>
                  </a:cubicBezTo>
                  <a:cubicBezTo>
                    <a:pt x="0" y="66059"/>
                    <a:pt x="3103" y="63730"/>
                    <a:pt x="4655" y="65282"/>
                  </a:cubicBezTo>
                  <a:cubicBezTo>
                    <a:pt x="5431" y="66059"/>
                    <a:pt x="4655" y="69163"/>
                    <a:pt x="3879" y="71492"/>
                  </a:cubicBezTo>
                  <a:cubicBezTo>
                    <a:pt x="5431" y="73044"/>
                    <a:pt x="6982" y="74596"/>
                    <a:pt x="10085" y="74596"/>
                  </a:cubicBezTo>
                  <a:cubicBezTo>
                    <a:pt x="16292" y="73820"/>
                    <a:pt x="22498" y="76149"/>
                    <a:pt x="30256" y="80029"/>
                  </a:cubicBezTo>
                  <a:cubicBezTo>
                    <a:pt x="38014" y="83134"/>
                    <a:pt x="34911" y="79253"/>
                    <a:pt x="42669" y="80029"/>
                  </a:cubicBezTo>
                  <a:cubicBezTo>
                    <a:pt x="49651" y="80805"/>
                    <a:pt x="58185" y="81582"/>
                    <a:pt x="65943" y="76925"/>
                  </a:cubicBezTo>
                  <a:cubicBezTo>
                    <a:pt x="71373" y="73820"/>
                    <a:pt x="74477" y="67611"/>
                    <a:pt x="78355" y="62178"/>
                  </a:cubicBezTo>
                  <a:cubicBezTo>
                    <a:pt x="73701" y="55193"/>
                    <a:pt x="76028" y="45103"/>
                    <a:pt x="76028" y="3967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26" name="Forma libre 18">
              <a:extLst>
                <a:ext uri="{FF2B5EF4-FFF2-40B4-BE49-F238E27FC236}">
                  <a16:creationId xmlns:a16="http://schemas.microsoft.com/office/drawing/2014/main" id="{EE2B4B33-BF81-71E8-2FD5-16C16CDEDE66}"/>
                </a:ext>
              </a:extLst>
            </p:cNvPr>
            <p:cNvSpPr/>
            <p:nvPr/>
          </p:nvSpPr>
          <p:spPr>
            <a:xfrm>
              <a:off x="2984714" y="3719505"/>
              <a:ext cx="373812" cy="740109"/>
            </a:xfrm>
            <a:custGeom>
              <a:avLst/>
              <a:gdLst>
                <a:gd name="connsiteX0" fmla="*/ 113447 w 312826"/>
                <a:gd name="connsiteY0" fmla="*/ 607268 h 619363"/>
                <a:gd name="connsiteX1" fmla="*/ 82415 w 312826"/>
                <a:gd name="connsiteY1" fmla="*/ 587088 h 619363"/>
                <a:gd name="connsiteX2" fmla="*/ 74657 w 312826"/>
                <a:gd name="connsiteY2" fmla="*/ 580103 h 619363"/>
                <a:gd name="connsiteX3" fmla="*/ 76209 w 312826"/>
                <a:gd name="connsiteY3" fmla="*/ 573894 h 619363"/>
                <a:gd name="connsiteX4" fmla="*/ 70778 w 312826"/>
                <a:gd name="connsiteY4" fmla="*/ 565356 h 619363"/>
                <a:gd name="connsiteX5" fmla="*/ 70778 w 312826"/>
                <a:gd name="connsiteY5" fmla="*/ 616582 h 619363"/>
                <a:gd name="connsiteX6" fmla="*/ 97155 w 312826"/>
                <a:gd name="connsiteY6" fmla="*/ 618134 h 619363"/>
                <a:gd name="connsiteX7" fmla="*/ 104137 w 312826"/>
                <a:gd name="connsiteY7" fmla="*/ 618134 h 619363"/>
                <a:gd name="connsiteX8" fmla="*/ 123532 w 312826"/>
                <a:gd name="connsiteY8" fmla="*/ 612701 h 619363"/>
                <a:gd name="connsiteX9" fmla="*/ 113447 w 312826"/>
                <a:gd name="connsiteY9" fmla="*/ 607268 h 619363"/>
                <a:gd name="connsiteX10" fmla="*/ 305069 w 312826"/>
                <a:gd name="connsiteY10" fmla="*/ 60861 h 619363"/>
                <a:gd name="connsiteX11" fmla="*/ 294983 w 312826"/>
                <a:gd name="connsiteY11" fmla="*/ 60085 h 619363"/>
                <a:gd name="connsiteX12" fmla="*/ 294983 w 312826"/>
                <a:gd name="connsiteY12" fmla="*/ 61637 h 619363"/>
                <a:gd name="connsiteX13" fmla="*/ 287225 w 312826"/>
                <a:gd name="connsiteY13" fmla="*/ 84922 h 619363"/>
                <a:gd name="connsiteX14" fmla="*/ 274813 w 312826"/>
                <a:gd name="connsiteY14" fmla="*/ 91131 h 619363"/>
                <a:gd name="connsiteX15" fmla="*/ 260848 w 312826"/>
                <a:gd name="connsiteY15" fmla="*/ 94235 h 619363"/>
                <a:gd name="connsiteX16" fmla="*/ 246108 w 312826"/>
                <a:gd name="connsiteY16" fmla="*/ 92683 h 619363"/>
                <a:gd name="connsiteX17" fmla="*/ 231368 w 312826"/>
                <a:gd name="connsiteY17" fmla="*/ 89578 h 619363"/>
                <a:gd name="connsiteX18" fmla="*/ 236799 w 312826"/>
                <a:gd name="connsiteY18" fmla="*/ 79488 h 619363"/>
                <a:gd name="connsiteX19" fmla="*/ 249211 w 312826"/>
                <a:gd name="connsiteY19" fmla="*/ 58533 h 619363"/>
                <a:gd name="connsiteX20" fmla="*/ 220507 w 312826"/>
                <a:gd name="connsiteY20" fmla="*/ 43786 h 619363"/>
                <a:gd name="connsiteX21" fmla="*/ 203439 w 312826"/>
                <a:gd name="connsiteY21" fmla="*/ 35248 h 619363"/>
                <a:gd name="connsiteX22" fmla="*/ 186372 w 312826"/>
                <a:gd name="connsiteY22" fmla="*/ 24382 h 619363"/>
                <a:gd name="connsiteX23" fmla="*/ 164650 w 312826"/>
                <a:gd name="connsiteY23" fmla="*/ 1874 h 619363"/>
                <a:gd name="connsiteX24" fmla="*/ 149134 w 312826"/>
                <a:gd name="connsiteY24" fmla="*/ 1874 h 619363"/>
                <a:gd name="connsiteX25" fmla="*/ 139824 w 312826"/>
                <a:gd name="connsiteY25" fmla="*/ 11188 h 619363"/>
                <a:gd name="connsiteX26" fmla="*/ 121981 w 312826"/>
                <a:gd name="connsiteY26" fmla="*/ 3426 h 619363"/>
                <a:gd name="connsiteX27" fmla="*/ 108016 w 312826"/>
                <a:gd name="connsiteY27" fmla="*/ 4202 h 619363"/>
                <a:gd name="connsiteX28" fmla="*/ 96380 w 312826"/>
                <a:gd name="connsiteY28" fmla="*/ 13516 h 619363"/>
                <a:gd name="connsiteX29" fmla="*/ 93276 w 312826"/>
                <a:gd name="connsiteY29" fmla="*/ 32143 h 619363"/>
                <a:gd name="connsiteX30" fmla="*/ 75433 w 312826"/>
                <a:gd name="connsiteY30" fmla="*/ 46114 h 619363"/>
                <a:gd name="connsiteX31" fmla="*/ 74657 w 312826"/>
                <a:gd name="connsiteY31" fmla="*/ 56980 h 619363"/>
                <a:gd name="connsiteX32" fmla="*/ 76209 w 312826"/>
                <a:gd name="connsiteY32" fmla="*/ 74056 h 619363"/>
                <a:gd name="connsiteX33" fmla="*/ 76985 w 312826"/>
                <a:gd name="connsiteY33" fmla="*/ 84145 h 619363"/>
                <a:gd name="connsiteX34" fmla="*/ 67675 w 312826"/>
                <a:gd name="connsiteY34" fmla="*/ 91907 h 619363"/>
                <a:gd name="connsiteX35" fmla="*/ 63020 w 312826"/>
                <a:gd name="connsiteY35" fmla="*/ 105101 h 619363"/>
                <a:gd name="connsiteX36" fmla="*/ 56038 w 312826"/>
                <a:gd name="connsiteY36" fmla="*/ 119072 h 619363"/>
                <a:gd name="connsiteX37" fmla="*/ 52159 w 312826"/>
                <a:gd name="connsiteY37" fmla="*/ 127610 h 619363"/>
                <a:gd name="connsiteX38" fmla="*/ 52159 w 312826"/>
                <a:gd name="connsiteY38" fmla="*/ 143909 h 619363"/>
                <a:gd name="connsiteX39" fmla="*/ 45953 w 312826"/>
                <a:gd name="connsiteY39" fmla="*/ 156327 h 619363"/>
                <a:gd name="connsiteX40" fmla="*/ 45953 w 312826"/>
                <a:gd name="connsiteY40" fmla="*/ 173402 h 619363"/>
                <a:gd name="connsiteX41" fmla="*/ 51383 w 312826"/>
                <a:gd name="connsiteY41" fmla="*/ 188925 h 619363"/>
                <a:gd name="connsiteX42" fmla="*/ 55262 w 312826"/>
                <a:gd name="connsiteY42" fmla="*/ 202896 h 619363"/>
                <a:gd name="connsiteX43" fmla="*/ 51383 w 312826"/>
                <a:gd name="connsiteY43" fmla="*/ 216090 h 619363"/>
                <a:gd name="connsiteX44" fmla="*/ 46729 w 312826"/>
                <a:gd name="connsiteY44" fmla="*/ 226956 h 619363"/>
                <a:gd name="connsiteX45" fmla="*/ 46729 w 312826"/>
                <a:gd name="connsiteY45" fmla="*/ 246360 h 619363"/>
                <a:gd name="connsiteX46" fmla="*/ 35092 w 312826"/>
                <a:gd name="connsiteY46" fmla="*/ 261883 h 619363"/>
                <a:gd name="connsiteX47" fmla="*/ 35867 w 312826"/>
                <a:gd name="connsiteY47" fmla="*/ 282839 h 619363"/>
                <a:gd name="connsiteX48" fmla="*/ 39746 w 312826"/>
                <a:gd name="connsiteY48" fmla="*/ 291377 h 619363"/>
                <a:gd name="connsiteX49" fmla="*/ 31213 w 312826"/>
                <a:gd name="connsiteY49" fmla="*/ 297586 h 619363"/>
                <a:gd name="connsiteX50" fmla="*/ 30437 w 312826"/>
                <a:gd name="connsiteY50" fmla="*/ 309228 h 619363"/>
                <a:gd name="connsiteX51" fmla="*/ 26558 w 312826"/>
                <a:gd name="connsiteY51" fmla="*/ 319318 h 619363"/>
                <a:gd name="connsiteX52" fmla="*/ 22679 w 312826"/>
                <a:gd name="connsiteY52" fmla="*/ 330184 h 619363"/>
                <a:gd name="connsiteX53" fmla="*/ 25782 w 312826"/>
                <a:gd name="connsiteY53" fmla="*/ 341050 h 619363"/>
                <a:gd name="connsiteX54" fmla="*/ 25006 w 312826"/>
                <a:gd name="connsiteY54" fmla="*/ 358125 h 619363"/>
                <a:gd name="connsiteX55" fmla="*/ 22679 w 312826"/>
                <a:gd name="connsiteY55" fmla="*/ 374424 h 619363"/>
                <a:gd name="connsiteX56" fmla="*/ 24230 w 312826"/>
                <a:gd name="connsiteY56" fmla="*/ 382962 h 619363"/>
                <a:gd name="connsiteX57" fmla="*/ 26558 w 312826"/>
                <a:gd name="connsiteY57" fmla="*/ 393052 h 619363"/>
                <a:gd name="connsiteX58" fmla="*/ 31213 w 312826"/>
                <a:gd name="connsiteY58" fmla="*/ 400813 h 619363"/>
                <a:gd name="connsiteX59" fmla="*/ 33540 w 312826"/>
                <a:gd name="connsiteY59" fmla="*/ 407798 h 619363"/>
                <a:gd name="connsiteX60" fmla="*/ 27334 w 312826"/>
                <a:gd name="connsiteY60" fmla="*/ 410903 h 619363"/>
                <a:gd name="connsiteX61" fmla="*/ 29661 w 312826"/>
                <a:gd name="connsiteY61" fmla="*/ 420993 h 619363"/>
                <a:gd name="connsiteX62" fmla="*/ 27334 w 312826"/>
                <a:gd name="connsiteY62" fmla="*/ 433411 h 619363"/>
                <a:gd name="connsiteX63" fmla="*/ 26558 w 312826"/>
                <a:gd name="connsiteY63" fmla="*/ 445830 h 619363"/>
                <a:gd name="connsiteX64" fmla="*/ 21903 w 312826"/>
                <a:gd name="connsiteY64" fmla="*/ 456696 h 619363"/>
                <a:gd name="connsiteX65" fmla="*/ 15697 w 312826"/>
                <a:gd name="connsiteY65" fmla="*/ 466785 h 619363"/>
                <a:gd name="connsiteX66" fmla="*/ 16472 w 312826"/>
                <a:gd name="connsiteY66" fmla="*/ 479204 h 619363"/>
                <a:gd name="connsiteX67" fmla="*/ 10266 w 312826"/>
                <a:gd name="connsiteY67" fmla="*/ 490070 h 619363"/>
                <a:gd name="connsiteX68" fmla="*/ 1732 w 312826"/>
                <a:gd name="connsiteY68" fmla="*/ 500160 h 619363"/>
                <a:gd name="connsiteX69" fmla="*/ 2508 w 312826"/>
                <a:gd name="connsiteY69" fmla="*/ 514907 h 619363"/>
                <a:gd name="connsiteX70" fmla="*/ 5611 w 312826"/>
                <a:gd name="connsiteY70" fmla="*/ 524996 h 619363"/>
                <a:gd name="connsiteX71" fmla="*/ 20351 w 312826"/>
                <a:gd name="connsiteY71" fmla="*/ 529653 h 619363"/>
                <a:gd name="connsiteX72" fmla="*/ 21127 w 312826"/>
                <a:gd name="connsiteY72" fmla="*/ 547505 h 619363"/>
                <a:gd name="connsiteX73" fmla="*/ 28885 w 312826"/>
                <a:gd name="connsiteY73" fmla="*/ 553714 h 619363"/>
                <a:gd name="connsiteX74" fmla="*/ 56814 w 312826"/>
                <a:gd name="connsiteY74" fmla="*/ 552938 h 619363"/>
                <a:gd name="connsiteX75" fmla="*/ 65348 w 312826"/>
                <a:gd name="connsiteY75" fmla="*/ 557595 h 619363"/>
                <a:gd name="connsiteX76" fmla="*/ 80088 w 312826"/>
                <a:gd name="connsiteY76" fmla="*/ 559923 h 619363"/>
                <a:gd name="connsiteX77" fmla="*/ 71554 w 312826"/>
                <a:gd name="connsiteY77" fmla="*/ 545176 h 619363"/>
                <a:gd name="connsiteX78" fmla="*/ 70002 w 312826"/>
                <a:gd name="connsiteY78" fmla="*/ 533534 h 619363"/>
                <a:gd name="connsiteX79" fmla="*/ 73106 w 312826"/>
                <a:gd name="connsiteY79" fmla="*/ 518787 h 619363"/>
                <a:gd name="connsiteX80" fmla="*/ 81639 w 312826"/>
                <a:gd name="connsiteY80" fmla="*/ 512578 h 619363"/>
                <a:gd name="connsiteX81" fmla="*/ 90949 w 312826"/>
                <a:gd name="connsiteY81" fmla="*/ 501712 h 619363"/>
                <a:gd name="connsiteX82" fmla="*/ 101810 w 312826"/>
                <a:gd name="connsiteY82" fmla="*/ 484637 h 619363"/>
                <a:gd name="connsiteX83" fmla="*/ 120429 w 312826"/>
                <a:gd name="connsiteY83" fmla="*/ 469114 h 619363"/>
                <a:gd name="connsiteX84" fmla="*/ 123532 w 312826"/>
                <a:gd name="connsiteY84" fmla="*/ 453591 h 619363"/>
                <a:gd name="connsiteX85" fmla="*/ 108016 w 312826"/>
                <a:gd name="connsiteY85" fmla="*/ 449710 h 619363"/>
                <a:gd name="connsiteX86" fmla="*/ 97155 w 312826"/>
                <a:gd name="connsiteY86" fmla="*/ 425650 h 619363"/>
                <a:gd name="connsiteX87" fmla="*/ 122757 w 312826"/>
                <a:gd name="connsiteY87" fmla="*/ 410903 h 619363"/>
                <a:gd name="connsiteX88" fmla="*/ 126636 w 312826"/>
                <a:gd name="connsiteY88" fmla="*/ 402365 h 619363"/>
                <a:gd name="connsiteX89" fmla="*/ 130515 w 312826"/>
                <a:gd name="connsiteY89" fmla="*/ 391499 h 619363"/>
                <a:gd name="connsiteX90" fmla="*/ 136721 w 312826"/>
                <a:gd name="connsiteY90" fmla="*/ 375200 h 619363"/>
                <a:gd name="connsiteX91" fmla="*/ 140600 w 312826"/>
                <a:gd name="connsiteY91" fmla="*/ 369767 h 619363"/>
                <a:gd name="connsiteX92" fmla="*/ 141376 w 312826"/>
                <a:gd name="connsiteY92" fmla="*/ 363558 h 619363"/>
                <a:gd name="connsiteX93" fmla="*/ 149909 w 312826"/>
                <a:gd name="connsiteY93" fmla="*/ 368991 h 619363"/>
                <a:gd name="connsiteX94" fmla="*/ 156116 w 312826"/>
                <a:gd name="connsiteY94" fmla="*/ 356573 h 619363"/>
                <a:gd name="connsiteX95" fmla="*/ 145255 w 312826"/>
                <a:gd name="connsiteY95" fmla="*/ 359677 h 619363"/>
                <a:gd name="connsiteX96" fmla="*/ 136721 w 312826"/>
                <a:gd name="connsiteY96" fmla="*/ 355797 h 619363"/>
                <a:gd name="connsiteX97" fmla="*/ 134393 w 312826"/>
                <a:gd name="connsiteY97" fmla="*/ 344154 h 619363"/>
                <a:gd name="connsiteX98" fmla="*/ 133618 w 312826"/>
                <a:gd name="connsiteY98" fmla="*/ 329408 h 619363"/>
                <a:gd name="connsiteX99" fmla="*/ 158443 w 312826"/>
                <a:gd name="connsiteY99" fmla="*/ 335617 h 619363"/>
                <a:gd name="connsiteX100" fmla="*/ 176287 w 312826"/>
                <a:gd name="connsiteY100" fmla="*/ 326303 h 619363"/>
                <a:gd name="connsiteX101" fmla="*/ 177838 w 312826"/>
                <a:gd name="connsiteY101" fmla="*/ 311556 h 619363"/>
                <a:gd name="connsiteX102" fmla="*/ 177062 w 312826"/>
                <a:gd name="connsiteY102" fmla="*/ 300690 h 619363"/>
                <a:gd name="connsiteX103" fmla="*/ 182493 w 312826"/>
                <a:gd name="connsiteY103" fmla="*/ 294481 h 619363"/>
                <a:gd name="connsiteX104" fmla="*/ 222834 w 312826"/>
                <a:gd name="connsiteY104" fmla="*/ 292153 h 619363"/>
                <a:gd name="connsiteX105" fmla="*/ 252315 w 312826"/>
                <a:gd name="connsiteY105" fmla="*/ 277406 h 619363"/>
                <a:gd name="connsiteX106" fmla="*/ 266279 w 312826"/>
                <a:gd name="connsiteY106" fmla="*/ 257226 h 619363"/>
                <a:gd name="connsiteX107" fmla="*/ 260073 w 312826"/>
                <a:gd name="connsiteY107" fmla="*/ 247136 h 619363"/>
                <a:gd name="connsiteX108" fmla="*/ 256969 w 312826"/>
                <a:gd name="connsiteY108" fmla="*/ 233942 h 619363"/>
                <a:gd name="connsiteX109" fmla="*/ 248436 w 312826"/>
                <a:gd name="connsiteY109" fmla="*/ 224628 h 619363"/>
                <a:gd name="connsiteX110" fmla="*/ 237574 w 312826"/>
                <a:gd name="connsiteY110" fmla="*/ 213762 h 619363"/>
                <a:gd name="connsiteX111" fmla="*/ 243005 w 312826"/>
                <a:gd name="connsiteY111" fmla="*/ 212986 h 619363"/>
                <a:gd name="connsiteX112" fmla="*/ 243781 w 312826"/>
                <a:gd name="connsiteY112" fmla="*/ 206776 h 619363"/>
                <a:gd name="connsiteX113" fmla="*/ 239126 w 312826"/>
                <a:gd name="connsiteY113" fmla="*/ 197463 h 619363"/>
                <a:gd name="connsiteX114" fmla="*/ 243005 w 312826"/>
                <a:gd name="connsiteY114" fmla="*/ 177283 h 619363"/>
                <a:gd name="connsiteX115" fmla="*/ 248436 w 312826"/>
                <a:gd name="connsiteY115" fmla="*/ 150894 h 619363"/>
                <a:gd name="connsiteX116" fmla="*/ 267055 w 312826"/>
                <a:gd name="connsiteY116" fmla="*/ 125281 h 619363"/>
                <a:gd name="connsiteX117" fmla="*/ 294208 w 312826"/>
                <a:gd name="connsiteY117" fmla="*/ 96564 h 619363"/>
                <a:gd name="connsiteX118" fmla="*/ 312827 w 312826"/>
                <a:gd name="connsiteY118" fmla="*/ 85698 h 619363"/>
                <a:gd name="connsiteX119" fmla="*/ 305069 w 312826"/>
                <a:gd name="connsiteY119" fmla="*/ 60861 h 61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312826" h="619363">
                  <a:moveTo>
                    <a:pt x="113447" y="607268"/>
                  </a:moveTo>
                  <a:cubicBezTo>
                    <a:pt x="104913" y="607268"/>
                    <a:pt x="87846" y="590969"/>
                    <a:pt x="82415" y="587088"/>
                  </a:cubicBezTo>
                  <a:cubicBezTo>
                    <a:pt x="76985" y="583207"/>
                    <a:pt x="80864" y="578551"/>
                    <a:pt x="74657" y="580103"/>
                  </a:cubicBezTo>
                  <a:cubicBezTo>
                    <a:pt x="68451" y="580879"/>
                    <a:pt x="72330" y="575446"/>
                    <a:pt x="76209" y="573894"/>
                  </a:cubicBezTo>
                  <a:cubicBezTo>
                    <a:pt x="79312" y="572341"/>
                    <a:pt x="74657" y="566132"/>
                    <a:pt x="70778" y="565356"/>
                  </a:cubicBezTo>
                  <a:cubicBezTo>
                    <a:pt x="70002" y="574670"/>
                    <a:pt x="68451" y="616582"/>
                    <a:pt x="70778" y="616582"/>
                  </a:cubicBezTo>
                  <a:cubicBezTo>
                    <a:pt x="73106" y="617358"/>
                    <a:pt x="91725" y="614253"/>
                    <a:pt x="97155" y="618134"/>
                  </a:cubicBezTo>
                  <a:cubicBezTo>
                    <a:pt x="99483" y="618910"/>
                    <a:pt x="101810" y="620463"/>
                    <a:pt x="104137" y="618134"/>
                  </a:cubicBezTo>
                  <a:cubicBezTo>
                    <a:pt x="107241" y="614253"/>
                    <a:pt x="118102" y="616582"/>
                    <a:pt x="123532" y="612701"/>
                  </a:cubicBezTo>
                  <a:cubicBezTo>
                    <a:pt x="128963" y="608044"/>
                    <a:pt x="121981" y="607268"/>
                    <a:pt x="113447" y="607268"/>
                  </a:cubicBezTo>
                  <a:close/>
                  <a:moveTo>
                    <a:pt x="305069" y="60861"/>
                  </a:moveTo>
                  <a:cubicBezTo>
                    <a:pt x="303517" y="60085"/>
                    <a:pt x="298862" y="60085"/>
                    <a:pt x="294983" y="60085"/>
                  </a:cubicBezTo>
                  <a:cubicBezTo>
                    <a:pt x="294983" y="60861"/>
                    <a:pt x="294983" y="60861"/>
                    <a:pt x="294983" y="61637"/>
                  </a:cubicBezTo>
                  <a:cubicBezTo>
                    <a:pt x="295759" y="67846"/>
                    <a:pt x="291880" y="84922"/>
                    <a:pt x="287225" y="84922"/>
                  </a:cubicBezTo>
                  <a:cubicBezTo>
                    <a:pt x="282571" y="84145"/>
                    <a:pt x="278692" y="91907"/>
                    <a:pt x="274813" y="91131"/>
                  </a:cubicBezTo>
                  <a:cubicBezTo>
                    <a:pt x="270934" y="90354"/>
                    <a:pt x="266279" y="96564"/>
                    <a:pt x="260848" y="94235"/>
                  </a:cubicBezTo>
                  <a:cubicBezTo>
                    <a:pt x="256194" y="91131"/>
                    <a:pt x="249987" y="95011"/>
                    <a:pt x="246108" y="92683"/>
                  </a:cubicBezTo>
                  <a:cubicBezTo>
                    <a:pt x="242229" y="90354"/>
                    <a:pt x="231368" y="91907"/>
                    <a:pt x="231368" y="89578"/>
                  </a:cubicBezTo>
                  <a:cubicBezTo>
                    <a:pt x="231368" y="86474"/>
                    <a:pt x="236799" y="88026"/>
                    <a:pt x="236799" y="79488"/>
                  </a:cubicBezTo>
                  <a:cubicBezTo>
                    <a:pt x="236799" y="70951"/>
                    <a:pt x="250763" y="61637"/>
                    <a:pt x="249211" y="58533"/>
                  </a:cubicBezTo>
                  <a:cubicBezTo>
                    <a:pt x="247660" y="55428"/>
                    <a:pt x="223610" y="48443"/>
                    <a:pt x="220507" y="43786"/>
                  </a:cubicBezTo>
                  <a:cubicBezTo>
                    <a:pt x="217404" y="39905"/>
                    <a:pt x="212749" y="36024"/>
                    <a:pt x="203439" y="35248"/>
                  </a:cubicBezTo>
                  <a:cubicBezTo>
                    <a:pt x="194130" y="34472"/>
                    <a:pt x="194906" y="29815"/>
                    <a:pt x="186372" y="24382"/>
                  </a:cubicBezTo>
                  <a:cubicBezTo>
                    <a:pt x="179390" y="19725"/>
                    <a:pt x="168529" y="8859"/>
                    <a:pt x="164650" y="1874"/>
                  </a:cubicBezTo>
                  <a:cubicBezTo>
                    <a:pt x="159219" y="1098"/>
                    <a:pt x="150685" y="322"/>
                    <a:pt x="149134" y="1874"/>
                  </a:cubicBezTo>
                  <a:cubicBezTo>
                    <a:pt x="146806" y="4978"/>
                    <a:pt x="142927" y="17397"/>
                    <a:pt x="139824" y="11188"/>
                  </a:cubicBezTo>
                  <a:cubicBezTo>
                    <a:pt x="136721" y="4978"/>
                    <a:pt x="128963" y="4978"/>
                    <a:pt x="121981" y="3426"/>
                  </a:cubicBezTo>
                  <a:cubicBezTo>
                    <a:pt x="114999" y="2650"/>
                    <a:pt x="115774" y="-4335"/>
                    <a:pt x="108016" y="4202"/>
                  </a:cubicBezTo>
                  <a:cubicBezTo>
                    <a:pt x="104913" y="8083"/>
                    <a:pt x="100259" y="11188"/>
                    <a:pt x="96380" y="13516"/>
                  </a:cubicBezTo>
                  <a:cubicBezTo>
                    <a:pt x="95604" y="21277"/>
                    <a:pt x="94828" y="29039"/>
                    <a:pt x="93276" y="32143"/>
                  </a:cubicBezTo>
                  <a:cubicBezTo>
                    <a:pt x="91725" y="35248"/>
                    <a:pt x="76209" y="42234"/>
                    <a:pt x="75433" y="46114"/>
                  </a:cubicBezTo>
                  <a:cubicBezTo>
                    <a:pt x="74657" y="49995"/>
                    <a:pt x="76985" y="54652"/>
                    <a:pt x="74657" y="56980"/>
                  </a:cubicBezTo>
                  <a:cubicBezTo>
                    <a:pt x="71554" y="59309"/>
                    <a:pt x="80864" y="70951"/>
                    <a:pt x="76209" y="74056"/>
                  </a:cubicBezTo>
                  <a:cubicBezTo>
                    <a:pt x="70778" y="77160"/>
                    <a:pt x="80088" y="81817"/>
                    <a:pt x="76985" y="84145"/>
                  </a:cubicBezTo>
                  <a:cubicBezTo>
                    <a:pt x="73881" y="87250"/>
                    <a:pt x="67675" y="88026"/>
                    <a:pt x="67675" y="91907"/>
                  </a:cubicBezTo>
                  <a:cubicBezTo>
                    <a:pt x="67675" y="95011"/>
                    <a:pt x="66899" y="102773"/>
                    <a:pt x="63020" y="105101"/>
                  </a:cubicBezTo>
                  <a:cubicBezTo>
                    <a:pt x="59141" y="106654"/>
                    <a:pt x="56038" y="113639"/>
                    <a:pt x="56038" y="119072"/>
                  </a:cubicBezTo>
                  <a:cubicBezTo>
                    <a:pt x="56038" y="124505"/>
                    <a:pt x="49832" y="120624"/>
                    <a:pt x="52159" y="127610"/>
                  </a:cubicBezTo>
                  <a:cubicBezTo>
                    <a:pt x="54487" y="133819"/>
                    <a:pt x="57590" y="142356"/>
                    <a:pt x="52159" y="143909"/>
                  </a:cubicBezTo>
                  <a:cubicBezTo>
                    <a:pt x="46729" y="145461"/>
                    <a:pt x="48280" y="156327"/>
                    <a:pt x="45953" y="156327"/>
                  </a:cubicBezTo>
                  <a:cubicBezTo>
                    <a:pt x="42850" y="156327"/>
                    <a:pt x="42074" y="167193"/>
                    <a:pt x="45953" y="173402"/>
                  </a:cubicBezTo>
                  <a:cubicBezTo>
                    <a:pt x="49832" y="178835"/>
                    <a:pt x="51383" y="183492"/>
                    <a:pt x="51383" y="188925"/>
                  </a:cubicBezTo>
                  <a:cubicBezTo>
                    <a:pt x="51383" y="194358"/>
                    <a:pt x="56814" y="196687"/>
                    <a:pt x="55262" y="202896"/>
                  </a:cubicBezTo>
                  <a:cubicBezTo>
                    <a:pt x="53711" y="208329"/>
                    <a:pt x="54487" y="213762"/>
                    <a:pt x="51383" y="216090"/>
                  </a:cubicBezTo>
                  <a:cubicBezTo>
                    <a:pt x="48280" y="218419"/>
                    <a:pt x="50608" y="225404"/>
                    <a:pt x="46729" y="226956"/>
                  </a:cubicBezTo>
                  <a:cubicBezTo>
                    <a:pt x="42850" y="228509"/>
                    <a:pt x="49832" y="244032"/>
                    <a:pt x="46729" y="246360"/>
                  </a:cubicBezTo>
                  <a:cubicBezTo>
                    <a:pt x="43625" y="249464"/>
                    <a:pt x="35092" y="251793"/>
                    <a:pt x="35092" y="261883"/>
                  </a:cubicBezTo>
                  <a:cubicBezTo>
                    <a:pt x="35092" y="271973"/>
                    <a:pt x="36643" y="278182"/>
                    <a:pt x="35867" y="282839"/>
                  </a:cubicBezTo>
                  <a:cubicBezTo>
                    <a:pt x="35092" y="286720"/>
                    <a:pt x="40522" y="285943"/>
                    <a:pt x="39746" y="291377"/>
                  </a:cubicBezTo>
                  <a:cubicBezTo>
                    <a:pt x="38971" y="297586"/>
                    <a:pt x="31213" y="293705"/>
                    <a:pt x="31213" y="297586"/>
                  </a:cubicBezTo>
                  <a:cubicBezTo>
                    <a:pt x="30437" y="301466"/>
                    <a:pt x="32764" y="309228"/>
                    <a:pt x="30437" y="309228"/>
                  </a:cubicBezTo>
                  <a:cubicBezTo>
                    <a:pt x="27334" y="310004"/>
                    <a:pt x="26558" y="312332"/>
                    <a:pt x="26558" y="319318"/>
                  </a:cubicBezTo>
                  <a:cubicBezTo>
                    <a:pt x="26558" y="325527"/>
                    <a:pt x="22679" y="327079"/>
                    <a:pt x="22679" y="330184"/>
                  </a:cubicBezTo>
                  <a:cubicBezTo>
                    <a:pt x="21903" y="333288"/>
                    <a:pt x="25782" y="337169"/>
                    <a:pt x="25782" y="341050"/>
                  </a:cubicBezTo>
                  <a:cubicBezTo>
                    <a:pt x="25782" y="344931"/>
                    <a:pt x="28109" y="357349"/>
                    <a:pt x="25006" y="358125"/>
                  </a:cubicBezTo>
                  <a:cubicBezTo>
                    <a:pt x="21903" y="358901"/>
                    <a:pt x="19576" y="372872"/>
                    <a:pt x="22679" y="374424"/>
                  </a:cubicBezTo>
                  <a:cubicBezTo>
                    <a:pt x="25782" y="375976"/>
                    <a:pt x="25782" y="379857"/>
                    <a:pt x="24230" y="382962"/>
                  </a:cubicBezTo>
                  <a:cubicBezTo>
                    <a:pt x="22679" y="386066"/>
                    <a:pt x="30437" y="388395"/>
                    <a:pt x="26558" y="393052"/>
                  </a:cubicBezTo>
                  <a:cubicBezTo>
                    <a:pt x="22679" y="396932"/>
                    <a:pt x="25782" y="402365"/>
                    <a:pt x="31213" y="400813"/>
                  </a:cubicBezTo>
                  <a:cubicBezTo>
                    <a:pt x="35867" y="399261"/>
                    <a:pt x="38971" y="407798"/>
                    <a:pt x="33540" y="407798"/>
                  </a:cubicBezTo>
                  <a:cubicBezTo>
                    <a:pt x="28109" y="407798"/>
                    <a:pt x="23455" y="407798"/>
                    <a:pt x="27334" y="410903"/>
                  </a:cubicBezTo>
                  <a:cubicBezTo>
                    <a:pt x="31213" y="414008"/>
                    <a:pt x="35867" y="418664"/>
                    <a:pt x="29661" y="420993"/>
                  </a:cubicBezTo>
                  <a:cubicBezTo>
                    <a:pt x="23455" y="423321"/>
                    <a:pt x="28885" y="427202"/>
                    <a:pt x="27334" y="433411"/>
                  </a:cubicBezTo>
                  <a:cubicBezTo>
                    <a:pt x="25782" y="438844"/>
                    <a:pt x="31213" y="444277"/>
                    <a:pt x="26558" y="445830"/>
                  </a:cubicBezTo>
                  <a:cubicBezTo>
                    <a:pt x="21903" y="447382"/>
                    <a:pt x="28109" y="455919"/>
                    <a:pt x="21903" y="456696"/>
                  </a:cubicBezTo>
                  <a:cubicBezTo>
                    <a:pt x="15697" y="457472"/>
                    <a:pt x="19576" y="463681"/>
                    <a:pt x="15697" y="466785"/>
                  </a:cubicBezTo>
                  <a:cubicBezTo>
                    <a:pt x="11818" y="469890"/>
                    <a:pt x="21127" y="475323"/>
                    <a:pt x="16472" y="479204"/>
                  </a:cubicBezTo>
                  <a:cubicBezTo>
                    <a:pt x="11042" y="482308"/>
                    <a:pt x="14921" y="490070"/>
                    <a:pt x="10266" y="490070"/>
                  </a:cubicBezTo>
                  <a:cubicBezTo>
                    <a:pt x="4836" y="490070"/>
                    <a:pt x="2508" y="497055"/>
                    <a:pt x="1732" y="500160"/>
                  </a:cubicBezTo>
                  <a:cubicBezTo>
                    <a:pt x="957" y="503264"/>
                    <a:pt x="-2147" y="510250"/>
                    <a:pt x="2508" y="514907"/>
                  </a:cubicBezTo>
                  <a:cubicBezTo>
                    <a:pt x="6387" y="519564"/>
                    <a:pt x="1732" y="523444"/>
                    <a:pt x="5611" y="524996"/>
                  </a:cubicBezTo>
                  <a:cubicBezTo>
                    <a:pt x="9490" y="526549"/>
                    <a:pt x="21903" y="524220"/>
                    <a:pt x="20351" y="529653"/>
                  </a:cubicBezTo>
                  <a:cubicBezTo>
                    <a:pt x="18800" y="535086"/>
                    <a:pt x="18800" y="547505"/>
                    <a:pt x="21127" y="547505"/>
                  </a:cubicBezTo>
                  <a:cubicBezTo>
                    <a:pt x="23455" y="547505"/>
                    <a:pt x="25006" y="554490"/>
                    <a:pt x="28885" y="553714"/>
                  </a:cubicBezTo>
                  <a:cubicBezTo>
                    <a:pt x="32764" y="552938"/>
                    <a:pt x="49832" y="551386"/>
                    <a:pt x="56814" y="552938"/>
                  </a:cubicBezTo>
                  <a:cubicBezTo>
                    <a:pt x="59917" y="553714"/>
                    <a:pt x="63020" y="556042"/>
                    <a:pt x="65348" y="557595"/>
                  </a:cubicBezTo>
                  <a:cubicBezTo>
                    <a:pt x="69227" y="556042"/>
                    <a:pt x="77760" y="561475"/>
                    <a:pt x="80088" y="559923"/>
                  </a:cubicBezTo>
                  <a:cubicBezTo>
                    <a:pt x="82415" y="557595"/>
                    <a:pt x="71554" y="548281"/>
                    <a:pt x="71554" y="545176"/>
                  </a:cubicBezTo>
                  <a:cubicBezTo>
                    <a:pt x="71554" y="542072"/>
                    <a:pt x="70002" y="536639"/>
                    <a:pt x="70002" y="533534"/>
                  </a:cubicBezTo>
                  <a:cubicBezTo>
                    <a:pt x="70002" y="530430"/>
                    <a:pt x="68451" y="522668"/>
                    <a:pt x="73106" y="518787"/>
                  </a:cubicBezTo>
                  <a:cubicBezTo>
                    <a:pt x="77760" y="515683"/>
                    <a:pt x="78536" y="511802"/>
                    <a:pt x="81639" y="512578"/>
                  </a:cubicBezTo>
                  <a:cubicBezTo>
                    <a:pt x="84743" y="513354"/>
                    <a:pt x="90949" y="509473"/>
                    <a:pt x="90949" y="501712"/>
                  </a:cubicBezTo>
                  <a:cubicBezTo>
                    <a:pt x="90949" y="493175"/>
                    <a:pt x="94828" y="490070"/>
                    <a:pt x="101810" y="484637"/>
                  </a:cubicBezTo>
                  <a:cubicBezTo>
                    <a:pt x="109568" y="478428"/>
                    <a:pt x="121981" y="472219"/>
                    <a:pt x="120429" y="469114"/>
                  </a:cubicBezTo>
                  <a:cubicBezTo>
                    <a:pt x="118878" y="466009"/>
                    <a:pt x="123532" y="457472"/>
                    <a:pt x="123532" y="453591"/>
                  </a:cubicBezTo>
                  <a:cubicBezTo>
                    <a:pt x="123532" y="450487"/>
                    <a:pt x="111895" y="450487"/>
                    <a:pt x="108016" y="449710"/>
                  </a:cubicBezTo>
                  <a:cubicBezTo>
                    <a:pt x="104137" y="448158"/>
                    <a:pt x="90173" y="438844"/>
                    <a:pt x="97155" y="425650"/>
                  </a:cubicBezTo>
                  <a:cubicBezTo>
                    <a:pt x="104137" y="413231"/>
                    <a:pt x="118878" y="411679"/>
                    <a:pt x="122757" y="410903"/>
                  </a:cubicBezTo>
                  <a:cubicBezTo>
                    <a:pt x="126636" y="410903"/>
                    <a:pt x="122757" y="404694"/>
                    <a:pt x="126636" y="402365"/>
                  </a:cubicBezTo>
                  <a:cubicBezTo>
                    <a:pt x="129739" y="400037"/>
                    <a:pt x="130515" y="396932"/>
                    <a:pt x="130515" y="391499"/>
                  </a:cubicBezTo>
                  <a:cubicBezTo>
                    <a:pt x="130515" y="385290"/>
                    <a:pt x="130515" y="375976"/>
                    <a:pt x="136721" y="375200"/>
                  </a:cubicBezTo>
                  <a:cubicBezTo>
                    <a:pt x="142927" y="374424"/>
                    <a:pt x="144479" y="371320"/>
                    <a:pt x="140600" y="369767"/>
                  </a:cubicBezTo>
                  <a:cubicBezTo>
                    <a:pt x="136721" y="368991"/>
                    <a:pt x="135169" y="364334"/>
                    <a:pt x="141376" y="363558"/>
                  </a:cubicBezTo>
                  <a:cubicBezTo>
                    <a:pt x="147582" y="362782"/>
                    <a:pt x="145255" y="368991"/>
                    <a:pt x="149909" y="368991"/>
                  </a:cubicBezTo>
                  <a:cubicBezTo>
                    <a:pt x="154564" y="368991"/>
                    <a:pt x="162322" y="361230"/>
                    <a:pt x="156116" y="356573"/>
                  </a:cubicBezTo>
                  <a:cubicBezTo>
                    <a:pt x="149909" y="351916"/>
                    <a:pt x="148358" y="358901"/>
                    <a:pt x="145255" y="359677"/>
                  </a:cubicBezTo>
                  <a:cubicBezTo>
                    <a:pt x="142151" y="360454"/>
                    <a:pt x="139824" y="355797"/>
                    <a:pt x="136721" y="355797"/>
                  </a:cubicBezTo>
                  <a:cubicBezTo>
                    <a:pt x="133618" y="355797"/>
                    <a:pt x="135945" y="347259"/>
                    <a:pt x="134393" y="344154"/>
                  </a:cubicBezTo>
                  <a:cubicBezTo>
                    <a:pt x="132842" y="341050"/>
                    <a:pt x="131290" y="333288"/>
                    <a:pt x="133618" y="329408"/>
                  </a:cubicBezTo>
                  <a:cubicBezTo>
                    <a:pt x="136721" y="325527"/>
                    <a:pt x="148358" y="335617"/>
                    <a:pt x="158443" y="335617"/>
                  </a:cubicBezTo>
                  <a:cubicBezTo>
                    <a:pt x="168529" y="336393"/>
                    <a:pt x="176287" y="330184"/>
                    <a:pt x="176287" y="326303"/>
                  </a:cubicBezTo>
                  <a:cubicBezTo>
                    <a:pt x="176287" y="322422"/>
                    <a:pt x="171632" y="315437"/>
                    <a:pt x="177838" y="311556"/>
                  </a:cubicBezTo>
                  <a:cubicBezTo>
                    <a:pt x="184045" y="307675"/>
                    <a:pt x="178614" y="306123"/>
                    <a:pt x="177062" y="300690"/>
                  </a:cubicBezTo>
                  <a:cubicBezTo>
                    <a:pt x="175511" y="295257"/>
                    <a:pt x="180166" y="291377"/>
                    <a:pt x="182493" y="294481"/>
                  </a:cubicBezTo>
                  <a:cubicBezTo>
                    <a:pt x="185596" y="297586"/>
                    <a:pt x="205767" y="295257"/>
                    <a:pt x="222834" y="292153"/>
                  </a:cubicBezTo>
                  <a:cubicBezTo>
                    <a:pt x="239902" y="289048"/>
                    <a:pt x="251539" y="282839"/>
                    <a:pt x="252315" y="277406"/>
                  </a:cubicBezTo>
                  <a:cubicBezTo>
                    <a:pt x="253090" y="272749"/>
                    <a:pt x="263952" y="261107"/>
                    <a:pt x="266279" y="257226"/>
                  </a:cubicBezTo>
                  <a:cubicBezTo>
                    <a:pt x="268606" y="253345"/>
                    <a:pt x="266279" y="247912"/>
                    <a:pt x="260073" y="247136"/>
                  </a:cubicBezTo>
                  <a:cubicBezTo>
                    <a:pt x="253090" y="246360"/>
                    <a:pt x="253866" y="237822"/>
                    <a:pt x="256969" y="233942"/>
                  </a:cubicBezTo>
                  <a:cubicBezTo>
                    <a:pt x="260848" y="229285"/>
                    <a:pt x="254642" y="225404"/>
                    <a:pt x="248436" y="224628"/>
                  </a:cubicBezTo>
                  <a:cubicBezTo>
                    <a:pt x="242229" y="223852"/>
                    <a:pt x="231368" y="219195"/>
                    <a:pt x="237574" y="213762"/>
                  </a:cubicBezTo>
                  <a:cubicBezTo>
                    <a:pt x="240678" y="211433"/>
                    <a:pt x="241453" y="211433"/>
                    <a:pt x="243005" y="212986"/>
                  </a:cubicBezTo>
                  <a:cubicBezTo>
                    <a:pt x="243781" y="210657"/>
                    <a:pt x="244557" y="207553"/>
                    <a:pt x="243781" y="206776"/>
                  </a:cubicBezTo>
                  <a:cubicBezTo>
                    <a:pt x="242229" y="205224"/>
                    <a:pt x="239126" y="206776"/>
                    <a:pt x="239126" y="197463"/>
                  </a:cubicBezTo>
                  <a:cubicBezTo>
                    <a:pt x="239126" y="187373"/>
                    <a:pt x="243005" y="189701"/>
                    <a:pt x="243005" y="177283"/>
                  </a:cubicBezTo>
                  <a:cubicBezTo>
                    <a:pt x="243005" y="164865"/>
                    <a:pt x="248436" y="157103"/>
                    <a:pt x="248436" y="150894"/>
                  </a:cubicBezTo>
                  <a:cubicBezTo>
                    <a:pt x="248436" y="143909"/>
                    <a:pt x="260073" y="136147"/>
                    <a:pt x="267055" y="125281"/>
                  </a:cubicBezTo>
                  <a:cubicBezTo>
                    <a:pt x="274037" y="114415"/>
                    <a:pt x="288001" y="100444"/>
                    <a:pt x="294208" y="96564"/>
                  </a:cubicBezTo>
                  <a:cubicBezTo>
                    <a:pt x="300414" y="92683"/>
                    <a:pt x="312051" y="89578"/>
                    <a:pt x="312827" y="85698"/>
                  </a:cubicBezTo>
                  <a:cubicBezTo>
                    <a:pt x="308948" y="81041"/>
                    <a:pt x="307396" y="61637"/>
                    <a:pt x="305069" y="60861"/>
                  </a:cubicBez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28" name="Forma libre 19">
              <a:extLst>
                <a:ext uri="{FF2B5EF4-FFF2-40B4-BE49-F238E27FC236}">
                  <a16:creationId xmlns:a16="http://schemas.microsoft.com/office/drawing/2014/main" id="{234E2C56-7570-D2E6-9118-869C6919157A}"/>
                </a:ext>
              </a:extLst>
            </p:cNvPr>
            <p:cNvSpPr/>
            <p:nvPr/>
          </p:nvSpPr>
          <p:spPr>
            <a:xfrm>
              <a:off x="2941326" y="3636062"/>
              <a:ext cx="164085" cy="836550"/>
            </a:xfrm>
            <a:custGeom>
              <a:avLst/>
              <a:gdLst>
                <a:gd name="connsiteX0" fmla="*/ 65943 w 137315"/>
                <a:gd name="connsiteY0" fmla="*/ 624582 h 700070"/>
                <a:gd name="connsiteX1" fmla="*/ 58185 w 137315"/>
                <a:gd name="connsiteY1" fmla="*/ 618373 h 700070"/>
                <a:gd name="connsiteX2" fmla="*/ 57409 w 137315"/>
                <a:gd name="connsiteY2" fmla="*/ 600522 h 700070"/>
                <a:gd name="connsiteX3" fmla="*/ 42669 w 137315"/>
                <a:gd name="connsiteY3" fmla="*/ 595865 h 700070"/>
                <a:gd name="connsiteX4" fmla="*/ 39566 w 137315"/>
                <a:gd name="connsiteY4" fmla="*/ 585775 h 700070"/>
                <a:gd name="connsiteX5" fmla="*/ 38790 w 137315"/>
                <a:gd name="connsiteY5" fmla="*/ 571028 h 700070"/>
                <a:gd name="connsiteX6" fmla="*/ 47324 w 137315"/>
                <a:gd name="connsiteY6" fmla="*/ 560938 h 700070"/>
                <a:gd name="connsiteX7" fmla="*/ 53530 w 137315"/>
                <a:gd name="connsiteY7" fmla="*/ 550072 h 700070"/>
                <a:gd name="connsiteX8" fmla="*/ 52754 w 137315"/>
                <a:gd name="connsiteY8" fmla="*/ 537654 h 700070"/>
                <a:gd name="connsiteX9" fmla="*/ 58961 w 137315"/>
                <a:gd name="connsiteY9" fmla="*/ 527564 h 700070"/>
                <a:gd name="connsiteX10" fmla="*/ 63615 w 137315"/>
                <a:gd name="connsiteY10" fmla="*/ 516698 h 700070"/>
                <a:gd name="connsiteX11" fmla="*/ 64391 w 137315"/>
                <a:gd name="connsiteY11" fmla="*/ 504280 h 700070"/>
                <a:gd name="connsiteX12" fmla="*/ 66719 w 137315"/>
                <a:gd name="connsiteY12" fmla="*/ 491861 h 700070"/>
                <a:gd name="connsiteX13" fmla="*/ 64391 w 137315"/>
                <a:gd name="connsiteY13" fmla="*/ 481771 h 700070"/>
                <a:gd name="connsiteX14" fmla="*/ 70598 w 137315"/>
                <a:gd name="connsiteY14" fmla="*/ 478667 h 700070"/>
                <a:gd name="connsiteX15" fmla="*/ 68270 w 137315"/>
                <a:gd name="connsiteY15" fmla="*/ 471681 h 700070"/>
                <a:gd name="connsiteX16" fmla="*/ 63615 w 137315"/>
                <a:gd name="connsiteY16" fmla="*/ 463920 h 700070"/>
                <a:gd name="connsiteX17" fmla="*/ 61288 w 137315"/>
                <a:gd name="connsiteY17" fmla="*/ 453830 h 700070"/>
                <a:gd name="connsiteX18" fmla="*/ 59736 w 137315"/>
                <a:gd name="connsiteY18" fmla="*/ 445292 h 700070"/>
                <a:gd name="connsiteX19" fmla="*/ 62064 w 137315"/>
                <a:gd name="connsiteY19" fmla="*/ 428993 h 700070"/>
                <a:gd name="connsiteX20" fmla="*/ 62840 w 137315"/>
                <a:gd name="connsiteY20" fmla="*/ 411918 h 700070"/>
                <a:gd name="connsiteX21" fmla="*/ 59736 w 137315"/>
                <a:gd name="connsiteY21" fmla="*/ 401052 h 700070"/>
                <a:gd name="connsiteX22" fmla="*/ 63615 w 137315"/>
                <a:gd name="connsiteY22" fmla="*/ 390186 h 700070"/>
                <a:gd name="connsiteX23" fmla="*/ 67494 w 137315"/>
                <a:gd name="connsiteY23" fmla="*/ 380096 h 700070"/>
                <a:gd name="connsiteX24" fmla="*/ 68270 w 137315"/>
                <a:gd name="connsiteY24" fmla="*/ 368454 h 700070"/>
                <a:gd name="connsiteX25" fmla="*/ 76804 w 137315"/>
                <a:gd name="connsiteY25" fmla="*/ 362245 h 700070"/>
                <a:gd name="connsiteX26" fmla="*/ 72925 w 137315"/>
                <a:gd name="connsiteY26" fmla="*/ 353707 h 700070"/>
                <a:gd name="connsiteX27" fmla="*/ 72149 w 137315"/>
                <a:gd name="connsiteY27" fmla="*/ 332751 h 700070"/>
                <a:gd name="connsiteX28" fmla="*/ 83786 w 137315"/>
                <a:gd name="connsiteY28" fmla="*/ 317228 h 700070"/>
                <a:gd name="connsiteX29" fmla="*/ 83786 w 137315"/>
                <a:gd name="connsiteY29" fmla="*/ 297825 h 700070"/>
                <a:gd name="connsiteX30" fmla="*/ 88441 w 137315"/>
                <a:gd name="connsiteY30" fmla="*/ 286959 h 700070"/>
                <a:gd name="connsiteX31" fmla="*/ 92320 w 137315"/>
                <a:gd name="connsiteY31" fmla="*/ 273764 h 700070"/>
                <a:gd name="connsiteX32" fmla="*/ 88441 w 137315"/>
                <a:gd name="connsiteY32" fmla="*/ 259794 h 700070"/>
                <a:gd name="connsiteX33" fmla="*/ 83010 w 137315"/>
                <a:gd name="connsiteY33" fmla="*/ 244271 h 700070"/>
                <a:gd name="connsiteX34" fmla="*/ 83010 w 137315"/>
                <a:gd name="connsiteY34" fmla="*/ 227195 h 700070"/>
                <a:gd name="connsiteX35" fmla="*/ 89217 w 137315"/>
                <a:gd name="connsiteY35" fmla="*/ 214777 h 700070"/>
                <a:gd name="connsiteX36" fmla="*/ 89217 w 137315"/>
                <a:gd name="connsiteY36" fmla="*/ 198478 h 700070"/>
                <a:gd name="connsiteX37" fmla="*/ 93096 w 137315"/>
                <a:gd name="connsiteY37" fmla="*/ 189940 h 700070"/>
                <a:gd name="connsiteX38" fmla="*/ 100078 w 137315"/>
                <a:gd name="connsiteY38" fmla="*/ 175970 h 700070"/>
                <a:gd name="connsiteX39" fmla="*/ 104733 w 137315"/>
                <a:gd name="connsiteY39" fmla="*/ 162775 h 700070"/>
                <a:gd name="connsiteX40" fmla="*/ 114042 w 137315"/>
                <a:gd name="connsiteY40" fmla="*/ 155014 h 700070"/>
                <a:gd name="connsiteX41" fmla="*/ 113266 w 137315"/>
                <a:gd name="connsiteY41" fmla="*/ 144924 h 700070"/>
                <a:gd name="connsiteX42" fmla="*/ 111715 w 137315"/>
                <a:gd name="connsiteY42" fmla="*/ 127849 h 700070"/>
                <a:gd name="connsiteX43" fmla="*/ 112490 w 137315"/>
                <a:gd name="connsiteY43" fmla="*/ 116982 h 700070"/>
                <a:gd name="connsiteX44" fmla="*/ 130334 w 137315"/>
                <a:gd name="connsiteY44" fmla="*/ 103012 h 700070"/>
                <a:gd name="connsiteX45" fmla="*/ 133437 w 137315"/>
                <a:gd name="connsiteY45" fmla="*/ 84384 h 700070"/>
                <a:gd name="connsiteX46" fmla="*/ 123352 w 137315"/>
                <a:gd name="connsiteY46" fmla="*/ 87489 h 700070"/>
                <a:gd name="connsiteX47" fmla="*/ 119473 w 137315"/>
                <a:gd name="connsiteY47" fmla="*/ 70414 h 700070"/>
                <a:gd name="connsiteX48" fmla="*/ 114042 w 137315"/>
                <a:gd name="connsiteY48" fmla="*/ 56443 h 700070"/>
                <a:gd name="connsiteX49" fmla="*/ 108611 w 137315"/>
                <a:gd name="connsiteY49" fmla="*/ 43249 h 700070"/>
                <a:gd name="connsiteX50" fmla="*/ 111715 w 137315"/>
                <a:gd name="connsiteY50" fmla="*/ 32383 h 700070"/>
                <a:gd name="connsiteX51" fmla="*/ 105508 w 137315"/>
                <a:gd name="connsiteY51" fmla="*/ 23845 h 700070"/>
                <a:gd name="connsiteX52" fmla="*/ 101629 w 137315"/>
                <a:gd name="connsiteY52" fmla="*/ 7546 h 700070"/>
                <a:gd name="connsiteX53" fmla="*/ 94647 w 137315"/>
                <a:gd name="connsiteY53" fmla="*/ 561 h 700070"/>
                <a:gd name="connsiteX54" fmla="*/ 88441 w 137315"/>
                <a:gd name="connsiteY54" fmla="*/ 12979 h 700070"/>
                <a:gd name="connsiteX55" fmla="*/ 85338 w 137315"/>
                <a:gd name="connsiteY55" fmla="*/ 15307 h 700070"/>
                <a:gd name="connsiteX56" fmla="*/ 85338 w 137315"/>
                <a:gd name="connsiteY56" fmla="*/ 29278 h 700070"/>
                <a:gd name="connsiteX57" fmla="*/ 86113 w 137315"/>
                <a:gd name="connsiteY57" fmla="*/ 69638 h 700070"/>
                <a:gd name="connsiteX58" fmla="*/ 79907 w 137315"/>
                <a:gd name="connsiteY58" fmla="*/ 92922 h 700070"/>
                <a:gd name="connsiteX59" fmla="*/ 82234 w 137315"/>
                <a:gd name="connsiteY59" fmla="*/ 102236 h 700070"/>
                <a:gd name="connsiteX60" fmla="*/ 80683 w 137315"/>
                <a:gd name="connsiteY60" fmla="*/ 123192 h 700070"/>
                <a:gd name="connsiteX61" fmla="*/ 73701 w 137315"/>
                <a:gd name="connsiteY61" fmla="*/ 158895 h 700070"/>
                <a:gd name="connsiteX62" fmla="*/ 69822 w 137315"/>
                <a:gd name="connsiteY62" fmla="*/ 175193 h 700070"/>
                <a:gd name="connsiteX63" fmla="*/ 62840 w 137315"/>
                <a:gd name="connsiteY63" fmla="*/ 188388 h 700070"/>
                <a:gd name="connsiteX64" fmla="*/ 69046 w 137315"/>
                <a:gd name="connsiteY64" fmla="*/ 207015 h 700070"/>
                <a:gd name="connsiteX65" fmla="*/ 62840 w 137315"/>
                <a:gd name="connsiteY65" fmla="*/ 224091 h 700070"/>
                <a:gd name="connsiteX66" fmla="*/ 62840 w 137315"/>
                <a:gd name="connsiteY66" fmla="*/ 258241 h 700070"/>
                <a:gd name="connsiteX67" fmla="*/ 59736 w 137315"/>
                <a:gd name="connsiteY67" fmla="*/ 269107 h 700070"/>
                <a:gd name="connsiteX68" fmla="*/ 54306 w 137315"/>
                <a:gd name="connsiteY68" fmla="*/ 288511 h 700070"/>
                <a:gd name="connsiteX69" fmla="*/ 41893 w 137315"/>
                <a:gd name="connsiteY69" fmla="*/ 321885 h 700070"/>
                <a:gd name="connsiteX70" fmla="*/ 34911 w 137315"/>
                <a:gd name="connsiteY70" fmla="*/ 334303 h 700070"/>
                <a:gd name="connsiteX71" fmla="*/ 32583 w 137315"/>
                <a:gd name="connsiteY71" fmla="*/ 345946 h 700070"/>
                <a:gd name="connsiteX72" fmla="*/ 34911 w 137315"/>
                <a:gd name="connsiteY72" fmla="*/ 365349 h 700070"/>
                <a:gd name="connsiteX73" fmla="*/ 35687 w 137315"/>
                <a:gd name="connsiteY73" fmla="*/ 381648 h 700070"/>
                <a:gd name="connsiteX74" fmla="*/ 31032 w 137315"/>
                <a:gd name="connsiteY74" fmla="*/ 394843 h 700070"/>
                <a:gd name="connsiteX75" fmla="*/ 28704 w 137315"/>
                <a:gd name="connsiteY75" fmla="*/ 413470 h 700070"/>
                <a:gd name="connsiteX76" fmla="*/ 27153 w 137315"/>
                <a:gd name="connsiteY76" fmla="*/ 422784 h 700070"/>
                <a:gd name="connsiteX77" fmla="*/ 20946 w 137315"/>
                <a:gd name="connsiteY77" fmla="*/ 439859 h 700070"/>
                <a:gd name="connsiteX78" fmla="*/ 27929 w 137315"/>
                <a:gd name="connsiteY78" fmla="*/ 449949 h 700070"/>
                <a:gd name="connsiteX79" fmla="*/ 34911 w 137315"/>
                <a:gd name="connsiteY79" fmla="*/ 422008 h 700070"/>
                <a:gd name="connsiteX80" fmla="*/ 41117 w 137315"/>
                <a:gd name="connsiteY80" fmla="*/ 415799 h 700070"/>
                <a:gd name="connsiteX81" fmla="*/ 44996 w 137315"/>
                <a:gd name="connsiteY81" fmla="*/ 422008 h 700070"/>
                <a:gd name="connsiteX82" fmla="*/ 45772 w 137315"/>
                <a:gd name="connsiteY82" fmla="*/ 428993 h 700070"/>
                <a:gd name="connsiteX83" fmla="*/ 44220 w 137315"/>
                <a:gd name="connsiteY83" fmla="*/ 442188 h 700070"/>
                <a:gd name="connsiteX84" fmla="*/ 40341 w 137315"/>
                <a:gd name="connsiteY84" fmla="*/ 454606 h 700070"/>
                <a:gd name="connsiteX85" fmla="*/ 37238 w 137315"/>
                <a:gd name="connsiteY85" fmla="*/ 464696 h 700070"/>
                <a:gd name="connsiteX86" fmla="*/ 38014 w 137315"/>
                <a:gd name="connsiteY86" fmla="*/ 472458 h 700070"/>
                <a:gd name="connsiteX87" fmla="*/ 38014 w 137315"/>
                <a:gd name="connsiteY87" fmla="*/ 478667 h 700070"/>
                <a:gd name="connsiteX88" fmla="*/ 38790 w 137315"/>
                <a:gd name="connsiteY88" fmla="*/ 487981 h 700070"/>
                <a:gd name="connsiteX89" fmla="*/ 31032 w 137315"/>
                <a:gd name="connsiteY89" fmla="*/ 492637 h 700070"/>
                <a:gd name="connsiteX90" fmla="*/ 32583 w 137315"/>
                <a:gd name="connsiteY90" fmla="*/ 502727 h 700070"/>
                <a:gd name="connsiteX91" fmla="*/ 22498 w 137315"/>
                <a:gd name="connsiteY91" fmla="*/ 498847 h 700070"/>
                <a:gd name="connsiteX92" fmla="*/ 29480 w 137315"/>
                <a:gd name="connsiteY92" fmla="*/ 488757 h 700070"/>
                <a:gd name="connsiteX93" fmla="*/ 20946 w 137315"/>
                <a:gd name="connsiteY93" fmla="*/ 477115 h 700070"/>
                <a:gd name="connsiteX94" fmla="*/ 26377 w 137315"/>
                <a:gd name="connsiteY94" fmla="*/ 489533 h 700070"/>
                <a:gd name="connsiteX95" fmla="*/ 17843 w 137315"/>
                <a:gd name="connsiteY95" fmla="*/ 493413 h 700070"/>
                <a:gd name="connsiteX96" fmla="*/ 8534 w 137315"/>
                <a:gd name="connsiteY96" fmla="*/ 499623 h 700070"/>
                <a:gd name="connsiteX97" fmla="*/ 9310 w 137315"/>
                <a:gd name="connsiteY97" fmla="*/ 507384 h 700070"/>
                <a:gd name="connsiteX98" fmla="*/ 0 w 137315"/>
                <a:gd name="connsiteY98" fmla="*/ 516698 h 700070"/>
                <a:gd name="connsiteX99" fmla="*/ 3879 w 137315"/>
                <a:gd name="connsiteY99" fmla="*/ 517474 h 700070"/>
                <a:gd name="connsiteX100" fmla="*/ 10861 w 137315"/>
                <a:gd name="connsiteY100" fmla="*/ 517474 h 700070"/>
                <a:gd name="connsiteX101" fmla="*/ 20171 w 137315"/>
                <a:gd name="connsiteY101" fmla="*/ 518250 h 700070"/>
                <a:gd name="connsiteX102" fmla="*/ 21722 w 137315"/>
                <a:gd name="connsiteY102" fmla="*/ 526012 h 700070"/>
                <a:gd name="connsiteX103" fmla="*/ 17067 w 137315"/>
                <a:gd name="connsiteY103" fmla="*/ 535326 h 700070"/>
                <a:gd name="connsiteX104" fmla="*/ 31808 w 137315"/>
                <a:gd name="connsiteY104" fmla="*/ 536878 h 700070"/>
                <a:gd name="connsiteX105" fmla="*/ 31808 w 137315"/>
                <a:gd name="connsiteY105" fmla="*/ 543087 h 700070"/>
                <a:gd name="connsiteX106" fmla="*/ 21722 w 137315"/>
                <a:gd name="connsiteY106" fmla="*/ 540758 h 700070"/>
                <a:gd name="connsiteX107" fmla="*/ 12413 w 137315"/>
                <a:gd name="connsiteY107" fmla="*/ 541535 h 700070"/>
                <a:gd name="connsiteX108" fmla="*/ 2327 w 137315"/>
                <a:gd name="connsiteY108" fmla="*/ 550072 h 700070"/>
                <a:gd name="connsiteX109" fmla="*/ 8534 w 137315"/>
                <a:gd name="connsiteY109" fmla="*/ 557058 h 700070"/>
                <a:gd name="connsiteX110" fmla="*/ 16292 w 137315"/>
                <a:gd name="connsiteY110" fmla="*/ 552401 h 700070"/>
                <a:gd name="connsiteX111" fmla="*/ 22498 w 137315"/>
                <a:gd name="connsiteY111" fmla="*/ 553177 h 700070"/>
                <a:gd name="connsiteX112" fmla="*/ 14740 w 137315"/>
                <a:gd name="connsiteY112" fmla="*/ 559386 h 700070"/>
                <a:gd name="connsiteX113" fmla="*/ 6206 w 137315"/>
                <a:gd name="connsiteY113" fmla="*/ 568700 h 700070"/>
                <a:gd name="connsiteX114" fmla="*/ 9310 w 137315"/>
                <a:gd name="connsiteY114" fmla="*/ 574909 h 700070"/>
                <a:gd name="connsiteX115" fmla="*/ 13189 w 137315"/>
                <a:gd name="connsiteY115" fmla="*/ 579566 h 700070"/>
                <a:gd name="connsiteX116" fmla="*/ 17843 w 137315"/>
                <a:gd name="connsiteY116" fmla="*/ 573357 h 700070"/>
                <a:gd name="connsiteX117" fmla="*/ 24050 w 137315"/>
                <a:gd name="connsiteY117" fmla="*/ 566371 h 700070"/>
                <a:gd name="connsiteX118" fmla="*/ 21722 w 137315"/>
                <a:gd name="connsiteY118" fmla="*/ 577237 h 700070"/>
                <a:gd name="connsiteX119" fmla="*/ 19395 w 137315"/>
                <a:gd name="connsiteY119" fmla="*/ 588880 h 700070"/>
                <a:gd name="connsiteX120" fmla="*/ 15516 w 137315"/>
                <a:gd name="connsiteY120" fmla="*/ 595089 h 700070"/>
                <a:gd name="connsiteX121" fmla="*/ 10085 w 137315"/>
                <a:gd name="connsiteY121" fmla="*/ 598969 h 700070"/>
                <a:gd name="connsiteX122" fmla="*/ 10085 w 137315"/>
                <a:gd name="connsiteY122" fmla="*/ 608283 h 700070"/>
                <a:gd name="connsiteX123" fmla="*/ 18619 w 137315"/>
                <a:gd name="connsiteY123" fmla="*/ 605955 h 700070"/>
                <a:gd name="connsiteX124" fmla="*/ 26377 w 137315"/>
                <a:gd name="connsiteY124" fmla="*/ 605955 h 700070"/>
                <a:gd name="connsiteX125" fmla="*/ 29480 w 137315"/>
                <a:gd name="connsiteY125" fmla="*/ 611388 h 700070"/>
                <a:gd name="connsiteX126" fmla="*/ 22498 w 137315"/>
                <a:gd name="connsiteY126" fmla="*/ 618373 h 700070"/>
                <a:gd name="connsiteX127" fmla="*/ 31808 w 137315"/>
                <a:gd name="connsiteY127" fmla="*/ 619149 h 700070"/>
                <a:gd name="connsiteX128" fmla="*/ 37238 w 137315"/>
                <a:gd name="connsiteY128" fmla="*/ 617597 h 700070"/>
                <a:gd name="connsiteX129" fmla="*/ 47324 w 137315"/>
                <a:gd name="connsiteY129" fmla="*/ 620702 h 700070"/>
                <a:gd name="connsiteX130" fmla="*/ 33359 w 137315"/>
                <a:gd name="connsiteY130" fmla="*/ 626135 h 700070"/>
                <a:gd name="connsiteX131" fmla="*/ 28704 w 137315"/>
                <a:gd name="connsiteY131" fmla="*/ 635448 h 700070"/>
                <a:gd name="connsiteX132" fmla="*/ 40341 w 137315"/>
                <a:gd name="connsiteY132" fmla="*/ 631568 h 700070"/>
                <a:gd name="connsiteX133" fmla="*/ 64391 w 137315"/>
                <a:gd name="connsiteY133" fmla="*/ 633120 h 700070"/>
                <a:gd name="connsiteX134" fmla="*/ 55082 w 137315"/>
                <a:gd name="connsiteY134" fmla="*/ 636225 h 700070"/>
                <a:gd name="connsiteX135" fmla="*/ 45772 w 137315"/>
                <a:gd name="connsiteY135" fmla="*/ 637777 h 700070"/>
                <a:gd name="connsiteX136" fmla="*/ 37238 w 137315"/>
                <a:gd name="connsiteY136" fmla="*/ 643210 h 700070"/>
                <a:gd name="connsiteX137" fmla="*/ 37238 w 137315"/>
                <a:gd name="connsiteY137" fmla="*/ 649419 h 700070"/>
                <a:gd name="connsiteX138" fmla="*/ 51203 w 137315"/>
                <a:gd name="connsiteY138" fmla="*/ 643210 h 700070"/>
                <a:gd name="connsiteX139" fmla="*/ 69046 w 137315"/>
                <a:gd name="connsiteY139" fmla="*/ 640105 h 700070"/>
                <a:gd name="connsiteX140" fmla="*/ 57409 w 137315"/>
                <a:gd name="connsiteY140" fmla="*/ 646314 h 700070"/>
                <a:gd name="connsiteX141" fmla="*/ 49651 w 137315"/>
                <a:gd name="connsiteY141" fmla="*/ 654076 h 700070"/>
                <a:gd name="connsiteX142" fmla="*/ 33359 w 137315"/>
                <a:gd name="connsiteY142" fmla="*/ 651747 h 700070"/>
                <a:gd name="connsiteX143" fmla="*/ 34911 w 137315"/>
                <a:gd name="connsiteY143" fmla="*/ 661837 h 700070"/>
                <a:gd name="connsiteX144" fmla="*/ 48099 w 137315"/>
                <a:gd name="connsiteY144" fmla="*/ 664942 h 700070"/>
                <a:gd name="connsiteX145" fmla="*/ 58185 w 137315"/>
                <a:gd name="connsiteY145" fmla="*/ 668823 h 700070"/>
                <a:gd name="connsiteX146" fmla="*/ 55082 w 137315"/>
                <a:gd name="connsiteY146" fmla="*/ 663390 h 700070"/>
                <a:gd name="connsiteX147" fmla="*/ 61288 w 137315"/>
                <a:gd name="connsiteY147" fmla="*/ 658733 h 700070"/>
                <a:gd name="connsiteX148" fmla="*/ 73701 w 137315"/>
                <a:gd name="connsiteY148" fmla="*/ 647867 h 700070"/>
                <a:gd name="connsiteX149" fmla="*/ 87665 w 137315"/>
                <a:gd name="connsiteY149" fmla="*/ 633120 h 700070"/>
                <a:gd name="connsiteX150" fmla="*/ 85338 w 137315"/>
                <a:gd name="connsiteY150" fmla="*/ 640881 h 700070"/>
                <a:gd name="connsiteX151" fmla="*/ 83010 w 137315"/>
                <a:gd name="connsiteY151" fmla="*/ 650195 h 700070"/>
                <a:gd name="connsiteX152" fmla="*/ 96975 w 137315"/>
                <a:gd name="connsiteY152" fmla="*/ 650971 h 700070"/>
                <a:gd name="connsiteX153" fmla="*/ 88441 w 137315"/>
                <a:gd name="connsiteY153" fmla="*/ 657957 h 700070"/>
                <a:gd name="connsiteX154" fmla="*/ 89217 w 137315"/>
                <a:gd name="connsiteY154" fmla="*/ 668823 h 700070"/>
                <a:gd name="connsiteX155" fmla="*/ 83010 w 137315"/>
                <a:gd name="connsiteY155" fmla="*/ 656404 h 700070"/>
                <a:gd name="connsiteX156" fmla="*/ 79907 w 137315"/>
                <a:gd name="connsiteY156" fmla="*/ 665718 h 700070"/>
                <a:gd name="connsiteX157" fmla="*/ 72149 w 137315"/>
                <a:gd name="connsiteY157" fmla="*/ 662613 h 700070"/>
                <a:gd name="connsiteX158" fmla="*/ 68270 w 137315"/>
                <a:gd name="connsiteY158" fmla="*/ 668823 h 700070"/>
                <a:gd name="connsiteX159" fmla="*/ 60512 w 137315"/>
                <a:gd name="connsiteY159" fmla="*/ 675032 h 700070"/>
                <a:gd name="connsiteX160" fmla="*/ 72149 w 137315"/>
                <a:gd name="connsiteY160" fmla="*/ 677360 h 700070"/>
                <a:gd name="connsiteX161" fmla="*/ 79907 w 137315"/>
                <a:gd name="connsiteY161" fmla="*/ 691331 h 700070"/>
                <a:gd name="connsiteX162" fmla="*/ 85338 w 137315"/>
                <a:gd name="connsiteY162" fmla="*/ 678913 h 700070"/>
                <a:gd name="connsiteX163" fmla="*/ 96199 w 137315"/>
                <a:gd name="connsiteY163" fmla="*/ 693659 h 700070"/>
                <a:gd name="connsiteX164" fmla="*/ 101629 w 137315"/>
                <a:gd name="connsiteY164" fmla="*/ 688226 h 700070"/>
                <a:gd name="connsiteX165" fmla="*/ 117921 w 137315"/>
                <a:gd name="connsiteY165" fmla="*/ 699868 h 700070"/>
                <a:gd name="connsiteX166" fmla="*/ 115594 w 137315"/>
                <a:gd name="connsiteY166" fmla="*/ 689779 h 700070"/>
                <a:gd name="connsiteX167" fmla="*/ 124903 w 137315"/>
                <a:gd name="connsiteY167" fmla="*/ 689779 h 700070"/>
                <a:gd name="connsiteX168" fmla="*/ 134989 w 137315"/>
                <a:gd name="connsiteY168" fmla="*/ 688226 h 700070"/>
                <a:gd name="connsiteX169" fmla="*/ 137316 w 137315"/>
                <a:gd name="connsiteY169" fmla="*/ 687450 h 700070"/>
                <a:gd name="connsiteX170" fmla="*/ 110939 w 137315"/>
                <a:gd name="connsiteY170" fmla="*/ 685898 h 700070"/>
                <a:gd name="connsiteX171" fmla="*/ 110939 w 137315"/>
                <a:gd name="connsiteY171" fmla="*/ 634672 h 700070"/>
                <a:gd name="connsiteX172" fmla="*/ 110163 w 137315"/>
                <a:gd name="connsiteY172" fmla="*/ 634672 h 700070"/>
                <a:gd name="connsiteX173" fmla="*/ 97750 w 137315"/>
                <a:gd name="connsiteY173" fmla="*/ 628463 h 700070"/>
                <a:gd name="connsiteX174" fmla="*/ 99302 w 137315"/>
                <a:gd name="connsiteY174" fmla="*/ 626135 h 700070"/>
                <a:gd name="connsiteX175" fmla="*/ 90768 w 137315"/>
                <a:gd name="connsiteY175" fmla="*/ 621478 h 700070"/>
                <a:gd name="connsiteX176" fmla="*/ 65943 w 137315"/>
                <a:gd name="connsiteY176" fmla="*/ 624582 h 700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</a:cxnLst>
              <a:rect l="l" t="t" r="r" b="b"/>
              <a:pathLst>
                <a:path w="137315" h="700070">
                  <a:moveTo>
                    <a:pt x="65943" y="624582"/>
                  </a:moveTo>
                  <a:cubicBezTo>
                    <a:pt x="62064" y="625358"/>
                    <a:pt x="60512" y="618373"/>
                    <a:pt x="58185" y="618373"/>
                  </a:cubicBezTo>
                  <a:cubicBezTo>
                    <a:pt x="55857" y="618373"/>
                    <a:pt x="55082" y="605955"/>
                    <a:pt x="57409" y="600522"/>
                  </a:cubicBezTo>
                  <a:cubicBezTo>
                    <a:pt x="58961" y="595089"/>
                    <a:pt x="46548" y="597417"/>
                    <a:pt x="42669" y="595865"/>
                  </a:cubicBezTo>
                  <a:cubicBezTo>
                    <a:pt x="38790" y="594312"/>
                    <a:pt x="44220" y="590432"/>
                    <a:pt x="39566" y="585775"/>
                  </a:cubicBezTo>
                  <a:cubicBezTo>
                    <a:pt x="35687" y="581118"/>
                    <a:pt x="38790" y="574909"/>
                    <a:pt x="38790" y="571028"/>
                  </a:cubicBezTo>
                  <a:cubicBezTo>
                    <a:pt x="39566" y="567924"/>
                    <a:pt x="41893" y="560938"/>
                    <a:pt x="47324" y="560938"/>
                  </a:cubicBezTo>
                  <a:cubicBezTo>
                    <a:pt x="52754" y="560938"/>
                    <a:pt x="48875" y="553177"/>
                    <a:pt x="53530" y="550072"/>
                  </a:cubicBezTo>
                  <a:cubicBezTo>
                    <a:pt x="58961" y="546968"/>
                    <a:pt x="48875" y="541535"/>
                    <a:pt x="52754" y="537654"/>
                  </a:cubicBezTo>
                  <a:cubicBezTo>
                    <a:pt x="56633" y="534549"/>
                    <a:pt x="52754" y="528340"/>
                    <a:pt x="58961" y="527564"/>
                  </a:cubicBezTo>
                  <a:cubicBezTo>
                    <a:pt x="65167" y="526788"/>
                    <a:pt x="58961" y="518250"/>
                    <a:pt x="63615" y="516698"/>
                  </a:cubicBezTo>
                  <a:cubicBezTo>
                    <a:pt x="68270" y="515146"/>
                    <a:pt x="62840" y="510489"/>
                    <a:pt x="64391" y="504280"/>
                  </a:cubicBezTo>
                  <a:cubicBezTo>
                    <a:pt x="65943" y="498847"/>
                    <a:pt x="60512" y="494190"/>
                    <a:pt x="66719" y="491861"/>
                  </a:cubicBezTo>
                  <a:cubicBezTo>
                    <a:pt x="72925" y="489533"/>
                    <a:pt x="68270" y="484876"/>
                    <a:pt x="64391" y="481771"/>
                  </a:cubicBezTo>
                  <a:cubicBezTo>
                    <a:pt x="60512" y="478667"/>
                    <a:pt x="65167" y="478667"/>
                    <a:pt x="70598" y="478667"/>
                  </a:cubicBezTo>
                  <a:cubicBezTo>
                    <a:pt x="76028" y="478667"/>
                    <a:pt x="72925" y="470129"/>
                    <a:pt x="68270" y="471681"/>
                  </a:cubicBezTo>
                  <a:cubicBezTo>
                    <a:pt x="62840" y="473234"/>
                    <a:pt x="59736" y="467801"/>
                    <a:pt x="63615" y="463920"/>
                  </a:cubicBezTo>
                  <a:cubicBezTo>
                    <a:pt x="67494" y="460039"/>
                    <a:pt x="59736" y="456935"/>
                    <a:pt x="61288" y="453830"/>
                  </a:cubicBezTo>
                  <a:cubicBezTo>
                    <a:pt x="62840" y="450725"/>
                    <a:pt x="62840" y="447621"/>
                    <a:pt x="59736" y="445292"/>
                  </a:cubicBezTo>
                  <a:cubicBezTo>
                    <a:pt x="56633" y="443740"/>
                    <a:pt x="58961" y="428993"/>
                    <a:pt x="62064" y="428993"/>
                  </a:cubicBezTo>
                  <a:cubicBezTo>
                    <a:pt x="65167" y="428217"/>
                    <a:pt x="62840" y="415799"/>
                    <a:pt x="62840" y="411918"/>
                  </a:cubicBezTo>
                  <a:cubicBezTo>
                    <a:pt x="62840" y="408037"/>
                    <a:pt x="58961" y="404157"/>
                    <a:pt x="59736" y="401052"/>
                  </a:cubicBezTo>
                  <a:cubicBezTo>
                    <a:pt x="60512" y="397948"/>
                    <a:pt x="63615" y="397171"/>
                    <a:pt x="63615" y="390186"/>
                  </a:cubicBezTo>
                  <a:cubicBezTo>
                    <a:pt x="63615" y="383977"/>
                    <a:pt x="65167" y="380872"/>
                    <a:pt x="67494" y="380096"/>
                  </a:cubicBezTo>
                  <a:cubicBezTo>
                    <a:pt x="70598" y="379320"/>
                    <a:pt x="68270" y="372335"/>
                    <a:pt x="68270" y="368454"/>
                  </a:cubicBezTo>
                  <a:cubicBezTo>
                    <a:pt x="69046" y="364573"/>
                    <a:pt x="76028" y="368454"/>
                    <a:pt x="76804" y="362245"/>
                  </a:cubicBezTo>
                  <a:cubicBezTo>
                    <a:pt x="77580" y="356036"/>
                    <a:pt x="72149" y="356812"/>
                    <a:pt x="72925" y="353707"/>
                  </a:cubicBezTo>
                  <a:cubicBezTo>
                    <a:pt x="73701" y="349050"/>
                    <a:pt x="72149" y="343617"/>
                    <a:pt x="72149" y="332751"/>
                  </a:cubicBezTo>
                  <a:cubicBezTo>
                    <a:pt x="72149" y="322661"/>
                    <a:pt x="80683" y="320333"/>
                    <a:pt x="83786" y="317228"/>
                  </a:cubicBezTo>
                  <a:cubicBezTo>
                    <a:pt x="86889" y="314124"/>
                    <a:pt x="79907" y="299377"/>
                    <a:pt x="83786" y="297825"/>
                  </a:cubicBezTo>
                  <a:cubicBezTo>
                    <a:pt x="87665" y="296272"/>
                    <a:pt x="85338" y="289287"/>
                    <a:pt x="88441" y="286959"/>
                  </a:cubicBezTo>
                  <a:cubicBezTo>
                    <a:pt x="91544" y="284630"/>
                    <a:pt x="90768" y="279197"/>
                    <a:pt x="92320" y="273764"/>
                  </a:cubicBezTo>
                  <a:cubicBezTo>
                    <a:pt x="93871" y="268331"/>
                    <a:pt x="88441" y="265226"/>
                    <a:pt x="88441" y="259794"/>
                  </a:cubicBezTo>
                  <a:cubicBezTo>
                    <a:pt x="88441" y="254360"/>
                    <a:pt x="87665" y="249704"/>
                    <a:pt x="83010" y="244271"/>
                  </a:cubicBezTo>
                  <a:cubicBezTo>
                    <a:pt x="79131" y="238838"/>
                    <a:pt x="79907" y="227195"/>
                    <a:pt x="83010" y="227195"/>
                  </a:cubicBezTo>
                  <a:cubicBezTo>
                    <a:pt x="86113" y="227195"/>
                    <a:pt x="84562" y="216329"/>
                    <a:pt x="89217" y="214777"/>
                  </a:cubicBezTo>
                  <a:cubicBezTo>
                    <a:pt x="94647" y="213225"/>
                    <a:pt x="91544" y="205463"/>
                    <a:pt x="89217" y="198478"/>
                  </a:cubicBezTo>
                  <a:cubicBezTo>
                    <a:pt x="86889" y="192269"/>
                    <a:pt x="93096" y="195373"/>
                    <a:pt x="93096" y="189940"/>
                  </a:cubicBezTo>
                  <a:cubicBezTo>
                    <a:pt x="93096" y="184507"/>
                    <a:pt x="96199" y="177522"/>
                    <a:pt x="100078" y="175970"/>
                  </a:cubicBezTo>
                  <a:cubicBezTo>
                    <a:pt x="103957" y="174417"/>
                    <a:pt x="104733" y="165880"/>
                    <a:pt x="104733" y="162775"/>
                  </a:cubicBezTo>
                  <a:cubicBezTo>
                    <a:pt x="104733" y="159671"/>
                    <a:pt x="110939" y="158118"/>
                    <a:pt x="114042" y="155014"/>
                  </a:cubicBezTo>
                  <a:cubicBezTo>
                    <a:pt x="117145" y="151909"/>
                    <a:pt x="108611" y="147252"/>
                    <a:pt x="113266" y="144924"/>
                  </a:cubicBezTo>
                  <a:cubicBezTo>
                    <a:pt x="118697" y="141819"/>
                    <a:pt x="109387" y="130177"/>
                    <a:pt x="111715" y="127849"/>
                  </a:cubicBezTo>
                  <a:cubicBezTo>
                    <a:pt x="114818" y="125520"/>
                    <a:pt x="112490" y="120087"/>
                    <a:pt x="112490" y="116982"/>
                  </a:cubicBezTo>
                  <a:cubicBezTo>
                    <a:pt x="113266" y="113102"/>
                    <a:pt x="128782" y="106116"/>
                    <a:pt x="130334" y="103012"/>
                  </a:cubicBezTo>
                  <a:cubicBezTo>
                    <a:pt x="131885" y="100684"/>
                    <a:pt x="133437" y="92146"/>
                    <a:pt x="133437" y="84384"/>
                  </a:cubicBezTo>
                  <a:cubicBezTo>
                    <a:pt x="128782" y="87489"/>
                    <a:pt x="124127" y="89041"/>
                    <a:pt x="123352" y="87489"/>
                  </a:cubicBezTo>
                  <a:cubicBezTo>
                    <a:pt x="121800" y="84384"/>
                    <a:pt x="124127" y="74294"/>
                    <a:pt x="119473" y="70414"/>
                  </a:cubicBezTo>
                  <a:cubicBezTo>
                    <a:pt x="115594" y="66533"/>
                    <a:pt x="117921" y="57996"/>
                    <a:pt x="114042" y="56443"/>
                  </a:cubicBezTo>
                  <a:cubicBezTo>
                    <a:pt x="110163" y="54891"/>
                    <a:pt x="104733" y="46353"/>
                    <a:pt x="108611" y="43249"/>
                  </a:cubicBezTo>
                  <a:cubicBezTo>
                    <a:pt x="112490" y="40144"/>
                    <a:pt x="108611" y="34711"/>
                    <a:pt x="111715" y="32383"/>
                  </a:cubicBezTo>
                  <a:cubicBezTo>
                    <a:pt x="114818" y="29278"/>
                    <a:pt x="110163" y="29278"/>
                    <a:pt x="105508" y="23845"/>
                  </a:cubicBezTo>
                  <a:cubicBezTo>
                    <a:pt x="100854" y="18412"/>
                    <a:pt x="107060" y="11427"/>
                    <a:pt x="101629" y="7546"/>
                  </a:cubicBezTo>
                  <a:cubicBezTo>
                    <a:pt x="96199" y="3665"/>
                    <a:pt x="96199" y="-1768"/>
                    <a:pt x="94647" y="561"/>
                  </a:cubicBezTo>
                  <a:cubicBezTo>
                    <a:pt x="93096" y="2889"/>
                    <a:pt x="93096" y="10651"/>
                    <a:pt x="88441" y="12979"/>
                  </a:cubicBezTo>
                  <a:cubicBezTo>
                    <a:pt x="87665" y="12979"/>
                    <a:pt x="86113" y="14531"/>
                    <a:pt x="85338" y="15307"/>
                  </a:cubicBezTo>
                  <a:cubicBezTo>
                    <a:pt x="85338" y="19188"/>
                    <a:pt x="83786" y="25397"/>
                    <a:pt x="85338" y="29278"/>
                  </a:cubicBezTo>
                  <a:cubicBezTo>
                    <a:pt x="87665" y="34711"/>
                    <a:pt x="88441" y="59548"/>
                    <a:pt x="86113" y="69638"/>
                  </a:cubicBezTo>
                  <a:cubicBezTo>
                    <a:pt x="83786" y="78951"/>
                    <a:pt x="82234" y="87489"/>
                    <a:pt x="79907" y="92922"/>
                  </a:cubicBezTo>
                  <a:cubicBezTo>
                    <a:pt x="77580" y="99131"/>
                    <a:pt x="84562" y="99131"/>
                    <a:pt x="82234" y="102236"/>
                  </a:cubicBezTo>
                  <a:cubicBezTo>
                    <a:pt x="79131" y="105340"/>
                    <a:pt x="80683" y="111550"/>
                    <a:pt x="80683" y="123192"/>
                  </a:cubicBezTo>
                  <a:cubicBezTo>
                    <a:pt x="80683" y="134058"/>
                    <a:pt x="74477" y="152685"/>
                    <a:pt x="73701" y="158895"/>
                  </a:cubicBezTo>
                  <a:cubicBezTo>
                    <a:pt x="73701" y="165104"/>
                    <a:pt x="69046" y="168208"/>
                    <a:pt x="69822" y="175193"/>
                  </a:cubicBezTo>
                  <a:cubicBezTo>
                    <a:pt x="70598" y="181403"/>
                    <a:pt x="66719" y="185283"/>
                    <a:pt x="62840" y="188388"/>
                  </a:cubicBezTo>
                  <a:cubicBezTo>
                    <a:pt x="58961" y="191493"/>
                    <a:pt x="69046" y="201583"/>
                    <a:pt x="69046" y="207015"/>
                  </a:cubicBezTo>
                  <a:cubicBezTo>
                    <a:pt x="69046" y="212449"/>
                    <a:pt x="61288" y="214777"/>
                    <a:pt x="62840" y="224091"/>
                  </a:cubicBezTo>
                  <a:cubicBezTo>
                    <a:pt x="65167" y="234957"/>
                    <a:pt x="62840" y="254360"/>
                    <a:pt x="62840" y="258241"/>
                  </a:cubicBezTo>
                  <a:cubicBezTo>
                    <a:pt x="62840" y="262122"/>
                    <a:pt x="58185" y="261346"/>
                    <a:pt x="59736" y="269107"/>
                  </a:cubicBezTo>
                  <a:cubicBezTo>
                    <a:pt x="60512" y="276092"/>
                    <a:pt x="55082" y="278421"/>
                    <a:pt x="54306" y="288511"/>
                  </a:cubicBezTo>
                  <a:cubicBezTo>
                    <a:pt x="53530" y="298601"/>
                    <a:pt x="44996" y="314124"/>
                    <a:pt x="41893" y="321885"/>
                  </a:cubicBezTo>
                  <a:cubicBezTo>
                    <a:pt x="38790" y="329647"/>
                    <a:pt x="38790" y="334303"/>
                    <a:pt x="34911" y="334303"/>
                  </a:cubicBezTo>
                  <a:cubicBezTo>
                    <a:pt x="31032" y="334303"/>
                    <a:pt x="29480" y="338960"/>
                    <a:pt x="32583" y="345946"/>
                  </a:cubicBezTo>
                  <a:cubicBezTo>
                    <a:pt x="35687" y="352931"/>
                    <a:pt x="30256" y="358364"/>
                    <a:pt x="34911" y="365349"/>
                  </a:cubicBezTo>
                  <a:cubicBezTo>
                    <a:pt x="38790" y="372335"/>
                    <a:pt x="38014" y="374663"/>
                    <a:pt x="35687" y="381648"/>
                  </a:cubicBezTo>
                  <a:cubicBezTo>
                    <a:pt x="33359" y="387858"/>
                    <a:pt x="31032" y="388634"/>
                    <a:pt x="31032" y="394843"/>
                  </a:cubicBezTo>
                  <a:cubicBezTo>
                    <a:pt x="31032" y="401052"/>
                    <a:pt x="26377" y="406485"/>
                    <a:pt x="28704" y="413470"/>
                  </a:cubicBezTo>
                  <a:cubicBezTo>
                    <a:pt x="31808" y="420456"/>
                    <a:pt x="31032" y="422784"/>
                    <a:pt x="27153" y="422784"/>
                  </a:cubicBezTo>
                  <a:cubicBezTo>
                    <a:pt x="24050" y="422784"/>
                    <a:pt x="21722" y="428217"/>
                    <a:pt x="20946" y="439859"/>
                  </a:cubicBezTo>
                  <a:cubicBezTo>
                    <a:pt x="19395" y="451502"/>
                    <a:pt x="20171" y="450725"/>
                    <a:pt x="27929" y="449949"/>
                  </a:cubicBezTo>
                  <a:cubicBezTo>
                    <a:pt x="36462" y="449173"/>
                    <a:pt x="29480" y="422008"/>
                    <a:pt x="34911" y="422008"/>
                  </a:cubicBezTo>
                  <a:cubicBezTo>
                    <a:pt x="40341" y="422008"/>
                    <a:pt x="35687" y="417351"/>
                    <a:pt x="41117" y="415799"/>
                  </a:cubicBezTo>
                  <a:cubicBezTo>
                    <a:pt x="46548" y="414247"/>
                    <a:pt x="41893" y="420456"/>
                    <a:pt x="44996" y="422008"/>
                  </a:cubicBezTo>
                  <a:cubicBezTo>
                    <a:pt x="48099" y="422784"/>
                    <a:pt x="51203" y="425889"/>
                    <a:pt x="45772" y="428993"/>
                  </a:cubicBezTo>
                  <a:cubicBezTo>
                    <a:pt x="41117" y="432098"/>
                    <a:pt x="46548" y="438307"/>
                    <a:pt x="44220" y="442188"/>
                  </a:cubicBezTo>
                  <a:cubicBezTo>
                    <a:pt x="41893" y="446069"/>
                    <a:pt x="38014" y="449949"/>
                    <a:pt x="40341" y="454606"/>
                  </a:cubicBezTo>
                  <a:cubicBezTo>
                    <a:pt x="42669" y="459263"/>
                    <a:pt x="38014" y="458487"/>
                    <a:pt x="37238" y="464696"/>
                  </a:cubicBezTo>
                  <a:cubicBezTo>
                    <a:pt x="37238" y="470905"/>
                    <a:pt x="40341" y="470905"/>
                    <a:pt x="38014" y="472458"/>
                  </a:cubicBezTo>
                  <a:cubicBezTo>
                    <a:pt x="35687" y="474010"/>
                    <a:pt x="41117" y="478667"/>
                    <a:pt x="38014" y="478667"/>
                  </a:cubicBezTo>
                  <a:cubicBezTo>
                    <a:pt x="34911" y="479443"/>
                    <a:pt x="36462" y="484100"/>
                    <a:pt x="38790" y="487981"/>
                  </a:cubicBezTo>
                  <a:cubicBezTo>
                    <a:pt x="41117" y="491861"/>
                    <a:pt x="34135" y="489533"/>
                    <a:pt x="31032" y="492637"/>
                  </a:cubicBezTo>
                  <a:cubicBezTo>
                    <a:pt x="27929" y="495742"/>
                    <a:pt x="34135" y="498847"/>
                    <a:pt x="32583" y="502727"/>
                  </a:cubicBezTo>
                  <a:cubicBezTo>
                    <a:pt x="30256" y="506608"/>
                    <a:pt x="24825" y="500399"/>
                    <a:pt x="22498" y="498847"/>
                  </a:cubicBezTo>
                  <a:cubicBezTo>
                    <a:pt x="20171" y="496518"/>
                    <a:pt x="26377" y="492637"/>
                    <a:pt x="29480" y="488757"/>
                  </a:cubicBezTo>
                  <a:cubicBezTo>
                    <a:pt x="32583" y="484876"/>
                    <a:pt x="26377" y="475562"/>
                    <a:pt x="20946" y="477115"/>
                  </a:cubicBezTo>
                  <a:cubicBezTo>
                    <a:pt x="15516" y="479443"/>
                    <a:pt x="26377" y="484876"/>
                    <a:pt x="26377" y="489533"/>
                  </a:cubicBezTo>
                  <a:cubicBezTo>
                    <a:pt x="26377" y="494190"/>
                    <a:pt x="17843" y="488757"/>
                    <a:pt x="17843" y="493413"/>
                  </a:cubicBezTo>
                  <a:cubicBezTo>
                    <a:pt x="17843" y="498070"/>
                    <a:pt x="11637" y="496518"/>
                    <a:pt x="8534" y="499623"/>
                  </a:cubicBezTo>
                  <a:cubicBezTo>
                    <a:pt x="5431" y="502727"/>
                    <a:pt x="12413" y="505832"/>
                    <a:pt x="9310" y="507384"/>
                  </a:cubicBezTo>
                  <a:cubicBezTo>
                    <a:pt x="6206" y="508160"/>
                    <a:pt x="0" y="513593"/>
                    <a:pt x="0" y="516698"/>
                  </a:cubicBezTo>
                  <a:cubicBezTo>
                    <a:pt x="0" y="519803"/>
                    <a:pt x="3879" y="520579"/>
                    <a:pt x="3879" y="517474"/>
                  </a:cubicBezTo>
                  <a:cubicBezTo>
                    <a:pt x="3879" y="514369"/>
                    <a:pt x="9310" y="512817"/>
                    <a:pt x="10861" y="517474"/>
                  </a:cubicBezTo>
                  <a:cubicBezTo>
                    <a:pt x="12413" y="522131"/>
                    <a:pt x="14740" y="517474"/>
                    <a:pt x="20171" y="518250"/>
                  </a:cubicBezTo>
                  <a:cubicBezTo>
                    <a:pt x="24825" y="519026"/>
                    <a:pt x="24050" y="526788"/>
                    <a:pt x="21722" y="526012"/>
                  </a:cubicBezTo>
                  <a:cubicBezTo>
                    <a:pt x="18619" y="526012"/>
                    <a:pt x="16292" y="530669"/>
                    <a:pt x="17067" y="535326"/>
                  </a:cubicBezTo>
                  <a:cubicBezTo>
                    <a:pt x="17843" y="540758"/>
                    <a:pt x="27153" y="535326"/>
                    <a:pt x="31808" y="536878"/>
                  </a:cubicBezTo>
                  <a:cubicBezTo>
                    <a:pt x="35687" y="538430"/>
                    <a:pt x="34911" y="545415"/>
                    <a:pt x="31808" y="543087"/>
                  </a:cubicBezTo>
                  <a:cubicBezTo>
                    <a:pt x="29480" y="540758"/>
                    <a:pt x="24050" y="536878"/>
                    <a:pt x="21722" y="540758"/>
                  </a:cubicBezTo>
                  <a:cubicBezTo>
                    <a:pt x="19395" y="544639"/>
                    <a:pt x="15516" y="543087"/>
                    <a:pt x="12413" y="541535"/>
                  </a:cubicBezTo>
                  <a:cubicBezTo>
                    <a:pt x="9310" y="539982"/>
                    <a:pt x="-1552" y="547744"/>
                    <a:pt x="2327" y="550072"/>
                  </a:cubicBezTo>
                  <a:cubicBezTo>
                    <a:pt x="6206" y="553177"/>
                    <a:pt x="5431" y="557058"/>
                    <a:pt x="8534" y="557058"/>
                  </a:cubicBezTo>
                  <a:cubicBezTo>
                    <a:pt x="10861" y="557058"/>
                    <a:pt x="14740" y="554729"/>
                    <a:pt x="16292" y="552401"/>
                  </a:cubicBezTo>
                  <a:cubicBezTo>
                    <a:pt x="17843" y="549296"/>
                    <a:pt x="22498" y="546968"/>
                    <a:pt x="22498" y="553177"/>
                  </a:cubicBezTo>
                  <a:cubicBezTo>
                    <a:pt x="22498" y="559386"/>
                    <a:pt x="16292" y="556281"/>
                    <a:pt x="14740" y="559386"/>
                  </a:cubicBezTo>
                  <a:cubicBezTo>
                    <a:pt x="13189" y="562491"/>
                    <a:pt x="10861" y="565595"/>
                    <a:pt x="6206" y="568700"/>
                  </a:cubicBezTo>
                  <a:cubicBezTo>
                    <a:pt x="2327" y="571804"/>
                    <a:pt x="6206" y="577237"/>
                    <a:pt x="9310" y="574909"/>
                  </a:cubicBezTo>
                  <a:cubicBezTo>
                    <a:pt x="12413" y="573357"/>
                    <a:pt x="8534" y="578790"/>
                    <a:pt x="13189" y="579566"/>
                  </a:cubicBezTo>
                  <a:cubicBezTo>
                    <a:pt x="17843" y="580342"/>
                    <a:pt x="19395" y="576461"/>
                    <a:pt x="17843" y="573357"/>
                  </a:cubicBezTo>
                  <a:cubicBezTo>
                    <a:pt x="17067" y="570252"/>
                    <a:pt x="20171" y="562491"/>
                    <a:pt x="24050" y="566371"/>
                  </a:cubicBezTo>
                  <a:cubicBezTo>
                    <a:pt x="27929" y="570252"/>
                    <a:pt x="21722" y="574133"/>
                    <a:pt x="21722" y="577237"/>
                  </a:cubicBezTo>
                  <a:cubicBezTo>
                    <a:pt x="21722" y="580342"/>
                    <a:pt x="19395" y="584999"/>
                    <a:pt x="19395" y="588880"/>
                  </a:cubicBezTo>
                  <a:cubicBezTo>
                    <a:pt x="19395" y="592760"/>
                    <a:pt x="14740" y="590432"/>
                    <a:pt x="15516" y="595089"/>
                  </a:cubicBezTo>
                  <a:cubicBezTo>
                    <a:pt x="15516" y="598969"/>
                    <a:pt x="6206" y="596641"/>
                    <a:pt x="10085" y="598969"/>
                  </a:cubicBezTo>
                  <a:cubicBezTo>
                    <a:pt x="14740" y="602074"/>
                    <a:pt x="6982" y="605179"/>
                    <a:pt x="10085" y="608283"/>
                  </a:cubicBezTo>
                  <a:cubicBezTo>
                    <a:pt x="12413" y="611388"/>
                    <a:pt x="14740" y="604403"/>
                    <a:pt x="18619" y="605955"/>
                  </a:cubicBezTo>
                  <a:cubicBezTo>
                    <a:pt x="22498" y="607507"/>
                    <a:pt x="21722" y="608283"/>
                    <a:pt x="26377" y="605955"/>
                  </a:cubicBezTo>
                  <a:cubicBezTo>
                    <a:pt x="31032" y="603626"/>
                    <a:pt x="34135" y="609835"/>
                    <a:pt x="29480" y="611388"/>
                  </a:cubicBezTo>
                  <a:cubicBezTo>
                    <a:pt x="24825" y="612940"/>
                    <a:pt x="20171" y="617597"/>
                    <a:pt x="22498" y="618373"/>
                  </a:cubicBezTo>
                  <a:cubicBezTo>
                    <a:pt x="24825" y="619149"/>
                    <a:pt x="30256" y="615269"/>
                    <a:pt x="31808" y="619149"/>
                  </a:cubicBezTo>
                  <a:cubicBezTo>
                    <a:pt x="33359" y="623806"/>
                    <a:pt x="36462" y="622254"/>
                    <a:pt x="37238" y="617597"/>
                  </a:cubicBezTo>
                  <a:cubicBezTo>
                    <a:pt x="37238" y="612940"/>
                    <a:pt x="45772" y="616821"/>
                    <a:pt x="47324" y="620702"/>
                  </a:cubicBezTo>
                  <a:cubicBezTo>
                    <a:pt x="48875" y="624582"/>
                    <a:pt x="38790" y="626911"/>
                    <a:pt x="33359" y="626135"/>
                  </a:cubicBezTo>
                  <a:cubicBezTo>
                    <a:pt x="27929" y="625358"/>
                    <a:pt x="25601" y="630791"/>
                    <a:pt x="28704" y="635448"/>
                  </a:cubicBezTo>
                  <a:cubicBezTo>
                    <a:pt x="31808" y="640105"/>
                    <a:pt x="36462" y="635448"/>
                    <a:pt x="40341" y="631568"/>
                  </a:cubicBezTo>
                  <a:cubicBezTo>
                    <a:pt x="44220" y="627687"/>
                    <a:pt x="62840" y="628463"/>
                    <a:pt x="64391" y="633120"/>
                  </a:cubicBezTo>
                  <a:cubicBezTo>
                    <a:pt x="65943" y="637001"/>
                    <a:pt x="55857" y="633896"/>
                    <a:pt x="55082" y="636225"/>
                  </a:cubicBezTo>
                  <a:cubicBezTo>
                    <a:pt x="54306" y="638553"/>
                    <a:pt x="46548" y="640881"/>
                    <a:pt x="45772" y="637777"/>
                  </a:cubicBezTo>
                  <a:cubicBezTo>
                    <a:pt x="44996" y="634672"/>
                    <a:pt x="37238" y="638553"/>
                    <a:pt x="37238" y="643210"/>
                  </a:cubicBezTo>
                  <a:cubicBezTo>
                    <a:pt x="37238" y="647867"/>
                    <a:pt x="31032" y="647867"/>
                    <a:pt x="37238" y="649419"/>
                  </a:cubicBezTo>
                  <a:cubicBezTo>
                    <a:pt x="43445" y="650971"/>
                    <a:pt x="41893" y="643210"/>
                    <a:pt x="51203" y="643210"/>
                  </a:cubicBezTo>
                  <a:cubicBezTo>
                    <a:pt x="60512" y="643986"/>
                    <a:pt x="65943" y="633896"/>
                    <a:pt x="69046" y="640105"/>
                  </a:cubicBezTo>
                  <a:cubicBezTo>
                    <a:pt x="72149" y="645538"/>
                    <a:pt x="61288" y="650195"/>
                    <a:pt x="57409" y="646314"/>
                  </a:cubicBezTo>
                  <a:cubicBezTo>
                    <a:pt x="53530" y="643210"/>
                    <a:pt x="48875" y="648643"/>
                    <a:pt x="49651" y="654076"/>
                  </a:cubicBezTo>
                  <a:cubicBezTo>
                    <a:pt x="49651" y="659509"/>
                    <a:pt x="38790" y="652523"/>
                    <a:pt x="33359" y="651747"/>
                  </a:cubicBezTo>
                  <a:cubicBezTo>
                    <a:pt x="27929" y="650971"/>
                    <a:pt x="30256" y="657180"/>
                    <a:pt x="34911" y="661837"/>
                  </a:cubicBezTo>
                  <a:cubicBezTo>
                    <a:pt x="39566" y="667270"/>
                    <a:pt x="42669" y="661061"/>
                    <a:pt x="48099" y="664942"/>
                  </a:cubicBezTo>
                  <a:cubicBezTo>
                    <a:pt x="54306" y="668823"/>
                    <a:pt x="54306" y="672703"/>
                    <a:pt x="58185" y="668823"/>
                  </a:cubicBezTo>
                  <a:cubicBezTo>
                    <a:pt x="62064" y="664942"/>
                    <a:pt x="58185" y="665718"/>
                    <a:pt x="55082" y="663390"/>
                  </a:cubicBezTo>
                  <a:cubicBezTo>
                    <a:pt x="51978" y="661837"/>
                    <a:pt x="55082" y="655628"/>
                    <a:pt x="61288" y="658733"/>
                  </a:cubicBezTo>
                  <a:cubicBezTo>
                    <a:pt x="67494" y="661837"/>
                    <a:pt x="75252" y="655628"/>
                    <a:pt x="73701" y="647867"/>
                  </a:cubicBezTo>
                  <a:cubicBezTo>
                    <a:pt x="71373" y="639329"/>
                    <a:pt x="79907" y="635448"/>
                    <a:pt x="87665" y="633120"/>
                  </a:cubicBezTo>
                  <a:cubicBezTo>
                    <a:pt x="95423" y="630015"/>
                    <a:pt x="91544" y="638553"/>
                    <a:pt x="85338" y="640881"/>
                  </a:cubicBezTo>
                  <a:cubicBezTo>
                    <a:pt x="79131" y="643210"/>
                    <a:pt x="78355" y="644762"/>
                    <a:pt x="83010" y="650195"/>
                  </a:cubicBezTo>
                  <a:cubicBezTo>
                    <a:pt x="87665" y="654852"/>
                    <a:pt x="93096" y="647091"/>
                    <a:pt x="96975" y="650971"/>
                  </a:cubicBezTo>
                  <a:cubicBezTo>
                    <a:pt x="100854" y="654852"/>
                    <a:pt x="89992" y="654076"/>
                    <a:pt x="88441" y="657957"/>
                  </a:cubicBezTo>
                  <a:cubicBezTo>
                    <a:pt x="86889" y="661837"/>
                    <a:pt x="94647" y="666494"/>
                    <a:pt x="89217" y="668823"/>
                  </a:cubicBezTo>
                  <a:cubicBezTo>
                    <a:pt x="83010" y="671927"/>
                    <a:pt x="86113" y="657180"/>
                    <a:pt x="83010" y="656404"/>
                  </a:cubicBezTo>
                  <a:cubicBezTo>
                    <a:pt x="79907" y="654852"/>
                    <a:pt x="76804" y="657957"/>
                    <a:pt x="79907" y="665718"/>
                  </a:cubicBezTo>
                  <a:cubicBezTo>
                    <a:pt x="83010" y="673479"/>
                    <a:pt x="76028" y="666494"/>
                    <a:pt x="72149" y="662613"/>
                  </a:cubicBezTo>
                  <a:cubicBezTo>
                    <a:pt x="69046" y="658733"/>
                    <a:pt x="63615" y="664166"/>
                    <a:pt x="68270" y="668823"/>
                  </a:cubicBezTo>
                  <a:cubicBezTo>
                    <a:pt x="72149" y="672703"/>
                    <a:pt x="60512" y="668823"/>
                    <a:pt x="60512" y="675032"/>
                  </a:cubicBezTo>
                  <a:cubicBezTo>
                    <a:pt x="60512" y="681241"/>
                    <a:pt x="65943" y="675808"/>
                    <a:pt x="72149" y="677360"/>
                  </a:cubicBezTo>
                  <a:cubicBezTo>
                    <a:pt x="78355" y="678913"/>
                    <a:pt x="75252" y="687450"/>
                    <a:pt x="79907" y="691331"/>
                  </a:cubicBezTo>
                  <a:cubicBezTo>
                    <a:pt x="84562" y="694436"/>
                    <a:pt x="80683" y="680465"/>
                    <a:pt x="85338" y="678913"/>
                  </a:cubicBezTo>
                  <a:cubicBezTo>
                    <a:pt x="89992" y="678136"/>
                    <a:pt x="85338" y="689779"/>
                    <a:pt x="96199" y="693659"/>
                  </a:cubicBezTo>
                  <a:cubicBezTo>
                    <a:pt x="107060" y="696764"/>
                    <a:pt x="96975" y="691331"/>
                    <a:pt x="101629" y="688226"/>
                  </a:cubicBezTo>
                  <a:cubicBezTo>
                    <a:pt x="106284" y="685122"/>
                    <a:pt x="112490" y="698316"/>
                    <a:pt x="117921" y="699868"/>
                  </a:cubicBezTo>
                  <a:cubicBezTo>
                    <a:pt x="123352" y="701421"/>
                    <a:pt x="119473" y="693659"/>
                    <a:pt x="115594" y="689779"/>
                  </a:cubicBezTo>
                  <a:cubicBezTo>
                    <a:pt x="111715" y="685898"/>
                    <a:pt x="119473" y="688226"/>
                    <a:pt x="124903" y="689779"/>
                  </a:cubicBezTo>
                  <a:cubicBezTo>
                    <a:pt x="130334" y="691331"/>
                    <a:pt x="134213" y="692107"/>
                    <a:pt x="134989" y="688226"/>
                  </a:cubicBezTo>
                  <a:cubicBezTo>
                    <a:pt x="135764" y="686674"/>
                    <a:pt x="136540" y="686674"/>
                    <a:pt x="137316" y="687450"/>
                  </a:cubicBezTo>
                  <a:cubicBezTo>
                    <a:pt x="131885" y="683569"/>
                    <a:pt x="113266" y="686674"/>
                    <a:pt x="110939" y="685898"/>
                  </a:cubicBezTo>
                  <a:cubicBezTo>
                    <a:pt x="108611" y="685122"/>
                    <a:pt x="110163" y="643986"/>
                    <a:pt x="110939" y="634672"/>
                  </a:cubicBezTo>
                  <a:cubicBezTo>
                    <a:pt x="110939" y="634672"/>
                    <a:pt x="110163" y="634672"/>
                    <a:pt x="110163" y="634672"/>
                  </a:cubicBezTo>
                  <a:cubicBezTo>
                    <a:pt x="105508" y="634672"/>
                    <a:pt x="95423" y="635448"/>
                    <a:pt x="97750" y="628463"/>
                  </a:cubicBezTo>
                  <a:cubicBezTo>
                    <a:pt x="97750" y="626911"/>
                    <a:pt x="98526" y="626911"/>
                    <a:pt x="99302" y="626135"/>
                  </a:cubicBezTo>
                  <a:cubicBezTo>
                    <a:pt x="96975" y="624582"/>
                    <a:pt x="94647" y="622254"/>
                    <a:pt x="90768" y="621478"/>
                  </a:cubicBezTo>
                  <a:cubicBezTo>
                    <a:pt x="86113" y="622254"/>
                    <a:pt x="69822" y="624582"/>
                    <a:pt x="65943" y="624582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29" name="Forma libre 20">
              <a:extLst>
                <a:ext uri="{FF2B5EF4-FFF2-40B4-BE49-F238E27FC236}">
                  <a16:creationId xmlns:a16="http://schemas.microsoft.com/office/drawing/2014/main" id="{79DB6F3C-088C-E13E-259B-5220297DE467}"/>
                </a:ext>
              </a:extLst>
            </p:cNvPr>
            <p:cNvSpPr/>
            <p:nvPr/>
          </p:nvSpPr>
          <p:spPr>
            <a:xfrm>
              <a:off x="3180277" y="3670957"/>
              <a:ext cx="160317" cy="163408"/>
            </a:xfrm>
            <a:custGeom>
              <a:avLst/>
              <a:gdLst>
                <a:gd name="connsiteX0" fmla="*/ 131885 w 134162"/>
                <a:gd name="connsiteY0" fmla="*/ 74634 h 136749"/>
                <a:gd name="connsiteX1" fmla="*/ 118697 w 134162"/>
                <a:gd name="connsiteY1" fmla="*/ 77739 h 136749"/>
                <a:gd name="connsiteX2" fmla="*/ 110939 w 134162"/>
                <a:gd name="connsiteY2" fmla="*/ 60664 h 136749"/>
                <a:gd name="connsiteX3" fmla="*/ 100078 w 134162"/>
                <a:gd name="connsiteY3" fmla="*/ 47469 h 136749"/>
                <a:gd name="connsiteX4" fmla="*/ 86889 w 134162"/>
                <a:gd name="connsiteY4" fmla="*/ 45917 h 136749"/>
                <a:gd name="connsiteX5" fmla="*/ 79131 w 134162"/>
                <a:gd name="connsiteY5" fmla="*/ 33498 h 136749"/>
                <a:gd name="connsiteX6" fmla="*/ 76028 w 134162"/>
                <a:gd name="connsiteY6" fmla="*/ 14095 h 136749"/>
                <a:gd name="connsiteX7" fmla="*/ 75252 w 134162"/>
                <a:gd name="connsiteY7" fmla="*/ 5557 h 136749"/>
                <a:gd name="connsiteX8" fmla="*/ 72925 w 134162"/>
                <a:gd name="connsiteY8" fmla="*/ 6333 h 136749"/>
                <a:gd name="connsiteX9" fmla="*/ 58185 w 134162"/>
                <a:gd name="connsiteY9" fmla="*/ 124 h 136749"/>
                <a:gd name="connsiteX10" fmla="*/ 40341 w 134162"/>
                <a:gd name="connsiteY10" fmla="*/ 1676 h 136749"/>
                <a:gd name="connsiteX11" fmla="*/ 21722 w 134162"/>
                <a:gd name="connsiteY11" fmla="*/ 4781 h 136749"/>
                <a:gd name="connsiteX12" fmla="*/ 10085 w 134162"/>
                <a:gd name="connsiteY12" fmla="*/ 19528 h 136749"/>
                <a:gd name="connsiteX13" fmla="*/ 5431 w 134162"/>
                <a:gd name="connsiteY13" fmla="*/ 43588 h 136749"/>
                <a:gd name="connsiteX14" fmla="*/ 0 w 134162"/>
                <a:gd name="connsiteY14" fmla="*/ 43588 h 136749"/>
                <a:gd name="connsiteX15" fmla="*/ 21722 w 134162"/>
                <a:gd name="connsiteY15" fmla="*/ 66097 h 136749"/>
                <a:gd name="connsiteX16" fmla="*/ 38790 w 134162"/>
                <a:gd name="connsiteY16" fmla="*/ 76963 h 136749"/>
                <a:gd name="connsiteX17" fmla="*/ 55857 w 134162"/>
                <a:gd name="connsiteY17" fmla="*/ 85500 h 136749"/>
                <a:gd name="connsiteX18" fmla="*/ 84562 w 134162"/>
                <a:gd name="connsiteY18" fmla="*/ 100247 h 136749"/>
                <a:gd name="connsiteX19" fmla="*/ 72149 w 134162"/>
                <a:gd name="connsiteY19" fmla="*/ 121203 h 136749"/>
                <a:gd name="connsiteX20" fmla="*/ 66719 w 134162"/>
                <a:gd name="connsiteY20" fmla="*/ 131293 h 136749"/>
                <a:gd name="connsiteX21" fmla="*/ 81459 w 134162"/>
                <a:gd name="connsiteY21" fmla="*/ 134397 h 136749"/>
                <a:gd name="connsiteX22" fmla="*/ 96199 w 134162"/>
                <a:gd name="connsiteY22" fmla="*/ 135950 h 136749"/>
                <a:gd name="connsiteX23" fmla="*/ 110163 w 134162"/>
                <a:gd name="connsiteY23" fmla="*/ 132845 h 136749"/>
                <a:gd name="connsiteX24" fmla="*/ 122576 w 134162"/>
                <a:gd name="connsiteY24" fmla="*/ 126636 h 136749"/>
                <a:gd name="connsiteX25" fmla="*/ 130334 w 134162"/>
                <a:gd name="connsiteY25" fmla="*/ 103352 h 136749"/>
                <a:gd name="connsiteX26" fmla="*/ 131885 w 134162"/>
                <a:gd name="connsiteY26" fmla="*/ 74634 h 136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4162" h="136749">
                  <a:moveTo>
                    <a:pt x="131885" y="74634"/>
                  </a:moveTo>
                  <a:cubicBezTo>
                    <a:pt x="126455" y="71530"/>
                    <a:pt x="121024" y="77739"/>
                    <a:pt x="118697" y="77739"/>
                  </a:cubicBezTo>
                  <a:cubicBezTo>
                    <a:pt x="117145" y="77739"/>
                    <a:pt x="112490" y="65320"/>
                    <a:pt x="110939" y="60664"/>
                  </a:cubicBezTo>
                  <a:cubicBezTo>
                    <a:pt x="109387" y="55230"/>
                    <a:pt x="103957" y="45141"/>
                    <a:pt x="100078" y="47469"/>
                  </a:cubicBezTo>
                  <a:cubicBezTo>
                    <a:pt x="96199" y="49798"/>
                    <a:pt x="96975" y="46693"/>
                    <a:pt x="86889" y="45917"/>
                  </a:cubicBezTo>
                  <a:cubicBezTo>
                    <a:pt x="76028" y="45141"/>
                    <a:pt x="76804" y="43588"/>
                    <a:pt x="79131" y="33498"/>
                  </a:cubicBezTo>
                  <a:cubicBezTo>
                    <a:pt x="81459" y="23409"/>
                    <a:pt x="72149" y="16423"/>
                    <a:pt x="76028" y="14095"/>
                  </a:cubicBezTo>
                  <a:cubicBezTo>
                    <a:pt x="79131" y="12542"/>
                    <a:pt x="79131" y="10214"/>
                    <a:pt x="75252" y="5557"/>
                  </a:cubicBezTo>
                  <a:cubicBezTo>
                    <a:pt x="74477" y="6333"/>
                    <a:pt x="73701" y="6333"/>
                    <a:pt x="72925" y="6333"/>
                  </a:cubicBezTo>
                  <a:cubicBezTo>
                    <a:pt x="69046" y="6333"/>
                    <a:pt x="64391" y="124"/>
                    <a:pt x="58185" y="124"/>
                  </a:cubicBezTo>
                  <a:cubicBezTo>
                    <a:pt x="51978" y="124"/>
                    <a:pt x="44996" y="-652"/>
                    <a:pt x="40341" y="1676"/>
                  </a:cubicBezTo>
                  <a:cubicBezTo>
                    <a:pt x="35687" y="4005"/>
                    <a:pt x="27153" y="900"/>
                    <a:pt x="21722" y="4781"/>
                  </a:cubicBezTo>
                  <a:cubicBezTo>
                    <a:pt x="16292" y="8662"/>
                    <a:pt x="9310" y="16423"/>
                    <a:pt x="10085" y="19528"/>
                  </a:cubicBezTo>
                  <a:cubicBezTo>
                    <a:pt x="10861" y="22632"/>
                    <a:pt x="8534" y="42812"/>
                    <a:pt x="5431" y="43588"/>
                  </a:cubicBezTo>
                  <a:cubicBezTo>
                    <a:pt x="4655" y="43588"/>
                    <a:pt x="2327" y="43588"/>
                    <a:pt x="0" y="43588"/>
                  </a:cubicBezTo>
                  <a:cubicBezTo>
                    <a:pt x="3879" y="49798"/>
                    <a:pt x="14740" y="61440"/>
                    <a:pt x="21722" y="66097"/>
                  </a:cubicBezTo>
                  <a:cubicBezTo>
                    <a:pt x="30256" y="71530"/>
                    <a:pt x="29480" y="76186"/>
                    <a:pt x="38790" y="76963"/>
                  </a:cubicBezTo>
                  <a:cubicBezTo>
                    <a:pt x="48099" y="77739"/>
                    <a:pt x="52754" y="81620"/>
                    <a:pt x="55857" y="85500"/>
                  </a:cubicBezTo>
                  <a:cubicBezTo>
                    <a:pt x="58961" y="89381"/>
                    <a:pt x="83010" y="96366"/>
                    <a:pt x="84562" y="100247"/>
                  </a:cubicBezTo>
                  <a:cubicBezTo>
                    <a:pt x="86113" y="103352"/>
                    <a:pt x="72149" y="112665"/>
                    <a:pt x="72149" y="121203"/>
                  </a:cubicBezTo>
                  <a:cubicBezTo>
                    <a:pt x="72149" y="129741"/>
                    <a:pt x="66719" y="128964"/>
                    <a:pt x="66719" y="131293"/>
                  </a:cubicBezTo>
                  <a:cubicBezTo>
                    <a:pt x="66719" y="134397"/>
                    <a:pt x="77580" y="132069"/>
                    <a:pt x="81459" y="134397"/>
                  </a:cubicBezTo>
                  <a:cubicBezTo>
                    <a:pt x="85338" y="136726"/>
                    <a:pt x="91544" y="132845"/>
                    <a:pt x="96199" y="135950"/>
                  </a:cubicBezTo>
                  <a:cubicBezTo>
                    <a:pt x="100854" y="139054"/>
                    <a:pt x="106284" y="132069"/>
                    <a:pt x="110163" y="132845"/>
                  </a:cubicBezTo>
                  <a:cubicBezTo>
                    <a:pt x="114042" y="133621"/>
                    <a:pt x="117921" y="126636"/>
                    <a:pt x="122576" y="126636"/>
                  </a:cubicBezTo>
                  <a:cubicBezTo>
                    <a:pt x="127231" y="127412"/>
                    <a:pt x="131110" y="110337"/>
                    <a:pt x="130334" y="103352"/>
                  </a:cubicBezTo>
                  <a:cubicBezTo>
                    <a:pt x="129558" y="97142"/>
                    <a:pt x="138092" y="76963"/>
                    <a:pt x="131885" y="74634"/>
                  </a:cubicBezTo>
                  <a:close/>
                </a:path>
              </a:pathLst>
            </a:custGeom>
            <a:solidFill>
              <a:schemeClr val="bg2"/>
            </a:solidFill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30" name="Forma libre 21">
              <a:extLst>
                <a:ext uri="{FF2B5EF4-FFF2-40B4-BE49-F238E27FC236}">
                  <a16:creationId xmlns:a16="http://schemas.microsoft.com/office/drawing/2014/main" id="{7584ADB3-8808-11EB-FEBC-9FBF8DC0E1D6}"/>
                </a:ext>
              </a:extLst>
            </p:cNvPr>
            <p:cNvSpPr/>
            <p:nvPr/>
          </p:nvSpPr>
          <p:spPr>
            <a:xfrm>
              <a:off x="2879917" y="3072772"/>
              <a:ext cx="220004" cy="311692"/>
            </a:xfrm>
            <a:custGeom>
              <a:avLst/>
              <a:gdLst>
                <a:gd name="connsiteX0" fmla="*/ 26377 w 184111"/>
                <a:gd name="connsiteY0" fmla="*/ 187883 h 260841"/>
                <a:gd name="connsiteX1" fmla="*/ 38014 w 184111"/>
                <a:gd name="connsiteY1" fmla="*/ 187883 h 260841"/>
                <a:gd name="connsiteX2" fmla="*/ 48875 w 184111"/>
                <a:gd name="connsiteY2" fmla="*/ 196421 h 260841"/>
                <a:gd name="connsiteX3" fmla="*/ 49651 w 184111"/>
                <a:gd name="connsiteY3" fmla="*/ 197197 h 260841"/>
                <a:gd name="connsiteX4" fmla="*/ 62839 w 184111"/>
                <a:gd name="connsiteY4" fmla="*/ 196421 h 260841"/>
                <a:gd name="connsiteX5" fmla="*/ 72149 w 184111"/>
                <a:gd name="connsiteY5" fmla="*/ 209615 h 260841"/>
                <a:gd name="connsiteX6" fmla="*/ 82234 w 184111"/>
                <a:gd name="connsiteY6" fmla="*/ 219705 h 260841"/>
                <a:gd name="connsiteX7" fmla="*/ 88441 w 184111"/>
                <a:gd name="connsiteY7" fmla="*/ 229795 h 260841"/>
                <a:gd name="connsiteX8" fmla="*/ 106284 w 184111"/>
                <a:gd name="connsiteY8" fmla="*/ 232124 h 260841"/>
                <a:gd name="connsiteX9" fmla="*/ 115594 w 184111"/>
                <a:gd name="connsiteY9" fmla="*/ 231348 h 260841"/>
                <a:gd name="connsiteX10" fmla="*/ 125679 w 184111"/>
                <a:gd name="connsiteY10" fmla="*/ 230571 h 260841"/>
                <a:gd name="connsiteX11" fmla="*/ 137316 w 184111"/>
                <a:gd name="connsiteY11" fmla="*/ 239885 h 260841"/>
                <a:gd name="connsiteX12" fmla="*/ 129558 w 184111"/>
                <a:gd name="connsiteY12" fmla="*/ 253080 h 260841"/>
                <a:gd name="connsiteX13" fmla="*/ 138868 w 184111"/>
                <a:gd name="connsiteY13" fmla="*/ 260841 h 260841"/>
                <a:gd name="connsiteX14" fmla="*/ 139643 w 184111"/>
                <a:gd name="connsiteY14" fmla="*/ 260841 h 260841"/>
                <a:gd name="connsiteX15" fmla="*/ 145850 w 184111"/>
                <a:gd name="connsiteY15" fmla="*/ 239885 h 260841"/>
                <a:gd name="connsiteX16" fmla="*/ 148953 w 184111"/>
                <a:gd name="connsiteY16" fmla="*/ 218929 h 260841"/>
                <a:gd name="connsiteX17" fmla="*/ 138868 w 184111"/>
                <a:gd name="connsiteY17" fmla="*/ 193316 h 260841"/>
                <a:gd name="connsiteX18" fmla="*/ 149729 w 184111"/>
                <a:gd name="connsiteY18" fmla="*/ 184779 h 260841"/>
                <a:gd name="connsiteX19" fmla="*/ 146625 w 184111"/>
                <a:gd name="connsiteY19" fmla="*/ 178570 h 260841"/>
                <a:gd name="connsiteX20" fmla="*/ 142746 w 184111"/>
                <a:gd name="connsiteY20" fmla="*/ 170032 h 260841"/>
                <a:gd name="connsiteX21" fmla="*/ 166020 w 184111"/>
                <a:gd name="connsiteY21" fmla="*/ 168480 h 260841"/>
                <a:gd name="connsiteX22" fmla="*/ 183864 w 184111"/>
                <a:gd name="connsiteY22" fmla="*/ 163047 h 260841"/>
                <a:gd name="connsiteX23" fmla="*/ 180761 w 184111"/>
                <a:gd name="connsiteY23" fmla="*/ 155285 h 260841"/>
                <a:gd name="connsiteX24" fmla="*/ 181536 w 184111"/>
                <a:gd name="connsiteY24" fmla="*/ 143643 h 260841"/>
                <a:gd name="connsiteX25" fmla="*/ 175330 w 184111"/>
                <a:gd name="connsiteY25" fmla="*/ 132001 h 260841"/>
                <a:gd name="connsiteX26" fmla="*/ 179209 w 184111"/>
                <a:gd name="connsiteY26" fmla="*/ 103283 h 260841"/>
                <a:gd name="connsiteX27" fmla="*/ 160590 w 184111"/>
                <a:gd name="connsiteY27" fmla="*/ 98626 h 260841"/>
                <a:gd name="connsiteX28" fmla="*/ 138868 w 184111"/>
                <a:gd name="connsiteY28" fmla="*/ 89313 h 260841"/>
                <a:gd name="connsiteX29" fmla="*/ 112490 w 184111"/>
                <a:gd name="connsiteY29" fmla="*/ 86984 h 260841"/>
                <a:gd name="connsiteX30" fmla="*/ 102405 w 184111"/>
                <a:gd name="connsiteY30" fmla="*/ 66028 h 260841"/>
                <a:gd name="connsiteX31" fmla="*/ 95423 w 184111"/>
                <a:gd name="connsiteY31" fmla="*/ 55938 h 260841"/>
                <a:gd name="connsiteX32" fmla="*/ 88441 w 184111"/>
                <a:gd name="connsiteY32" fmla="*/ 52834 h 260841"/>
                <a:gd name="connsiteX33" fmla="*/ 90768 w 184111"/>
                <a:gd name="connsiteY33" fmla="*/ 45849 h 260841"/>
                <a:gd name="connsiteX34" fmla="*/ 93096 w 184111"/>
                <a:gd name="connsiteY34" fmla="*/ 34206 h 260841"/>
                <a:gd name="connsiteX35" fmla="*/ 107060 w 184111"/>
                <a:gd name="connsiteY35" fmla="*/ 16355 h 260841"/>
                <a:gd name="connsiteX36" fmla="*/ 111715 w 184111"/>
                <a:gd name="connsiteY36" fmla="*/ 13250 h 260841"/>
                <a:gd name="connsiteX37" fmla="*/ 115594 w 184111"/>
                <a:gd name="connsiteY37" fmla="*/ 10146 h 260841"/>
                <a:gd name="connsiteX38" fmla="*/ 119473 w 184111"/>
                <a:gd name="connsiteY38" fmla="*/ 832 h 260841"/>
                <a:gd name="connsiteX39" fmla="*/ 101629 w 184111"/>
                <a:gd name="connsiteY39" fmla="*/ 9370 h 260841"/>
                <a:gd name="connsiteX40" fmla="*/ 88441 w 184111"/>
                <a:gd name="connsiteY40" fmla="*/ 17131 h 260841"/>
                <a:gd name="connsiteX41" fmla="*/ 74476 w 184111"/>
                <a:gd name="connsiteY41" fmla="*/ 21788 h 260841"/>
                <a:gd name="connsiteX42" fmla="*/ 67494 w 184111"/>
                <a:gd name="connsiteY42" fmla="*/ 21012 h 260841"/>
                <a:gd name="connsiteX43" fmla="*/ 52754 w 184111"/>
                <a:gd name="connsiteY43" fmla="*/ 34206 h 260841"/>
                <a:gd name="connsiteX44" fmla="*/ 47324 w 184111"/>
                <a:gd name="connsiteY44" fmla="*/ 48953 h 260841"/>
                <a:gd name="connsiteX45" fmla="*/ 31808 w 184111"/>
                <a:gd name="connsiteY45" fmla="*/ 66805 h 260841"/>
                <a:gd name="connsiteX46" fmla="*/ 28704 w 184111"/>
                <a:gd name="connsiteY46" fmla="*/ 67581 h 260841"/>
                <a:gd name="connsiteX47" fmla="*/ 26377 w 184111"/>
                <a:gd name="connsiteY47" fmla="*/ 72238 h 260841"/>
                <a:gd name="connsiteX48" fmla="*/ 15516 w 184111"/>
                <a:gd name="connsiteY48" fmla="*/ 82327 h 260841"/>
                <a:gd name="connsiteX49" fmla="*/ 20171 w 184111"/>
                <a:gd name="connsiteY49" fmla="*/ 86984 h 260841"/>
                <a:gd name="connsiteX50" fmla="*/ 23274 w 184111"/>
                <a:gd name="connsiteY50" fmla="*/ 99403 h 260841"/>
                <a:gd name="connsiteX51" fmla="*/ 23274 w 184111"/>
                <a:gd name="connsiteY51" fmla="*/ 107940 h 260841"/>
                <a:gd name="connsiteX52" fmla="*/ 26377 w 184111"/>
                <a:gd name="connsiteY52" fmla="*/ 132001 h 260841"/>
                <a:gd name="connsiteX53" fmla="*/ 23274 w 184111"/>
                <a:gd name="connsiteY53" fmla="*/ 145195 h 260841"/>
                <a:gd name="connsiteX54" fmla="*/ 10861 w 184111"/>
                <a:gd name="connsiteY54" fmla="*/ 155285 h 260841"/>
                <a:gd name="connsiteX55" fmla="*/ 3103 w 184111"/>
                <a:gd name="connsiteY55" fmla="*/ 165375 h 260841"/>
                <a:gd name="connsiteX56" fmla="*/ 0 w 184111"/>
                <a:gd name="connsiteY56" fmla="*/ 171584 h 260841"/>
                <a:gd name="connsiteX57" fmla="*/ 19395 w 184111"/>
                <a:gd name="connsiteY57" fmla="*/ 182450 h 260841"/>
                <a:gd name="connsiteX58" fmla="*/ 26377 w 184111"/>
                <a:gd name="connsiteY58" fmla="*/ 187883 h 260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184111" h="260841">
                  <a:moveTo>
                    <a:pt x="26377" y="187883"/>
                  </a:moveTo>
                  <a:cubicBezTo>
                    <a:pt x="31032" y="190212"/>
                    <a:pt x="36462" y="189436"/>
                    <a:pt x="38014" y="187883"/>
                  </a:cubicBezTo>
                  <a:cubicBezTo>
                    <a:pt x="39566" y="186331"/>
                    <a:pt x="43445" y="190212"/>
                    <a:pt x="48875" y="196421"/>
                  </a:cubicBezTo>
                  <a:cubicBezTo>
                    <a:pt x="48875" y="196421"/>
                    <a:pt x="49651" y="197197"/>
                    <a:pt x="49651" y="197197"/>
                  </a:cubicBezTo>
                  <a:cubicBezTo>
                    <a:pt x="54306" y="196421"/>
                    <a:pt x="60512" y="194869"/>
                    <a:pt x="62839" y="196421"/>
                  </a:cubicBezTo>
                  <a:cubicBezTo>
                    <a:pt x="67494" y="199526"/>
                    <a:pt x="65943" y="208839"/>
                    <a:pt x="72149" y="209615"/>
                  </a:cubicBezTo>
                  <a:cubicBezTo>
                    <a:pt x="78355" y="210392"/>
                    <a:pt x="82234" y="215825"/>
                    <a:pt x="82234" y="219705"/>
                  </a:cubicBezTo>
                  <a:cubicBezTo>
                    <a:pt x="81459" y="222810"/>
                    <a:pt x="88441" y="224362"/>
                    <a:pt x="88441" y="229795"/>
                  </a:cubicBezTo>
                  <a:cubicBezTo>
                    <a:pt x="87665" y="234452"/>
                    <a:pt x="103957" y="233676"/>
                    <a:pt x="106284" y="232124"/>
                  </a:cubicBezTo>
                  <a:cubicBezTo>
                    <a:pt x="108611" y="230571"/>
                    <a:pt x="112490" y="229795"/>
                    <a:pt x="115594" y="231348"/>
                  </a:cubicBezTo>
                  <a:cubicBezTo>
                    <a:pt x="118697" y="232900"/>
                    <a:pt x="123352" y="229795"/>
                    <a:pt x="125679" y="230571"/>
                  </a:cubicBezTo>
                  <a:cubicBezTo>
                    <a:pt x="128782" y="231348"/>
                    <a:pt x="138868" y="236004"/>
                    <a:pt x="137316" y="239885"/>
                  </a:cubicBezTo>
                  <a:cubicBezTo>
                    <a:pt x="134989" y="243766"/>
                    <a:pt x="127231" y="249975"/>
                    <a:pt x="129558" y="253080"/>
                  </a:cubicBezTo>
                  <a:cubicBezTo>
                    <a:pt x="131110" y="255408"/>
                    <a:pt x="136540" y="256960"/>
                    <a:pt x="138868" y="260841"/>
                  </a:cubicBezTo>
                  <a:cubicBezTo>
                    <a:pt x="138868" y="260841"/>
                    <a:pt x="139643" y="260841"/>
                    <a:pt x="139643" y="260841"/>
                  </a:cubicBezTo>
                  <a:cubicBezTo>
                    <a:pt x="143522" y="260065"/>
                    <a:pt x="145850" y="244542"/>
                    <a:pt x="145850" y="239885"/>
                  </a:cubicBezTo>
                  <a:cubicBezTo>
                    <a:pt x="145850" y="235228"/>
                    <a:pt x="147401" y="223586"/>
                    <a:pt x="148953" y="218929"/>
                  </a:cubicBezTo>
                  <a:cubicBezTo>
                    <a:pt x="151280" y="209615"/>
                    <a:pt x="138868" y="203406"/>
                    <a:pt x="138868" y="193316"/>
                  </a:cubicBezTo>
                  <a:cubicBezTo>
                    <a:pt x="138868" y="183227"/>
                    <a:pt x="143522" y="188660"/>
                    <a:pt x="149729" y="184779"/>
                  </a:cubicBezTo>
                  <a:cubicBezTo>
                    <a:pt x="155159" y="180898"/>
                    <a:pt x="149729" y="179346"/>
                    <a:pt x="146625" y="178570"/>
                  </a:cubicBezTo>
                  <a:cubicBezTo>
                    <a:pt x="143522" y="177793"/>
                    <a:pt x="141971" y="173137"/>
                    <a:pt x="142746" y="170032"/>
                  </a:cubicBezTo>
                  <a:cubicBezTo>
                    <a:pt x="143522" y="166927"/>
                    <a:pt x="160590" y="168480"/>
                    <a:pt x="166020" y="168480"/>
                  </a:cubicBezTo>
                  <a:cubicBezTo>
                    <a:pt x="171451" y="168480"/>
                    <a:pt x="183088" y="163823"/>
                    <a:pt x="183864" y="163047"/>
                  </a:cubicBezTo>
                  <a:cubicBezTo>
                    <a:pt x="183864" y="162270"/>
                    <a:pt x="185415" y="158390"/>
                    <a:pt x="180761" y="155285"/>
                  </a:cubicBezTo>
                  <a:cubicBezTo>
                    <a:pt x="176882" y="152181"/>
                    <a:pt x="178433" y="147524"/>
                    <a:pt x="181536" y="143643"/>
                  </a:cubicBezTo>
                  <a:cubicBezTo>
                    <a:pt x="184640" y="139762"/>
                    <a:pt x="179209" y="135882"/>
                    <a:pt x="175330" y="132001"/>
                  </a:cubicBezTo>
                  <a:cubicBezTo>
                    <a:pt x="171451" y="127344"/>
                    <a:pt x="174554" y="111045"/>
                    <a:pt x="179209" y="103283"/>
                  </a:cubicBezTo>
                  <a:cubicBezTo>
                    <a:pt x="183864" y="95522"/>
                    <a:pt x="169899" y="97074"/>
                    <a:pt x="160590" y="98626"/>
                  </a:cubicBezTo>
                  <a:cubicBezTo>
                    <a:pt x="152056" y="99403"/>
                    <a:pt x="144298" y="96298"/>
                    <a:pt x="138868" y="89313"/>
                  </a:cubicBezTo>
                  <a:cubicBezTo>
                    <a:pt x="133437" y="82327"/>
                    <a:pt x="125679" y="86984"/>
                    <a:pt x="112490" y="86984"/>
                  </a:cubicBezTo>
                  <a:cubicBezTo>
                    <a:pt x="99302" y="86984"/>
                    <a:pt x="101629" y="72238"/>
                    <a:pt x="102405" y="66028"/>
                  </a:cubicBezTo>
                  <a:cubicBezTo>
                    <a:pt x="103181" y="60595"/>
                    <a:pt x="95423" y="59819"/>
                    <a:pt x="95423" y="55938"/>
                  </a:cubicBezTo>
                  <a:cubicBezTo>
                    <a:pt x="95423" y="52058"/>
                    <a:pt x="91544" y="52058"/>
                    <a:pt x="88441" y="52834"/>
                  </a:cubicBezTo>
                  <a:cubicBezTo>
                    <a:pt x="85338" y="52834"/>
                    <a:pt x="88441" y="48953"/>
                    <a:pt x="90768" y="45849"/>
                  </a:cubicBezTo>
                  <a:cubicBezTo>
                    <a:pt x="93096" y="42744"/>
                    <a:pt x="93096" y="40416"/>
                    <a:pt x="93096" y="34206"/>
                  </a:cubicBezTo>
                  <a:cubicBezTo>
                    <a:pt x="93096" y="27997"/>
                    <a:pt x="102405" y="22564"/>
                    <a:pt x="107060" y="16355"/>
                  </a:cubicBezTo>
                  <a:cubicBezTo>
                    <a:pt x="107836" y="14803"/>
                    <a:pt x="110163" y="14027"/>
                    <a:pt x="111715" y="13250"/>
                  </a:cubicBezTo>
                  <a:cubicBezTo>
                    <a:pt x="112490" y="11698"/>
                    <a:pt x="113266" y="10922"/>
                    <a:pt x="115594" y="10146"/>
                  </a:cubicBezTo>
                  <a:cubicBezTo>
                    <a:pt x="122576" y="8594"/>
                    <a:pt x="125679" y="3937"/>
                    <a:pt x="119473" y="832"/>
                  </a:cubicBezTo>
                  <a:cubicBezTo>
                    <a:pt x="113266" y="-3049"/>
                    <a:pt x="109387" y="7817"/>
                    <a:pt x="101629" y="9370"/>
                  </a:cubicBezTo>
                  <a:cubicBezTo>
                    <a:pt x="94647" y="10146"/>
                    <a:pt x="93096" y="14803"/>
                    <a:pt x="88441" y="17131"/>
                  </a:cubicBezTo>
                  <a:cubicBezTo>
                    <a:pt x="83786" y="19460"/>
                    <a:pt x="74476" y="17131"/>
                    <a:pt x="74476" y="21788"/>
                  </a:cubicBezTo>
                  <a:cubicBezTo>
                    <a:pt x="74476" y="26445"/>
                    <a:pt x="71373" y="21788"/>
                    <a:pt x="67494" y="21012"/>
                  </a:cubicBezTo>
                  <a:cubicBezTo>
                    <a:pt x="63615" y="20236"/>
                    <a:pt x="52754" y="29550"/>
                    <a:pt x="52754" y="34206"/>
                  </a:cubicBezTo>
                  <a:cubicBezTo>
                    <a:pt x="52754" y="39639"/>
                    <a:pt x="55081" y="44296"/>
                    <a:pt x="47324" y="48953"/>
                  </a:cubicBezTo>
                  <a:cubicBezTo>
                    <a:pt x="39566" y="53610"/>
                    <a:pt x="34911" y="62924"/>
                    <a:pt x="31808" y="66805"/>
                  </a:cubicBezTo>
                  <a:cubicBezTo>
                    <a:pt x="31032" y="68357"/>
                    <a:pt x="29480" y="68357"/>
                    <a:pt x="28704" y="67581"/>
                  </a:cubicBezTo>
                  <a:cubicBezTo>
                    <a:pt x="27929" y="69909"/>
                    <a:pt x="27929" y="71461"/>
                    <a:pt x="26377" y="72238"/>
                  </a:cubicBezTo>
                  <a:cubicBezTo>
                    <a:pt x="24825" y="73790"/>
                    <a:pt x="20171" y="78447"/>
                    <a:pt x="15516" y="82327"/>
                  </a:cubicBezTo>
                  <a:cubicBezTo>
                    <a:pt x="17843" y="83880"/>
                    <a:pt x="19395" y="86208"/>
                    <a:pt x="20171" y="86984"/>
                  </a:cubicBezTo>
                  <a:cubicBezTo>
                    <a:pt x="24825" y="92417"/>
                    <a:pt x="21722" y="96298"/>
                    <a:pt x="23274" y="99403"/>
                  </a:cubicBezTo>
                  <a:cubicBezTo>
                    <a:pt x="24825" y="102507"/>
                    <a:pt x="26377" y="106388"/>
                    <a:pt x="23274" y="107940"/>
                  </a:cubicBezTo>
                  <a:cubicBezTo>
                    <a:pt x="20171" y="109493"/>
                    <a:pt x="23274" y="128896"/>
                    <a:pt x="26377" y="132001"/>
                  </a:cubicBezTo>
                  <a:cubicBezTo>
                    <a:pt x="29480" y="135105"/>
                    <a:pt x="26377" y="138210"/>
                    <a:pt x="23274" y="145195"/>
                  </a:cubicBezTo>
                  <a:cubicBezTo>
                    <a:pt x="20171" y="152181"/>
                    <a:pt x="17067" y="155285"/>
                    <a:pt x="10861" y="155285"/>
                  </a:cubicBezTo>
                  <a:cubicBezTo>
                    <a:pt x="4655" y="155285"/>
                    <a:pt x="4655" y="165375"/>
                    <a:pt x="3103" y="165375"/>
                  </a:cubicBezTo>
                  <a:cubicBezTo>
                    <a:pt x="1552" y="165375"/>
                    <a:pt x="0" y="169256"/>
                    <a:pt x="0" y="171584"/>
                  </a:cubicBezTo>
                  <a:cubicBezTo>
                    <a:pt x="5431" y="176241"/>
                    <a:pt x="16292" y="182450"/>
                    <a:pt x="19395" y="182450"/>
                  </a:cubicBezTo>
                  <a:cubicBezTo>
                    <a:pt x="20171" y="180898"/>
                    <a:pt x="22498" y="185555"/>
                    <a:pt x="26377" y="187883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33" name="Forma libre 24">
              <a:extLst>
                <a:ext uri="{FF2B5EF4-FFF2-40B4-BE49-F238E27FC236}">
                  <a16:creationId xmlns:a16="http://schemas.microsoft.com/office/drawing/2014/main" id="{AD2E8141-CFB8-4BE5-4239-F89BD06C4450}"/>
                </a:ext>
              </a:extLst>
            </p:cNvPr>
            <p:cNvSpPr/>
            <p:nvPr/>
          </p:nvSpPr>
          <p:spPr>
            <a:xfrm>
              <a:off x="3054144" y="3489310"/>
              <a:ext cx="226968" cy="253062"/>
            </a:xfrm>
            <a:custGeom>
              <a:avLst/>
              <a:gdLst>
                <a:gd name="connsiteX0" fmla="*/ 189294 w 189939"/>
                <a:gd name="connsiteY0" fmla="*/ 128028 h 211776"/>
                <a:gd name="connsiteX1" fmla="*/ 179985 w 189939"/>
                <a:gd name="connsiteY1" fmla="*/ 112505 h 211776"/>
                <a:gd name="connsiteX2" fmla="*/ 166796 w 189939"/>
                <a:gd name="connsiteY2" fmla="*/ 104743 h 211776"/>
                <a:gd name="connsiteX3" fmla="*/ 149729 w 189939"/>
                <a:gd name="connsiteY3" fmla="*/ 96982 h 211776"/>
                <a:gd name="connsiteX4" fmla="*/ 148177 w 189939"/>
                <a:gd name="connsiteY4" fmla="*/ 83787 h 211776"/>
                <a:gd name="connsiteX5" fmla="*/ 145850 w 189939"/>
                <a:gd name="connsiteY5" fmla="*/ 72145 h 211776"/>
                <a:gd name="connsiteX6" fmla="*/ 139643 w 189939"/>
                <a:gd name="connsiteY6" fmla="*/ 61279 h 211776"/>
                <a:gd name="connsiteX7" fmla="*/ 122576 w 189939"/>
                <a:gd name="connsiteY7" fmla="*/ 57398 h 211776"/>
                <a:gd name="connsiteX8" fmla="*/ 109387 w 189939"/>
                <a:gd name="connsiteY8" fmla="*/ 51189 h 211776"/>
                <a:gd name="connsiteX9" fmla="*/ 103181 w 189939"/>
                <a:gd name="connsiteY9" fmla="*/ 45756 h 211776"/>
                <a:gd name="connsiteX10" fmla="*/ 92320 w 189939"/>
                <a:gd name="connsiteY10" fmla="*/ 43428 h 211776"/>
                <a:gd name="connsiteX11" fmla="*/ 73701 w 189939"/>
                <a:gd name="connsiteY11" fmla="*/ 32562 h 211776"/>
                <a:gd name="connsiteX12" fmla="*/ 68270 w 189939"/>
                <a:gd name="connsiteY12" fmla="*/ 2292 h 211776"/>
                <a:gd name="connsiteX13" fmla="*/ 53530 w 189939"/>
                <a:gd name="connsiteY13" fmla="*/ 1516 h 211776"/>
                <a:gd name="connsiteX14" fmla="*/ 34911 w 189939"/>
                <a:gd name="connsiteY14" fmla="*/ 10054 h 211776"/>
                <a:gd name="connsiteX15" fmla="*/ 21722 w 189939"/>
                <a:gd name="connsiteY15" fmla="*/ 17039 h 211776"/>
                <a:gd name="connsiteX16" fmla="*/ 8534 w 189939"/>
                <a:gd name="connsiteY16" fmla="*/ 20143 h 211776"/>
                <a:gd name="connsiteX17" fmla="*/ 3103 w 189939"/>
                <a:gd name="connsiteY17" fmla="*/ 18591 h 211776"/>
                <a:gd name="connsiteX18" fmla="*/ 13964 w 189939"/>
                <a:gd name="connsiteY18" fmla="*/ 40323 h 211776"/>
                <a:gd name="connsiteX19" fmla="*/ 10085 w 189939"/>
                <a:gd name="connsiteY19" fmla="*/ 48861 h 211776"/>
                <a:gd name="connsiteX20" fmla="*/ 11637 w 189939"/>
                <a:gd name="connsiteY20" fmla="*/ 71369 h 211776"/>
                <a:gd name="connsiteX21" fmla="*/ 7758 w 189939"/>
                <a:gd name="connsiteY21" fmla="*/ 84563 h 211776"/>
                <a:gd name="connsiteX22" fmla="*/ 3879 w 189939"/>
                <a:gd name="connsiteY22" fmla="*/ 97758 h 211776"/>
                <a:gd name="connsiteX23" fmla="*/ 10085 w 189939"/>
                <a:gd name="connsiteY23" fmla="*/ 104743 h 211776"/>
                <a:gd name="connsiteX24" fmla="*/ 1552 w 189939"/>
                <a:gd name="connsiteY24" fmla="*/ 117162 h 211776"/>
                <a:gd name="connsiteX25" fmla="*/ 0 w 189939"/>
                <a:gd name="connsiteY25" fmla="*/ 123371 h 211776"/>
                <a:gd name="connsiteX26" fmla="*/ 6206 w 189939"/>
                <a:gd name="connsiteY26" fmla="*/ 131132 h 211776"/>
                <a:gd name="connsiteX27" fmla="*/ 10085 w 189939"/>
                <a:gd name="connsiteY27" fmla="*/ 147431 h 211776"/>
                <a:gd name="connsiteX28" fmla="*/ 16292 w 189939"/>
                <a:gd name="connsiteY28" fmla="*/ 155969 h 211776"/>
                <a:gd name="connsiteX29" fmla="*/ 13189 w 189939"/>
                <a:gd name="connsiteY29" fmla="*/ 166835 h 211776"/>
                <a:gd name="connsiteX30" fmla="*/ 18619 w 189939"/>
                <a:gd name="connsiteY30" fmla="*/ 180030 h 211776"/>
                <a:gd name="connsiteX31" fmla="*/ 24050 w 189939"/>
                <a:gd name="connsiteY31" fmla="*/ 194000 h 211776"/>
                <a:gd name="connsiteX32" fmla="*/ 27929 w 189939"/>
                <a:gd name="connsiteY32" fmla="*/ 211075 h 211776"/>
                <a:gd name="connsiteX33" fmla="*/ 48875 w 189939"/>
                <a:gd name="connsiteY33" fmla="*/ 198657 h 211776"/>
                <a:gd name="connsiteX34" fmla="*/ 62840 w 189939"/>
                <a:gd name="connsiteY34" fmla="*/ 197881 h 211776"/>
                <a:gd name="connsiteX35" fmla="*/ 80683 w 189939"/>
                <a:gd name="connsiteY35" fmla="*/ 205642 h 211776"/>
                <a:gd name="connsiteX36" fmla="*/ 89992 w 189939"/>
                <a:gd name="connsiteY36" fmla="*/ 196329 h 211776"/>
                <a:gd name="connsiteX37" fmla="*/ 110939 w 189939"/>
                <a:gd name="connsiteY37" fmla="*/ 196329 h 211776"/>
                <a:gd name="connsiteX38" fmla="*/ 115594 w 189939"/>
                <a:gd name="connsiteY38" fmla="*/ 172268 h 211776"/>
                <a:gd name="connsiteX39" fmla="*/ 127231 w 189939"/>
                <a:gd name="connsiteY39" fmla="*/ 157521 h 211776"/>
                <a:gd name="connsiteX40" fmla="*/ 145850 w 189939"/>
                <a:gd name="connsiteY40" fmla="*/ 154417 h 211776"/>
                <a:gd name="connsiteX41" fmla="*/ 163693 w 189939"/>
                <a:gd name="connsiteY41" fmla="*/ 152864 h 211776"/>
                <a:gd name="connsiteX42" fmla="*/ 178433 w 189939"/>
                <a:gd name="connsiteY42" fmla="*/ 159074 h 211776"/>
                <a:gd name="connsiteX43" fmla="*/ 186191 w 189939"/>
                <a:gd name="connsiteY43" fmla="*/ 147431 h 211776"/>
                <a:gd name="connsiteX44" fmla="*/ 189294 w 189939"/>
                <a:gd name="connsiteY44" fmla="*/ 128028 h 21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9939" h="211776">
                  <a:moveTo>
                    <a:pt x="189294" y="128028"/>
                  </a:moveTo>
                  <a:cubicBezTo>
                    <a:pt x="186967" y="121042"/>
                    <a:pt x="179985" y="120266"/>
                    <a:pt x="179985" y="112505"/>
                  </a:cubicBezTo>
                  <a:cubicBezTo>
                    <a:pt x="179985" y="104743"/>
                    <a:pt x="176882" y="103967"/>
                    <a:pt x="166796" y="104743"/>
                  </a:cubicBezTo>
                  <a:cubicBezTo>
                    <a:pt x="156711" y="105519"/>
                    <a:pt x="150505" y="103191"/>
                    <a:pt x="149729" y="96982"/>
                  </a:cubicBezTo>
                  <a:cubicBezTo>
                    <a:pt x="148953" y="90773"/>
                    <a:pt x="143522" y="86116"/>
                    <a:pt x="148177" y="83787"/>
                  </a:cubicBezTo>
                  <a:cubicBezTo>
                    <a:pt x="152832" y="81459"/>
                    <a:pt x="145074" y="77578"/>
                    <a:pt x="145850" y="72145"/>
                  </a:cubicBezTo>
                  <a:cubicBezTo>
                    <a:pt x="146626" y="66712"/>
                    <a:pt x="142747" y="64384"/>
                    <a:pt x="139643" y="61279"/>
                  </a:cubicBezTo>
                  <a:cubicBezTo>
                    <a:pt x="136540" y="58174"/>
                    <a:pt x="122576" y="62831"/>
                    <a:pt x="122576" y="57398"/>
                  </a:cubicBezTo>
                  <a:cubicBezTo>
                    <a:pt x="122576" y="51965"/>
                    <a:pt x="114042" y="51189"/>
                    <a:pt x="109387" y="51189"/>
                  </a:cubicBezTo>
                  <a:cubicBezTo>
                    <a:pt x="104733" y="51189"/>
                    <a:pt x="107836" y="44980"/>
                    <a:pt x="103181" y="45756"/>
                  </a:cubicBezTo>
                  <a:cubicBezTo>
                    <a:pt x="97750" y="46532"/>
                    <a:pt x="99302" y="42652"/>
                    <a:pt x="92320" y="43428"/>
                  </a:cubicBezTo>
                  <a:cubicBezTo>
                    <a:pt x="85338" y="44204"/>
                    <a:pt x="81459" y="41099"/>
                    <a:pt x="73701" y="32562"/>
                  </a:cubicBezTo>
                  <a:cubicBezTo>
                    <a:pt x="65943" y="24024"/>
                    <a:pt x="67494" y="6949"/>
                    <a:pt x="68270" y="2292"/>
                  </a:cubicBezTo>
                  <a:cubicBezTo>
                    <a:pt x="69822" y="-2365"/>
                    <a:pt x="59736" y="1516"/>
                    <a:pt x="53530" y="1516"/>
                  </a:cubicBezTo>
                  <a:cubicBezTo>
                    <a:pt x="47324" y="1516"/>
                    <a:pt x="41893" y="6173"/>
                    <a:pt x="34911" y="10054"/>
                  </a:cubicBezTo>
                  <a:cubicBezTo>
                    <a:pt x="28705" y="13934"/>
                    <a:pt x="24826" y="13934"/>
                    <a:pt x="21722" y="17039"/>
                  </a:cubicBezTo>
                  <a:cubicBezTo>
                    <a:pt x="18619" y="20143"/>
                    <a:pt x="13189" y="22472"/>
                    <a:pt x="8534" y="20143"/>
                  </a:cubicBezTo>
                  <a:cubicBezTo>
                    <a:pt x="6982" y="19367"/>
                    <a:pt x="5431" y="19367"/>
                    <a:pt x="3103" y="18591"/>
                  </a:cubicBezTo>
                  <a:cubicBezTo>
                    <a:pt x="6206" y="25576"/>
                    <a:pt x="12413" y="36442"/>
                    <a:pt x="13964" y="40323"/>
                  </a:cubicBezTo>
                  <a:cubicBezTo>
                    <a:pt x="15516" y="45756"/>
                    <a:pt x="11637" y="46532"/>
                    <a:pt x="10085" y="48861"/>
                  </a:cubicBezTo>
                  <a:cubicBezTo>
                    <a:pt x="8534" y="50413"/>
                    <a:pt x="10861" y="67488"/>
                    <a:pt x="11637" y="71369"/>
                  </a:cubicBezTo>
                  <a:cubicBezTo>
                    <a:pt x="12413" y="75250"/>
                    <a:pt x="5431" y="82235"/>
                    <a:pt x="7758" y="84563"/>
                  </a:cubicBezTo>
                  <a:cubicBezTo>
                    <a:pt x="10861" y="86892"/>
                    <a:pt x="3879" y="93877"/>
                    <a:pt x="3879" y="97758"/>
                  </a:cubicBezTo>
                  <a:cubicBezTo>
                    <a:pt x="3879" y="101639"/>
                    <a:pt x="10085" y="101639"/>
                    <a:pt x="10085" y="104743"/>
                  </a:cubicBezTo>
                  <a:cubicBezTo>
                    <a:pt x="10085" y="107848"/>
                    <a:pt x="4655" y="115609"/>
                    <a:pt x="1552" y="117162"/>
                  </a:cubicBezTo>
                  <a:cubicBezTo>
                    <a:pt x="0" y="117938"/>
                    <a:pt x="0" y="121042"/>
                    <a:pt x="0" y="123371"/>
                  </a:cubicBezTo>
                  <a:cubicBezTo>
                    <a:pt x="776" y="123371"/>
                    <a:pt x="1552" y="127251"/>
                    <a:pt x="6206" y="131132"/>
                  </a:cubicBezTo>
                  <a:cubicBezTo>
                    <a:pt x="11637" y="135013"/>
                    <a:pt x="5431" y="141998"/>
                    <a:pt x="10085" y="147431"/>
                  </a:cubicBezTo>
                  <a:cubicBezTo>
                    <a:pt x="14740" y="152864"/>
                    <a:pt x="19395" y="153641"/>
                    <a:pt x="16292" y="155969"/>
                  </a:cubicBezTo>
                  <a:cubicBezTo>
                    <a:pt x="13189" y="159074"/>
                    <a:pt x="17068" y="164507"/>
                    <a:pt x="13189" y="166835"/>
                  </a:cubicBezTo>
                  <a:cubicBezTo>
                    <a:pt x="9310" y="169940"/>
                    <a:pt x="14740" y="177701"/>
                    <a:pt x="18619" y="180030"/>
                  </a:cubicBezTo>
                  <a:cubicBezTo>
                    <a:pt x="22498" y="181582"/>
                    <a:pt x="20171" y="190119"/>
                    <a:pt x="24050" y="194000"/>
                  </a:cubicBezTo>
                  <a:cubicBezTo>
                    <a:pt x="27929" y="197881"/>
                    <a:pt x="26377" y="207971"/>
                    <a:pt x="27929" y="211075"/>
                  </a:cubicBezTo>
                  <a:cubicBezTo>
                    <a:pt x="29480" y="214180"/>
                    <a:pt x="41893" y="206418"/>
                    <a:pt x="48875" y="198657"/>
                  </a:cubicBezTo>
                  <a:cubicBezTo>
                    <a:pt x="56633" y="190896"/>
                    <a:pt x="55857" y="197105"/>
                    <a:pt x="62840" y="197881"/>
                  </a:cubicBezTo>
                  <a:cubicBezTo>
                    <a:pt x="69822" y="198657"/>
                    <a:pt x="77580" y="198657"/>
                    <a:pt x="80683" y="205642"/>
                  </a:cubicBezTo>
                  <a:cubicBezTo>
                    <a:pt x="83786" y="211852"/>
                    <a:pt x="87665" y="199433"/>
                    <a:pt x="89992" y="196329"/>
                  </a:cubicBezTo>
                  <a:cubicBezTo>
                    <a:pt x="92320" y="193224"/>
                    <a:pt x="107836" y="197105"/>
                    <a:pt x="110939" y="196329"/>
                  </a:cubicBezTo>
                  <a:cubicBezTo>
                    <a:pt x="114042" y="195552"/>
                    <a:pt x="116369" y="175373"/>
                    <a:pt x="115594" y="172268"/>
                  </a:cubicBezTo>
                  <a:cubicBezTo>
                    <a:pt x="114818" y="169164"/>
                    <a:pt x="121800" y="161402"/>
                    <a:pt x="127231" y="157521"/>
                  </a:cubicBezTo>
                  <a:cubicBezTo>
                    <a:pt x="132661" y="153641"/>
                    <a:pt x="141195" y="156745"/>
                    <a:pt x="145850" y="154417"/>
                  </a:cubicBezTo>
                  <a:cubicBezTo>
                    <a:pt x="150505" y="152088"/>
                    <a:pt x="157487" y="152864"/>
                    <a:pt x="163693" y="152864"/>
                  </a:cubicBezTo>
                  <a:cubicBezTo>
                    <a:pt x="169899" y="152864"/>
                    <a:pt x="174554" y="159074"/>
                    <a:pt x="178433" y="159074"/>
                  </a:cubicBezTo>
                  <a:cubicBezTo>
                    <a:pt x="182312" y="159074"/>
                    <a:pt x="186967" y="152864"/>
                    <a:pt x="186191" y="147431"/>
                  </a:cubicBezTo>
                  <a:cubicBezTo>
                    <a:pt x="186967" y="142774"/>
                    <a:pt x="191622" y="135013"/>
                    <a:pt x="189294" y="128028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34" name="Forma libre 25">
              <a:extLst>
                <a:ext uri="{FF2B5EF4-FFF2-40B4-BE49-F238E27FC236}">
                  <a16:creationId xmlns:a16="http://schemas.microsoft.com/office/drawing/2014/main" id="{F17936E9-01A8-2057-05D3-92BE248A2D32}"/>
                </a:ext>
              </a:extLst>
            </p:cNvPr>
            <p:cNvSpPr/>
            <p:nvPr/>
          </p:nvSpPr>
          <p:spPr>
            <a:xfrm>
              <a:off x="2836294" y="3305546"/>
              <a:ext cx="237099" cy="348807"/>
            </a:xfrm>
            <a:custGeom>
              <a:avLst/>
              <a:gdLst>
                <a:gd name="connsiteX0" fmla="*/ 183814 w 198417"/>
                <a:gd name="connsiteY0" fmla="*/ 277930 h 291901"/>
                <a:gd name="connsiteX1" fmla="*/ 183814 w 198417"/>
                <a:gd name="connsiteY1" fmla="*/ 277930 h 291901"/>
                <a:gd name="connsiteX2" fmla="*/ 185365 w 198417"/>
                <a:gd name="connsiteY2" fmla="*/ 270945 h 291901"/>
                <a:gd name="connsiteX3" fmla="*/ 193899 w 198417"/>
                <a:gd name="connsiteY3" fmla="*/ 258527 h 291901"/>
                <a:gd name="connsiteX4" fmla="*/ 187693 w 198417"/>
                <a:gd name="connsiteY4" fmla="*/ 251541 h 291901"/>
                <a:gd name="connsiteX5" fmla="*/ 191572 w 198417"/>
                <a:gd name="connsiteY5" fmla="*/ 238347 h 291901"/>
                <a:gd name="connsiteX6" fmla="*/ 195451 w 198417"/>
                <a:gd name="connsiteY6" fmla="*/ 225152 h 291901"/>
                <a:gd name="connsiteX7" fmla="*/ 193899 w 198417"/>
                <a:gd name="connsiteY7" fmla="*/ 202644 h 291901"/>
                <a:gd name="connsiteX8" fmla="*/ 197778 w 198417"/>
                <a:gd name="connsiteY8" fmla="*/ 194107 h 291901"/>
                <a:gd name="connsiteX9" fmla="*/ 186917 w 198417"/>
                <a:gd name="connsiteY9" fmla="*/ 172374 h 291901"/>
                <a:gd name="connsiteX10" fmla="*/ 172177 w 198417"/>
                <a:gd name="connsiteY10" fmla="*/ 173151 h 291901"/>
                <a:gd name="connsiteX11" fmla="*/ 168298 w 198417"/>
                <a:gd name="connsiteY11" fmla="*/ 152971 h 291901"/>
                <a:gd name="connsiteX12" fmla="*/ 161316 w 198417"/>
                <a:gd name="connsiteY12" fmla="*/ 154523 h 291901"/>
                <a:gd name="connsiteX13" fmla="*/ 145024 w 198417"/>
                <a:gd name="connsiteY13" fmla="*/ 156851 h 291901"/>
                <a:gd name="connsiteX14" fmla="*/ 136490 w 198417"/>
                <a:gd name="connsiteY14" fmla="*/ 148314 h 291901"/>
                <a:gd name="connsiteX15" fmla="*/ 128732 w 198417"/>
                <a:gd name="connsiteY15" fmla="*/ 142105 h 291901"/>
                <a:gd name="connsiteX16" fmla="*/ 122526 w 198417"/>
                <a:gd name="connsiteY16" fmla="*/ 128910 h 291901"/>
                <a:gd name="connsiteX17" fmla="*/ 118647 w 198417"/>
                <a:gd name="connsiteY17" fmla="*/ 115716 h 291901"/>
                <a:gd name="connsiteX18" fmla="*/ 120974 w 198417"/>
                <a:gd name="connsiteY18" fmla="*/ 105626 h 291901"/>
                <a:gd name="connsiteX19" fmla="*/ 127956 w 198417"/>
                <a:gd name="connsiteY19" fmla="*/ 97088 h 291901"/>
                <a:gd name="connsiteX20" fmla="*/ 133387 w 198417"/>
                <a:gd name="connsiteY20" fmla="*/ 82341 h 291901"/>
                <a:gd name="connsiteX21" fmla="*/ 147351 w 198417"/>
                <a:gd name="connsiteY21" fmla="*/ 73028 h 291901"/>
                <a:gd name="connsiteX22" fmla="*/ 165970 w 198417"/>
                <a:gd name="connsiteY22" fmla="*/ 66042 h 291901"/>
                <a:gd name="connsiteX23" fmla="*/ 178383 w 198417"/>
                <a:gd name="connsiteY23" fmla="*/ 65266 h 291901"/>
                <a:gd name="connsiteX24" fmla="*/ 169074 w 198417"/>
                <a:gd name="connsiteY24" fmla="*/ 57505 h 291901"/>
                <a:gd name="connsiteX25" fmla="*/ 176831 w 198417"/>
                <a:gd name="connsiteY25" fmla="*/ 44310 h 291901"/>
                <a:gd name="connsiteX26" fmla="*/ 165195 w 198417"/>
                <a:gd name="connsiteY26" fmla="*/ 34997 h 291901"/>
                <a:gd name="connsiteX27" fmla="*/ 155109 w 198417"/>
                <a:gd name="connsiteY27" fmla="*/ 35773 h 291901"/>
                <a:gd name="connsiteX28" fmla="*/ 145800 w 198417"/>
                <a:gd name="connsiteY28" fmla="*/ 36549 h 291901"/>
                <a:gd name="connsiteX29" fmla="*/ 127956 w 198417"/>
                <a:gd name="connsiteY29" fmla="*/ 34220 h 291901"/>
                <a:gd name="connsiteX30" fmla="*/ 121750 w 198417"/>
                <a:gd name="connsiteY30" fmla="*/ 24130 h 291901"/>
                <a:gd name="connsiteX31" fmla="*/ 111665 w 198417"/>
                <a:gd name="connsiteY31" fmla="*/ 14041 h 291901"/>
                <a:gd name="connsiteX32" fmla="*/ 102355 w 198417"/>
                <a:gd name="connsiteY32" fmla="*/ 846 h 291901"/>
                <a:gd name="connsiteX33" fmla="*/ 89166 w 198417"/>
                <a:gd name="connsiteY33" fmla="*/ 1622 h 291901"/>
                <a:gd name="connsiteX34" fmla="*/ 93045 w 198417"/>
                <a:gd name="connsiteY34" fmla="*/ 12488 h 291901"/>
                <a:gd name="connsiteX35" fmla="*/ 84512 w 198417"/>
                <a:gd name="connsiteY35" fmla="*/ 28011 h 291901"/>
                <a:gd name="connsiteX36" fmla="*/ 53480 w 198417"/>
                <a:gd name="connsiteY36" fmla="*/ 44310 h 291901"/>
                <a:gd name="connsiteX37" fmla="*/ 39516 w 198417"/>
                <a:gd name="connsiteY37" fmla="*/ 69147 h 291901"/>
                <a:gd name="connsiteX38" fmla="*/ 28654 w 198417"/>
                <a:gd name="connsiteY38" fmla="*/ 69923 h 291901"/>
                <a:gd name="connsiteX39" fmla="*/ 17017 w 198417"/>
                <a:gd name="connsiteY39" fmla="*/ 66819 h 291901"/>
                <a:gd name="connsiteX40" fmla="*/ 17017 w 198417"/>
                <a:gd name="connsiteY40" fmla="*/ 59057 h 291901"/>
                <a:gd name="connsiteX41" fmla="*/ 13914 w 198417"/>
                <a:gd name="connsiteY41" fmla="*/ 51296 h 291901"/>
                <a:gd name="connsiteX42" fmla="*/ 726 w 198417"/>
                <a:gd name="connsiteY42" fmla="*/ 65266 h 291901"/>
                <a:gd name="connsiteX43" fmla="*/ 6932 w 198417"/>
                <a:gd name="connsiteY43" fmla="*/ 86998 h 291901"/>
                <a:gd name="connsiteX44" fmla="*/ 2277 w 198417"/>
                <a:gd name="connsiteY44" fmla="*/ 90879 h 291901"/>
                <a:gd name="connsiteX45" fmla="*/ 19345 w 198417"/>
                <a:gd name="connsiteY45" fmla="*/ 104074 h 291901"/>
                <a:gd name="connsiteX46" fmla="*/ 34861 w 198417"/>
                <a:gd name="connsiteY46" fmla="*/ 125806 h 291901"/>
                <a:gd name="connsiteX47" fmla="*/ 45722 w 198417"/>
                <a:gd name="connsiteY47" fmla="*/ 149866 h 291901"/>
                <a:gd name="connsiteX48" fmla="*/ 69772 w 198417"/>
                <a:gd name="connsiteY48" fmla="*/ 195659 h 291901"/>
                <a:gd name="connsiteX49" fmla="*/ 79081 w 198417"/>
                <a:gd name="connsiteY49" fmla="*/ 215839 h 291901"/>
                <a:gd name="connsiteX50" fmla="*/ 85287 w 198417"/>
                <a:gd name="connsiteY50" fmla="*/ 229809 h 291901"/>
                <a:gd name="connsiteX51" fmla="*/ 110113 w 198417"/>
                <a:gd name="connsiteY51" fmla="*/ 246884 h 291901"/>
                <a:gd name="connsiteX52" fmla="*/ 155109 w 198417"/>
                <a:gd name="connsiteY52" fmla="*/ 274826 h 291901"/>
                <a:gd name="connsiteX53" fmla="*/ 173728 w 198417"/>
                <a:gd name="connsiteY53" fmla="*/ 288796 h 291901"/>
                <a:gd name="connsiteX54" fmla="*/ 174504 w 198417"/>
                <a:gd name="connsiteY54" fmla="*/ 291901 h 291901"/>
                <a:gd name="connsiteX55" fmla="*/ 177607 w 198417"/>
                <a:gd name="connsiteY55" fmla="*/ 289573 h 291901"/>
                <a:gd name="connsiteX56" fmla="*/ 183814 w 198417"/>
                <a:gd name="connsiteY56" fmla="*/ 277930 h 291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98417" h="291901">
                  <a:moveTo>
                    <a:pt x="183814" y="277930"/>
                  </a:moveTo>
                  <a:cubicBezTo>
                    <a:pt x="184589" y="277930"/>
                    <a:pt x="184589" y="277154"/>
                    <a:pt x="183814" y="277930"/>
                  </a:cubicBezTo>
                  <a:cubicBezTo>
                    <a:pt x="183814" y="274826"/>
                    <a:pt x="183814" y="271721"/>
                    <a:pt x="185365" y="270945"/>
                  </a:cubicBezTo>
                  <a:cubicBezTo>
                    <a:pt x="188468" y="269393"/>
                    <a:pt x="193899" y="261631"/>
                    <a:pt x="193899" y="258527"/>
                  </a:cubicBezTo>
                  <a:cubicBezTo>
                    <a:pt x="193899" y="255422"/>
                    <a:pt x="187693" y="255422"/>
                    <a:pt x="187693" y="251541"/>
                  </a:cubicBezTo>
                  <a:cubicBezTo>
                    <a:pt x="187693" y="247661"/>
                    <a:pt x="193899" y="240675"/>
                    <a:pt x="191572" y="238347"/>
                  </a:cubicBezTo>
                  <a:cubicBezTo>
                    <a:pt x="188468" y="236018"/>
                    <a:pt x="195451" y="229033"/>
                    <a:pt x="195451" y="225152"/>
                  </a:cubicBezTo>
                  <a:cubicBezTo>
                    <a:pt x="194675" y="221272"/>
                    <a:pt x="192347" y="204973"/>
                    <a:pt x="193899" y="202644"/>
                  </a:cubicBezTo>
                  <a:cubicBezTo>
                    <a:pt x="195451" y="201092"/>
                    <a:pt x="200105" y="199539"/>
                    <a:pt x="197778" y="194107"/>
                  </a:cubicBezTo>
                  <a:cubicBezTo>
                    <a:pt x="196226" y="190226"/>
                    <a:pt x="190020" y="178584"/>
                    <a:pt x="186917" y="172374"/>
                  </a:cubicBezTo>
                  <a:cubicBezTo>
                    <a:pt x="181486" y="171598"/>
                    <a:pt x="175280" y="171598"/>
                    <a:pt x="172177" y="173151"/>
                  </a:cubicBezTo>
                  <a:cubicBezTo>
                    <a:pt x="166746" y="174703"/>
                    <a:pt x="168298" y="159180"/>
                    <a:pt x="168298" y="152971"/>
                  </a:cubicBezTo>
                  <a:cubicBezTo>
                    <a:pt x="168298" y="146762"/>
                    <a:pt x="162867" y="149866"/>
                    <a:pt x="161316" y="154523"/>
                  </a:cubicBezTo>
                  <a:cubicBezTo>
                    <a:pt x="159764" y="158404"/>
                    <a:pt x="152006" y="156851"/>
                    <a:pt x="145024" y="156851"/>
                  </a:cubicBezTo>
                  <a:cubicBezTo>
                    <a:pt x="137266" y="156851"/>
                    <a:pt x="141145" y="147538"/>
                    <a:pt x="136490" y="148314"/>
                  </a:cubicBezTo>
                  <a:cubicBezTo>
                    <a:pt x="131835" y="149090"/>
                    <a:pt x="127956" y="146762"/>
                    <a:pt x="128732" y="142105"/>
                  </a:cubicBezTo>
                  <a:cubicBezTo>
                    <a:pt x="129508" y="137448"/>
                    <a:pt x="125629" y="133567"/>
                    <a:pt x="122526" y="128910"/>
                  </a:cubicBezTo>
                  <a:cubicBezTo>
                    <a:pt x="119423" y="123477"/>
                    <a:pt x="115544" y="118820"/>
                    <a:pt x="118647" y="115716"/>
                  </a:cubicBezTo>
                  <a:cubicBezTo>
                    <a:pt x="121750" y="112611"/>
                    <a:pt x="117095" y="109507"/>
                    <a:pt x="120974" y="105626"/>
                  </a:cubicBezTo>
                  <a:cubicBezTo>
                    <a:pt x="124853" y="101745"/>
                    <a:pt x="129508" y="102521"/>
                    <a:pt x="127956" y="97088"/>
                  </a:cubicBezTo>
                  <a:cubicBezTo>
                    <a:pt x="126405" y="91655"/>
                    <a:pt x="132611" y="88551"/>
                    <a:pt x="133387" y="82341"/>
                  </a:cubicBezTo>
                  <a:cubicBezTo>
                    <a:pt x="134163" y="76132"/>
                    <a:pt x="141145" y="78461"/>
                    <a:pt x="147351" y="73028"/>
                  </a:cubicBezTo>
                  <a:cubicBezTo>
                    <a:pt x="153558" y="67595"/>
                    <a:pt x="160540" y="70699"/>
                    <a:pt x="165970" y="66042"/>
                  </a:cubicBezTo>
                  <a:cubicBezTo>
                    <a:pt x="171401" y="61386"/>
                    <a:pt x="174504" y="65266"/>
                    <a:pt x="178383" y="65266"/>
                  </a:cubicBezTo>
                  <a:cubicBezTo>
                    <a:pt x="176056" y="62162"/>
                    <a:pt x="170625" y="60609"/>
                    <a:pt x="169074" y="57505"/>
                  </a:cubicBezTo>
                  <a:cubicBezTo>
                    <a:pt x="167522" y="54400"/>
                    <a:pt x="175280" y="48191"/>
                    <a:pt x="176831" y="44310"/>
                  </a:cubicBezTo>
                  <a:cubicBezTo>
                    <a:pt x="179159" y="40430"/>
                    <a:pt x="168298" y="36549"/>
                    <a:pt x="165195" y="34997"/>
                  </a:cubicBezTo>
                  <a:cubicBezTo>
                    <a:pt x="162091" y="34220"/>
                    <a:pt x="157437" y="37325"/>
                    <a:pt x="155109" y="35773"/>
                  </a:cubicBezTo>
                  <a:cubicBezTo>
                    <a:pt x="152006" y="34220"/>
                    <a:pt x="148127" y="34997"/>
                    <a:pt x="145800" y="36549"/>
                  </a:cubicBezTo>
                  <a:cubicBezTo>
                    <a:pt x="143472" y="38101"/>
                    <a:pt x="127181" y="38877"/>
                    <a:pt x="127956" y="34220"/>
                  </a:cubicBezTo>
                  <a:cubicBezTo>
                    <a:pt x="128732" y="29563"/>
                    <a:pt x="121750" y="28011"/>
                    <a:pt x="121750" y="24130"/>
                  </a:cubicBezTo>
                  <a:cubicBezTo>
                    <a:pt x="122526" y="21026"/>
                    <a:pt x="117871" y="14817"/>
                    <a:pt x="111665" y="14041"/>
                  </a:cubicBezTo>
                  <a:cubicBezTo>
                    <a:pt x="105458" y="13264"/>
                    <a:pt x="107010" y="3951"/>
                    <a:pt x="102355" y="846"/>
                  </a:cubicBezTo>
                  <a:cubicBezTo>
                    <a:pt x="100028" y="-706"/>
                    <a:pt x="93821" y="70"/>
                    <a:pt x="89166" y="1622"/>
                  </a:cubicBezTo>
                  <a:cubicBezTo>
                    <a:pt x="94597" y="7831"/>
                    <a:pt x="96149" y="10160"/>
                    <a:pt x="93045" y="12488"/>
                  </a:cubicBezTo>
                  <a:cubicBezTo>
                    <a:pt x="88391" y="16369"/>
                    <a:pt x="93045" y="17145"/>
                    <a:pt x="84512" y="28011"/>
                  </a:cubicBezTo>
                  <a:cubicBezTo>
                    <a:pt x="75978" y="39653"/>
                    <a:pt x="61238" y="42758"/>
                    <a:pt x="53480" y="44310"/>
                  </a:cubicBezTo>
                  <a:cubicBezTo>
                    <a:pt x="46498" y="46639"/>
                    <a:pt x="43395" y="59833"/>
                    <a:pt x="39516" y="69147"/>
                  </a:cubicBezTo>
                  <a:cubicBezTo>
                    <a:pt x="35637" y="78461"/>
                    <a:pt x="32533" y="75356"/>
                    <a:pt x="28654" y="69923"/>
                  </a:cubicBezTo>
                  <a:cubicBezTo>
                    <a:pt x="24775" y="64490"/>
                    <a:pt x="21672" y="70699"/>
                    <a:pt x="17017" y="66819"/>
                  </a:cubicBezTo>
                  <a:cubicBezTo>
                    <a:pt x="12363" y="62162"/>
                    <a:pt x="14690" y="62162"/>
                    <a:pt x="17017" y="59057"/>
                  </a:cubicBezTo>
                  <a:cubicBezTo>
                    <a:pt x="18569" y="57505"/>
                    <a:pt x="17017" y="54400"/>
                    <a:pt x="13914" y="51296"/>
                  </a:cubicBezTo>
                  <a:cubicBezTo>
                    <a:pt x="8484" y="52072"/>
                    <a:pt x="3829" y="59833"/>
                    <a:pt x="726" y="65266"/>
                  </a:cubicBezTo>
                  <a:cubicBezTo>
                    <a:pt x="-2378" y="71475"/>
                    <a:pt x="5380" y="82341"/>
                    <a:pt x="6932" y="86998"/>
                  </a:cubicBezTo>
                  <a:cubicBezTo>
                    <a:pt x="7708" y="90879"/>
                    <a:pt x="3053" y="86998"/>
                    <a:pt x="2277" y="90879"/>
                  </a:cubicBezTo>
                  <a:cubicBezTo>
                    <a:pt x="1501" y="94760"/>
                    <a:pt x="13914" y="100193"/>
                    <a:pt x="19345" y="104074"/>
                  </a:cubicBezTo>
                  <a:cubicBezTo>
                    <a:pt x="24775" y="107954"/>
                    <a:pt x="29430" y="120373"/>
                    <a:pt x="34861" y="125806"/>
                  </a:cubicBezTo>
                  <a:cubicBezTo>
                    <a:pt x="40291" y="131239"/>
                    <a:pt x="40291" y="135896"/>
                    <a:pt x="45722" y="149866"/>
                  </a:cubicBezTo>
                  <a:cubicBezTo>
                    <a:pt x="51152" y="163061"/>
                    <a:pt x="62014" y="186345"/>
                    <a:pt x="69772" y="195659"/>
                  </a:cubicBezTo>
                  <a:cubicBezTo>
                    <a:pt x="77530" y="204973"/>
                    <a:pt x="80633" y="212734"/>
                    <a:pt x="79081" y="215839"/>
                  </a:cubicBezTo>
                  <a:cubicBezTo>
                    <a:pt x="77530" y="218943"/>
                    <a:pt x="79081" y="225929"/>
                    <a:pt x="85287" y="229809"/>
                  </a:cubicBezTo>
                  <a:cubicBezTo>
                    <a:pt x="90718" y="233690"/>
                    <a:pt x="95373" y="239899"/>
                    <a:pt x="110113" y="246884"/>
                  </a:cubicBezTo>
                  <a:cubicBezTo>
                    <a:pt x="124853" y="253870"/>
                    <a:pt x="151230" y="267841"/>
                    <a:pt x="155109" y="274826"/>
                  </a:cubicBezTo>
                  <a:cubicBezTo>
                    <a:pt x="158988" y="281035"/>
                    <a:pt x="171401" y="287244"/>
                    <a:pt x="173728" y="288796"/>
                  </a:cubicBezTo>
                  <a:cubicBezTo>
                    <a:pt x="174504" y="288796"/>
                    <a:pt x="174504" y="290349"/>
                    <a:pt x="174504" y="291901"/>
                  </a:cubicBezTo>
                  <a:cubicBezTo>
                    <a:pt x="176056" y="290349"/>
                    <a:pt x="176831" y="289573"/>
                    <a:pt x="177607" y="289573"/>
                  </a:cubicBezTo>
                  <a:cubicBezTo>
                    <a:pt x="182262" y="288020"/>
                    <a:pt x="183038" y="280259"/>
                    <a:pt x="183814" y="277930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38" name="Forma libre 26">
              <a:extLst>
                <a:ext uri="{FF2B5EF4-FFF2-40B4-BE49-F238E27FC236}">
                  <a16:creationId xmlns:a16="http://schemas.microsoft.com/office/drawing/2014/main" id="{5995ACFF-34BC-67D7-A2D1-239A9F95CFAC}"/>
                </a:ext>
              </a:extLst>
            </p:cNvPr>
            <p:cNvSpPr/>
            <p:nvPr/>
          </p:nvSpPr>
          <p:spPr>
            <a:xfrm>
              <a:off x="2983112" y="3079217"/>
              <a:ext cx="254642" cy="214025"/>
            </a:xfrm>
            <a:custGeom>
              <a:avLst/>
              <a:gdLst>
                <a:gd name="connsiteX0" fmla="*/ 19925 w 213098"/>
                <a:gd name="connsiteY0" fmla="*/ 10866 h 179108"/>
                <a:gd name="connsiteX1" fmla="*/ 5960 w 213098"/>
                <a:gd name="connsiteY1" fmla="*/ 28717 h 179108"/>
                <a:gd name="connsiteX2" fmla="*/ 3633 w 213098"/>
                <a:gd name="connsiteY2" fmla="*/ 40360 h 179108"/>
                <a:gd name="connsiteX3" fmla="*/ 1306 w 213098"/>
                <a:gd name="connsiteY3" fmla="*/ 47345 h 179108"/>
                <a:gd name="connsiteX4" fmla="*/ 8288 w 213098"/>
                <a:gd name="connsiteY4" fmla="*/ 50450 h 179108"/>
                <a:gd name="connsiteX5" fmla="*/ 15270 w 213098"/>
                <a:gd name="connsiteY5" fmla="*/ 60539 h 179108"/>
                <a:gd name="connsiteX6" fmla="*/ 25355 w 213098"/>
                <a:gd name="connsiteY6" fmla="*/ 81495 h 179108"/>
                <a:gd name="connsiteX7" fmla="*/ 51732 w 213098"/>
                <a:gd name="connsiteY7" fmla="*/ 83824 h 179108"/>
                <a:gd name="connsiteX8" fmla="*/ 73455 w 213098"/>
                <a:gd name="connsiteY8" fmla="*/ 93138 h 179108"/>
                <a:gd name="connsiteX9" fmla="*/ 92074 w 213098"/>
                <a:gd name="connsiteY9" fmla="*/ 97794 h 179108"/>
                <a:gd name="connsiteX10" fmla="*/ 88195 w 213098"/>
                <a:gd name="connsiteY10" fmla="*/ 126512 h 179108"/>
                <a:gd name="connsiteX11" fmla="*/ 94401 w 213098"/>
                <a:gd name="connsiteY11" fmla="*/ 138154 h 179108"/>
                <a:gd name="connsiteX12" fmla="*/ 93625 w 213098"/>
                <a:gd name="connsiteY12" fmla="*/ 149796 h 179108"/>
                <a:gd name="connsiteX13" fmla="*/ 96729 w 213098"/>
                <a:gd name="connsiteY13" fmla="*/ 157558 h 179108"/>
                <a:gd name="connsiteX14" fmla="*/ 94401 w 213098"/>
                <a:gd name="connsiteY14" fmla="*/ 159110 h 179108"/>
                <a:gd name="connsiteX15" fmla="*/ 106038 w 213098"/>
                <a:gd name="connsiteY15" fmla="*/ 174633 h 179108"/>
                <a:gd name="connsiteX16" fmla="*/ 115348 w 213098"/>
                <a:gd name="connsiteY16" fmla="*/ 178514 h 179108"/>
                <a:gd name="connsiteX17" fmla="*/ 123881 w 213098"/>
                <a:gd name="connsiteY17" fmla="*/ 176961 h 179108"/>
                <a:gd name="connsiteX18" fmla="*/ 134743 w 213098"/>
                <a:gd name="connsiteY18" fmla="*/ 171528 h 179108"/>
                <a:gd name="connsiteX19" fmla="*/ 144828 w 213098"/>
                <a:gd name="connsiteY19" fmla="*/ 166095 h 179108"/>
                <a:gd name="connsiteX20" fmla="*/ 153362 w 213098"/>
                <a:gd name="connsiteY20" fmla="*/ 157558 h 179108"/>
                <a:gd name="connsiteX21" fmla="*/ 154913 w 213098"/>
                <a:gd name="connsiteY21" fmla="*/ 151349 h 179108"/>
                <a:gd name="connsiteX22" fmla="*/ 147155 w 213098"/>
                <a:gd name="connsiteY22" fmla="*/ 149796 h 179108"/>
                <a:gd name="connsiteX23" fmla="*/ 143276 w 213098"/>
                <a:gd name="connsiteY23" fmla="*/ 139706 h 179108"/>
                <a:gd name="connsiteX24" fmla="*/ 137070 w 213098"/>
                <a:gd name="connsiteY24" fmla="*/ 128064 h 179108"/>
                <a:gd name="connsiteX25" fmla="*/ 147155 w 213098"/>
                <a:gd name="connsiteY25" fmla="*/ 126512 h 179108"/>
                <a:gd name="connsiteX26" fmla="*/ 161120 w 213098"/>
                <a:gd name="connsiteY26" fmla="*/ 131169 h 179108"/>
                <a:gd name="connsiteX27" fmla="*/ 167326 w 213098"/>
                <a:gd name="connsiteY27" fmla="*/ 131945 h 179108"/>
                <a:gd name="connsiteX28" fmla="*/ 178187 w 213098"/>
                <a:gd name="connsiteY28" fmla="*/ 125736 h 179108"/>
                <a:gd name="connsiteX29" fmla="*/ 197582 w 213098"/>
                <a:gd name="connsiteY29" fmla="*/ 117974 h 179108"/>
                <a:gd name="connsiteX30" fmla="*/ 201461 w 213098"/>
                <a:gd name="connsiteY30" fmla="*/ 112541 h 179108"/>
                <a:gd name="connsiteX31" fmla="*/ 191376 w 213098"/>
                <a:gd name="connsiteY31" fmla="*/ 100123 h 179108"/>
                <a:gd name="connsiteX32" fmla="*/ 192927 w 213098"/>
                <a:gd name="connsiteY32" fmla="*/ 91585 h 179108"/>
                <a:gd name="connsiteX33" fmla="*/ 199910 w 213098"/>
                <a:gd name="connsiteY33" fmla="*/ 84600 h 179108"/>
                <a:gd name="connsiteX34" fmla="*/ 202237 w 213098"/>
                <a:gd name="connsiteY34" fmla="*/ 76062 h 179108"/>
                <a:gd name="connsiteX35" fmla="*/ 207667 w 213098"/>
                <a:gd name="connsiteY35" fmla="*/ 65196 h 179108"/>
                <a:gd name="connsiteX36" fmla="*/ 213098 w 213098"/>
                <a:gd name="connsiteY36" fmla="*/ 57435 h 179108"/>
                <a:gd name="connsiteX37" fmla="*/ 190600 w 213098"/>
                <a:gd name="connsiteY37" fmla="*/ 55106 h 179108"/>
                <a:gd name="connsiteX38" fmla="*/ 194479 w 213098"/>
                <a:gd name="connsiteY38" fmla="*/ 42688 h 179108"/>
                <a:gd name="connsiteX39" fmla="*/ 171205 w 213098"/>
                <a:gd name="connsiteY39" fmla="*/ 34150 h 179108"/>
                <a:gd name="connsiteX40" fmla="*/ 173532 w 213098"/>
                <a:gd name="connsiteY40" fmla="*/ 25613 h 179108"/>
                <a:gd name="connsiteX41" fmla="*/ 160344 w 213098"/>
                <a:gd name="connsiteY41" fmla="*/ 21732 h 179108"/>
                <a:gd name="connsiteX42" fmla="*/ 130088 w 213098"/>
                <a:gd name="connsiteY42" fmla="*/ 32598 h 179108"/>
                <a:gd name="connsiteX43" fmla="*/ 100608 w 213098"/>
                <a:gd name="connsiteY43" fmla="*/ 24060 h 179108"/>
                <a:gd name="connsiteX44" fmla="*/ 80437 w 213098"/>
                <a:gd name="connsiteY44" fmla="*/ 20956 h 179108"/>
                <a:gd name="connsiteX45" fmla="*/ 68024 w 213098"/>
                <a:gd name="connsiteY45" fmla="*/ 8538 h 179108"/>
                <a:gd name="connsiteX46" fmla="*/ 54836 w 213098"/>
                <a:gd name="connsiteY46" fmla="*/ 0 h 179108"/>
                <a:gd name="connsiteX47" fmla="*/ 50181 w 213098"/>
                <a:gd name="connsiteY47" fmla="*/ 10090 h 179108"/>
                <a:gd name="connsiteX48" fmla="*/ 29234 w 213098"/>
                <a:gd name="connsiteY48" fmla="*/ 22508 h 179108"/>
                <a:gd name="connsiteX49" fmla="*/ 34665 w 213098"/>
                <a:gd name="connsiteY49" fmla="*/ 45017 h 179108"/>
                <a:gd name="connsiteX50" fmla="*/ 18373 w 213098"/>
                <a:gd name="connsiteY50" fmla="*/ 39583 h 179108"/>
                <a:gd name="connsiteX51" fmla="*/ 25355 w 213098"/>
                <a:gd name="connsiteY51" fmla="*/ 19404 h 179108"/>
                <a:gd name="connsiteX52" fmla="*/ 23028 w 213098"/>
                <a:gd name="connsiteY52" fmla="*/ 8538 h 179108"/>
                <a:gd name="connsiteX53" fmla="*/ 19925 w 213098"/>
                <a:gd name="connsiteY53" fmla="*/ 10866 h 17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13098" h="179108">
                  <a:moveTo>
                    <a:pt x="19925" y="10866"/>
                  </a:moveTo>
                  <a:cubicBezTo>
                    <a:pt x="15270" y="17075"/>
                    <a:pt x="6736" y="22508"/>
                    <a:pt x="5960" y="28717"/>
                  </a:cubicBezTo>
                  <a:cubicBezTo>
                    <a:pt x="5960" y="34927"/>
                    <a:pt x="5960" y="37255"/>
                    <a:pt x="3633" y="40360"/>
                  </a:cubicBezTo>
                  <a:cubicBezTo>
                    <a:pt x="1306" y="43464"/>
                    <a:pt x="-1798" y="48121"/>
                    <a:pt x="1306" y="47345"/>
                  </a:cubicBezTo>
                  <a:cubicBezTo>
                    <a:pt x="4409" y="47345"/>
                    <a:pt x="8288" y="47345"/>
                    <a:pt x="8288" y="50450"/>
                  </a:cubicBezTo>
                  <a:cubicBezTo>
                    <a:pt x="8288" y="54330"/>
                    <a:pt x="16046" y="55106"/>
                    <a:pt x="15270" y="60539"/>
                  </a:cubicBezTo>
                  <a:cubicBezTo>
                    <a:pt x="14494" y="65972"/>
                    <a:pt x="12167" y="81495"/>
                    <a:pt x="25355" y="81495"/>
                  </a:cubicBezTo>
                  <a:cubicBezTo>
                    <a:pt x="38544" y="81495"/>
                    <a:pt x="46302" y="76838"/>
                    <a:pt x="51732" y="83824"/>
                  </a:cubicBezTo>
                  <a:cubicBezTo>
                    <a:pt x="57163" y="90809"/>
                    <a:pt x="64921" y="94690"/>
                    <a:pt x="73455" y="93138"/>
                  </a:cubicBezTo>
                  <a:cubicBezTo>
                    <a:pt x="81988" y="92361"/>
                    <a:pt x="96729" y="90033"/>
                    <a:pt x="92074" y="97794"/>
                  </a:cubicBezTo>
                  <a:cubicBezTo>
                    <a:pt x="87419" y="105556"/>
                    <a:pt x="84316" y="121855"/>
                    <a:pt x="88195" y="126512"/>
                  </a:cubicBezTo>
                  <a:cubicBezTo>
                    <a:pt x="92074" y="131169"/>
                    <a:pt x="97504" y="135049"/>
                    <a:pt x="94401" y="138154"/>
                  </a:cubicBezTo>
                  <a:cubicBezTo>
                    <a:pt x="91298" y="142035"/>
                    <a:pt x="89746" y="146692"/>
                    <a:pt x="93625" y="149796"/>
                  </a:cubicBezTo>
                  <a:cubicBezTo>
                    <a:pt x="97504" y="152901"/>
                    <a:pt x="96729" y="156782"/>
                    <a:pt x="96729" y="157558"/>
                  </a:cubicBezTo>
                  <a:cubicBezTo>
                    <a:pt x="96729" y="157558"/>
                    <a:pt x="95953" y="158334"/>
                    <a:pt x="94401" y="159110"/>
                  </a:cubicBezTo>
                  <a:cubicBezTo>
                    <a:pt x="100608" y="165319"/>
                    <a:pt x="102935" y="172304"/>
                    <a:pt x="106038" y="174633"/>
                  </a:cubicBezTo>
                  <a:cubicBezTo>
                    <a:pt x="110693" y="178514"/>
                    <a:pt x="112244" y="180066"/>
                    <a:pt x="115348" y="178514"/>
                  </a:cubicBezTo>
                  <a:cubicBezTo>
                    <a:pt x="118451" y="176961"/>
                    <a:pt x="120778" y="175409"/>
                    <a:pt x="123881" y="176961"/>
                  </a:cubicBezTo>
                  <a:cubicBezTo>
                    <a:pt x="126985" y="178514"/>
                    <a:pt x="130088" y="175409"/>
                    <a:pt x="134743" y="171528"/>
                  </a:cubicBezTo>
                  <a:cubicBezTo>
                    <a:pt x="138622" y="167648"/>
                    <a:pt x="143276" y="170752"/>
                    <a:pt x="144828" y="166095"/>
                  </a:cubicBezTo>
                  <a:cubicBezTo>
                    <a:pt x="146380" y="161438"/>
                    <a:pt x="148707" y="158334"/>
                    <a:pt x="153362" y="157558"/>
                  </a:cubicBezTo>
                  <a:cubicBezTo>
                    <a:pt x="158792" y="156782"/>
                    <a:pt x="158792" y="151349"/>
                    <a:pt x="154913" y="151349"/>
                  </a:cubicBezTo>
                  <a:cubicBezTo>
                    <a:pt x="151810" y="151349"/>
                    <a:pt x="147155" y="155229"/>
                    <a:pt x="147155" y="149796"/>
                  </a:cubicBezTo>
                  <a:cubicBezTo>
                    <a:pt x="147155" y="143587"/>
                    <a:pt x="143276" y="145139"/>
                    <a:pt x="143276" y="139706"/>
                  </a:cubicBezTo>
                  <a:cubicBezTo>
                    <a:pt x="143276" y="134273"/>
                    <a:pt x="142501" y="131169"/>
                    <a:pt x="137070" y="128064"/>
                  </a:cubicBezTo>
                  <a:cubicBezTo>
                    <a:pt x="131639" y="124959"/>
                    <a:pt x="144828" y="123407"/>
                    <a:pt x="147155" y="126512"/>
                  </a:cubicBezTo>
                  <a:cubicBezTo>
                    <a:pt x="150259" y="129616"/>
                    <a:pt x="159568" y="127288"/>
                    <a:pt x="161120" y="131169"/>
                  </a:cubicBezTo>
                  <a:cubicBezTo>
                    <a:pt x="161896" y="135049"/>
                    <a:pt x="167326" y="136602"/>
                    <a:pt x="167326" y="131945"/>
                  </a:cubicBezTo>
                  <a:cubicBezTo>
                    <a:pt x="167326" y="126512"/>
                    <a:pt x="173532" y="124959"/>
                    <a:pt x="178187" y="125736"/>
                  </a:cubicBezTo>
                  <a:cubicBezTo>
                    <a:pt x="182842" y="126512"/>
                    <a:pt x="192927" y="119526"/>
                    <a:pt x="197582" y="117974"/>
                  </a:cubicBezTo>
                  <a:cubicBezTo>
                    <a:pt x="199910" y="117198"/>
                    <a:pt x="200685" y="114870"/>
                    <a:pt x="201461" y="112541"/>
                  </a:cubicBezTo>
                  <a:cubicBezTo>
                    <a:pt x="198358" y="108660"/>
                    <a:pt x="193703" y="101675"/>
                    <a:pt x="191376" y="100123"/>
                  </a:cubicBezTo>
                  <a:cubicBezTo>
                    <a:pt x="188273" y="97018"/>
                    <a:pt x="193703" y="95466"/>
                    <a:pt x="192927" y="91585"/>
                  </a:cubicBezTo>
                  <a:cubicBezTo>
                    <a:pt x="192152" y="87705"/>
                    <a:pt x="192927" y="84600"/>
                    <a:pt x="199910" y="84600"/>
                  </a:cubicBezTo>
                  <a:cubicBezTo>
                    <a:pt x="206892" y="83824"/>
                    <a:pt x="206116" y="78391"/>
                    <a:pt x="202237" y="76062"/>
                  </a:cubicBezTo>
                  <a:cubicBezTo>
                    <a:pt x="198358" y="73734"/>
                    <a:pt x="203788" y="67525"/>
                    <a:pt x="207667" y="65196"/>
                  </a:cubicBezTo>
                  <a:cubicBezTo>
                    <a:pt x="209219" y="64420"/>
                    <a:pt x="211546" y="61316"/>
                    <a:pt x="213098" y="57435"/>
                  </a:cubicBezTo>
                  <a:cubicBezTo>
                    <a:pt x="205340" y="54330"/>
                    <a:pt x="195255" y="55106"/>
                    <a:pt x="190600" y="55106"/>
                  </a:cubicBezTo>
                  <a:cubicBezTo>
                    <a:pt x="184394" y="55106"/>
                    <a:pt x="194479" y="48897"/>
                    <a:pt x="194479" y="42688"/>
                  </a:cubicBezTo>
                  <a:cubicBezTo>
                    <a:pt x="194479" y="36479"/>
                    <a:pt x="178187" y="35703"/>
                    <a:pt x="171205" y="34150"/>
                  </a:cubicBezTo>
                  <a:cubicBezTo>
                    <a:pt x="164999" y="32598"/>
                    <a:pt x="166550" y="25613"/>
                    <a:pt x="173532" y="25613"/>
                  </a:cubicBezTo>
                  <a:cubicBezTo>
                    <a:pt x="180515" y="25613"/>
                    <a:pt x="169654" y="20180"/>
                    <a:pt x="160344" y="21732"/>
                  </a:cubicBezTo>
                  <a:cubicBezTo>
                    <a:pt x="151034" y="23284"/>
                    <a:pt x="137846" y="27941"/>
                    <a:pt x="130088" y="32598"/>
                  </a:cubicBezTo>
                  <a:cubicBezTo>
                    <a:pt x="122330" y="36479"/>
                    <a:pt x="109141" y="20180"/>
                    <a:pt x="100608" y="24060"/>
                  </a:cubicBezTo>
                  <a:cubicBezTo>
                    <a:pt x="92074" y="27165"/>
                    <a:pt x="79661" y="27165"/>
                    <a:pt x="80437" y="20956"/>
                  </a:cubicBezTo>
                  <a:cubicBezTo>
                    <a:pt x="80437" y="13971"/>
                    <a:pt x="77334" y="8538"/>
                    <a:pt x="68024" y="8538"/>
                  </a:cubicBezTo>
                  <a:cubicBezTo>
                    <a:pt x="59490" y="9314"/>
                    <a:pt x="61818" y="0"/>
                    <a:pt x="54836" y="0"/>
                  </a:cubicBezTo>
                  <a:cubicBezTo>
                    <a:pt x="48629" y="0"/>
                    <a:pt x="54836" y="7761"/>
                    <a:pt x="50181" y="10090"/>
                  </a:cubicBezTo>
                  <a:cubicBezTo>
                    <a:pt x="45526" y="12418"/>
                    <a:pt x="30010" y="16299"/>
                    <a:pt x="29234" y="22508"/>
                  </a:cubicBezTo>
                  <a:cubicBezTo>
                    <a:pt x="28459" y="28717"/>
                    <a:pt x="37768" y="38807"/>
                    <a:pt x="34665" y="45017"/>
                  </a:cubicBezTo>
                  <a:cubicBezTo>
                    <a:pt x="31562" y="51226"/>
                    <a:pt x="21476" y="45793"/>
                    <a:pt x="18373" y="39583"/>
                  </a:cubicBezTo>
                  <a:cubicBezTo>
                    <a:pt x="15270" y="33374"/>
                    <a:pt x="27683" y="23284"/>
                    <a:pt x="25355" y="19404"/>
                  </a:cubicBezTo>
                  <a:cubicBezTo>
                    <a:pt x="23804" y="17075"/>
                    <a:pt x="22252" y="11642"/>
                    <a:pt x="23028" y="8538"/>
                  </a:cubicBezTo>
                  <a:cubicBezTo>
                    <a:pt x="22252" y="8538"/>
                    <a:pt x="20701" y="9314"/>
                    <a:pt x="19925" y="10866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39" name="Forma libre 27">
              <a:extLst>
                <a:ext uri="{FF2B5EF4-FFF2-40B4-BE49-F238E27FC236}">
                  <a16:creationId xmlns:a16="http://schemas.microsoft.com/office/drawing/2014/main" id="{13651576-CAED-1397-4B9E-EFC4EA161EDB}"/>
                </a:ext>
              </a:extLst>
            </p:cNvPr>
            <p:cNvSpPr/>
            <p:nvPr/>
          </p:nvSpPr>
          <p:spPr>
            <a:xfrm>
              <a:off x="3269778" y="3191315"/>
              <a:ext cx="77478" cy="82123"/>
            </a:xfrm>
            <a:custGeom>
              <a:avLst/>
              <a:gdLst>
                <a:gd name="connsiteX0" fmla="*/ 13636 w 64838"/>
                <a:gd name="connsiteY0" fmla="*/ 13298 h 68725"/>
                <a:gd name="connsiteX1" fmla="*/ 6654 w 64838"/>
                <a:gd name="connsiteY1" fmla="*/ 20283 h 68725"/>
                <a:gd name="connsiteX2" fmla="*/ 448 w 64838"/>
                <a:gd name="connsiteY2" fmla="*/ 33478 h 68725"/>
                <a:gd name="connsiteX3" fmla="*/ 13636 w 64838"/>
                <a:gd name="connsiteY3" fmla="*/ 49777 h 68725"/>
                <a:gd name="connsiteX4" fmla="*/ 22946 w 64838"/>
                <a:gd name="connsiteY4" fmla="*/ 67628 h 68725"/>
                <a:gd name="connsiteX5" fmla="*/ 30704 w 64838"/>
                <a:gd name="connsiteY5" fmla="*/ 68404 h 68725"/>
                <a:gd name="connsiteX6" fmla="*/ 36910 w 64838"/>
                <a:gd name="connsiteY6" fmla="*/ 58315 h 68725"/>
                <a:gd name="connsiteX7" fmla="*/ 53978 w 64838"/>
                <a:gd name="connsiteY7" fmla="*/ 59091 h 68725"/>
                <a:gd name="connsiteX8" fmla="*/ 55529 w 64838"/>
                <a:gd name="connsiteY8" fmla="*/ 61419 h 68725"/>
                <a:gd name="connsiteX9" fmla="*/ 60184 w 64838"/>
                <a:gd name="connsiteY9" fmla="*/ 54434 h 68725"/>
                <a:gd name="connsiteX10" fmla="*/ 58632 w 64838"/>
                <a:gd name="connsiteY10" fmla="*/ 33478 h 68725"/>
                <a:gd name="connsiteX11" fmla="*/ 61736 w 64838"/>
                <a:gd name="connsiteY11" fmla="*/ 14850 h 68725"/>
                <a:gd name="connsiteX12" fmla="*/ 64839 w 64838"/>
                <a:gd name="connsiteY12" fmla="*/ 7089 h 68725"/>
                <a:gd name="connsiteX13" fmla="*/ 49323 w 64838"/>
                <a:gd name="connsiteY13" fmla="*/ 3208 h 68725"/>
                <a:gd name="connsiteX14" fmla="*/ 29152 w 64838"/>
                <a:gd name="connsiteY14" fmla="*/ 3208 h 68725"/>
                <a:gd name="connsiteX15" fmla="*/ 17515 w 64838"/>
                <a:gd name="connsiteY15" fmla="*/ 3208 h 68725"/>
                <a:gd name="connsiteX16" fmla="*/ 15964 w 64838"/>
                <a:gd name="connsiteY16" fmla="*/ 3984 h 68725"/>
                <a:gd name="connsiteX17" fmla="*/ 13636 w 64838"/>
                <a:gd name="connsiteY17" fmla="*/ 13298 h 6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4838" h="68725">
                  <a:moveTo>
                    <a:pt x="13636" y="13298"/>
                  </a:moveTo>
                  <a:cubicBezTo>
                    <a:pt x="15964" y="17955"/>
                    <a:pt x="10533" y="20283"/>
                    <a:pt x="6654" y="20283"/>
                  </a:cubicBezTo>
                  <a:cubicBezTo>
                    <a:pt x="1999" y="21060"/>
                    <a:pt x="3551" y="31149"/>
                    <a:pt x="448" y="33478"/>
                  </a:cubicBezTo>
                  <a:cubicBezTo>
                    <a:pt x="-2656" y="36583"/>
                    <a:pt x="11309" y="43568"/>
                    <a:pt x="13636" y="49777"/>
                  </a:cubicBezTo>
                  <a:cubicBezTo>
                    <a:pt x="15188" y="53658"/>
                    <a:pt x="19067" y="61419"/>
                    <a:pt x="22946" y="67628"/>
                  </a:cubicBezTo>
                  <a:cubicBezTo>
                    <a:pt x="26049" y="68404"/>
                    <a:pt x="29152" y="69181"/>
                    <a:pt x="30704" y="68404"/>
                  </a:cubicBezTo>
                  <a:cubicBezTo>
                    <a:pt x="34583" y="66076"/>
                    <a:pt x="31480" y="58315"/>
                    <a:pt x="36910" y="58315"/>
                  </a:cubicBezTo>
                  <a:cubicBezTo>
                    <a:pt x="43116" y="59091"/>
                    <a:pt x="51650" y="55210"/>
                    <a:pt x="53978" y="59091"/>
                  </a:cubicBezTo>
                  <a:cubicBezTo>
                    <a:pt x="54753" y="59867"/>
                    <a:pt x="54753" y="60643"/>
                    <a:pt x="55529" y="61419"/>
                  </a:cubicBezTo>
                  <a:cubicBezTo>
                    <a:pt x="57857" y="58315"/>
                    <a:pt x="59408" y="55210"/>
                    <a:pt x="60184" y="54434"/>
                  </a:cubicBezTo>
                  <a:cubicBezTo>
                    <a:pt x="60960" y="52105"/>
                    <a:pt x="60960" y="40463"/>
                    <a:pt x="58632" y="33478"/>
                  </a:cubicBezTo>
                  <a:cubicBezTo>
                    <a:pt x="55529" y="26493"/>
                    <a:pt x="57857" y="17955"/>
                    <a:pt x="61736" y="14850"/>
                  </a:cubicBezTo>
                  <a:cubicBezTo>
                    <a:pt x="62511" y="14074"/>
                    <a:pt x="63287" y="10970"/>
                    <a:pt x="64839" y="7089"/>
                  </a:cubicBezTo>
                  <a:cubicBezTo>
                    <a:pt x="59408" y="4760"/>
                    <a:pt x="53978" y="3208"/>
                    <a:pt x="49323" y="3208"/>
                  </a:cubicBezTo>
                  <a:cubicBezTo>
                    <a:pt x="40789" y="3984"/>
                    <a:pt x="32255" y="7865"/>
                    <a:pt x="29152" y="3208"/>
                  </a:cubicBezTo>
                  <a:cubicBezTo>
                    <a:pt x="26049" y="-1449"/>
                    <a:pt x="21394" y="-673"/>
                    <a:pt x="17515" y="3208"/>
                  </a:cubicBezTo>
                  <a:cubicBezTo>
                    <a:pt x="16739" y="3208"/>
                    <a:pt x="16739" y="3984"/>
                    <a:pt x="15964" y="3984"/>
                  </a:cubicBezTo>
                  <a:cubicBezTo>
                    <a:pt x="13636" y="7089"/>
                    <a:pt x="12085" y="10970"/>
                    <a:pt x="13636" y="13298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40" name="Forma libre 30">
              <a:extLst>
                <a:ext uri="{FF2B5EF4-FFF2-40B4-BE49-F238E27FC236}">
                  <a16:creationId xmlns:a16="http://schemas.microsoft.com/office/drawing/2014/main" id="{0B8C17CE-7048-2CB9-BF1A-E2B177DEF9DD}"/>
                </a:ext>
              </a:extLst>
            </p:cNvPr>
            <p:cNvSpPr/>
            <p:nvPr/>
          </p:nvSpPr>
          <p:spPr>
            <a:xfrm>
              <a:off x="3209770" y="3147849"/>
              <a:ext cx="87369" cy="135677"/>
            </a:xfrm>
            <a:custGeom>
              <a:avLst/>
              <a:gdLst>
                <a:gd name="connsiteX0" fmla="*/ 17258 w 73115"/>
                <a:gd name="connsiteY0" fmla="*/ 7761 h 113542"/>
                <a:gd name="connsiteX1" fmla="*/ 11828 w 73115"/>
                <a:gd name="connsiteY1" fmla="*/ 18628 h 113542"/>
                <a:gd name="connsiteX2" fmla="*/ 9500 w 73115"/>
                <a:gd name="connsiteY2" fmla="*/ 27165 h 113542"/>
                <a:gd name="connsiteX3" fmla="*/ 2518 w 73115"/>
                <a:gd name="connsiteY3" fmla="*/ 34151 h 113542"/>
                <a:gd name="connsiteX4" fmla="*/ 966 w 73115"/>
                <a:gd name="connsiteY4" fmla="*/ 42688 h 113542"/>
                <a:gd name="connsiteX5" fmla="*/ 11052 w 73115"/>
                <a:gd name="connsiteY5" fmla="*/ 55106 h 113542"/>
                <a:gd name="connsiteX6" fmla="*/ 16482 w 73115"/>
                <a:gd name="connsiteY6" fmla="*/ 52002 h 113542"/>
                <a:gd name="connsiteX7" fmla="*/ 22689 w 73115"/>
                <a:gd name="connsiteY7" fmla="*/ 65196 h 113542"/>
                <a:gd name="connsiteX8" fmla="*/ 24240 w 73115"/>
                <a:gd name="connsiteY8" fmla="*/ 78391 h 113542"/>
                <a:gd name="connsiteX9" fmla="*/ 27344 w 73115"/>
                <a:gd name="connsiteY9" fmla="*/ 106332 h 113542"/>
                <a:gd name="connsiteX10" fmla="*/ 44411 w 73115"/>
                <a:gd name="connsiteY10" fmla="*/ 111765 h 113542"/>
                <a:gd name="connsiteX11" fmla="*/ 54496 w 73115"/>
                <a:gd name="connsiteY11" fmla="*/ 107884 h 113542"/>
                <a:gd name="connsiteX12" fmla="*/ 62254 w 73115"/>
                <a:gd name="connsiteY12" fmla="*/ 104004 h 113542"/>
                <a:gd name="connsiteX13" fmla="*/ 73116 w 73115"/>
                <a:gd name="connsiteY13" fmla="*/ 104004 h 113542"/>
                <a:gd name="connsiteX14" fmla="*/ 63806 w 73115"/>
                <a:gd name="connsiteY14" fmla="*/ 86152 h 113542"/>
                <a:gd name="connsiteX15" fmla="*/ 50618 w 73115"/>
                <a:gd name="connsiteY15" fmla="*/ 69853 h 113542"/>
                <a:gd name="connsiteX16" fmla="*/ 56824 w 73115"/>
                <a:gd name="connsiteY16" fmla="*/ 56659 h 113542"/>
                <a:gd name="connsiteX17" fmla="*/ 63806 w 73115"/>
                <a:gd name="connsiteY17" fmla="*/ 49673 h 113542"/>
                <a:gd name="connsiteX18" fmla="*/ 65358 w 73115"/>
                <a:gd name="connsiteY18" fmla="*/ 39584 h 113542"/>
                <a:gd name="connsiteX19" fmla="*/ 50618 w 73115"/>
                <a:gd name="connsiteY19" fmla="*/ 26389 h 113542"/>
                <a:gd name="connsiteX20" fmla="*/ 42860 w 73115"/>
                <a:gd name="connsiteY20" fmla="*/ 17075 h 113542"/>
                <a:gd name="connsiteX21" fmla="*/ 27344 w 73115"/>
                <a:gd name="connsiteY21" fmla="*/ 3881 h 113542"/>
                <a:gd name="connsiteX22" fmla="*/ 21913 w 73115"/>
                <a:gd name="connsiteY22" fmla="*/ 0 h 113542"/>
                <a:gd name="connsiteX23" fmla="*/ 17258 w 73115"/>
                <a:gd name="connsiteY23" fmla="*/ 7761 h 113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73115" h="113542">
                  <a:moveTo>
                    <a:pt x="17258" y="7761"/>
                  </a:moveTo>
                  <a:cubicBezTo>
                    <a:pt x="13379" y="10090"/>
                    <a:pt x="7949" y="16299"/>
                    <a:pt x="11828" y="18628"/>
                  </a:cubicBezTo>
                  <a:cubicBezTo>
                    <a:pt x="15707" y="20956"/>
                    <a:pt x="17258" y="26389"/>
                    <a:pt x="9500" y="27165"/>
                  </a:cubicBezTo>
                  <a:cubicBezTo>
                    <a:pt x="2518" y="27941"/>
                    <a:pt x="1742" y="30270"/>
                    <a:pt x="2518" y="34151"/>
                  </a:cubicBezTo>
                  <a:cubicBezTo>
                    <a:pt x="3294" y="38031"/>
                    <a:pt x="-2137" y="39584"/>
                    <a:pt x="966" y="42688"/>
                  </a:cubicBezTo>
                  <a:cubicBezTo>
                    <a:pt x="3294" y="44240"/>
                    <a:pt x="7949" y="51226"/>
                    <a:pt x="11052" y="55106"/>
                  </a:cubicBezTo>
                  <a:cubicBezTo>
                    <a:pt x="11828" y="52778"/>
                    <a:pt x="13379" y="51226"/>
                    <a:pt x="16482" y="52002"/>
                  </a:cubicBezTo>
                  <a:cubicBezTo>
                    <a:pt x="22689" y="52778"/>
                    <a:pt x="18034" y="62868"/>
                    <a:pt x="22689" y="65196"/>
                  </a:cubicBezTo>
                  <a:cubicBezTo>
                    <a:pt x="28119" y="67525"/>
                    <a:pt x="28119" y="75286"/>
                    <a:pt x="24240" y="78391"/>
                  </a:cubicBezTo>
                  <a:cubicBezTo>
                    <a:pt x="20361" y="81495"/>
                    <a:pt x="18810" y="97018"/>
                    <a:pt x="27344" y="106332"/>
                  </a:cubicBezTo>
                  <a:cubicBezTo>
                    <a:pt x="35877" y="115646"/>
                    <a:pt x="42084" y="114093"/>
                    <a:pt x="44411" y="111765"/>
                  </a:cubicBezTo>
                  <a:cubicBezTo>
                    <a:pt x="45963" y="109437"/>
                    <a:pt x="52945" y="111765"/>
                    <a:pt x="54496" y="107884"/>
                  </a:cubicBezTo>
                  <a:cubicBezTo>
                    <a:pt x="56048" y="104004"/>
                    <a:pt x="58375" y="108660"/>
                    <a:pt x="62254" y="104004"/>
                  </a:cubicBezTo>
                  <a:cubicBezTo>
                    <a:pt x="64582" y="101675"/>
                    <a:pt x="69237" y="103227"/>
                    <a:pt x="73116" y="104004"/>
                  </a:cubicBezTo>
                  <a:cubicBezTo>
                    <a:pt x="70012" y="97794"/>
                    <a:pt x="65358" y="90033"/>
                    <a:pt x="63806" y="86152"/>
                  </a:cubicBezTo>
                  <a:cubicBezTo>
                    <a:pt x="61479" y="79943"/>
                    <a:pt x="48290" y="72958"/>
                    <a:pt x="50618" y="69853"/>
                  </a:cubicBezTo>
                  <a:cubicBezTo>
                    <a:pt x="53721" y="66749"/>
                    <a:pt x="52169" y="56659"/>
                    <a:pt x="56824" y="56659"/>
                  </a:cubicBezTo>
                  <a:cubicBezTo>
                    <a:pt x="61479" y="55883"/>
                    <a:pt x="66133" y="53554"/>
                    <a:pt x="63806" y="49673"/>
                  </a:cubicBezTo>
                  <a:cubicBezTo>
                    <a:pt x="63030" y="47345"/>
                    <a:pt x="63806" y="43464"/>
                    <a:pt x="65358" y="39584"/>
                  </a:cubicBezTo>
                  <a:cubicBezTo>
                    <a:pt x="60703" y="38807"/>
                    <a:pt x="54496" y="26389"/>
                    <a:pt x="50618" y="26389"/>
                  </a:cubicBezTo>
                  <a:cubicBezTo>
                    <a:pt x="46739" y="26389"/>
                    <a:pt x="41308" y="23284"/>
                    <a:pt x="42860" y="17075"/>
                  </a:cubicBezTo>
                  <a:cubicBezTo>
                    <a:pt x="43635" y="10866"/>
                    <a:pt x="33550" y="10866"/>
                    <a:pt x="27344" y="3881"/>
                  </a:cubicBezTo>
                  <a:cubicBezTo>
                    <a:pt x="25792" y="2328"/>
                    <a:pt x="24240" y="776"/>
                    <a:pt x="21913" y="0"/>
                  </a:cubicBezTo>
                  <a:cubicBezTo>
                    <a:pt x="21137" y="4657"/>
                    <a:pt x="18810" y="6985"/>
                    <a:pt x="17258" y="7761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41" name="Forma libre 31">
              <a:extLst>
                <a:ext uri="{FF2B5EF4-FFF2-40B4-BE49-F238E27FC236}">
                  <a16:creationId xmlns:a16="http://schemas.microsoft.com/office/drawing/2014/main" id="{EFD252D5-DB90-04F7-C578-467FCF7492BF}"/>
                </a:ext>
              </a:extLst>
            </p:cNvPr>
            <p:cNvSpPr/>
            <p:nvPr/>
          </p:nvSpPr>
          <p:spPr>
            <a:xfrm>
              <a:off x="3337003" y="3199730"/>
              <a:ext cx="58403" cy="69970"/>
            </a:xfrm>
            <a:custGeom>
              <a:avLst/>
              <a:gdLst>
                <a:gd name="connsiteX0" fmla="*/ 3103 w 48875"/>
                <a:gd name="connsiteY0" fmla="*/ 27165 h 58555"/>
                <a:gd name="connsiteX1" fmla="*/ 4655 w 48875"/>
                <a:gd name="connsiteY1" fmla="*/ 48121 h 58555"/>
                <a:gd name="connsiteX2" fmla="*/ 0 w 48875"/>
                <a:gd name="connsiteY2" fmla="*/ 55106 h 58555"/>
                <a:gd name="connsiteX3" fmla="*/ 13964 w 48875"/>
                <a:gd name="connsiteY3" fmla="*/ 57435 h 58555"/>
                <a:gd name="connsiteX4" fmla="*/ 30256 w 48875"/>
                <a:gd name="connsiteY4" fmla="*/ 50450 h 58555"/>
                <a:gd name="connsiteX5" fmla="*/ 48875 w 48875"/>
                <a:gd name="connsiteY5" fmla="*/ 25613 h 58555"/>
                <a:gd name="connsiteX6" fmla="*/ 48875 w 48875"/>
                <a:gd name="connsiteY6" fmla="*/ 25613 h 58555"/>
                <a:gd name="connsiteX7" fmla="*/ 22498 w 48875"/>
                <a:gd name="connsiteY7" fmla="*/ 4657 h 58555"/>
                <a:gd name="connsiteX8" fmla="*/ 9310 w 48875"/>
                <a:gd name="connsiteY8" fmla="*/ 0 h 58555"/>
                <a:gd name="connsiteX9" fmla="*/ 6206 w 48875"/>
                <a:gd name="connsiteY9" fmla="*/ 7761 h 58555"/>
                <a:gd name="connsiteX10" fmla="*/ 3103 w 48875"/>
                <a:gd name="connsiteY10" fmla="*/ 27165 h 58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875" h="58555">
                  <a:moveTo>
                    <a:pt x="3103" y="27165"/>
                  </a:moveTo>
                  <a:cubicBezTo>
                    <a:pt x="6206" y="34150"/>
                    <a:pt x="6206" y="45793"/>
                    <a:pt x="4655" y="48121"/>
                  </a:cubicBezTo>
                  <a:cubicBezTo>
                    <a:pt x="3879" y="48897"/>
                    <a:pt x="2327" y="52778"/>
                    <a:pt x="0" y="55106"/>
                  </a:cubicBezTo>
                  <a:cubicBezTo>
                    <a:pt x="2327" y="58211"/>
                    <a:pt x="6982" y="59763"/>
                    <a:pt x="13964" y="57435"/>
                  </a:cubicBezTo>
                  <a:cubicBezTo>
                    <a:pt x="22498" y="54330"/>
                    <a:pt x="27153" y="60539"/>
                    <a:pt x="30256" y="50450"/>
                  </a:cubicBezTo>
                  <a:cubicBezTo>
                    <a:pt x="32583" y="42688"/>
                    <a:pt x="41893" y="32598"/>
                    <a:pt x="48875" y="25613"/>
                  </a:cubicBezTo>
                  <a:cubicBezTo>
                    <a:pt x="48875" y="25613"/>
                    <a:pt x="48875" y="25613"/>
                    <a:pt x="48875" y="25613"/>
                  </a:cubicBezTo>
                  <a:cubicBezTo>
                    <a:pt x="42669" y="22508"/>
                    <a:pt x="32583" y="6985"/>
                    <a:pt x="22498" y="4657"/>
                  </a:cubicBezTo>
                  <a:cubicBezTo>
                    <a:pt x="17843" y="3881"/>
                    <a:pt x="13964" y="1552"/>
                    <a:pt x="9310" y="0"/>
                  </a:cubicBezTo>
                  <a:cubicBezTo>
                    <a:pt x="7758" y="4657"/>
                    <a:pt x="6982" y="7761"/>
                    <a:pt x="6206" y="7761"/>
                  </a:cubicBezTo>
                  <a:cubicBezTo>
                    <a:pt x="3103" y="11642"/>
                    <a:pt x="776" y="20180"/>
                    <a:pt x="3103" y="27165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42" name="Forma libre 32">
              <a:extLst>
                <a:ext uri="{FF2B5EF4-FFF2-40B4-BE49-F238E27FC236}">
                  <a16:creationId xmlns:a16="http://schemas.microsoft.com/office/drawing/2014/main" id="{BAE0B071-66B0-34E6-A492-0015BAAF6A92}"/>
                </a:ext>
              </a:extLst>
            </p:cNvPr>
            <p:cNvSpPr/>
            <p:nvPr/>
          </p:nvSpPr>
          <p:spPr>
            <a:xfrm>
              <a:off x="3220524" y="4365469"/>
              <a:ext cx="57319" cy="24056"/>
            </a:xfrm>
            <a:custGeom>
              <a:avLst/>
              <a:gdLst>
                <a:gd name="connsiteX0" fmla="*/ 47685 w 47968"/>
                <a:gd name="connsiteY0" fmla="*/ 7870 h 20131"/>
                <a:gd name="connsiteX1" fmla="*/ 22083 w 47968"/>
                <a:gd name="connsiteY1" fmla="*/ 19512 h 20131"/>
                <a:gd name="connsiteX2" fmla="*/ 47685 w 47968"/>
                <a:gd name="connsiteY2" fmla="*/ 7870 h 20131"/>
                <a:gd name="connsiteX3" fmla="*/ 19756 w 47968"/>
                <a:gd name="connsiteY3" fmla="*/ 109 h 20131"/>
                <a:gd name="connsiteX4" fmla="*/ 1913 w 47968"/>
                <a:gd name="connsiteY4" fmla="*/ 17960 h 20131"/>
                <a:gd name="connsiteX5" fmla="*/ 19756 w 47968"/>
                <a:gd name="connsiteY5" fmla="*/ 109 h 20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68" h="20131">
                  <a:moveTo>
                    <a:pt x="47685" y="7870"/>
                  </a:moveTo>
                  <a:cubicBezTo>
                    <a:pt x="42254" y="-2220"/>
                    <a:pt x="16653" y="17184"/>
                    <a:pt x="22083" y="19512"/>
                  </a:cubicBezTo>
                  <a:cubicBezTo>
                    <a:pt x="27514" y="22617"/>
                    <a:pt x="50788" y="13303"/>
                    <a:pt x="47685" y="7870"/>
                  </a:cubicBezTo>
                  <a:close/>
                  <a:moveTo>
                    <a:pt x="19756" y="109"/>
                  </a:moveTo>
                  <a:cubicBezTo>
                    <a:pt x="11998" y="-1444"/>
                    <a:pt x="-5845" y="14079"/>
                    <a:pt x="1913" y="17960"/>
                  </a:cubicBezTo>
                  <a:cubicBezTo>
                    <a:pt x="9670" y="22617"/>
                    <a:pt x="27514" y="1661"/>
                    <a:pt x="19756" y="109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44" name="Forma libre 34">
              <a:extLst>
                <a:ext uri="{FF2B5EF4-FFF2-40B4-BE49-F238E27FC236}">
                  <a16:creationId xmlns:a16="http://schemas.microsoft.com/office/drawing/2014/main" id="{82A6A00B-18E3-2471-562D-5271276B9D98}"/>
                </a:ext>
              </a:extLst>
            </p:cNvPr>
            <p:cNvSpPr/>
            <p:nvPr/>
          </p:nvSpPr>
          <p:spPr>
            <a:xfrm>
              <a:off x="2646658" y="3275952"/>
              <a:ext cx="303408" cy="120261"/>
            </a:xfrm>
            <a:custGeom>
              <a:avLst/>
              <a:gdLst>
                <a:gd name="connsiteX0" fmla="*/ 247864 w 253908"/>
                <a:gd name="connsiteY0" fmla="*/ 26389 h 100641"/>
                <a:gd name="connsiteX1" fmla="*/ 237003 w 253908"/>
                <a:gd name="connsiteY1" fmla="*/ 17851 h 100641"/>
                <a:gd name="connsiteX2" fmla="*/ 225366 w 253908"/>
                <a:gd name="connsiteY2" fmla="*/ 17851 h 100641"/>
                <a:gd name="connsiteX3" fmla="*/ 215281 w 253908"/>
                <a:gd name="connsiteY3" fmla="*/ 10866 h 100641"/>
                <a:gd name="connsiteX4" fmla="*/ 195886 w 253908"/>
                <a:gd name="connsiteY4" fmla="*/ 0 h 100641"/>
                <a:gd name="connsiteX5" fmla="*/ 195886 w 253908"/>
                <a:gd name="connsiteY5" fmla="*/ 2328 h 100641"/>
                <a:gd name="connsiteX6" fmla="*/ 185025 w 253908"/>
                <a:gd name="connsiteY6" fmla="*/ 7761 h 100641"/>
                <a:gd name="connsiteX7" fmla="*/ 179594 w 253908"/>
                <a:gd name="connsiteY7" fmla="*/ 19404 h 100641"/>
                <a:gd name="connsiteX8" fmla="*/ 172612 w 253908"/>
                <a:gd name="connsiteY8" fmla="*/ 28718 h 100641"/>
                <a:gd name="connsiteX9" fmla="*/ 168733 w 253908"/>
                <a:gd name="connsiteY9" fmla="*/ 37255 h 100641"/>
                <a:gd name="connsiteX10" fmla="*/ 165630 w 253908"/>
                <a:gd name="connsiteY10" fmla="*/ 48121 h 100641"/>
                <a:gd name="connsiteX11" fmla="*/ 164854 w 253908"/>
                <a:gd name="connsiteY11" fmla="*/ 58211 h 100641"/>
                <a:gd name="connsiteX12" fmla="*/ 174164 w 253908"/>
                <a:gd name="connsiteY12" fmla="*/ 65972 h 100641"/>
                <a:gd name="connsiteX13" fmla="*/ 181922 w 253908"/>
                <a:gd name="connsiteY13" fmla="*/ 67525 h 100641"/>
                <a:gd name="connsiteX14" fmla="*/ 174939 w 253908"/>
                <a:gd name="connsiteY14" fmla="*/ 76839 h 100641"/>
                <a:gd name="connsiteX15" fmla="*/ 173388 w 253908"/>
                <a:gd name="connsiteY15" fmla="*/ 76839 h 100641"/>
                <a:gd name="connsiteX16" fmla="*/ 176491 w 253908"/>
                <a:gd name="connsiteY16" fmla="*/ 84600 h 100641"/>
                <a:gd name="connsiteX17" fmla="*/ 176491 w 253908"/>
                <a:gd name="connsiteY17" fmla="*/ 92361 h 100641"/>
                <a:gd name="connsiteX18" fmla="*/ 188128 w 253908"/>
                <a:gd name="connsiteY18" fmla="*/ 95466 h 100641"/>
                <a:gd name="connsiteX19" fmla="*/ 198989 w 253908"/>
                <a:gd name="connsiteY19" fmla="*/ 94690 h 100641"/>
                <a:gd name="connsiteX20" fmla="*/ 212953 w 253908"/>
                <a:gd name="connsiteY20" fmla="*/ 69853 h 100641"/>
                <a:gd name="connsiteX21" fmla="*/ 243985 w 253908"/>
                <a:gd name="connsiteY21" fmla="*/ 53554 h 100641"/>
                <a:gd name="connsiteX22" fmla="*/ 252519 w 253908"/>
                <a:gd name="connsiteY22" fmla="*/ 38031 h 100641"/>
                <a:gd name="connsiteX23" fmla="*/ 247864 w 253908"/>
                <a:gd name="connsiteY23" fmla="*/ 26389 h 100641"/>
                <a:gd name="connsiteX24" fmla="*/ 1937 w 253908"/>
                <a:gd name="connsiteY24" fmla="*/ 21732 h 100641"/>
                <a:gd name="connsiteX25" fmla="*/ 11246 w 253908"/>
                <a:gd name="connsiteY25" fmla="*/ 37255 h 100641"/>
                <a:gd name="connsiteX26" fmla="*/ 1937 w 253908"/>
                <a:gd name="connsiteY26" fmla="*/ 21732 h 100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53908" h="100641">
                  <a:moveTo>
                    <a:pt x="247864" y="26389"/>
                  </a:moveTo>
                  <a:cubicBezTo>
                    <a:pt x="242434" y="20180"/>
                    <a:pt x="237779" y="16299"/>
                    <a:pt x="237003" y="17851"/>
                  </a:cubicBezTo>
                  <a:cubicBezTo>
                    <a:pt x="235452" y="19404"/>
                    <a:pt x="229245" y="20180"/>
                    <a:pt x="225366" y="17851"/>
                  </a:cubicBezTo>
                  <a:cubicBezTo>
                    <a:pt x="220711" y="15523"/>
                    <a:pt x="219160" y="10866"/>
                    <a:pt x="215281" y="10866"/>
                  </a:cubicBezTo>
                  <a:cubicBezTo>
                    <a:pt x="212178" y="10866"/>
                    <a:pt x="202092" y="4657"/>
                    <a:pt x="195886" y="0"/>
                  </a:cubicBezTo>
                  <a:cubicBezTo>
                    <a:pt x="195886" y="776"/>
                    <a:pt x="195886" y="1552"/>
                    <a:pt x="195886" y="2328"/>
                  </a:cubicBezTo>
                  <a:cubicBezTo>
                    <a:pt x="195886" y="5433"/>
                    <a:pt x="191231" y="7761"/>
                    <a:pt x="185025" y="7761"/>
                  </a:cubicBezTo>
                  <a:cubicBezTo>
                    <a:pt x="178818" y="7761"/>
                    <a:pt x="179594" y="14747"/>
                    <a:pt x="179594" y="19404"/>
                  </a:cubicBezTo>
                  <a:cubicBezTo>
                    <a:pt x="179594" y="24061"/>
                    <a:pt x="174939" y="24061"/>
                    <a:pt x="172612" y="28718"/>
                  </a:cubicBezTo>
                  <a:cubicBezTo>
                    <a:pt x="170285" y="33374"/>
                    <a:pt x="173388" y="34927"/>
                    <a:pt x="168733" y="37255"/>
                  </a:cubicBezTo>
                  <a:cubicBezTo>
                    <a:pt x="164078" y="39584"/>
                    <a:pt x="162527" y="43464"/>
                    <a:pt x="165630" y="48121"/>
                  </a:cubicBezTo>
                  <a:cubicBezTo>
                    <a:pt x="168733" y="52002"/>
                    <a:pt x="165630" y="55883"/>
                    <a:pt x="164854" y="58211"/>
                  </a:cubicBezTo>
                  <a:cubicBezTo>
                    <a:pt x="164078" y="60539"/>
                    <a:pt x="168733" y="61316"/>
                    <a:pt x="174164" y="65972"/>
                  </a:cubicBezTo>
                  <a:cubicBezTo>
                    <a:pt x="178818" y="70629"/>
                    <a:pt x="179594" y="64420"/>
                    <a:pt x="181922" y="67525"/>
                  </a:cubicBezTo>
                  <a:cubicBezTo>
                    <a:pt x="184249" y="70629"/>
                    <a:pt x="180370" y="76839"/>
                    <a:pt x="174939" y="76839"/>
                  </a:cubicBezTo>
                  <a:cubicBezTo>
                    <a:pt x="174164" y="76839"/>
                    <a:pt x="174164" y="76839"/>
                    <a:pt x="173388" y="76839"/>
                  </a:cubicBezTo>
                  <a:cubicBezTo>
                    <a:pt x="176491" y="79943"/>
                    <a:pt x="178043" y="83048"/>
                    <a:pt x="176491" y="84600"/>
                  </a:cubicBezTo>
                  <a:cubicBezTo>
                    <a:pt x="174164" y="88481"/>
                    <a:pt x="171836" y="88481"/>
                    <a:pt x="176491" y="92361"/>
                  </a:cubicBezTo>
                  <a:cubicBezTo>
                    <a:pt x="181146" y="97018"/>
                    <a:pt x="184249" y="90033"/>
                    <a:pt x="188128" y="95466"/>
                  </a:cubicBezTo>
                  <a:cubicBezTo>
                    <a:pt x="192007" y="100899"/>
                    <a:pt x="195110" y="104004"/>
                    <a:pt x="198989" y="94690"/>
                  </a:cubicBezTo>
                  <a:cubicBezTo>
                    <a:pt x="202868" y="85376"/>
                    <a:pt x="205971" y="72182"/>
                    <a:pt x="212953" y="69853"/>
                  </a:cubicBezTo>
                  <a:cubicBezTo>
                    <a:pt x="219936" y="67525"/>
                    <a:pt x="234676" y="64420"/>
                    <a:pt x="243985" y="53554"/>
                  </a:cubicBezTo>
                  <a:cubicBezTo>
                    <a:pt x="252519" y="41912"/>
                    <a:pt x="247864" y="41136"/>
                    <a:pt x="252519" y="38031"/>
                  </a:cubicBezTo>
                  <a:cubicBezTo>
                    <a:pt x="255622" y="35703"/>
                    <a:pt x="253295" y="32598"/>
                    <a:pt x="247864" y="26389"/>
                  </a:cubicBezTo>
                  <a:close/>
                  <a:moveTo>
                    <a:pt x="1937" y="21732"/>
                  </a:moveTo>
                  <a:cubicBezTo>
                    <a:pt x="-5045" y="31822"/>
                    <a:pt x="8919" y="41912"/>
                    <a:pt x="11246" y="37255"/>
                  </a:cubicBezTo>
                  <a:cubicBezTo>
                    <a:pt x="15125" y="32598"/>
                    <a:pt x="8919" y="11642"/>
                    <a:pt x="1937" y="21732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54" name="Forma libre 35">
              <a:extLst>
                <a:ext uri="{FF2B5EF4-FFF2-40B4-BE49-F238E27FC236}">
                  <a16:creationId xmlns:a16="http://schemas.microsoft.com/office/drawing/2014/main" id="{C15E637E-5CBD-E9D5-6C85-956C8689C0B1}"/>
                </a:ext>
              </a:extLst>
            </p:cNvPr>
            <p:cNvSpPr/>
            <p:nvPr/>
          </p:nvSpPr>
          <p:spPr>
            <a:xfrm>
              <a:off x="3652941" y="4439020"/>
              <a:ext cx="37913" cy="22931"/>
            </a:xfrm>
            <a:custGeom>
              <a:avLst/>
              <a:gdLst>
                <a:gd name="connsiteX0" fmla="*/ 12 w 31728"/>
                <a:gd name="connsiteY0" fmla="*/ 649 h 19190"/>
                <a:gd name="connsiteX1" fmla="*/ 13200 w 31728"/>
                <a:gd name="connsiteY1" fmla="*/ 9187 h 19190"/>
                <a:gd name="connsiteX2" fmla="*/ 31044 w 31728"/>
                <a:gd name="connsiteY2" fmla="*/ 15396 h 19190"/>
                <a:gd name="connsiteX3" fmla="*/ 12 w 31728"/>
                <a:gd name="connsiteY3" fmla="*/ 649 h 19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28" h="19190">
                  <a:moveTo>
                    <a:pt x="12" y="649"/>
                  </a:moveTo>
                  <a:cubicBezTo>
                    <a:pt x="1563" y="6858"/>
                    <a:pt x="7770" y="3754"/>
                    <a:pt x="13200" y="9187"/>
                  </a:cubicBezTo>
                  <a:cubicBezTo>
                    <a:pt x="19407" y="14620"/>
                    <a:pt x="24837" y="24710"/>
                    <a:pt x="31044" y="15396"/>
                  </a:cubicBezTo>
                  <a:cubicBezTo>
                    <a:pt x="37250" y="6083"/>
                    <a:pt x="-764" y="-2455"/>
                    <a:pt x="12" y="649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</p:grpSp>
      <p:sp>
        <p:nvSpPr>
          <p:cNvPr id="57" name="CuadroTexto 56">
            <a:extLst>
              <a:ext uri="{FF2B5EF4-FFF2-40B4-BE49-F238E27FC236}">
                <a16:creationId xmlns:a16="http://schemas.microsoft.com/office/drawing/2014/main" id="{AE4CD438-01DA-36C5-4390-D575BA238AAC}"/>
              </a:ext>
            </a:extLst>
          </p:cNvPr>
          <p:cNvSpPr txBox="1">
            <a:spLocks/>
          </p:cNvSpPr>
          <p:nvPr/>
        </p:nvSpPr>
        <p:spPr>
          <a:xfrm>
            <a:off x="5673345" y="4119638"/>
            <a:ext cx="66204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435426">
              <a:defRPr/>
            </a:pPr>
            <a:r>
              <a:rPr lang="es-AR" sz="90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 Medium" panose="02000000000000000000" pitchFamily="2" charset="0"/>
                <a:cs typeface="Roboto" panose="02000000000000000000" pitchFamily="2" charset="0"/>
              </a:rPr>
              <a:t>Pay TV: </a:t>
            </a:r>
            <a:r>
              <a:rPr lang="es-AR" sz="900">
                <a:solidFill>
                  <a:schemeClr val="bg2"/>
                </a:solidFill>
                <a:latin typeface="Pulso" pitchFamily="2" charset="0"/>
                <a:ea typeface="Roboto Medium" panose="02000000000000000000" pitchFamily="2" charset="0"/>
                <a:cs typeface="Roboto" panose="02000000000000000000" pitchFamily="2" charset="0"/>
              </a:rPr>
              <a:t>113k</a:t>
            </a:r>
          </a:p>
        </p:txBody>
      </p:sp>
      <p:sp>
        <p:nvSpPr>
          <p:cNvPr id="58" name="CuadroTexto 57">
            <a:extLst>
              <a:ext uri="{FF2B5EF4-FFF2-40B4-BE49-F238E27FC236}">
                <a16:creationId xmlns:a16="http://schemas.microsoft.com/office/drawing/2014/main" id="{0309CB37-47FC-44CC-E699-F509E608EBF0}"/>
              </a:ext>
            </a:extLst>
          </p:cNvPr>
          <p:cNvSpPr txBox="1"/>
          <p:nvPr/>
        </p:nvSpPr>
        <p:spPr>
          <a:xfrm>
            <a:off x="7097617" y="4119638"/>
            <a:ext cx="51937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435426">
              <a:defRPr/>
            </a:pPr>
            <a:r>
              <a:rPr lang="es-AR" sz="90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 Medium" panose="02000000000000000000" pitchFamily="2" charset="0"/>
                <a:cs typeface="Roboto" panose="02000000000000000000" pitchFamily="2" charset="0"/>
              </a:rPr>
              <a:t>Pay: </a:t>
            </a:r>
            <a:r>
              <a:rPr lang="es-AR" sz="900">
                <a:solidFill>
                  <a:schemeClr val="bg2"/>
                </a:solidFill>
                <a:latin typeface="Pulso" pitchFamily="2" charset="0"/>
                <a:ea typeface="Roboto Medium" panose="02000000000000000000" pitchFamily="2" charset="0"/>
                <a:cs typeface="Roboto" panose="02000000000000000000" pitchFamily="2" charset="0"/>
              </a:rPr>
              <a:t>236k</a:t>
            </a:r>
          </a:p>
        </p:txBody>
      </p:sp>
      <p:sp>
        <p:nvSpPr>
          <p:cNvPr id="59" name="CuadroTexto 58">
            <a:extLst>
              <a:ext uri="{FF2B5EF4-FFF2-40B4-BE49-F238E27FC236}">
                <a16:creationId xmlns:a16="http://schemas.microsoft.com/office/drawing/2014/main" id="{637EBD4A-0B69-5DE4-B0F9-81274F0B1D38}"/>
              </a:ext>
            </a:extLst>
          </p:cNvPr>
          <p:cNvSpPr txBox="1"/>
          <p:nvPr/>
        </p:nvSpPr>
        <p:spPr>
          <a:xfrm>
            <a:off x="4144431" y="4119638"/>
            <a:ext cx="91852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435426">
              <a:defRPr/>
            </a:pPr>
            <a:r>
              <a:rPr lang="es-AR" sz="90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 Medium" panose="02000000000000000000" pitchFamily="2" charset="0"/>
                <a:cs typeface="Roboto" panose="02000000000000000000" pitchFamily="2" charset="0"/>
              </a:rPr>
              <a:t>Mobile: </a:t>
            </a:r>
            <a:r>
              <a:rPr lang="es-AR" sz="900">
                <a:solidFill>
                  <a:schemeClr val="bg2"/>
                </a:solidFill>
                <a:latin typeface="Pulso" pitchFamily="2" charset="0"/>
                <a:ea typeface="Roboto Medium" panose="02000000000000000000" pitchFamily="2" charset="0"/>
                <a:cs typeface="Roboto" panose="02000000000000000000" pitchFamily="2" charset="0"/>
              </a:rPr>
              <a:t>2.9M</a:t>
            </a:r>
            <a:r>
              <a:rPr lang="es-AR" sz="900" baseline="30000">
                <a:solidFill>
                  <a:schemeClr val="bg2"/>
                </a:solidFill>
                <a:latin typeface="Pulso" pitchFamily="2" charset="0"/>
                <a:ea typeface="Roboto Medium" panose="02000000000000000000" pitchFamily="2" charset="0"/>
                <a:cs typeface="Roboto" panose="02000000000000000000" pitchFamily="2" charset="0"/>
              </a:rPr>
              <a:t> </a:t>
            </a:r>
          </a:p>
          <a:p>
            <a:pPr algn="ctr" defTabSz="435426">
              <a:defRPr/>
            </a:pPr>
            <a:r>
              <a:rPr lang="es-AR" sz="90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 Medium" panose="02000000000000000000" pitchFamily="2" charset="0"/>
                <a:cs typeface="Roboto" panose="02000000000000000000" pitchFamily="2" charset="0"/>
              </a:rPr>
              <a:t>Broadband: </a:t>
            </a:r>
            <a:r>
              <a:rPr lang="es-AR" sz="900">
                <a:solidFill>
                  <a:schemeClr val="bg2"/>
                </a:solidFill>
                <a:latin typeface="Pulso" pitchFamily="2" charset="0"/>
                <a:ea typeface="Roboto Medium" panose="02000000000000000000" pitchFamily="2" charset="0"/>
                <a:cs typeface="Roboto" panose="02000000000000000000" pitchFamily="2" charset="0"/>
              </a:rPr>
              <a:t>366k</a:t>
            </a:r>
          </a:p>
        </p:txBody>
      </p:sp>
      <p:sp>
        <p:nvSpPr>
          <p:cNvPr id="61" name="CuadroTexto 60">
            <a:extLst>
              <a:ext uri="{FF2B5EF4-FFF2-40B4-BE49-F238E27FC236}">
                <a16:creationId xmlns:a16="http://schemas.microsoft.com/office/drawing/2014/main" id="{629920BA-3171-798D-C7FC-C4840D107A8C}"/>
              </a:ext>
            </a:extLst>
          </p:cNvPr>
          <p:cNvSpPr txBox="1"/>
          <p:nvPr/>
        </p:nvSpPr>
        <p:spPr>
          <a:xfrm>
            <a:off x="4061803" y="840026"/>
            <a:ext cx="118622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B989F9"/>
                </a:solidFill>
                <a:latin typeface="Pulso" pitchFamily="2" charset="0"/>
                <a:ea typeface="Roboto" panose="02000000000000000000" pitchFamily="2" charset="0"/>
              </a:defRPr>
            </a:lvl1pPr>
          </a:lstStyle>
          <a:p>
            <a:pPr defTabSz="435426">
              <a:defRPr/>
            </a:pPr>
            <a:r>
              <a:rPr lang="es-AR" sz="1200" b="0">
                <a:solidFill>
                  <a:srgbClr val="FFFFFF"/>
                </a:solidFill>
                <a:ea typeface="Roboto Medium" panose="02000000000000000000" pitchFamily="2" charset="0"/>
              </a:rPr>
              <a:t>Principales KPI´s</a:t>
            </a:r>
            <a:endParaRPr lang="es-AR" sz="1200" b="0">
              <a:solidFill>
                <a:srgbClr val="FFFFFF"/>
              </a:solidFill>
            </a:endParaRPr>
          </a:p>
        </p:txBody>
      </p:sp>
      <p:grpSp>
        <p:nvGrpSpPr>
          <p:cNvPr id="103" name="Gráfico 74">
            <a:extLst>
              <a:ext uri="{FF2B5EF4-FFF2-40B4-BE49-F238E27FC236}">
                <a16:creationId xmlns:a16="http://schemas.microsoft.com/office/drawing/2014/main" id="{787996B2-F338-B23D-4711-436B6326516D}"/>
              </a:ext>
            </a:extLst>
          </p:cNvPr>
          <p:cNvGrpSpPr/>
          <p:nvPr/>
        </p:nvGrpSpPr>
        <p:grpSpPr>
          <a:xfrm>
            <a:off x="6878042" y="3739431"/>
            <a:ext cx="958520" cy="295786"/>
            <a:chOff x="623879" y="1327660"/>
            <a:chExt cx="6523838" cy="2013171"/>
          </a:xfrm>
          <a:solidFill>
            <a:srgbClr val="5A50F9"/>
          </a:solidFill>
        </p:grpSpPr>
        <p:sp>
          <p:nvSpPr>
            <p:cNvPr id="104" name="Forma libre 76">
              <a:extLst>
                <a:ext uri="{FF2B5EF4-FFF2-40B4-BE49-F238E27FC236}">
                  <a16:creationId xmlns:a16="http://schemas.microsoft.com/office/drawing/2014/main" id="{5DFFFF24-B033-8637-4849-A542F770DFE5}"/>
                </a:ext>
              </a:extLst>
            </p:cNvPr>
            <p:cNvSpPr/>
            <p:nvPr/>
          </p:nvSpPr>
          <p:spPr>
            <a:xfrm>
              <a:off x="623879" y="1555264"/>
              <a:ext cx="1616319" cy="1555559"/>
            </a:xfrm>
            <a:custGeom>
              <a:avLst/>
              <a:gdLst>
                <a:gd name="connsiteX0" fmla="*/ 1321629 w 1616319"/>
                <a:gd name="connsiteY0" fmla="*/ 0 h 1555559"/>
                <a:gd name="connsiteX1" fmla="*/ 0 w 1616319"/>
                <a:gd name="connsiteY1" fmla="*/ 0 h 1555559"/>
                <a:gd name="connsiteX2" fmla="*/ 0 w 1616319"/>
                <a:gd name="connsiteY2" fmla="*/ 524130 h 1555559"/>
                <a:gd name="connsiteX3" fmla="*/ 1033376 w 1616319"/>
                <a:gd name="connsiteY3" fmla="*/ 1555560 h 1555559"/>
                <a:gd name="connsiteX4" fmla="*/ 1033376 w 1616319"/>
                <a:gd name="connsiteY4" fmla="*/ 1456183 h 1555559"/>
                <a:gd name="connsiteX5" fmla="*/ 99564 w 1616319"/>
                <a:gd name="connsiteY5" fmla="*/ 524130 h 1555559"/>
                <a:gd name="connsiteX6" fmla="*/ 99564 w 1616319"/>
                <a:gd name="connsiteY6" fmla="*/ 99376 h 1555559"/>
                <a:gd name="connsiteX7" fmla="*/ 1319220 w 1616319"/>
                <a:gd name="connsiteY7" fmla="*/ 99376 h 1555559"/>
                <a:gd name="connsiteX8" fmla="*/ 1516742 w 1616319"/>
                <a:gd name="connsiteY8" fmla="*/ 276491 h 1555559"/>
                <a:gd name="connsiteX9" fmla="*/ 1516742 w 1616319"/>
                <a:gd name="connsiteY9" fmla="*/ 1097948 h 1555559"/>
                <a:gd name="connsiteX10" fmla="*/ 1033376 w 1616319"/>
                <a:gd name="connsiteY10" fmla="*/ 1097948 h 1555559"/>
                <a:gd name="connsiteX11" fmla="*/ 460081 w 1616319"/>
                <a:gd name="connsiteY11" fmla="*/ 525733 h 1555559"/>
                <a:gd name="connsiteX12" fmla="*/ 360517 w 1616319"/>
                <a:gd name="connsiteY12" fmla="*/ 525733 h 1555559"/>
                <a:gd name="connsiteX13" fmla="*/ 1033376 w 1616319"/>
                <a:gd name="connsiteY13" fmla="*/ 1197324 h 1555559"/>
                <a:gd name="connsiteX14" fmla="*/ 1616306 w 1616319"/>
                <a:gd name="connsiteY14" fmla="*/ 1197324 h 1555559"/>
                <a:gd name="connsiteX15" fmla="*/ 1616306 w 1616319"/>
                <a:gd name="connsiteY15" fmla="*/ 275689 h 1555559"/>
                <a:gd name="connsiteX16" fmla="*/ 1321629 w 1616319"/>
                <a:gd name="connsiteY16" fmla="*/ 0 h 1555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16319" h="1555559">
                  <a:moveTo>
                    <a:pt x="1321629" y="0"/>
                  </a:moveTo>
                  <a:lnTo>
                    <a:pt x="0" y="0"/>
                  </a:lnTo>
                  <a:lnTo>
                    <a:pt x="0" y="524130"/>
                  </a:lnTo>
                  <a:cubicBezTo>
                    <a:pt x="0" y="1093139"/>
                    <a:pt x="463293" y="1555560"/>
                    <a:pt x="1033376" y="1555560"/>
                  </a:cubicBezTo>
                  <a:lnTo>
                    <a:pt x="1033376" y="1456183"/>
                  </a:lnTo>
                  <a:cubicBezTo>
                    <a:pt x="517090" y="1456183"/>
                    <a:pt x="99564" y="1037040"/>
                    <a:pt x="99564" y="524130"/>
                  </a:cubicBezTo>
                  <a:lnTo>
                    <a:pt x="99564" y="99376"/>
                  </a:lnTo>
                  <a:lnTo>
                    <a:pt x="1319220" y="99376"/>
                  </a:lnTo>
                  <a:cubicBezTo>
                    <a:pt x="1421996" y="99376"/>
                    <a:pt x="1516742" y="184327"/>
                    <a:pt x="1516742" y="276491"/>
                  </a:cubicBezTo>
                  <a:lnTo>
                    <a:pt x="1516742" y="1097948"/>
                  </a:lnTo>
                  <a:lnTo>
                    <a:pt x="1033376" y="1097948"/>
                  </a:lnTo>
                  <a:cubicBezTo>
                    <a:pt x="717020" y="1097948"/>
                    <a:pt x="460081" y="841493"/>
                    <a:pt x="460081" y="525733"/>
                  </a:cubicBezTo>
                  <a:lnTo>
                    <a:pt x="360517" y="525733"/>
                  </a:lnTo>
                  <a:cubicBezTo>
                    <a:pt x="360517" y="895990"/>
                    <a:pt x="662420" y="1197324"/>
                    <a:pt x="1033376" y="1197324"/>
                  </a:cubicBezTo>
                  <a:lnTo>
                    <a:pt x="1616306" y="1197324"/>
                  </a:lnTo>
                  <a:lnTo>
                    <a:pt x="1616306" y="275689"/>
                  </a:lnTo>
                  <a:cubicBezTo>
                    <a:pt x="1617912" y="129830"/>
                    <a:pt x="1479004" y="0"/>
                    <a:pt x="1321629" y="0"/>
                  </a:cubicBezTo>
                  <a:close/>
                </a:path>
              </a:pathLst>
            </a:custGeom>
            <a:solidFill>
              <a:srgbClr val="5A50F9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05" name="Forma libre 77">
              <a:extLst>
                <a:ext uri="{FF2B5EF4-FFF2-40B4-BE49-F238E27FC236}">
                  <a16:creationId xmlns:a16="http://schemas.microsoft.com/office/drawing/2014/main" id="{6810F194-790F-DEC5-57AC-52408ACFD022}"/>
                </a:ext>
              </a:extLst>
            </p:cNvPr>
            <p:cNvSpPr/>
            <p:nvPr/>
          </p:nvSpPr>
          <p:spPr>
            <a:xfrm>
              <a:off x="1346520" y="2080195"/>
              <a:ext cx="313144" cy="312554"/>
            </a:xfrm>
            <a:custGeom>
              <a:avLst/>
              <a:gdLst>
                <a:gd name="connsiteX0" fmla="*/ 313144 w 313144"/>
                <a:gd name="connsiteY0" fmla="*/ 213178 h 312554"/>
                <a:gd name="connsiteX1" fmla="*/ 99564 w 313144"/>
                <a:gd name="connsiteY1" fmla="*/ 0 h 312554"/>
                <a:gd name="connsiteX2" fmla="*/ 0 w 313144"/>
                <a:gd name="connsiteY2" fmla="*/ 0 h 312554"/>
                <a:gd name="connsiteX3" fmla="*/ 313144 w 313144"/>
                <a:gd name="connsiteY3" fmla="*/ 312554 h 312554"/>
                <a:gd name="connsiteX4" fmla="*/ 313144 w 313144"/>
                <a:gd name="connsiteY4" fmla="*/ 213178 h 312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3144" h="312554">
                  <a:moveTo>
                    <a:pt x="313144" y="213178"/>
                  </a:moveTo>
                  <a:cubicBezTo>
                    <a:pt x="195916" y="213178"/>
                    <a:pt x="99564" y="117809"/>
                    <a:pt x="99564" y="0"/>
                  </a:cubicBezTo>
                  <a:lnTo>
                    <a:pt x="0" y="0"/>
                  </a:lnTo>
                  <a:cubicBezTo>
                    <a:pt x="0" y="171504"/>
                    <a:pt x="141316" y="312554"/>
                    <a:pt x="313144" y="312554"/>
                  </a:cubicBezTo>
                  <a:lnTo>
                    <a:pt x="313144" y="213178"/>
                  </a:lnTo>
                  <a:close/>
                </a:path>
              </a:pathLst>
            </a:custGeom>
            <a:solidFill>
              <a:srgbClr val="5A50F9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06" name="Forma libre 78">
              <a:extLst>
                <a:ext uri="{FF2B5EF4-FFF2-40B4-BE49-F238E27FC236}">
                  <a16:creationId xmlns:a16="http://schemas.microsoft.com/office/drawing/2014/main" id="{A16DA6E1-64AE-9382-7E73-30E6165D1AEE}"/>
                </a:ext>
              </a:extLst>
            </p:cNvPr>
            <p:cNvSpPr/>
            <p:nvPr/>
          </p:nvSpPr>
          <p:spPr>
            <a:xfrm>
              <a:off x="6919684" y="1327660"/>
              <a:ext cx="228033" cy="815045"/>
            </a:xfrm>
            <a:custGeom>
              <a:avLst/>
              <a:gdLst>
                <a:gd name="connsiteX0" fmla="*/ 147740 w 228033"/>
                <a:gd name="connsiteY0" fmla="*/ 710060 h 815045"/>
                <a:gd name="connsiteX1" fmla="*/ 147740 w 228033"/>
                <a:gd name="connsiteY1" fmla="*/ 710060 h 815045"/>
                <a:gd name="connsiteX2" fmla="*/ 127667 w 228033"/>
                <a:gd name="connsiteY2" fmla="*/ 687620 h 815045"/>
                <a:gd name="connsiteX3" fmla="*/ 130075 w 228033"/>
                <a:gd name="connsiteY3" fmla="*/ 0 h 815045"/>
                <a:gd name="connsiteX4" fmla="*/ 1606 w 228033"/>
                <a:gd name="connsiteY4" fmla="*/ 0 h 815045"/>
                <a:gd name="connsiteX5" fmla="*/ 0 w 228033"/>
                <a:gd name="connsiteY5" fmla="*/ 688421 h 815045"/>
                <a:gd name="connsiteX6" fmla="*/ 105185 w 228033"/>
                <a:gd name="connsiteY6" fmla="*/ 815046 h 815045"/>
                <a:gd name="connsiteX7" fmla="*/ 228033 w 228033"/>
                <a:gd name="connsiteY7" fmla="*/ 815046 h 815045"/>
                <a:gd name="connsiteX8" fmla="*/ 228033 w 228033"/>
                <a:gd name="connsiteY8" fmla="*/ 710060 h 815045"/>
                <a:gd name="connsiteX9" fmla="*/ 147740 w 228033"/>
                <a:gd name="connsiteY9" fmla="*/ 710060 h 81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8033" h="815045">
                  <a:moveTo>
                    <a:pt x="147740" y="710060"/>
                  </a:moveTo>
                  <a:lnTo>
                    <a:pt x="147740" y="710060"/>
                  </a:lnTo>
                  <a:cubicBezTo>
                    <a:pt x="129273" y="709258"/>
                    <a:pt x="127667" y="702046"/>
                    <a:pt x="127667" y="687620"/>
                  </a:cubicBezTo>
                  <a:lnTo>
                    <a:pt x="130075" y="0"/>
                  </a:lnTo>
                  <a:lnTo>
                    <a:pt x="1606" y="0"/>
                  </a:lnTo>
                  <a:lnTo>
                    <a:pt x="0" y="688421"/>
                  </a:lnTo>
                  <a:cubicBezTo>
                    <a:pt x="0" y="762152"/>
                    <a:pt x="23285" y="815046"/>
                    <a:pt x="105185" y="815046"/>
                  </a:cubicBezTo>
                  <a:lnTo>
                    <a:pt x="228033" y="815046"/>
                  </a:lnTo>
                  <a:lnTo>
                    <a:pt x="228033" y="710060"/>
                  </a:lnTo>
                  <a:lnTo>
                    <a:pt x="147740" y="710060"/>
                  </a:lnTo>
                  <a:close/>
                </a:path>
              </a:pathLst>
            </a:custGeom>
            <a:solidFill>
              <a:srgbClr val="5A50F9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07" name="Forma libre 79">
              <a:extLst>
                <a:ext uri="{FF2B5EF4-FFF2-40B4-BE49-F238E27FC236}">
                  <a16:creationId xmlns:a16="http://schemas.microsoft.com/office/drawing/2014/main" id="{C1AA1B20-E276-F974-D107-853F0F537AD1}"/>
                </a:ext>
              </a:extLst>
            </p:cNvPr>
            <p:cNvSpPr/>
            <p:nvPr/>
          </p:nvSpPr>
          <p:spPr>
            <a:xfrm>
              <a:off x="2729172" y="1528015"/>
              <a:ext cx="578112" cy="812641"/>
            </a:xfrm>
            <a:custGeom>
              <a:avLst/>
              <a:gdLst>
                <a:gd name="connsiteX0" fmla="*/ 317962 w 578112"/>
                <a:gd name="connsiteY0" fmla="*/ 0 h 812641"/>
                <a:gd name="connsiteX1" fmla="*/ 117228 w 578112"/>
                <a:gd name="connsiteY1" fmla="*/ 126625 h 812641"/>
                <a:gd name="connsiteX2" fmla="*/ 113214 w 578112"/>
                <a:gd name="connsiteY2" fmla="*/ 126625 h 812641"/>
                <a:gd name="connsiteX3" fmla="*/ 111608 w 578112"/>
                <a:gd name="connsiteY3" fmla="*/ 14426 h 812641"/>
                <a:gd name="connsiteX4" fmla="*/ 1606 w 578112"/>
                <a:gd name="connsiteY4" fmla="*/ 14426 h 812641"/>
                <a:gd name="connsiteX5" fmla="*/ 0 w 578112"/>
                <a:gd name="connsiteY5" fmla="*/ 812642 h 812641"/>
                <a:gd name="connsiteX6" fmla="*/ 128469 w 578112"/>
                <a:gd name="connsiteY6" fmla="*/ 812642 h 812641"/>
                <a:gd name="connsiteX7" fmla="*/ 128469 w 578112"/>
                <a:gd name="connsiteY7" fmla="*/ 508903 h 812641"/>
                <a:gd name="connsiteX8" fmla="*/ 132484 w 578112"/>
                <a:gd name="connsiteY8" fmla="*/ 508903 h 812641"/>
                <a:gd name="connsiteX9" fmla="*/ 317159 w 578112"/>
                <a:gd name="connsiteY9" fmla="*/ 622705 h 812641"/>
                <a:gd name="connsiteX10" fmla="*/ 578112 w 578112"/>
                <a:gd name="connsiteY10" fmla="*/ 308547 h 812641"/>
                <a:gd name="connsiteX11" fmla="*/ 317962 w 578112"/>
                <a:gd name="connsiteY11" fmla="*/ 0 h 812641"/>
                <a:gd name="connsiteX12" fmla="*/ 285042 w 578112"/>
                <a:gd name="connsiteY12" fmla="*/ 501690 h 812641"/>
                <a:gd name="connsiteX13" fmla="*/ 129272 w 578112"/>
                <a:gd name="connsiteY13" fmla="*/ 310150 h 812641"/>
                <a:gd name="connsiteX14" fmla="*/ 290662 w 578112"/>
                <a:gd name="connsiteY14" fmla="*/ 117008 h 812641"/>
                <a:gd name="connsiteX15" fmla="*/ 446431 w 578112"/>
                <a:gd name="connsiteY15" fmla="*/ 315760 h 812641"/>
                <a:gd name="connsiteX16" fmla="*/ 285042 w 578112"/>
                <a:gd name="connsiteY16" fmla="*/ 501690 h 81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8112" h="812641">
                  <a:moveTo>
                    <a:pt x="317962" y="0"/>
                  </a:moveTo>
                  <a:cubicBezTo>
                    <a:pt x="229639" y="0"/>
                    <a:pt x="156572" y="50490"/>
                    <a:pt x="117228" y="126625"/>
                  </a:cubicBezTo>
                  <a:lnTo>
                    <a:pt x="113214" y="126625"/>
                  </a:lnTo>
                  <a:lnTo>
                    <a:pt x="111608" y="14426"/>
                  </a:lnTo>
                  <a:lnTo>
                    <a:pt x="1606" y="14426"/>
                  </a:lnTo>
                  <a:lnTo>
                    <a:pt x="0" y="812642"/>
                  </a:lnTo>
                  <a:lnTo>
                    <a:pt x="128469" y="812642"/>
                  </a:lnTo>
                  <a:lnTo>
                    <a:pt x="128469" y="508903"/>
                  </a:lnTo>
                  <a:lnTo>
                    <a:pt x="132484" y="508903"/>
                  </a:lnTo>
                  <a:cubicBezTo>
                    <a:pt x="161390" y="568208"/>
                    <a:pt x="213580" y="622705"/>
                    <a:pt x="317159" y="622705"/>
                  </a:cubicBezTo>
                  <a:cubicBezTo>
                    <a:pt x="480155" y="622705"/>
                    <a:pt x="578112" y="478449"/>
                    <a:pt x="578112" y="308547"/>
                  </a:cubicBezTo>
                  <a:cubicBezTo>
                    <a:pt x="576507" y="138646"/>
                    <a:pt x="482563" y="0"/>
                    <a:pt x="317962" y="0"/>
                  </a:cubicBezTo>
                  <a:close/>
                  <a:moveTo>
                    <a:pt x="285042" y="501690"/>
                  </a:moveTo>
                  <a:cubicBezTo>
                    <a:pt x="183872" y="501690"/>
                    <a:pt x="129272" y="413534"/>
                    <a:pt x="129272" y="310150"/>
                  </a:cubicBezTo>
                  <a:cubicBezTo>
                    <a:pt x="129272" y="205164"/>
                    <a:pt x="188689" y="117008"/>
                    <a:pt x="290662" y="117008"/>
                  </a:cubicBezTo>
                  <a:cubicBezTo>
                    <a:pt x="391832" y="117008"/>
                    <a:pt x="446431" y="214781"/>
                    <a:pt x="446431" y="315760"/>
                  </a:cubicBezTo>
                  <a:cubicBezTo>
                    <a:pt x="446431" y="426356"/>
                    <a:pt x="381394" y="501690"/>
                    <a:pt x="285042" y="501690"/>
                  </a:cubicBezTo>
                  <a:close/>
                </a:path>
              </a:pathLst>
            </a:custGeom>
            <a:solidFill>
              <a:srgbClr val="5A50F9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08" name="Forma libre 80">
              <a:extLst>
                <a:ext uri="{FF2B5EF4-FFF2-40B4-BE49-F238E27FC236}">
                  <a16:creationId xmlns:a16="http://schemas.microsoft.com/office/drawing/2014/main" id="{ACEB494D-639E-1720-60AF-0A79F47B783B}"/>
                </a:ext>
              </a:extLst>
            </p:cNvPr>
            <p:cNvSpPr/>
            <p:nvPr/>
          </p:nvSpPr>
          <p:spPr>
            <a:xfrm>
              <a:off x="3377942" y="1528015"/>
              <a:ext cx="566871" cy="622704"/>
            </a:xfrm>
            <a:custGeom>
              <a:avLst/>
              <a:gdLst>
                <a:gd name="connsiteX0" fmla="*/ 298691 w 566871"/>
                <a:gd name="connsiteY0" fmla="*/ 0 h 622704"/>
                <a:gd name="connsiteX1" fmla="*/ 0 w 566871"/>
                <a:gd name="connsiteY1" fmla="*/ 315760 h 622704"/>
                <a:gd name="connsiteX2" fmla="*/ 304312 w 566871"/>
                <a:gd name="connsiteY2" fmla="*/ 622705 h 622704"/>
                <a:gd name="connsiteX3" fmla="*/ 555630 w 566871"/>
                <a:gd name="connsiteY3" fmla="*/ 505697 h 622704"/>
                <a:gd name="connsiteX4" fmla="*/ 479351 w 566871"/>
                <a:gd name="connsiteY4" fmla="*/ 429562 h 622704"/>
                <a:gd name="connsiteX5" fmla="*/ 313144 w 566871"/>
                <a:gd name="connsiteY5" fmla="*/ 507300 h 622704"/>
                <a:gd name="connsiteX6" fmla="*/ 125257 w 566871"/>
                <a:gd name="connsiteY6" fmla="*/ 364647 h 622704"/>
                <a:gd name="connsiteX7" fmla="*/ 566871 w 566871"/>
                <a:gd name="connsiteY7" fmla="*/ 364647 h 622704"/>
                <a:gd name="connsiteX8" fmla="*/ 566871 w 566871"/>
                <a:gd name="connsiteY8" fmla="*/ 294122 h 622704"/>
                <a:gd name="connsiteX9" fmla="*/ 298691 w 566871"/>
                <a:gd name="connsiteY9" fmla="*/ 0 h 622704"/>
                <a:gd name="connsiteX10" fmla="*/ 125257 w 566871"/>
                <a:gd name="connsiteY10" fmla="*/ 265271 h 622704"/>
                <a:gd name="connsiteX11" fmla="*/ 293874 w 566871"/>
                <a:gd name="connsiteY11" fmla="*/ 117008 h 622704"/>
                <a:gd name="connsiteX12" fmla="*/ 442416 w 566871"/>
                <a:gd name="connsiteY12" fmla="*/ 265271 h 622704"/>
                <a:gd name="connsiteX13" fmla="*/ 125257 w 566871"/>
                <a:gd name="connsiteY13" fmla="*/ 265271 h 622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6871" h="622704">
                  <a:moveTo>
                    <a:pt x="298691" y="0"/>
                  </a:moveTo>
                  <a:cubicBezTo>
                    <a:pt x="134090" y="0"/>
                    <a:pt x="0" y="139447"/>
                    <a:pt x="0" y="315760"/>
                  </a:cubicBezTo>
                  <a:cubicBezTo>
                    <a:pt x="0" y="512910"/>
                    <a:pt x="148543" y="622705"/>
                    <a:pt x="304312" y="622705"/>
                  </a:cubicBezTo>
                  <a:cubicBezTo>
                    <a:pt x="399861" y="622705"/>
                    <a:pt x="490592" y="585038"/>
                    <a:pt x="555630" y="505697"/>
                  </a:cubicBezTo>
                  <a:lnTo>
                    <a:pt x="479351" y="429562"/>
                  </a:lnTo>
                  <a:cubicBezTo>
                    <a:pt x="439205" y="469633"/>
                    <a:pt x="387014" y="507300"/>
                    <a:pt x="313144" y="507300"/>
                  </a:cubicBezTo>
                  <a:cubicBezTo>
                    <a:pt x="213580" y="507300"/>
                    <a:pt x="135696" y="449598"/>
                    <a:pt x="125257" y="364647"/>
                  </a:cubicBezTo>
                  <a:lnTo>
                    <a:pt x="566871" y="364647"/>
                  </a:lnTo>
                  <a:lnTo>
                    <a:pt x="566871" y="294122"/>
                  </a:lnTo>
                  <a:cubicBezTo>
                    <a:pt x="566871" y="124220"/>
                    <a:pt x="463293" y="0"/>
                    <a:pt x="298691" y="0"/>
                  </a:cubicBezTo>
                  <a:close/>
                  <a:moveTo>
                    <a:pt x="125257" y="265271"/>
                  </a:moveTo>
                  <a:cubicBezTo>
                    <a:pt x="136499" y="177114"/>
                    <a:pt x="210369" y="117008"/>
                    <a:pt x="293874" y="117008"/>
                  </a:cubicBezTo>
                  <a:cubicBezTo>
                    <a:pt x="389423" y="117008"/>
                    <a:pt x="440811" y="181923"/>
                    <a:pt x="442416" y="265271"/>
                  </a:cubicBezTo>
                  <a:lnTo>
                    <a:pt x="125257" y="265271"/>
                  </a:lnTo>
                  <a:close/>
                </a:path>
              </a:pathLst>
            </a:custGeom>
            <a:solidFill>
              <a:srgbClr val="5A50F9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09" name="Forma libre 81">
              <a:extLst>
                <a:ext uri="{FF2B5EF4-FFF2-40B4-BE49-F238E27FC236}">
                  <a16:creationId xmlns:a16="http://schemas.microsoft.com/office/drawing/2014/main" id="{01F00FF6-AFF9-718E-1355-AF35A0806D4D}"/>
                </a:ext>
              </a:extLst>
            </p:cNvPr>
            <p:cNvSpPr/>
            <p:nvPr/>
          </p:nvSpPr>
          <p:spPr>
            <a:xfrm>
              <a:off x="4942058" y="1529618"/>
              <a:ext cx="624682" cy="626711"/>
            </a:xfrm>
            <a:custGeom>
              <a:avLst/>
              <a:gdLst>
                <a:gd name="connsiteX0" fmla="*/ 314750 w 624682"/>
                <a:gd name="connsiteY0" fmla="*/ 0 h 626711"/>
                <a:gd name="connsiteX1" fmla="*/ 0 w 624682"/>
                <a:gd name="connsiteY1" fmla="*/ 312554 h 626711"/>
                <a:gd name="connsiteX2" fmla="*/ 311538 w 624682"/>
                <a:gd name="connsiteY2" fmla="*/ 626712 h 626711"/>
                <a:gd name="connsiteX3" fmla="*/ 624682 w 624682"/>
                <a:gd name="connsiteY3" fmla="*/ 314157 h 626711"/>
                <a:gd name="connsiteX4" fmla="*/ 314750 w 624682"/>
                <a:gd name="connsiteY4" fmla="*/ 0 h 626711"/>
                <a:gd name="connsiteX5" fmla="*/ 310736 w 624682"/>
                <a:gd name="connsiteY5" fmla="*/ 508903 h 626711"/>
                <a:gd name="connsiteX6" fmla="*/ 120440 w 624682"/>
                <a:gd name="connsiteY6" fmla="*/ 311753 h 626711"/>
                <a:gd name="connsiteX7" fmla="*/ 310736 w 624682"/>
                <a:gd name="connsiteY7" fmla="*/ 117008 h 626711"/>
                <a:gd name="connsiteX8" fmla="*/ 501031 w 624682"/>
                <a:gd name="connsiteY8" fmla="*/ 314157 h 626711"/>
                <a:gd name="connsiteX9" fmla="*/ 310736 w 624682"/>
                <a:gd name="connsiteY9" fmla="*/ 508903 h 626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4682" h="626711">
                  <a:moveTo>
                    <a:pt x="314750" y="0"/>
                  </a:moveTo>
                  <a:cubicBezTo>
                    <a:pt x="142922" y="0"/>
                    <a:pt x="0" y="141050"/>
                    <a:pt x="0" y="312554"/>
                  </a:cubicBezTo>
                  <a:cubicBezTo>
                    <a:pt x="0" y="484059"/>
                    <a:pt x="141316" y="626712"/>
                    <a:pt x="311538" y="626712"/>
                  </a:cubicBezTo>
                  <a:cubicBezTo>
                    <a:pt x="483366" y="626712"/>
                    <a:pt x="624682" y="485662"/>
                    <a:pt x="624682" y="314157"/>
                  </a:cubicBezTo>
                  <a:cubicBezTo>
                    <a:pt x="623880" y="141050"/>
                    <a:pt x="491396" y="0"/>
                    <a:pt x="314750" y="0"/>
                  </a:cubicBezTo>
                  <a:close/>
                  <a:moveTo>
                    <a:pt x="310736" y="508903"/>
                  </a:moveTo>
                  <a:cubicBezTo>
                    <a:pt x="202339" y="508903"/>
                    <a:pt x="120440" y="420746"/>
                    <a:pt x="120440" y="311753"/>
                  </a:cubicBezTo>
                  <a:cubicBezTo>
                    <a:pt x="120440" y="201958"/>
                    <a:pt x="203945" y="114603"/>
                    <a:pt x="310736" y="117008"/>
                  </a:cubicBezTo>
                  <a:cubicBezTo>
                    <a:pt x="417526" y="117008"/>
                    <a:pt x="501031" y="205164"/>
                    <a:pt x="501031" y="314157"/>
                  </a:cubicBezTo>
                  <a:cubicBezTo>
                    <a:pt x="501031" y="423151"/>
                    <a:pt x="417526" y="508903"/>
                    <a:pt x="310736" y="508903"/>
                  </a:cubicBezTo>
                  <a:close/>
                </a:path>
              </a:pathLst>
            </a:custGeom>
            <a:solidFill>
              <a:srgbClr val="5A50F9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10" name="Forma libre 82">
              <a:extLst>
                <a:ext uri="{FF2B5EF4-FFF2-40B4-BE49-F238E27FC236}">
                  <a16:creationId xmlns:a16="http://schemas.microsoft.com/office/drawing/2014/main" id="{4C92F9FF-2BD2-5171-102D-42E59895E466}"/>
                </a:ext>
              </a:extLst>
            </p:cNvPr>
            <p:cNvSpPr/>
            <p:nvPr/>
          </p:nvSpPr>
          <p:spPr>
            <a:xfrm>
              <a:off x="4385624" y="1528015"/>
              <a:ext cx="497819" cy="625910"/>
            </a:xfrm>
            <a:custGeom>
              <a:avLst/>
              <a:gdLst>
                <a:gd name="connsiteX0" fmla="*/ 260954 w 497819"/>
                <a:gd name="connsiteY0" fmla="*/ 104185 h 625910"/>
                <a:gd name="connsiteX1" fmla="*/ 403876 w 497819"/>
                <a:gd name="connsiteY1" fmla="*/ 197951 h 625910"/>
                <a:gd name="connsiteX2" fmla="*/ 497819 w 497819"/>
                <a:gd name="connsiteY2" fmla="*/ 150667 h 625910"/>
                <a:gd name="connsiteX3" fmla="*/ 260954 w 497819"/>
                <a:gd name="connsiteY3" fmla="*/ 0 h 625910"/>
                <a:gd name="connsiteX4" fmla="*/ 40147 w 497819"/>
                <a:gd name="connsiteY4" fmla="*/ 180320 h 625910"/>
                <a:gd name="connsiteX5" fmla="*/ 242486 w 497819"/>
                <a:gd name="connsiteY5" fmla="*/ 364647 h 625910"/>
                <a:gd name="connsiteX6" fmla="*/ 365335 w 497819"/>
                <a:gd name="connsiteY6" fmla="*/ 455208 h 625910"/>
                <a:gd name="connsiteX7" fmla="*/ 265771 w 497819"/>
                <a:gd name="connsiteY7" fmla="*/ 521726 h 625910"/>
                <a:gd name="connsiteX8" fmla="*/ 79490 w 497819"/>
                <a:gd name="connsiteY8" fmla="*/ 416739 h 625910"/>
                <a:gd name="connsiteX9" fmla="*/ 0 w 497819"/>
                <a:gd name="connsiteY9" fmla="*/ 483257 h 625910"/>
                <a:gd name="connsiteX10" fmla="*/ 262559 w 497819"/>
                <a:gd name="connsiteY10" fmla="*/ 625910 h 625910"/>
                <a:gd name="connsiteX11" fmla="*/ 493804 w 497819"/>
                <a:gd name="connsiteY11" fmla="*/ 443186 h 625910"/>
                <a:gd name="connsiteX12" fmla="*/ 284238 w 497819"/>
                <a:gd name="connsiteY12" fmla="*/ 260462 h 625910"/>
                <a:gd name="connsiteX13" fmla="*/ 168616 w 497819"/>
                <a:gd name="connsiteY13" fmla="*/ 172306 h 625910"/>
                <a:gd name="connsiteX14" fmla="*/ 260954 w 497819"/>
                <a:gd name="connsiteY14" fmla="*/ 104185 h 62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97819" h="625910">
                  <a:moveTo>
                    <a:pt x="260954" y="104185"/>
                  </a:moveTo>
                  <a:cubicBezTo>
                    <a:pt x="313144" y="104185"/>
                    <a:pt x="374970" y="133036"/>
                    <a:pt x="403876" y="197951"/>
                  </a:cubicBezTo>
                  <a:lnTo>
                    <a:pt x="497819" y="150667"/>
                  </a:lnTo>
                  <a:cubicBezTo>
                    <a:pt x="464096" y="73731"/>
                    <a:pt x="389423" y="0"/>
                    <a:pt x="260954" y="0"/>
                  </a:cubicBezTo>
                  <a:cubicBezTo>
                    <a:pt x="138105" y="0"/>
                    <a:pt x="40147" y="83348"/>
                    <a:pt x="40147" y="180320"/>
                  </a:cubicBezTo>
                  <a:cubicBezTo>
                    <a:pt x="40147" y="294122"/>
                    <a:pt x="152557" y="334193"/>
                    <a:pt x="242486" y="364647"/>
                  </a:cubicBezTo>
                  <a:cubicBezTo>
                    <a:pt x="309130" y="384682"/>
                    <a:pt x="365335" y="407924"/>
                    <a:pt x="365335" y="455208"/>
                  </a:cubicBezTo>
                  <a:cubicBezTo>
                    <a:pt x="365335" y="500087"/>
                    <a:pt x="320370" y="521726"/>
                    <a:pt x="265771" y="521726"/>
                  </a:cubicBezTo>
                  <a:cubicBezTo>
                    <a:pt x="187886" y="521726"/>
                    <a:pt x="128469" y="476846"/>
                    <a:pt x="79490" y="416739"/>
                  </a:cubicBezTo>
                  <a:lnTo>
                    <a:pt x="0" y="483257"/>
                  </a:lnTo>
                  <a:cubicBezTo>
                    <a:pt x="56205" y="569811"/>
                    <a:pt x="154163" y="625910"/>
                    <a:pt x="262559" y="625910"/>
                  </a:cubicBezTo>
                  <a:cubicBezTo>
                    <a:pt x="382196" y="625910"/>
                    <a:pt x="493804" y="560995"/>
                    <a:pt x="493804" y="443186"/>
                  </a:cubicBezTo>
                  <a:cubicBezTo>
                    <a:pt x="493804" y="325377"/>
                    <a:pt x="378182" y="289313"/>
                    <a:pt x="284238" y="260462"/>
                  </a:cubicBezTo>
                  <a:cubicBezTo>
                    <a:pt x="217595" y="238824"/>
                    <a:pt x="168616" y="222795"/>
                    <a:pt x="168616" y="172306"/>
                  </a:cubicBezTo>
                  <a:cubicBezTo>
                    <a:pt x="167010" y="133036"/>
                    <a:pt x="208763" y="104185"/>
                    <a:pt x="260954" y="104185"/>
                  </a:cubicBezTo>
                  <a:close/>
                </a:path>
              </a:pathLst>
            </a:custGeom>
            <a:solidFill>
              <a:srgbClr val="5A50F9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11" name="Forma libre 83">
              <a:extLst>
                <a:ext uri="{FF2B5EF4-FFF2-40B4-BE49-F238E27FC236}">
                  <a16:creationId xmlns:a16="http://schemas.microsoft.com/office/drawing/2014/main" id="{289E7177-4D20-C3CC-D62A-10AC40BA1D73}"/>
                </a:ext>
              </a:extLst>
            </p:cNvPr>
            <p:cNvSpPr/>
            <p:nvPr/>
          </p:nvSpPr>
          <p:spPr>
            <a:xfrm>
              <a:off x="6262884" y="1532824"/>
              <a:ext cx="568477" cy="620300"/>
            </a:xfrm>
            <a:custGeom>
              <a:avLst/>
              <a:gdLst>
                <a:gd name="connsiteX0" fmla="*/ 508257 w 568477"/>
                <a:gd name="connsiteY0" fmla="*/ 484059 h 620300"/>
                <a:gd name="connsiteX1" fmla="*/ 508257 w 568477"/>
                <a:gd name="connsiteY1" fmla="*/ 223597 h 620300"/>
                <a:gd name="connsiteX2" fmla="*/ 272998 w 568477"/>
                <a:gd name="connsiteY2" fmla="*/ 0 h 620300"/>
                <a:gd name="connsiteX3" fmla="*/ 1606 w 568477"/>
                <a:gd name="connsiteY3" fmla="*/ 178717 h 620300"/>
                <a:gd name="connsiteX4" fmla="*/ 108396 w 568477"/>
                <a:gd name="connsiteY4" fmla="*/ 230809 h 620300"/>
                <a:gd name="connsiteX5" fmla="*/ 271392 w 568477"/>
                <a:gd name="connsiteY5" fmla="*/ 115405 h 620300"/>
                <a:gd name="connsiteX6" fmla="*/ 379788 w 568477"/>
                <a:gd name="connsiteY6" fmla="*/ 223597 h 620300"/>
                <a:gd name="connsiteX7" fmla="*/ 379788 w 568477"/>
                <a:gd name="connsiteY7" fmla="*/ 261263 h 620300"/>
                <a:gd name="connsiteX8" fmla="*/ 264165 w 568477"/>
                <a:gd name="connsiteY8" fmla="*/ 261263 h 620300"/>
                <a:gd name="connsiteX9" fmla="*/ 0 w 568477"/>
                <a:gd name="connsiteY9" fmla="*/ 448796 h 620300"/>
                <a:gd name="connsiteX10" fmla="*/ 184675 w 568477"/>
                <a:gd name="connsiteY10" fmla="*/ 620300 h 620300"/>
                <a:gd name="connsiteX11" fmla="*/ 396650 w 568477"/>
                <a:gd name="connsiteY11" fmla="*/ 484860 h 620300"/>
                <a:gd name="connsiteX12" fmla="*/ 402270 w 568477"/>
                <a:gd name="connsiteY12" fmla="*/ 484860 h 620300"/>
                <a:gd name="connsiteX13" fmla="*/ 402270 w 568477"/>
                <a:gd name="connsiteY13" fmla="*/ 513711 h 620300"/>
                <a:gd name="connsiteX14" fmla="*/ 487381 w 568477"/>
                <a:gd name="connsiteY14" fmla="*/ 607478 h 620300"/>
                <a:gd name="connsiteX15" fmla="*/ 568477 w 568477"/>
                <a:gd name="connsiteY15" fmla="*/ 607478 h 620300"/>
                <a:gd name="connsiteX16" fmla="*/ 568477 w 568477"/>
                <a:gd name="connsiteY16" fmla="*/ 502491 h 620300"/>
                <a:gd name="connsiteX17" fmla="*/ 523513 w 568477"/>
                <a:gd name="connsiteY17" fmla="*/ 502491 h 620300"/>
                <a:gd name="connsiteX18" fmla="*/ 508257 w 568477"/>
                <a:gd name="connsiteY18" fmla="*/ 484059 h 620300"/>
                <a:gd name="connsiteX19" fmla="*/ 211172 w 568477"/>
                <a:gd name="connsiteY19" fmla="*/ 515314 h 620300"/>
                <a:gd name="connsiteX20" fmla="*/ 127667 w 568477"/>
                <a:gd name="connsiteY20" fmla="*/ 441583 h 620300"/>
                <a:gd name="connsiteX21" fmla="*/ 270589 w 568477"/>
                <a:gd name="connsiteY21" fmla="*/ 351023 h 620300"/>
                <a:gd name="connsiteX22" fmla="*/ 380591 w 568477"/>
                <a:gd name="connsiteY22" fmla="*/ 351023 h 620300"/>
                <a:gd name="connsiteX23" fmla="*/ 211172 w 568477"/>
                <a:gd name="connsiteY23" fmla="*/ 515314 h 6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68477" h="620300">
                  <a:moveTo>
                    <a:pt x="508257" y="484059"/>
                  </a:moveTo>
                  <a:lnTo>
                    <a:pt x="508257" y="223597"/>
                  </a:lnTo>
                  <a:cubicBezTo>
                    <a:pt x="508257" y="79341"/>
                    <a:pt x="410299" y="0"/>
                    <a:pt x="272998" y="0"/>
                  </a:cubicBezTo>
                  <a:cubicBezTo>
                    <a:pt x="153360" y="0"/>
                    <a:pt x="52191" y="64915"/>
                    <a:pt x="1606" y="178717"/>
                  </a:cubicBezTo>
                  <a:lnTo>
                    <a:pt x="108396" y="230809"/>
                  </a:lnTo>
                  <a:cubicBezTo>
                    <a:pt x="138907" y="164291"/>
                    <a:pt x="202339" y="115405"/>
                    <a:pt x="271392" y="115405"/>
                  </a:cubicBezTo>
                  <a:cubicBezTo>
                    <a:pt x="343656" y="115405"/>
                    <a:pt x="379788" y="162689"/>
                    <a:pt x="379788" y="223597"/>
                  </a:cubicBezTo>
                  <a:lnTo>
                    <a:pt x="379788" y="261263"/>
                  </a:lnTo>
                  <a:lnTo>
                    <a:pt x="264165" y="261263"/>
                  </a:lnTo>
                  <a:cubicBezTo>
                    <a:pt x="114017" y="261263"/>
                    <a:pt x="0" y="331789"/>
                    <a:pt x="0" y="448796"/>
                  </a:cubicBezTo>
                  <a:cubicBezTo>
                    <a:pt x="0" y="564201"/>
                    <a:pt x="90731" y="620300"/>
                    <a:pt x="184675" y="620300"/>
                  </a:cubicBezTo>
                  <a:cubicBezTo>
                    <a:pt x="275406" y="620300"/>
                    <a:pt x="356503" y="571414"/>
                    <a:pt x="396650" y="484860"/>
                  </a:cubicBezTo>
                  <a:lnTo>
                    <a:pt x="402270" y="484860"/>
                  </a:lnTo>
                  <a:lnTo>
                    <a:pt x="402270" y="513711"/>
                  </a:lnTo>
                  <a:cubicBezTo>
                    <a:pt x="402270" y="578627"/>
                    <a:pt x="436796" y="607478"/>
                    <a:pt x="487381" y="607478"/>
                  </a:cubicBezTo>
                  <a:lnTo>
                    <a:pt x="568477" y="607478"/>
                  </a:lnTo>
                  <a:lnTo>
                    <a:pt x="568477" y="502491"/>
                  </a:lnTo>
                  <a:lnTo>
                    <a:pt x="523513" y="502491"/>
                  </a:lnTo>
                  <a:cubicBezTo>
                    <a:pt x="509863" y="502491"/>
                    <a:pt x="508257" y="496882"/>
                    <a:pt x="508257" y="484059"/>
                  </a:cubicBezTo>
                  <a:close/>
                  <a:moveTo>
                    <a:pt x="211172" y="515314"/>
                  </a:moveTo>
                  <a:cubicBezTo>
                    <a:pt x="162193" y="515314"/>
                    <a:pt x="127667" y="488066"/>
                    <a:pt x="127667" y="441583"/>
                  </a:cubicBezTo>
                  <a:cubicBezTo>
                    <a:pt x="127667" y="379874"/>
                    <a:pt x="187084" y="351023"/>
                    <a:pt x="270589" y="351023"/>
                  </a:cubicBezTo>
                  <a:lnTo>
                    <a:pt x="380591" y="351023"/>
                  </a:lnTo>
                  <a:cubicBezTo>
                    <a:pt x="370956" y="450399"/>
                    <a:pt x="290662" y="516917"/>
                    <a:pt x="211172" y="515314"/>
                  </a:cubicBezTo>
                  <a:close/>
                </a:path>
              </a:pathLst>
            </a:custGeom>
            <a:solidFill>
              <a:srgbClr val="5A50F9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12" name="Forma libre 84">
              <a:extLst>
                <a:ext uri="{FF2B5EF4-FFF2-40B4-BE49-F238E27FC236}">
                  <a16:creationId xmlns:a16="http://schemas.microsoft.com/office/drawing/2014/main" id="{298E9F27-6183-3788-C779-5D2EE88A4707}"/>
                </a:ext>
              </a:extLst>
            </p:cNvPr>
            <p:cNvSpPr/>
            <p:nvPr/>
          </p:nvSpPr>
          <p:spPr>
            <a:xfrm>
              <a:off x="5647837" y="1529618"/>
              <a:ext cx="518695" cy="608279"/>
            </a:xfrm>
            <a:custGeom>
              <a:avLst/>
              <a:gdLst>
                <a:gd name="connsiteX0" fmla="*/ 316356 w 518695"/>
                <a:gd name="connsiteY0" fmla="*/ 0 h 608279"/>
                <a:gd name="connsiteX1" fmla="*/ 118834 w 518695"/>
                <a:gd name="connsiteY1" fmla="*/ 128227 h 608279"/>
                <a:gd name="connsiteX2" fmla="*/ 117228 w 518695"/>
                <a:gd name="connsiteY2" fmla="*/ 128227 h 608279"/>
                <a:gd name="connsiteX3" fmla="*/ 117228 w 518695"/>
                <a:gd name="connsiteY3" fmla="*/ 16028 h 608279"/>
                <a:gd name="connsiteX4" fmla="*/ 1605 w 518695"/>
                <a:gd name="connsiteY4" fmla="*/ 16028 h 608279"/>
                <a:gd name="connsiteX5" fmla="*/ 0 w 518695"/>
                <a:gd name="connsiteY5" fmla="*/ 608279 h 608279"/>
                <a:gd name="connsiteX6" fmla="*/ 128469 w 518695"/>
                <a:gd name="connsiteY6" fmla="*/ 608279 h 608279"/>
                <a:gd name="connsiteX7" fmla="*/ 128469 w 518695"/>
                <a:gd name="connsiteY7" fmla="*/ 301335 h 608279"/>
                <a:gd name="connsiteX8" fmla="*/ 280224 w 518695"/>
                <a:gd name="connsiteY8" fmla="*/ 111398 h 608279"/>
                <a:gd name="connsiteX9" fmla="*/ 390226 w 518695"/>
                <a:gd name="connsiteY9" fmla="*/ 254051 h 608279"/>
                <a:gd name="connsiteX10" fmla="*/ 390226 w 518695"/>
                <a:gd name="connsiteY10" fmla="*/ 608279 h 608279"/>
                <a:gd name="connsiteX11" fmla="*/ 518695 w 518695"/>
                <a:gd name="connsiteY11" fmla="*/ 608279 h 608279"/>
                <a:gd name="connsiteX12" fmla="*/ 518695 w 518695"/>
                <a:gd name="connsiteY12" fmla="*/ 232412 h 608279"/>
                <a:gd name="connsiteX13" fmla="*/ 316356 w 518695"/>
                <a:gd name="connsiteY13" fmla="*/ 0 h 608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8695" h="608279">
                  <a:moveTo>
                    <a:pt x="316356" y="0"/>
                  </a:moveTo>
                  <a:cubicBezTo>
                    <a:pt x="216792" y="0"/>
                    <a:pt x="158981" y="57702"/>
                    <a:pt x="118834" y="128227"/>
                  </a:cubicBezTo>
                  <a:lnTo>
                    <a:pt x="117228" y="128227"/>
                  </a:lnTo>
                  <a:lnTo>
                    <a:pt x="117228" y="16028"/>
                  </a:lnTo>
                  <a:lnTo>
                    <a:pt x="1605" y="16028"/>
                  </a:lnTo>
                  <a:lnTo>
                    <a:pt x="0" y="608279"/>
                  </a:lnTo>
                  <a:lnTo>
                    <a:pt x="128469" y="608279"/>
                  </a:lnTo>
                  <a:lnTo>
                    <a:pt x="128469" y="301335"/>
                  </a:lnTo>
                  <a:cubicBezTo>
                    <a:pt x="128469" y="209171"/>
                    <a:pt x="179054" y="111398"/>
                    <a:pt x="280224" y="111398"/>
                  </a:cubicBezTo>
                  <a:cubicBezTo>
                    <a:pt x="359714" y="111398"/>
                    <a:pt x="390226" y="173107"/>
                    <a:pt x="390226" y="254051"/>
                  </a:cubicBezTo>
                  <a:lnTo>
                    <a:pt x="390226" y="608279"/>
                  </a:lnTo>
                  <a:lnTo>
                    <a:pt x="518695" y="608279"/>
                  </a:lnTo>
                  <a:lnTo>
                    <a:pt x="518695" y="232412"/>
                  </a:lnTo>
                  <a:cubicBezTo>
                    <a:pt x="517089" y="97773"/>
                    <a:pt x="446431" y="0"/>
                    <a:pt x="316356" y="0"/>
                  </a:cubicBezTo>
                  <a:close/>
                </a:path>
              </a:pathLst>
            </a:custGeom>
            <a:solidFill>
              <a:srgbClr val="5A50F9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13" name="Forma libre 85">
              <a:extLst>
                <a:ext uri="{FF2B5EF4-FFF2-40B4-BE49-F238E27FC236}">
                  <a16:creationId xmlns:a16="http://schemas.microsoft.com/office/drawing/2014/main" id="{2160C50D-20E7-462A-B1A5-1A6A604A1F62}"/>
                </a:ext>
              </a:extLst>
            </p:cNvPr>
            <p:cNvSpPr/>
            <p:nvPr/>
          </p:nvSpPr>
          <p:spPr>
            <a:xfrm>
              <a:off x="4044378" y="1542441"/>
              <a:ext cx="314750" cy="592250"/>
            </a:xfrm>
            <a:custGeom>
              <a:avLst/>
              <a:gdLst>
                <a:gd name="connsiteX0" fmla="*/ 128469 w 314750"/>
                <a:gd name="connsiteY0" fmla="*/ 250845 h 592250"/>
                <a:gd name="connsiteX1" fmla="*/ 233654 w 314750"/>
                <a:gd name="connsiteY1" fmla="*/ 128227 h 592250"/>
                <a:gd name="connsiteX2" fmla="*/ 314750 w 314750"/>
                <a:gd name="connsiteY2" fmla="*/ 128227 h 592250"/>
                <a:gd name="connsiteX3" fmla="*/ 314750 w 314750"/>
                <a:gd name="connsiteY3" fmla="*/ 0 h 592250"/>
                <a:gd name="connsiteX4" fmla="*/ 277012 w 314750"/>
                <a:gd name="connsiteY4" fmla="*/ 0 h 592250"/>
                <a:gd name="connsiteX5" fmla="*/ 121243 w 314750"/>
                <a:gd name="connsiteY5" fmla="*/ 108192 h 592250"/>
                <a:gd name="connsiteX6" fmla="*/ 117228 w 314750"/>
                <a:gd name="connsiteY6" fmla="*/ 108192 h 592250"/>
                <a:gd name="connsiteX7" fmla="*/ 117228 w 314750"/>
                <a:gd name="connsiteY7" fmla="*/ 0 h 592250"/>
                <a:gd name="connsiteX8" fmla="*/ 1606 w 314750"/>
                <a:gd name="connsiteY8" fmla="*/ 0 h 592250"/>
                <a:gd name="connsiteX9" fmla="*/ 0 w 314750"/>
                <a:gd name="connsiteY9" fmla="*/ 592251 h 592250"/>
                <a:gd name="connsiteX10" fmla="*/ 128469 w 314750"/>
                <a:gd name="connsiteY10" fmla="*/ 592251 h 592250"/>
                <a:gd name="connsiteX11" fmla="*/ 128469 w 314750"/>
                <a:gd name="connsiteY11" fmla="*/ 250845 h 592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4750" h="592250">
                  <a:moveTo>
                    <a:pt x="128469" y="250845"/>
                  </a:moveTo>
                  <a:cubicBezTo>
                    <a:pt x="128469" y="171504"/>
                    <a:pt x="158981" y="128227"/>
                    <a:pt x="233654" y="128227"/>
                  </a:cubicBezTo>
                  <a:lnTo>
                    <a:pt x="314750" y="128227"/>
                  </a:lnTo>
                  <a:lnTo>
                    <a:pt x="314750" y="0"/>
                  </a:lnTo>
                  <a:lnTo>
                    <a:pt x="277012" y="0"/>
                  </a:lnTo>
                  <a:cubicBezTo>
                    <a:pt x="191901" y="0"/>
                    <a:pt x="150149" y="32858"/>
                    <a:pt x="121243" y="108192"/>
                  </a:cubicBezTo>
                  <a:lnTo>
                    <a:pt x="117228" y="108192"/>
                  </a:lnTo>
                  <a:lnTo>
                    <a:pt x="117228" y="0"/>
                  </a:lnTo>
                  <a:lnTo>
                    <a:pt x="1606" y="0"/>
                  </a:lnTo>
                  <a:lnTo>
                    <a:pt x="0" y="592251"/>
                  </a:lnTo>
                  <a:lnTo>
                    <a:pt x="128469" y="592251"/>
                  </a:lnTo>
                  <a:lnTo>
                    <a:pt x="128469" y="250845"/>
                  </a:lnTo>
                  <a:close/>
                </a:path>
              </a:pathLst>
            </a:custGeom>
            <a:solidFill>
              <a:srgbClr val="5A50F9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14" name="Forma libre 87">
              <a:extLst>
                <a:ext uri="{FF2B5EF4-FFF2-40B4-BE49-F238E27FC236}">
                  <a16:creationId xmlns:a16="http://schemas.microsoft.com/office/drawing/2014/main" id="{04D6F2E0-805A-DD76-51FA-9476F9EB757A}"/>
                </a:ext>
              </a:extLst>
            </p:cNvPr>
            <p:cNvSpPr/>
            <p:nvPr/>
          </p:nvSpPr>
          <p:spPr>
            <a:xfrm>
              <a:off x="2725960" y="2488920"/>
              <a:ext cx="548441" cy="851911"/>
            </a:xfrm>
            <a:custGeom>
              <a:avLst/>
              <a:gdLst>
                <a:gd name="connsiteX0" fmla="*/ 281027 w 548441"/>
                <a:gd name="connsiteY0" fmla="*/ 0 h 851911"/>
                <a:gd name="connsiteX1" fmla="*/ 61826 w 548441"/>
                <a:gd name="connsiteY1" fmla="*/ 151469 h 851911"/>
                <a:gd name="connsiteX2" fmla="*/ 56205 w 548441"/>
                <a:gd name="connsiteY2" fmla="*/ 151469 h 851911"/>
                <a:gd name="connsiteX3" fmla="*/ 56205 w 548441"/>
                <a:gd name="connsiteY3" fmla="*/ 17631 h 851911"/>
                <a:gd name="connsiteX4" fmla="*/ 0 w 548441"/>
                <a:gd name="connsiteY4" fmla="*/ 17631 h 851911"/>
                <a:gd name="connsiteX5" fmla="*/ 0 w 548441"/>
                <a:gd name="connsiteY5" fmla="*/ 851911 h 851911"/>
                <a:gd name="connsiteX6" fmla="*/ 56205 w 548441"/>
                <a:gd name="connsiteY6" fmla="*/ 851911 h 851911"/>
                <a:gd name="connsiteX7" fmla="*/ 56205 w 548441"/>
                <a:gd name="connsiteY7" fmla="*/ 488867 h 851911"/>
                <a:gd name="connsiteX8" fmla="*/ 61826 w 548441"/>
                <a:gd name="connsiteY8" fmla="*/ 488867 h 851911"/>
                <a:gd name="connsiteX9" fmla="*/ 277012 w 548441"/>
                <a:gd name="connsiteY9" fmla="*/ 642740 h 851911"/>
                <a:gd name="connsiteX10" fmla="*/ 548404 w 548441"/>
                <a:gd name="connsiteY10" fmla="*/ 322973 h 851911"/>
                <a:gd name="connsiteX11" fmla="*/ 281027 w 548441"/>
                <a:gd name="connsiteY11" fmla="*/ 0 h 851911"/>
                <a:gd name="connsiteX12" fmla="*/ 276209 w 548441"/>
                <a:gd name="connsiteY12" fmla="*/ 585038 h 851911"/>
                <a:gd name="connsiteX13" fmla="*/ 62629 w 548441"/>
                <a:gd name="connsiteY13" fmla="*/ 322973 h 851911"/>
                <a:gd name="connsiteX14" fmla="*/ 281830 w 548441"/>
                <a:gd name="connsiteY14" fmla="*/ 55298 h 851911"/>
                <a:gd name="connsiteX15" fmla="*/ 488184 w 548441"/>
                <a:gd name="connsiteY15" fmla="*/ 322973 h 851911"/>
                <a:gd name="connsiteX16" fmla="*/ 276209 w 548441"/>
                <a:gd name="connsiteY16" fmla="*/ 585038 h 851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8441" h="851911">
                  <a:moveTo>
                    <a:pt x="281027" y="0"/>
                  </a:moveTo>
                  <a:cubicBezTo>
                    <a:pt x="161390" y="0"/>
                    <a:pt x="93140" y="72128"/>
                    <a:pt x="61826" y="151469"/>
                  </a:cubicBezTo>
                  <a:lnTo>
                    <a:pt x="56205" y="151469"/>
                  </a:lnTo>
                  <a:lnTo>
                    <a:pt x="56205" y="17631"/>
                  </a:lnTo>
                  <a:lnTo>
                    <a:pt x="0" y="17631"/>
                  </a:lnTo>
                  <a:lnTo>
                    <a:pt x="0" y="851911"/>
                  </a:lnTo>
                  <a:lnTo>
                    <a:pt x="56205" y="851911"/>
                  </a:lnTo>
                  <a:lnTo>
                    <a:pt x="56205" y="488867"/>
                  </a:lnTo>
                  <a:lnTo>
                    <a:pt x="61826" y="488867"/>
                  </a:lnTo>
                  <a:cubicBezTo>
                    <a:pt x="90731" y="569811"/>
                    <a:pt x="161390" y="642740"/>
                    <a:pt x="277012" y="642740"/>
                  </a:cubicBezTo>
                  <a:cubicBezTo>
                    <a:pt x="431176" y="642740"/>
                    <a:pt x="548404" y="518520"/>
                    <a:pt x="548404" y="322973"/>
                  </a:cubicBezTo>
                  <a:cubicBezTo>
                    <a:pt x="550813" y="131433"/>
                    <a:pt x="438402" y="0"/>
                    <a:pt x="281027" y="0"/>
                  </a:cubicBezTo>
                  <a:close/>
                  <a:moveTo>
                    <a:pt x="276209" y="585038"/>
                  </a:moveTo>
                  <a:cubicBezTo>
                    <a:pt x="133287" y="585038"/>
                    <a:pt x="62629" y="460818"/>
                    <a:pt x="62629" y="322973"/>
                  </a:cubicBezTo>
                  <a:cubicBezTo>
                    <a:pt x="62629" y="180320"/>
                    <a:pt x="140513" y="55298"/>
                    <a:pt x="281830" y="55298"/>
                  </a:cubicBezTo>
                  <a:cubicBezTo>
                    <a:pt x="408693" y="55298"/>
                    <a:pt x="488184" y="161887"/>
                    <a:pt x="488184" y="322973"/>
                  </a:cubicBezTo>
                  <a:cubicBezTo>
                    <a:pt x="487381" y="488867"/>
                    <a:pt x="399058" y="585038"/>
                    <a:pt x="276209" y="585038"/>
                  </a:cubicBezTo>
                  <a:close/>
                </a:path>
              </a:pathLst>
            </a:custGeom>
            <a:solidFill>
              <a:srgbClr val="5A50F9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15" name="Forma libre 88">
              <a:extLst>
                <a:ext uri="{FF2B5EF4-FFF2-40B4-BE49-F238E27FC236}">
                  <a16:creationId xmlns:a16="http://schemas.microsoft.com/office/drawing/2014/main" id="{2A2B308F-87FC-EF9A-5AE0-10A09CDB7AA8}"/>
                </a:ext>
              </a:extLst>
            </p:cNvPr>
            <p:cNvSpPr/>
            <p:nvPr/>
          </p:nvSpPr>
          <p:spPr>
            <a:xfrm>
              <a:off x="3367504" y="2491324"/>
              <a:ext cx="544389" cy="637931"/>
            </a:xfrm>
            <a:custGeom>
              <a:avLst/>
              <a:gdLst>
                <a:gd name="connsiteX0" fmla="*/ 477746 w 544389"/>
                <a:gd name="connsiteY0" fmla="*/ 546570 h 637931"/>
                <a:gd name="connsiteX1" fmla="*/ 477746 w 544389"/>
                <a:gd name="connsiteY1" fmla="*/ 209171 h 637931"/>
                <a:gd name="connsiteX2" fmla="*/ 264165 w 544389"/>
                <a:gd name="connsiteY2" fmla="*/ 0 h 637931"/>
                <a:gd name="connsiteX3" fmla="*/ 0 w 544389"/>
                <a:gd name="connsiteY3" fmla="*/ 182724 h 637931"/>
                <a:gd name="connsiteX4" fmla="*/ 54600 w 544389"/>
                <a:gd name="connsiteY4" fmla="*/ 208370 h 637931"/>
                <a:gd name="connsiteX5" fmla="*/ 262559 w 544389"/>
                <a:gd name="connsiteY5" fmla="*/ 58504 h 637931"/>
                <a:gd name="connsiteX6" fmla="*/ 418329 w 544389"/>
                <a:gd name="connsiteY6" fmla="*/ 209972 h 637931"/>
                <a:gd name="connsiteX7" fmla="*/ 418329 w 544389"/>
                <a:gd name="connsiteY7" fmla="*/ 287710 h 637931"/>
                <a:gd name="connsiteX8" fmla="*/ 262559 w 544389"/>
                <a:gd name="connsiteY8" fmla="*/ 287710 h 637931"/>
                <a:gd name="connsiteX9" fmla="*/ 0 w 544389"/>
                <a:gd name="connsiteY9" fmla="*/ 468030 h 637931"/>
                <a:gd name="connsiteX10" fmla="*/ 190295 w 544389"/>
                <a:gd name="connsiteY10" fmla="*/ 637932 h 637931"/>
                <a:gd name="connsiteX11" fmla="*/ 411102 w 544389"/>
                <a:gd name="connsiteY11" fmla="*/ 479250 h 637931"/>
                <a:gd name="connsiteX12" fmla="*/ 419935 w 544389"/>
                <a:gd name="connsiteY12" fmla="*/ 479250 h 637931"/>
                <a:gd name="connsiteX13" fmla="*/ 418329 w 544389"/>
                <a:gd name="connsiteY13" fmla="*/ 538555 h 637931"/>
                <a:gd name="connsiteX14" fmla="*/ 484972 w 544389"/>
                <a:gd name="connsiteY14" fmla="*/ 623506 h 637931"/>
                <a:gd name="connsiteX15" fmla="*/ 544389 w 544389"/>
                <a:gd name="connsiteY15" fmla="*/ 623506 h 637931"/>
                <a:gd name="connsiteX16" fmla="*/ 544389 w 544389"/>
                <a:gd name="connsiteY16" fmla="*/ 567407 h 637931"/>
                <a:gd name="connsiteX17" fmla="*/ 489790 w 544389"/>
                <a:gd name="connsiteY17" fmla="*/ 567407 h 637931"/>
                <a:gd name="connsiteX18" fmla="*/ 477746 w 544389"/>
                <a:gd name="connsiteY18" fmla="*/ 546570 h 637931"/>
                <a:gd name="connsiteX19" fmla="*/ 199128 w 544389"/>
                <a:gd name="connsiteY19" fmla="*/ 577024 h 637931"/>
                <a:gd name="connsiteX20" fmla="*/ 63432 w 544389"/>
                <a:gd name="connsiteY20" fmla="*/ 464825 h 637931"/>
                <a:gd name="connsiteX21" fmla="*/ 264165 w 544389"/>
                <a:gd name="connsiteY21" fmla="*/ 334994 h 637931"/>
                <a:gd name="connsiteX22" fmla="*/ 415920 w 544389"/>
                <a:gd name="connsiteY22" fmla="*/ 334994 h 637931"/>
                <a:gd name="connsiteX23" fmla="*/ 199128 w 544389"/>
                <a:gd name="connsiteY23" fmla="*/ 577024 h 637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44389" h="637931">
                  <a:moveTo>
                    <a:pt x="477746" y="546570"/>
                  </a:moveTo>
                  <a:lnTo>
                    <a:pt x="477746" y="209171"/>
                  </a:lnTo>
                  <a:cubicBezTo>
                    <a:pt x="477746" y="93766"/>
                    <a:pt x="405482" y="0"/>
                    <a:pt x="264165" y="0"/>
                  </a:cubicBezTo>
                  <a:cubicBezTo>
                    <a:pt x="148543" y="0"/>
                    <a:pt x="44964" y="68922"/>
                    <a:pt x="0" y="182724"/>
                  </a:cubicBezTo>
                  <a:lnTo>
                    <a:pt x="54600" y="208370"/>
                  </a:lnTo>
                  <a:cubicBezTo>
                    <a:pt x="92337" y="107391"/>
                    <a:pt x="181463" y="58504"/>
                    <a:pt x="262559" y="58504"/>
                  </a:cubicBezTo>
                  <a:cubicBezTo>
                    <a:pt x="362123" y="58504"/>
                    <a:pt x="418329" y="120213"/>
                    <a:pt x="418329" y="209972"/>
                  </a:cubicBezTo>
                  <a:lnTo>
                    <a:pt x="418329" y="287710"/>
                  </a:lnTo>
                  <a:lnTo>
                    <a:pt x="262559" y="287710"/>
                  </a:lnTo>
                  <a:cubicBezTo>
                    <a:pt x="108396" y="287710"/>
                    <a:pt x="0" y="356633"/>
                    <a:pt x="0" y="468030"/>
                  </a:cubicBezTo>
                  <a:cubicBezTo>
                    <a:pt x="0" y="579428"/>
                    <a:pt x="85111" y="637932"/>
                    <a:pt x="190295" y="637932"/>
                  </a:cubicBezTo>
                  <a:cubicBezTo>
                    <a:pt x="295480" y="637932"/>
                    <a:pt x="373364" y="571414"/>
                    <a:pt x="411102" y="479250"/>
                  </a:cubicBezTo>
                  <a:lnTo>
                    <a:pt x="419935" y="479250"/>
                  </a:lnTo>
                  <a:lnTo>
                    <a:pt x="418329" y="538555"/>
                  </a:lnTo>
                  <a:cubicBezTo>
                    <a:pt x="418329" y="593052"/>
                    <a:pt x="434387" y="623506"/>
                    <a:pt x="484972" y="623506"/>
                  </a:cubicBezTo>
                  <a:lnTo>
                    <a:pt x="544389" y="623506"/>
                  </a:lnTo>
                  <a:lnTo>
                    <a:pt x="544389" y="567407"/>
                  </a:lnTo>
                  <a:lnTo>
                    <a:pt x="489790" y="567407"/>
                  </a:lnTo>
                  <a:cubicBezTo>
                    <a:pt x="484972" y="565804"/>
                    <a:pt x="477746" y="556988"/>
                    <a:pt x="477746" y="546570"/>
                  </a:cubicBezTo>
                  <a:close/>
                  <a:moveTo>
                    <a:pt x="199128" y="577024"/>
                  </a:moveTo>
                  <a:cubicBezTo>
                    <a:pt x="122849" y="577024"/>
                    <a:pt x="63432" y="544165"/>
                    <a:pt x="63432" y="464825"/>
                  </a:cubicBezTo>
                  <a:cubicBezTo>
                    <a:pt x="63432" y="379874"/>
                    <a:pt x="155769" y="334994"/>
                    <a:pt x="264165" y="334994"/>
                  </a:cubicBezTo>
                  <a:lnTo>
                    <a:pt x="415920" y="334994"/>
                  </a:lnTo>
                  <a:cubicBezTo>
                    <a:pt x="403073" y="479250"/>
                    <a:pt x="305918" y="577024"/>
                    <a:pt x="199128" y="577024"/>
                  </a:cubicBezTo>
                  <a:close/>
                </a:path>
              </a:pathLst>
            </a:custGeom>
            <a:solidFill>
              <a:srgbClr val="5A50F9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16" name="Forma libre 89">
              <a:extLst>
                <a:ext uri="{FF2B5EF4-FFF2-40B4-BE49-F238E27FC236}">
                  <a16:creationId xmlns:a16="http://schemas.microsoft.com/office/drawing/2014/main" id="{6FBD1234-3F1B-E312-50D7-B2CC4819DECC}"/>
                </a:ext>
              </a:extLst>
            </p:cNvPr>
            <p:cNvSpPr/>
            <p:nvPr/>
          </p:nvSpPr>
          <p:spPr>
            <a:xfrm>
              <a:off x="3950434" y="2506551"/>
              <a:ext cx="548403" cy="818251"/>
            </a:xfrm>
            <a:custGeom>
              <a:avLst/>
              <a:gdLst>
                <a:gd name="connsiteX0" fmla="*/ 274604 w 548403"/>
                <a:gd name="connsiteY0" fmla="*/ 556187 h 818251"/>
                <a:gd name="connsiteX1" fmla="*/ 267377 w 548403"/>
                <a:gd name="connsiteY1" fmla="*/ 556187 h 818251"/>
                <a:gd name="connsiteX2" fmla="*/ 62629 w 548403"/>
                <a:gd name="connsiteY2" fmla="*/ 0 h 818251"/>
                <a:gd name="connsiteX3" fmla="*/ 0 w 548403"/>
                <a:gd name="connsiteY3" fmla="*/ 0 h 818251"/>
                <a:gd name="connsiteX4" fmla="*/ 222413 w 548403"/>
                <a:gd name="connsiteY4" fmla="*/ 608279 h 818251"/>
                <a:gd name="connsiteX5" fmla="*/ 256939 w 548403"/>
                <a:gd name="connsiteY5" fmla="*/ 608279 h 818251"/>
                <a:gd name="connsiteX6" fmla="*/ 222413 w 548403"/>
                <a:gd name="connsiteY6" fmla="*/ 698840 h 818251"/>
                <a:gd name="connsiteX7" fmla="*/ 158981 w 548403"/>
                <a:gd name="connsiteY7" fmla="*/ 762152 h 818251"/>
                <a:gd name="connsiteX8" fmla="*/ 57811 w 548403"/>
                <a:gd name="connsiteY8" fmla="*/ 762152 h 818251"/>
                <a:gd name="connsiteX9" fmla="*/ 57811 w 548403"/>
                <a:gd name="connsiteY9" fmla="*/ 818252 h 818251"/>
                <a:gd name="connsiteX10" fmla="*/ 166207 w 548403"/>
                <a:gd name="connsiteY10" fmla="*/ 818252 h 818251"/>
                <a:gd name="connsiteX11" fmla="*/ 272998 w 548403"/>
                <a:gd name="connsiteY11" fmla="*/ 717272 h 818251"/>
                <a:gd name="connsiteX12" fmla="*/ 548404 w 548403"/>
                <a:gd name="connsiteY12" fmla="*/ 0 h 818251"/>
                <a:gd name="connsiteX13" fmla="*/ 484972 w 548403"/>
                <a:gd name="connsiteY13" fmla="*/ 0 h 818251"/>
                <a:gd name="connsiteX14" fmla="*/ 274604 w 548403"/>
                <a:gd name="connsiteY14" fmla="*/ 556187 h 81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48403" h="818251">
                  <a:moveTo>
                    <a:pt x="274604" y="556187"/>
                  </a:moveTo>
                  <a:lnTo>
                    <a:pt x="267377" y="556187"/>
                  </a:lnTo>
                  <a:lnTo>
                    <a:pt x="62629" y="0"/>
                  </a:lnTo>
                  <a:lnTo>
                    <a:pt x="0" y="0"/>
                  </a:lnTo>
                  <a:lnTo>
                    <a:pt x="222413" y="608279"/>
                  </a:lnTo>
                  <a:lnTo>
                    <a:pt x="256939" y="608279"/>
                  </a:lnTo>
                  <a:lnTo>
                    <a:pt x="222413" y="698840"/>
                  </a:lnTo>
                  <a:cubicBezTo>
                    <a:pt x="207960" y="736507"/>
                    <a:pt x="189492" y="762152"/>
                    <a:pt x="158981" y="762152"/>
                  </a:cubicBezTo>
                  <a:lnTo>
                    <a:pt x="57811" y="762152"/>
                  </a:lnTo>
                  <a:lnTo>
                    <a:pt x="57811" y="818252"/>
                  </a:lnTo>
                  <a:lnTo>
                    <a:pt x="166207" y="818252"/>
                  </a:lnTo>
                  <a:cubicBezTo>
                    <a:pt x="216792" y="818252"/>
                    <a:pt x="245698" y="783790"/>
                    <a:pt x="272998" y="717272"/>
                  </a:cubicBezTo>
                  <a:lnTo>
                    <a:pt x="548404" y="0"/>
                  </a:lnTo>
                  <a:lnTo>
                    <a:pt x="484972" y="0"/>
                  </a:lnTo>
                  <a:lnTo>
                    <a:pt x="274604" y="556187"/>
                  </a:lnTo>
                  <a:close/>
                </a:path>
              </a:pathLst>
            </a:custGeom>
            <a:solidFill>
              <a:srgbClr val="5A50F9"/>
            </a:solidFill>
            <a:ln w="8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</p:grpSp>
      <p:grpSp>
        <p:nvGrpSpPr>
          <p:cNvPr id="117" name="Gráfico 42">
            <a:extLst>
              <a:ext uri="{FF2B5EF4-FFF2-40B4-BE49-F238E27FC236}">
                <a16:creationId xmlns:a16="http://schemas.microsoft.com/office/drawing/2014/main" id="{741DB19C-3B95-887A-F238-2ED563423E3E}"/>
              </a:ext>
            </a:extLst>
          </p:cNvPr>
          <p:cNvGrpSpPr>
            <a:grpSpLocks/>
          </p:cNvGrpSpPr>
          <p:nvPr/>
        </p:nvGrpSpPr>
        <p:grpSpPr>
          <a:xfrm>
            <a:off x="5782535" y="3782549"/>
            <a:ext cx="443652" cy="163910"/>
            <a:chOff x="3434914" y="2049780"/>
            <a:chExt cx="2271321" cy="839152"/>
          </a:xfrm>
          <a:solidFill>
            <a:srgbClr val="00DCAA"/>
          </a:solidFill>
        </p:grpSpPr>
        <p:sp>
          <p:nvSpPr>
            <p:cNvPr id="118" name="Forma libre 91">
              <a:extLst>
                <a:ext uri="{FF2B5EF4-FFF2-40B4-BE49-F238E27FC236}">
                  <a16:creationId xmlns:a16="http://schemas.microsoft.com/office/drawing/2014/main" id="{A5E0214A-3551-01E6-EB24-E800120EEE24}"/>
                </a:ext>
              </a:extLst>
            </p:cNvPr>
            <p:cNvSpPr>
              <a:spLocks/>
            </p:cNvSpPr>
            <p:nvPr/>
          </p:nvSpPr>
          <p:spPr>
            <a:xfrm>
              <a:off x="4113175" y="2254567"/>
              <a:ext cx="632664" cy="634365"/>
            </a:xfrm>
            <a:custGeom>
              <a:avLst/>
              <a:gdLst>
                <a:gd name="connsiteX0" fmla="*/ 316332 w 632664"/>
                <a:gd name="connsiteY0" fmla="*/ 0 h 634365"/>
                <a:gd name="connsiteX1" fmla="*/ 0 w 632664"/>
                <a:gd name="connsiteY1" fmla="*/ 317183 h 634365"/>
                <a:gd name="connsiteX2" fmla="*/ 316332 w 632664"/>
                <a:gd name="connsiteY2" fmla="*/ 634365 h 634365"/>
                <a:gd name="connsiteX3" fmla="*/ 632664 w 632664"/>
                <a:gd name="connsiteY3" fmla="*/ 317183 h 634365"/>
                <a:gd name="connsiteX4" fmla="*/ 316332 w 632664"/>
                <a:gd name="connsiteY4" fmla="*/ 0 h 634365"/>
                <a:gd name="connsiteX5" fmla="*/ 316332 w 632664"/>
                <a:gd name="connsiteY5" fmla="*/ 508635 h 634365"/>
                <a:gd name="connsiteX6" fmla="*/ 125393 w 632664"/>
                <a:gd name="connsiteY6" fmla="*/ 317183 h 634365"/>
                <a:gd name="connsiteX7" fmla="*/ 316332 w 632664"/>
                <a:gd name="connsiteY7" fmla="*/ 125730 h 634365"/>
                <a:gd name="connsiteX8" fmla="*/ 507271 w 632664"/>
                <a:gd name="connsiteY8" fmla="*/ 317183 h 634365"/>
                <a:gd name="connsiteX9" fmla="*/ 316332 w 6326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2664" h="634365">
                  <a:moveTo>
                    <a:pt x="316332" y="0"/>
                  </a:moveTo>
                  <a:cubicBezTo>
                    <a:pt x="141542" y="0"/>
                    <a:pt x="0" y="142875"/>
                    <a:pt x="0" y="317183"/>
                  </a:cubicBezTo>
                  <a:cubicBezTo>
                    <a:pt x="0" y="492443"/>
                    <a:pt x="142492" y="634365"/>
                    <a:pt x="316332" y="634365"/>
                  </a:cubicBezTo>
                  <a:cubicBezTo>
                    <a:pt x="491122" y="634365"/>
                    <a:pt x="632664" y="491490"/>
                    <a:pt x="632664" y="317183"/>
                  </a:cubicBezTo>
                  <a:cubicBezTo>
                    <a:pt x="632664" y="141923"/>
                    <a:pt x="490172" y="0"/>
                    <a:pt x="316332" y="0"/>
                  </a:cubicBezTo>
                  <a:close/>
                  <a:moveTo>
                    <a:pt x="316332" y="508635"/>
                  </a:moveTo>
                  <a:cubicBezTo>
                    <a:pt x="210888" y="508635"/>
                    <a:pt x="125393" y="422910"/>
                    <a:pt x="125393" y="317183"/>
                  </a:cubicBezTo>
                  <a:cubicBezTo>
                    <a:pt x="125393" y="211455"/>
                    <a:pt x="210888" y="125730"/>
                    <a:pt x="316332" y="125730"/>
                  </a:cubicBezTo>
                  <a:cubicBezTo>
                    <a:pt x="421776" y="125730"/>
                    <a:pt x="507271" y="211455"/>
                    <a:pt x="507271" y="317183"/>
                  </a:cubicBezTo>
                  <a:cubicBezTo>
                    <a:pt x="507271" y="422910"/>
                    <a:pt x="421776" y="508635"/>
                    <a:pt x="316332" y="508635"/>
                  </a:cubicBezTo>
                  <a:close/>
                </a:path>
              </a:pathLst>
            </a:custGeom>
            <a:solidFill>
              <a:srgbClr val="00DCAA"/>
            </a:solidFill>
            <a:ln w="94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19" name="Forma libre 92">
              <a:extLst>
                <a:ext uri="{FF2B5EF4-FFF2-40B4-BE49-F238E27FC236}">
                  <a16:creationId xmlns:a16="http://schemas.microsoft.com/office/drawing/2014/main" id="{82A090FD-2E02-5087-50FF-F89DF8F567B2}"/>
                </a:ext>
              </a:extLst>
            </p:cNvPr>
            <p:cNvSpPr>
              <a:spLocks/>
            </p:cNvSpPr>
            <p:nvPr/>
          </p:nvSpPr>
          <p:spPr>
            <a:xfrm>
              <a:off x="3434914" y="2049780"/>
              <a:ext cx="357179" cy="823912"/>
            </a:xfrm>
            <a:custGeom>
              <a:avLst/>
              <a:gdLst>
                <a:gd name="connsiteX0" fmla="*/ 107344 w 357179"/>
                <a:gd name="connsiteY0" fmla="*/ 34290 h 823912"/>
                <a:gd name="connsiteX1" fmla="*/ 70296 w 357179"/>
                <a:gd name="connsiteY1" fmla="*/ 132397 h 823912"/>
                <a:gd name="connsiteX2" fmla="*/ 70296 w 357179"/>
                <a:gd name="connsiteY2" fmla="*/ 234315 h 823912"/>
                <a:gd name="connsiteX3" fmla="*/ 0 w 357179"/>
                <a:gd name="connsiteY3" fmla="*/ 234315 h 823912"/>
                <a:gd name="connsiteX4" fmla="*/ 0 w 357179"/>
                <a:gd name="connsiteY4" fmla="*/ 341947 h 823912"/>
                <a:gd name="connsiteX5" fmla="*/ 70296 w 357179"/>
                <a:gd name="connsiteY5" fmla="*/ 341947 h 823912"/>
                <a:gd name="connsiteX6" fmla="*/ 70296 w 357179"/>
                <a:gd name="connsiteY6" fmla="*/ 823912 h 823912"/>
                <a:gd name="connsiteX7" fmla="*/ 199489 w 357179"/>
                <a:gd name="connsiteY7" fmla="*/ 823912 h 823912"/>
                <a:gd name="connsiteX8" fmla="*/ 199489 w 357179"/>
                <a:gd name="connsiteY8" fmla="*/ 341947 h 823912"/>
                <a:gd name="connsiteX9" fmla="*/ 328681 w 357179"/>
                <a:gd name="connsiteY9" fmla="*/ 341947 h 823912"/>
                <a:gd name="connsiteX10" fmla="*/ 328681 w 357179"/>
                <a:gd name="connsiteY10" fmla="*/ 234315 h 823912"/>
                <a:gd name="connsiteX11" fmla="*/ 198539 w 357179"/>
                <a:gd name="connsiteY11" fmla="*/ 234315 h 823912"/>
                <a:gd name="connsiteX12" fmla="*/ 198539 w 357179"/>
                <a:gd name="connsiteY12" fmla="*/ 132397 h 823912"/>
                <a:gd name="connsiteX13" fmla="*/ 221337 w 357179"/>
                <a:gd name="connsiteY13" fmla="*/ 106680 h 823912"/>
                <a:gd name="connsiteX14" fmla="*/ 357180 w 357179"/>
                <a:gd name="connsiteY14" fmla="*/ 106680 h 823912"/>
                <a:gd name="connsiteX15" fmla="*/ 357180 w 357179"/>
                <a:gd name="connsiteY15" fmla="*/ 0 h 823912"/>
                <a:gd name="connsiteX16" fmla="*/ 206138 w 357179"/>
                <a:gd name="connsiteY16" fmla="*/ 0 h 823912"/>
                <a:gd name="connsiteX17" fmla="*/ 107344 w 357179"/>
                <a:gd name="connsiteY17" fmla="*/ 34290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57179" h="823912">
                  <a:moveTo>
                    <a:pt x="107344" y="34290"/>
                  </a:moveTo>
                  <a:cubicBezTo>
                    <a:pt x="82645" y="57150"/>
                    <a:pt x="70296" y="91440"/>
                    <a:pt x="70296" y="132397"/>
                  </a:cubicBezTo>
                  <a:lnTo>
                    <a:pt x="70296" y="234315"/>
                  </a:lnTo>
                  <a:lnTo>
                    <a:pt x="0" y="234315"/>
                  </a:lnTo>
                  <a:lnTo>
                    <a:pt x="0" y="341947"/>
                  </a:lnTo>
                  <a:lnTo>
                    <a:pt x="70296" y="341947"/>
                  </a:lnTo>
                  <a:lnTo>
                    <a:pt x="70296" y="823912"/>
                  </a:lnTo>
                  <a:lnTo>
                    <a:pt x="199489" y="823912"/>
                  </a:lnTo>
                  <a:lnTo>
                    <a:pt x="199489" y="341947"/>
                  </a:lnTo>
                  <a:lnTo>
                    <a:pt x="328681" y="341947"/>
                  </a:lnTo>
                  <a:lnTo>
                    <a:pt x="328681" y="234315"/>
                  </a:lnTo>
                  <a:lnTo>
                    <a:pt x="198539" y="234315"/>
                  </a:lnTo>
                  <a:lnTo>
                    <a:pt x="198539" y="132397"/>
                  </a:lnTo>
                  <a:cubicBezTo>
                    <a:pt x="198539" y="114300"/>
                    <a:pt x="206138" y="106680"/>
                    <a:pt x="221337" y="106680"/>
                  </a:cubicBezTo>
                  <a:lnTo>
                    <a:pt x="357180" y="106680"/>
                  </a:lnTo>
                  <a:lnTo>
                    <a:pt x="357180" y="0"/>
                  </a:lnTo>
                  <a:lnTo>
                    <a:pt x="206138" y="0"/>
                  </a:lnTo>
                  <a:cubicBezTo>
                    <a:pt x="165291" y="0"/>
                    <a:pt x="131093" y="11430"/>
                    <a:pt x="107344" y="34290"/>
                  </a:cubicBezTo>
                  <a:close/>
                </a:path>
              </a:pathLst>
            </a:custGeom>
            <a:solidFill>
              <a:srgbClr val="00DCAA"/>
            </a:solidFill>
            <a:ln w="94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20" name="Forma libre 104">
              <a:extLst>
                <a:ext uri="{FF2B5EF4-FFF2-40B4-BE49-F238E27FC236}">
                  <a16:creationId xmlns:a16="http://schemas.microsoft.com/office/drawing/2014/main" id="{86DC3C5B-8A47-BD16-B2E5-01D96D02DCC9}"/>
                </a:ext>
              </a:extLst>
            </p:cNvPr>
            <p:cNvSpPr>
              <a:spLocks/>
            </p:cNvSpPr>
            <p:nvPr/>
          </p:nvSpPr>
          <p:spPr>
            <a:xfrm>
              <a:off x="3849090" y="2050732"/>
              <a:ext cx="231786" cy="823912"/>
            </a:xfrm>
            <a:custGeom>
              <a:avLst/>
              <a:gdLst>
                <a:gd name="connsiteX0" fmla="*/ 133942 w 231786"/>
                <a:gd name="connsiteY0" fmla="*/ 701040 h 823912"/>
                <a:gd name="connsiteX1" fmla="*/ 130143 w 231786"/>
                <a:gd name="connsiteY1" fmla="*/ 681038 h 823912"/>
                <a:gd name="connsiteX2" fmla="*/ 130143 w 231786"/>
                <a:gd name="connsiteY2" fmla="*/ 0 h 823912"/>
                <a:gd name="connsiteX3" fmla="*/ 0 w 231786"/>
                <a:gd name="connsiteY3" fmla="*/ 0 h 823912"/>
                <a:gd name="connsiteX4" fmla="*/ 0 w 231786"/>
                <a:gd name="connsiteY4" fmla="*/ 688658 h 823912"/>
                <a:gd name="connsiteX5" fmla="*/ 26598 w 231786"/>
                <a:gd name="connsiteY5" fmla="*/ 789623 h 823912"/>
                <a:gd name="connsiteX6" fmla="*/ 106394 w 231786"/>
                <a:gd name="connsiteY6" fmla="*/ 823913 h 823912"/>
                <a:gd name="connsiteX7" fmla="*/ 231787 w 231786"/>
                <a:gd name="connsiteY7" fmla="*/ 823913 h 823912"/>
                <a:gd name="connsiteX8" fmla="*/ 231787 w 231786"/>
                <a:gd name="connsiteY8" fmla="*/ 705803 h 823912"/>
                <a:gd name="connsiteX9" fmla="*/ 147242 w 231786"/>
                <a:gd name="connsiteY9" fmla="*/ 705803 h 823912"/>
                <a:gd name="connsiteX10" fmla="*/ 133942 w 231786"/>
                <a:gd name="connsiteY10" fmla="*/ 701040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1786" h="823912">
                  <a:moveTo>
                    <a:pt x="133942" y="701040"/>
                  </a:moveTo>
                  <a:cubicBezTo>
                    <a:pt x="131093" y="698183"/>
                    <a:pt x="130143" y="691515"/>
                    <a:pt x="130143" y="681038"/>
                  </a:cubicBezTo>
                  <a:lnTo>
                    <a:pt x="130143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499" y="766763"/>
                    <a:pt x="26598" y="789623"/>
                  </a:cubicBezTo>
                  <a:cubicBezTo>
                    <a:pt x="44647" y="812483"/>
                    <a:pt x="71246" y="823913"/>
                    <a:pt x="106394" y="823913"/>
                  </a:cubicBezTo>
                  <a:lnTo>
                    <a:pt x="231787" y="823913"/>
                  </a:lnTo>
                  <a:lnTo>
                    <a:pt x="231787" y="705803"/>
                  </a:lnTo>
                  <a:lnTo>
                    <a:pt x="147242" y="705803"/>
                  </a:lnTo>
                  <a:cubicBezTo>
                    <a:pt x="137742" y="705803"/>
                    <a:pt x="134892" y="702945"/>
                    <a:pt x="133942" y="701040"/>
                  </a:cubicBezTo>
                  <a:close/>
                </a:path>
              </a:pathLst>
            </a:custGeom>
            <a:solidFill>
              <a:srgbClr val="00DCAA"/>
            </a:solidFill>
            <a:ln w="94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21" name="Forma libre 105">
              <a:extLst>
                <a:ext uri="{FF2B5EF4-FFF2-40B4-BE49-F238E27FC236}">
                  <a16:creationId xmlns:a16="http://schemas.microsoft.com/office/drawing/2014/main" id="{07A00CD3-E77E-9C90-5F73-4C089842995D}"/>
                </a:ext>
              </a:extLst>
            </p:cNvPr>
            <p:cNvSpPr>
              <a:spLocks/>
            </p:cNvSpPr>
            <p:nvPr/>
          </p:nvSpPr>
          <p:spPr>
            <a:xfrm>
              <a:off x="4753439" y="2270760"/>
              <a:ext cx="952796" cy="602932"/>
            </a:xfrm>
            <a:custGeom>
              <a:avLst/>
              <a:gdLst>
                <a:gd name="connsiteX0" fmla="*/ 827403 w 952796"/>
                <a:gd name="connsiteY0" fmla="*/ 0 h 602932"/>
                <a:gd name="connsiteX1" fmla="*/ 695361 w 952796"/>
                <a:gd name="connsiteY1" fmla="*/ 494348 h 602932"/>
                <a:gd name="connsiteX2" fmla="*/ 693461 w 952796"/>
                <a:gd name="connsiteY2" fmla="*/ 494348 h 602932"/>
                <a:gd name="connsiteX3" fmla="*/ 549069 w 952796"/>
                <a:gd name="connsiteY3" fmla="*/ 3810 h 602932"/>
                <a:gd name="connsiteX4" fmla="*/ 548119 w 952796"/>
                <a:gd name="connsiteY4" fmla="*/ 0 h 602932"/>
                <a:gd name="connsiteX5" fmla="*/ 415127 w 952796"/>
                <a:gd name="connsiteY5" fmla="*/ 0 h 602932"/>
                <a:gd name="connsiteX6" fmla="*/ 277384 w 952796"/>
                <a:gd name="connsiteY6" fmla="*/ 494348 h 602932"/>
                <a:gd name="connsiteX7" fmla="*/ 275484 w 952796"/>
                <a:gd name="connsiteY7" fmla="*/ 494348 h 602932"/>
                <a:gd name="connsiteX8" fmla="*/ 137742 w 952796"/>
                <a:gd name="connsiteY8" fmla="*/ 0 h 602932"/>
                <a:gd name="connsiteX9" fmla="*/ 0 w 952796"/>
                <a:gd name="connsiteY9" fmla="*/ 0 h 602932"/>
                <a:gd name="connsiteX10" fmla="*/ 176690 w 952796"/>
                <a:gd name="connsiteY10" fmla="*/ 599123 h 602932"/>
                <a:gd name="connsiteX11" fmla="*/ 177640 w 952796"/>
                <a:gd name="connsiteY11" fmla="*/ 602932 h 602932"/>
                <a:gd name="connsiteX12" fmla="*/ 357180 w 952796"/>
                <a:gd name="connsiteY12" fmla="*/ 602932 h 602932"/>
                <a:gd name="connsiteX13" fmla="*/ 480673 w 952796"/>
                <a:gd name="connsiteY13" fmla="*/ 179070 h 602932"/>
                <a:gd name="connsiteX14" fmla="*/ 597516 w 952796"/>
                <a:gd name="connsiteY14" fmla="*/ 602932 h 602932"/>
                <a:gd name="connsiteX15" fmla="*/ 778956 w 952796"/>
                <a:gd name="connsiteY15" fmla="*/ 602932 h 602932"/>
                <a:gd name="connsiteX16" fmla="*/ 952796 w 952796"/>
                <a:gd name="connsiteY16" fmla="*/ 0 h 602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52796" h="602932">
                  <a:moveTo>
                    <a:pt x="827403" y="0"/>
                  </a:moveTo>
                  <a:lnTo>
                    <a:pt x="695361" y="494348"/>
                  </a:lnTo>
                  <a:lnTo>
                    <a:pt x="693461" y="494348"/>
                  </a:lnTo>
                  <a:lnTo>
                    <a:pt x="549069" y="3810"/>
                  </a:lnTo>
                  <a:lnTo>
                    <a:pt x="548119" y="0"/>
                  </a:lnTo>
                  <a:lnTo>
                    <a:pt x="415127" y="0"/>
                  </a:lnTo>
                  <a:lnTo>
                    <a:pt x="277384" y="494348"/>
                  </a:lnTo>
                  <a:lnTo>
                    <a:pt x="275484" y="494348"/>
                  </a:lnTo>
                  <a:lnTo>
                    <a:pt x="137742" y="0"/>
                  </a:lnTo>
                  <a:lnTo>
                    <a:pt x="0" y="0"/>
                  </a:lnTo>
                  <a:lnTo>
                    <a:pt x="176690" y="599123"/>
                  </a:lnTo>
                  <a:lnTo>
                    <a:pt x="177640" y="602932"/>
                  </a:lnTo>
                  <a:lnTo>
                    <a:pt x="357180" y="602932"/>
                  </a:lnTo>
                  <a:lnTo>
                    <a:pt x="480673" y="179070"/>
                  </a:lnTo>
                  <a:lnTo>
                    <a:pt x="597516" y="602932"/>
                  </a:lnTo>
                  <a:lnTo>
                    <a:pt x="778956" y="602932"/>
                  </a:lnTo>
                  <a:lnTo>
                    <a:pt x="952796" y="0"/>
                  </a:lnTo>
                  <a:close/>
                </a:path>
              </a:pathLst>
            </a:custGeom>
            <a:solidFill>
              <a:srgbClr val="00DCAA"/>
            </a:solidFill>
            <a:ln w="94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22" name="Forma libre 106">
              <a:extLst>
                <a:ext uri="{FF2B5EF4-FFF2-40B4-BE49-F238E27FC236}">
                  <a16:creationId xmlns:a16="http://schemas.microsoft.com/office/drawing/2014/main" id="{8EFA87F4-C970-F2EB-DC42-611BDCC8D226}"/>
                </a:ext>
              </a:extLst>
            </p:cNvPr>
            <p:cNvSpPr>
              <a:spLocks/>
            </p:cNvSpPr>
            <p:nvPr/>
          </p:nvSpPr>
          <p:spPr>
            <a:xfrm>
              <a:off x="4367761" y="2484596"/>
              <a:ext cx="154841" cy="174783"/>
            </a:xfrm>
            <a:custGeom>
              <a:avLst/>
              <a:gdLst>
                <a:gd name="connsiteX0" fmla="*/ 149142 w 154841"/>
                <a:gd name="connsiteY0" fmla="*/ 77629 h 174783"/>
                <a:gd name="connsiteX1" fmla="*/ 17099 w 154841"/>
                <a:gd name="connsiteY1" fmla="*/ 1429 h 174783"/>
                <a:gd name="connsiteX2" fmla="*/ 5700 w 154841"/>
                <a:gd name="connsiteY2" fmla="*/ 1429 h 174783"/>
                <a:gd name="connsiteX3" fmla="*/ 0 w 154841"/>
                <a:gd name="connsiteY3" fmla="*/ 10954 h 174783"/>
                <a:gd name="connsiteX4" fmla="*/ 0 w 154841"/>
                <a:gd name="connsiteY4" fmla="*/ 163354 h 174783"/>
                <a:gd name="connsiteX5" fmla="*/ 5700 w 154841"/>
                <a:gd name="connsiteY5" fmla="*/ 172879 h 174783"/>
                <a:gd name="connsiteX6" fmla="*/ 11399 w 154841"/>
                <a:gd name="connsiteY6" fmla="*/ 174784 h 174783"/>
                <a:gd name="connsiteX7" fmla="*/ 17099 w 154841"/>
                <a:gd name="connsiteY7" fmla="*/ 172879 h 174783"/>
                <a:gd name="connsiteX8" fmla="*/ 149142 w 154841"/>
                <a:gd name="connsiteY8" fmla="*/ 96679 h 174783"/>
                <a:gd name="connsiteX9" fmla="*/ 154841 w 154841"/>
                <a:gd name="connsiteY9" fmla="*/ 87154 h 174783"/>
                <a:gd name="connsiteX10" fmla="*/ 149142 w 154841"/>
                <a:gd name="connsiteY10" fmla="*/ 77629 h 17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4841" h="174783">
                  <a:moveTo>
                    <a:pt x="149142" y="77629"/>
                  </a:moveTo>
                  <a:lnTo>
                    <a:pt x="17099" y="1429"/>
                  </a:lnTo>
                  <a:cubicBezTo>
                    <a:pt x="13299" y="-476"/>
                    <a:pt x="9499" y="-476"/>
                    <a:pt x="5700" y="1429"/>
                  </a:cubicBezTo>
                  <a:cubicBezTo>
                    <a:pt x="1900" y="3334"/>
                    <a:pt x="0" y="7144"/>
                    <a:pt x="0" y="10954"/>
                  </a:cubicBezTo>
                  <a:lnTo>
                    <a:pt x="0" y="163354"/>
                  </a:lnTo>
                  <a:cubicBezTo>
                    <a:pt x="0" y="167164"/>
                    <a:pt x="1900" y="170974"/>
                    <a:pt x="5700" y="172879"/>
                  </a:cubicBezTo>
                  <a:cubicBezTo>
                    <a:pt x="7600" y="173831"/>
                    <a:pt x="9499" y="174784"/>
                    <a:pt x="11399" y="174784"/>
                  </a:cubicBezTo>
                  <a:cubicBezTo>
                    <a:pt x="13299" y="174784"/>
                    <a:pt x="15199" y="173831"/>
                    <a:pt x="17099" y="172879"/>
                  </a:cubicBezTo>
                  <a:lnTo>
                    <a:pt x="149142" y="96679"/>
                  </a:lnTo>
                  <a:cubicBezTo>
                    <a:pt x="152941" y="94774"/>
                    <a:pt x="154841" y="90964"/>
                    <a:pt x="154841" y="87154"/>
                  </a:cubicBezTo>
                  <a:cubicBezTo>
                    <a:pt x="154841" y="83344"/>
                    <a:pt x="152941" y="79534"/>
                    <a:pt x="149142" y="77629"/>
                  </a:cubicBezTo>
                  <a:close/>
                </a:path>
              </a:pathLst>
            </a:custGeom>
            <a:solidFill>
              <a:srgbClr val="00DCAA"/>
            </a:solidFill>
            <a:ln w="94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</p:grpSp>
      <p:grpSp>
        <p:nvGrpSpPr>
          <p:cNvPr id="123" name="Gráfico 44">
            <a:extLst>
              <a:ext uri="{FF2B5EF4-FFF2-40B4-BE49-F238E27FC236}">
                <a16:creationId xmlns:a16="http://schemas.microsoft.com/office/drawing/2014/main" id="{CE18DD97-38DB-59ED-D9D8-A7BE6C5DA80F}"/>
              </a:ext>
            </a:extLst>
          </p:cNvPr>
          <p:cNvGrpSpPr/>
          <p:nvPr/>
        </p:nvGrpSpPr>
        <p:grpSpPr>
          <a:xfrm>
            <a:off x="4162100" y="3782551"/>
            <a:ext cx="883184" cy="202610"/>
            <a:chOff x="442389" y="2050732"/>
            <a:chExt cx="4521517" cy="1037272"/>
          </a:xfrm>
          <a:solidFill>
            <a:srgbClr val="00B8EB"/>
          </a:solidFill>
        </p:grpSpPr>
        <p:sp>
          <p:nvSpPr>
            <p:cNvPr id="124" name="Forma libre 108">
              <a:extLst>
                <a:ext uri="{FF2B5EF4-FFF2-40B4-BE49-F238E27FC236}">
                  <a16:creationId xmlns:a16="http://schemas.microsoft.com/office/drawing/2014/main" id="{F33CD6F6-0618-8F9E-54A2-F29E6E245B61}"/>
                </a:ext>
              </a:extLst>
            </p:cNvPr>
            <p:cNvSpPr/>
            <p:nvPr/>
          </p:nvSpPr>
          <p:spPr>
            <a:xfrm>
              <a:off x="1107234" y="225456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solidFill>
              <a:srgbClr val="00B8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25" name="Forma libre 109">
              <a:extLst>
                <a:ext uri="{FF2B5EF4-FFF2-40B4-BE49-F238E27FC236}">
                  <a16:creationId xmlns:a16="http://schemas.microsoft.com/office/drawing/2014/main" id="{06C8EB8C-34B5-4887-8463-19A9D27E47AF}"/>
                </a:ext>
              </a:extLst>
            </p:cNvPr>
            <p:cNvSpPr/>
            <p:nvPr/>
          </p:nvSpPr>
          <p:spPr>
            <a:xfrm>
              <a:off x="2718864" y="225456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solidFill>
              <a:srgbClr val="00B8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26" name="Forma libre 110">
              <a:extLst>
                <a:ext uri="{FF2B5EF4-FFF2-40B4-BE49-F238E27FC236}">
                  <a16:creationId xmlns:a16="http://schemas.microsoft.com/office/drawing/2014/main" id="{74EA3116-D136-B71D-10CD-38C074878289}"/>
                </a:ext>
              </a:extLst>
            </p:cNvPr>
            <p:cNvSpPr/>
            <p:nvPr/>
          </p:nvSpPr>
          <p:spPr>
            <a:xfrm>
              <a:off x="442389" y="225266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solidFill>
              <a:srgbClr val="00B8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27" name="Forma libre 111">
              <a:extLst>
                <a:ext uri="{FF2B5EF4-FFF2-40B4-BE49-F238E27FC236}">
                  <a16:creationId xmlns:a16="http://schemas.microsoft.com/office/drawing/2014/main" id="{60826E1A-CDB5-72A2-0246-5ED0C3271CE6}"/>
                </a:ext>
              </a:extLst>
            </p:cNvPr>
            <p:cNvSpPr/>
            <p:nvPr/>
          </p:nvSpPr>
          <p:spPr>
            <a:xfrm>
              <a:off x="1785414" y="226980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solidFill>
              <a:srgbClr val="00B8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28" name="Forma libre 112">
              <a:extLst>
                <a:ext uri="{FF2B5EF4-FFF2-40B4-BE49-F238E27FC236}">
                  <a16:creationId xmlns:a16="http://schemas.microsoft.com/office/drawing/2014/main" id="{A01FDE36-0375-CFBE-9DAB-2356A7506A37}"/>
                </a:ext>
              </a:extLst>
            </p:cNvPr>
            <p:cNvSpPr/>
            <p:nvPr/>
          </p:nvSpPr>
          <p:spPr>
            <a:xfrm>
              <a:off x="2134981" y="225171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solidFill>
              <a:srgbClr val="00B8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29" name="Forma libre 113">
              <a:extLst>
                <a:ext uri="{FF2B5EF4-FFF2-40B4-BE49-F238E27FC236}">
                  <a16:creationId xmlns:a16="http://schemas.microsoft.com/office/drawing/2014/main" id="{3978D992-4FBE-3584-B16B-442BDA9866AD}"/>
                </a:ext>
              </a:extLst>
            </p:cNvPr>
            <p:cNvSpPr/>
            <p:nvPr/>
          </p:nvSpPr>
          <p:spPr>
            <a:xfrm>
              <a:off x="3438002" y="225456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solidFill>
              <a:srgbClr val="00B8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30" name="Forma libre 114">
              <a:extLst>
                <a:ext uri="{FF2B5EF4-FFF2-40B4-BE49-F238E27FC236}">
                  <a16:creationId xmlns:a16="http://schemas.microsoft.com/office/drawing/2014/main" id="{118BA10B-67E9-2435-58CF-B6B61117F52D}"/>
                </a:ext>
              </a:extLst>
            </p:cNvPr>
            <p:cNvSpPr/>
            <p:nvPr/>
          </p:nvSpPr>
          <p:spPr>
            <a:xfrm>
              <a:off x="4062841" y="225361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solidFill>
              <a:srgbClr val="00B8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  <p:sp>
          <p:nvSpPr>
            <p:cNvPr id="131" name="Forma libre 115">
              <a:extLst>
                <a:ext uri="{FF2B5EF4-FFF2-40B4-BE49-F238E27FC236}">
                  <a16:creationId xmlns:a16="http://schemas.microsoft.com/office/drawing/2014/main" id="{70B0F3CD-71B6-342B-89BA-B4E20018E67A}"/>
                </a:ext>
              </a:extLst>
            </p:cNvPr>
            <p:cNvSpPr/>
            <p:nvPr/>
          </p:nvSpPr>
          <p:spPr>
            <a:xfrm>
              <a:off x="4730544" y="205073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solidFill>
              <a:srgbClr val="00B8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>
                <a:latin typeface="Pulso" pitchFamily="2" charset="0"/>
              </a:endParaRPr>
            </a:p>
          </p:txBody>
        </p:sp>
      </p:grpSp>
      <p:sp>
        <p:nvSpPr>
          <p:cNvPr id="47" name="CuadroTexto 46">
            <a:extLst>
              <a:ext uri="{FF2B5EF4-FFF2-40B4-BE49-F238E27FC236}">
                <a16:creationId xmlns:a16="http://schemas.microsoft.com/office/drawing/2014/main" id="{D6DBF9B4-C324-F535-A848-F0E92248A57A}"/>
              </a:ext>
            </a:extLst>
          </p:cNvPr>
          <p:cNvSpPr txBox="1"/>
          <p:nvPr/>
        </p:nvSpPr>
        <p:spPr>
          <a:xfrm>
            <a:off x="4329068" y="4718153"/>
            <a:ext cx="4428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s-ES" sz="1050">
                <a:solidFill>
                  <a:prstClr val="black"/>
                </a:solidFill>
                <a:latin typeface="Pulso" pitchFamily="2" charset="0"/>
              </a:rPr>
              <a:t>“L</a:t>
            </a:r>
            <a:r>
              <a:rPr lang="es-MX" sz="1050" err="1">
                <a:solidFill>
                  <a:prstClr val="black"/>
                </a:solidFill>
                <a:latin typeface="Pulso" pitchFamily="2" charset="0"/>
              </a:rPr>
              <a:t>iderar</a:t>
            </a:r>
            <a:r>
              <a:rPr lang="es-MX" sz="1050">
                <a:solidFill>
                  <a:prstClr val="black"/>
                </a:solidFill>
                <a:latin typeface="Pulso" pitchFamily="2" charset="0"/>
              </a:rPr>
              <a:t> el NPS de la industria</a:t>
            </a:r>
            <a:r>
              <a:rPr lang="es-ES" sz="1050">
                <a:solidFill>
                  <a:prstClr val="black"/>
                </a:solidFill>
                <a:latin typeface="Pulso" pitchFamily="2" charset="0"/>
              </a:rPr>
              <a:t>”</a:t>
            </a:r>
            <a:endParaRPr lang="es-PY" sz="1050" b="1">
              <a:solidFill>
                <a:prstClr val="black"/>
              </a:solidFill>
              <a:latin typeface="Pulso" pitchFamily="2" charset="0"/>
            </a:endParaRPr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E0DA88D6-9372-065E-8F7D-C6E3C1E99548}"/>
              </a:ext>
            </a:extLst>
          </p:cNvPr>
          <p:cNvGrpSpPr/>
          <p:nvPr/>
        </p:nvGrpSpPr>
        <p:grpSpPr>
          <a:xfrm>
            <a:off x="3721814" y="1161577"/>
            <a:ext cx="1866200" cy="1088516"/>
            <a:chOff x="4848039" y="999507"/>
            <a:chExt cx="1866200" cy="1088516"/>
          </a:xfrm>
        </p:grpSpPr>
        <p:graphicFrame>
          <p:nvGraphicFramePr>
            <p:cNvPr id="100" name="81 Gráfico">
              <a:extLst>
                <a:ext uri="{FF2B5EF4-FFF2-40B4-BE49-F238E27FC236}">
                  <a16:creationId xmlns:a16="http://schemas.microsoft.com/office/drawing/2014/main" id="{808ED50F-ED01-7C8A-1A46-FBB80873D99C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609390706"/>
                </p:ext>
              </p:extLst>
            </p:nvPr>
          </p:nvGraphicFramePr>
          <p:xfrm>
            <a:off x="4848039" y="1111508"/>
            <a:ext cx="1866200" cy="97651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6" name="CuadroTexto 15">
              <a:extLst>
                <a:ext uri="{FF2B5EF4-FFF2-40B4-BE49-F238E27FC236}">
                  <a16:creationId xmlns:a16="http://schemas.microsoft.com/office/drawing/2014/main" id="{128D68BC-F4D0-2138-E59E-65BA6AF375E9}"/>
                </a:ext>
              </a:extLst>
            </p:cNvPr>
            <p:cNvSpPr txBox="1"/>
            <p:nvPr/>
          </p:nvSpPr>
          <p:spPr>
            <a:xfrm>
              <a:off x="5447439" y="999507"/>
              <a:ext cx="61938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2800" b="1">
                  <a:solidFill>
                    <a:srgbClr val="B989F9"/>
                  </a:solidFill>
                  <a:latin typeface="Pulso" pitchFamily="2" charset="0"/>
                  <a:ea typeface="Roboto" panose="02000000000000000000" pitchFamily="2" charset="0"/>
                </a:defRPr>
              </a:lvl1pPr>
            </a:lstStyle>
            <a:p>
              <a:pPr algn="ctr"/>
              <a:r>
                <a:rPr lang="es-AR" sz="900" b="0">
                  <a:solidFill>
                    <a:srgbClr val="FFFFFF"/>
                  </a:solidFill>
                  <a:ea typeface="Roboto Medium" panose="02000000000000000000" pitchFamily="2" charset="0"/>
                </a:rPr>
                <a:t>Ingresos</a:t>
              </a:r>
            </a:p>
          </p:txBody>
        </p:sp>
      </p:grpSp>
      <p:grpSp>
        <p:nvGrpSpPr>
          <p:cNvPr id="25" name="Grupo 24">
            <a:extLst>
              <a:ext uri="{FF2B5EF4-FFF2-40B4-BE49-F238E27FC236}">
                <a16:creationId xmlns:a16="http://schemas.microsoft.com/office/drawing/2014/main" id="{0DA7DE1A-3E89-8213-52F5-BA3299BB1D08}"/>
              </a:ext>
            </a:extLst>
          </p:cNvPr>
          <p:cNvGrpSpPr/>
          <p:nvPr/>
        </p:nvGrpSpPr>
        <p:grpSpPr>
          <a:xfrm>
            <a:off x="3721814" y="2171499"/>
            <a:ext cx="1866200" cy="1026681"/>
            <a:chOff x="4253129" y="2886040"/>
            <a:chExt cx="1866200" cy="1026681"/>
          </a:xfrm>
        </p:grpSpPr>
        <p:graphicFrame>
          <p:nvGraphicFramePr>
            <p:cNvPr id="96" name="81 Gráfico">
              <a:extLst>
                <a:ext uri="{FF2B5EF4-FFF2-40B4-BE49-F238E27FC236}">
                  <a16:creationId xmlns:a16="http://schemas.microsoft.com/office/drawing/2014/main" id="{A5002847-CDDD-C986-ACD6-BAFEB06F061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273662559"/>
                </p:ext>
              </p:extLst>
            </p:nvPr>
          </p:nvGraphicFramePr>
          <p:xfrm>
            <a:off x="4253129" y="3091528"/>
            <a:ext cx="1866200" cy="82119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136A5093-61AC-09E5-263E-992ED8C35E6E}"/>
                </a:ext>
              </a:extLst>
            </p:cNvPr>
            <p:cNvSpPr txBox="1"/>
            <p:nvPr/>
          </p:nvSpPr>
          <p:spPr>
            <a:xfrm>
              <a:off x="4876539" y="2886040"/>
              <a:ext cx="61938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2800" b="1">
                  <a:solidFill>
                    <a:srgbClr val="B989F9"/>
                  </a:solidFill>
                  <a:latin typeface="Pulso" pitchFamily="2" charset="0"/>
                  <a:ea typeface="Roboto" panose="02000000000000000000" pitchFamily="2" charset="0"/>
                </a:defRPr>
              </a:lvl1pPr>
            </a:lstStyle>
            <a:p>
              <a:pPr algn="ctr"/>
              <a:r>
                <a:rPr lang="es-AR" sz="900" b="0">
                  <a:solidFill>
                    <a:srgbClr val="FFFFFF"/>
                  </a:solidFill>
                  <a:ea typeface="Roboto Medium" panose="02000000000000000000" pitchFamily="2" charset="0"/>
                </a:rPr>
                <a:t>EBITDA</a:t>
              </a:r>
            </a:p>
          </p:txBody>
        </p:sp>
      </p:grpSp>
      <p:sp>
        <p:nvSpPr>
          <p:cNvPr id="36" name="Rectángulo: esquinas redondeadas 13">
            <a:extLst>
              <a:ext uri="{FF2B5EF4-FFF2-40B4-BE49-F238E27FC236}">
                <a16:creationId xmlns:a16="http://schemas.microsoft.com/office/drawing/2014/main" id="{C254B440-DD18-20DE-C8CA-B2589B37A83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auto">
          <a:xfrm>
            <a:off x="5816797" y="697723"/>
            <a:ext cx="2549281" cy="2500457"/>
          </a:xfrm>
          <a:prstGeom prst="roundRect">
            <a:avLst>
              <a:gd name="adj" fmla="val 2699"/>
            </a:avLst>
          </a:prstGeom>
          <a:solidFill>
            <a:schemeClr val="bg2"/>
          </a:soli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02"/>
            <a:endParaRPr lang="es-AR" sz="1187">
              <a:solidFill>
                <a:srgbClr val="F0F0F0"/>
              </a:solidFill>
              <a:latin typeface="Pulso" pitchFamily="2" charset="0"/>
              <a:ea typeface="Roboto" panose="02000000000000000000" pitchFamily="2" charset="0"/>
            </a:endParaRP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2C789467-82F3-DD38-BED8-7DFFE0B28642}"/>
              </a:ext>
            </a:extLst>
          </p:cNvPr>
          <p:cNvSpPr txBox="1"/>
          <p:nvPr/>
        </p:nvSpPr>
        <p:spPr>
          <a:xfrm>
            <a:off x="5990500" y="794066"/>
            <a:ext cx="2201875" cy="23146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800"/>
              </a:spcAft>
              <a:defRPr/>
            </a:pPr>
            <a:r>
              <a:rPr lang="es-AR" sz="1200">
                <a:solidFill>
                  <a:srgbClr val="FFFFFF"/>
                </a:solidFill>
                <a:latin typeface="Pulso" pitchFamily="2" charset="0"/>
                <a:ea typeface="Roboto Medium" panose="02000000000000000000" pitchFamily="2" charset="0"/>
              </a:rPr>
              <a:t>Desafío</a:t>
            </a:r>
          </a:p>
          <a:p>
            <a:pPr algn="ctr" defTabSz="685800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s-ES" sz="900">
                <a:solidFill>
                  <a:srgbClr val="FFFFFF"/>
                </a:solidFill>
                <a:latin typeface="Pulso Light" pitchFamily="2" charset="0"/>
              </a:rPr>
              <a:t>“Consolidar el liderazgo en el Hogar con la mejor red de Fibra del país, entretenimiento y </a:t>
            </a:r>
            <a:r>
              <a:rPr lang="es-ES" sz="900" err="1">
                <a:solidFill>
                  <a:srgbClr val="FFFFFF"/>
                </a:solidFill>
                <a:latin typeface="Pulso Light" pitchFamily="2" charset="0"/>
              </a:rPr>
              <a:t>smart</a:t>
            </a:r>
            <a:r>
              <a:rPr lang="es-ES" sz="900">
                <a:solidFill>
                  <a:srgbClr val="FFFFFF"/>
                </a:solidFill>
                <a:latin typeface="Pulso Light" pitchFamily="2" charset="0"/>
              </a:rPr>
              <a:t> home, apalancados en clientes </a:t>
            </a:r>
            <a:r>
              <a:rPr lang="es-ES" sz="900" err="1">
                <a:solidFill>
                  <a:srgbClr val="FFFFFF"/>
                </a:solidFill>
                <a:latin typeface="Pulso Light" pitchFamily="2" charset="0"/>
              </a:rPr>
              <a:t>n’s</a:t>
            </a:r>
            <a:r>
              <a:rPr lang="es-ES" sz="900">
                <a:solidFill>
                  <a:srgbClr val="FFFFFF"/>
                </a:solidFill>
                <a:latin typeface="Pulso Light" pitchFamily="2" charset="0"/>
              </a:rPr>
              <a:t> play.”</a:t>
            </a:r>
          </a:p>
          <a:p>
            <a:pPr algn="ctr" defTabSz="685800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s-ES" sz="900">
                <a:solidFill>
                  <a:srgbClr val="FFFFFF"/>
                </a:solidFill>
                <a:latin typeface="Pulso Light" pitchFamily="2" charset="0"/>
              </a:rPr>
              <a:t>“M</a:t>
            </a:r>
            <a:r>
              <a:rPr lang="es-MX" sz="900">
                <a:solidFill>
                  <a:srgbClr val="FFFFFF"/>
                </a:solidFill>
                <a:latin typeface="Pulso Light" pitchFamily="2" charset="0"/>
              </a:rPr>
              <a:t>antener calidad y crecimiento en el segmento Móvil.</a:t>
            </a:r>
            <a:r>
              <a:rPr lang="es-ES" sz="900">
                <a:solidFill>
                  <a:srgbClr val="FFFFFF"/>
                </a:solidFill>
                <a:latin typeface="Pulso Light" pitchFamily="2" charset="0"/>
              </a:rPr>
              <a:t>”</a:t>
            </a:r>
          </a:p>
          <a:p>
            <a:pPr algn="ctr" defTabSz="685800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s-ES" sz="900">
                <a:solidFill>
                  <a:srgbClr val="FFFFFF"/>
                </a:solidFill>
                <a:latin typeface="Pulso Light" pitchFamily="2" charset="0"/>
              </a:rPr>
              <a:t>“Continuar el proceso de </a:t>
            </a:r>
            <a:r>
              <a:rPr lang="es-MX" sz="900">
                <a:solidFill>
                  <a:srgbClr val="FFFFFF"/>
                </a:solidFill>
                <a:latin typeface="Pulso Light" pitchFamily="2" charset="0"/>
              </a:rPr>
              <a:t>digitalización de cara al cliente externo e interno con el objetivo de lograr mayor eficiencia.</a:t>
            </a:r>
            <a:r>
              <a:rPr lang="es-ES" sz="900">
                <a:solidFill>
                  <a:srgbClr val="FFFFFF"/>
                </a:solidFill>
                <a:latin typeface="Pulso Light" pitchFamily="2" charset="0"/>
              </a:rPr>
              <a:t>”</a:t>
            </a:r>
          </a:p>
          <a:p>
            <a:pPr algn="ctr" defTabSz="685800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s-ES" sz="900">
                <a:solidFill>
                  <a:srgbClr val="FFFFFF"/>
                </a:solidFill>
                <a:latin typeface="Pulso Light" pitchFamily="2" charset="0"/>
              </a:rPr>
              <a:t>“C</a:t>
            </a:r>
            <a:r>
              <a:rPr lang="es-MX" sz="900">
                <a:solidFill>
                  <a:srgbClr val="FFFFFF"/>
                </a:solidFill>
                <a:latin typeface="Pulso Light" pitchFamily="2" charset="0"/>
              </a:rPr>
              <a:t>recer en la participación del mercado B2B desarrollando el segmento con nuevos productos y servicios</a:t>
            </a:r>
            <a:r>
              <a:rPr lang="es-ES" sz="900">
                <a:solidFill>
                  <a:srgbClr val="FFFFFF"/>
                </a:solidFill>
                <a:latin typeface="Pulso Light" pitchFamily="2" charset="0"/>
              </a:rPr>
              <a:t>”</a:t>
            </a:r>
            <a:endParaRPr lang="es-PY" sz="900">
              <a:solidFill>
                <a:srgbClr val="FFFFFF"/>
              </a:solidFill>
              <a:latin typeface="Pulso Light" pitchFamily="2" charset="0"/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BF3D55B5-36E5-40C1-8F86-5CC3312C7362}"/>
              </a:ext>
            </a:extLst>
          </p:cNvPr>
          <p:cNvSpPr txBox="1">
            <a:spLocks/>
          </p:cNvSpPr>
          <p:nvPr/>
        </p:nvSpPr>
        <p:spPr>
          <a:xfrm>
            <a:off x="5549112" y="3428550"/>
            <a:ext cx="9105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B989F9"/>
                </a:solidFill>
                <a:latin typeface="Pulso" pitchFamily="2" charset="0"/>
                <a:ea typeface="Roboto" panose="02000000000000000000" pitchFamily="2" charset="0"/>
              </a:defRPr>
            </a:lvl1pPr>
          </a:lstStyle>
          <a:p>
            <a:pPr defTabSz="435426">
              <a:defRPr/>
            </a:pPr>
            <a:r>
              <a:rPr lang="es-AR" sz="1200" b="0">
                <a:solidFill>
                  <a:schemeClr val="tx2"/>
                </a:solidFill>
                <a:ea typeface="Roboto Medium" panose="02000000000000000000" pitchFamily="2" charset="0"/>
              </a:rPr>
              <a:t>Suscriptores</a:t>
            </a:r>
          </a:p>
        </p:txBody>
      </p:sp>
      <p:sp>
        <p:nvSpPr>
          <p:cNvPr id="66" name="Redondear rectángulo de esquina del mismo lado 53">
            <a:extLst>
              <a:ext uri="{FF2B5EF4-FFF2-40B4-BE49-F238E27FC236}">
                <a16:creationId xmlns:a16="http://schemas.microsoft.com/office/drawing/2014/main" id="{8ACE7002-C492-6B84-A41F-83848215F753}"/>
              </a:ext>
            </a:extLst>
          </p:cNvPr>
          <p:cNvSpPr/>
          <p:nvPr/>
        </p:nvSpPr>
        <p:spPr>
          <a:xfrm rot="5400000">
            <a:off x="2244442" y="1603097"/>
            <a:ext cx="420680" cy="2096286"/>
          </a:xfrm>
          <a:prstGeom prst="round2SameRect">
            <a:avLst>
              <a:gd name="adj1" fmla="val 15747"/>
              <a:gd name="adj2" fmla="val 0"/>
            </a:avLst>
          </a:prstGeom>
          <a:gradFill>
            <a:gsLst>
              <a:gs pos="40000">
                <a:srgbClr val="FFFFFF"/>
              </a:gs>
              <a:gs pos="100000">
                <a:srgbClr val="F0F0F0">
                  <a:alpha val="0"/>
                </a:srgbClr>
              </a:gs>
            </a:gsLst>
            <a:lin ang="5400000" scaled="0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563"/>
              </a:spcBef>
            </a:pPr>
            <a:endParaRPr lang="es-AR" sz="825" b="1">
              <a:solidFill>
                <a:schemeClr val="tx1"/>
              </a:solidFill>
            </a:endParaRPr>
          </a:p>
        </p:txBody>
      </p:sp>
      <p:grpSp>
        <p:nvGrpSpPr>
          <p:cNvPr id="70" name="Grupo 69">
            <a:extLst>
              <a:ext uri="{FF2B5EF4-FFF2-40B4-BE49-F238E27FC236}">
                <a16:creationId xmlns:a16="http://schemas.microsoft.com/office/drawing/2014/main" id="{BCBDBB36-6A67-3D2B-5F04-76FE38B7423C}"/>
              </a:ext>
            </a:extLst>
          </p:cNvPr>
          <p:cNvGrpSpPr/>
          <p:nvPr/>
        </p:nvGrpSpPr>
        <p:grpSpPr>
          <a:xfrm>
            <a:off x="2608774" y="2259966"/>
            <a:ext cx="736786" cy="943300"/>
            <a:chOff x="6375842" y="-15452"/>
            <a:chExt cx="540000" cy="691359"/>
          </a:xfrm>
        </p:grpSpPr>
        <p:sp>
          <p:nvSpPr>
            <p:cNvPr id="71" name="CuadroTexto 70">
              <a:extLst>
                <a:ext uri="{FF2B5EF4-FFF2-40B4-BE49-F238E27FC236}">
                  <a16:creationId xmlns:a16="http://schemas.microsoft.com/office/drawing/2014/main" id="{92944F63-BB50-AD5A-2B82-7CE8A8BC2B9D}"/>
                </a:ext>
              </a:extLst>
            </p:cNvPr>
            <p:cNvSpPr txBox="1"/>
            <p:nvPr/>
          </p:nvSpPr>
          <p:spPr>
            <a:xfrm>
              <a:off x="6415093" y="551842"/>
              <a:ext cx="467595" cy="1240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435426">
                <a:defRPr/>
              </a:pPr>
              <a:r>
                <a:rPr lang="es-AR" sz="1100" b="1">
                  <a:solidFill>
                    <a:schemeClr val="tx2"/>
                  </a:solidFill>
                  <a:latin typeface="Pulso" pitchFamily="2" charset="0"/>
                  <a:ea typeface="Roboto Medium" panose="02000000000000000000" pitchFamily="2" charset="0"/>
                  <a:cs typeface="Roboto" panose="02000000000000000000" pitchFamily="2" charset="0"/>
                </a:rPr>
                <a:t>Paraguay</a:t>
              </a:r>
            </a:p>
          </p:txBody>
        </p:sp>
        <p:pic>
          <p:nvPicPr>
            <p:cNvPr id="72" name="Imagen 71">
              <a:extLst>
                <a:ext uri="{FF2B5EF4-FFF2-40B4-BE49-F238E27FC236}">
                  <a16:creationId xmlns:a16="http://schemas.microsoft.com/office/drawing/2014/main" id="{B6440389-5C77-312F-3AEF-F0E38ADB40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375842" y="-15452"/>
              <a:ext cx="540000" cy="5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282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498522-146E-08D3-2B55-102ECED343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: esquinas redondeadas 13">
            <a:extLst>
              <a:ext uri="{FF2B5EF4-FFF2-40B4-BE49-F238E27FC236}">
                <a16:creationId xmlns:a16="http://schemas.microsoft.com/office/drawing/2014/main" id="{3EF44334-8DB5-6DBE-5A08-B1D16F5A01EB}"/>
              </a:ext>
            </a:extLst>
          </p:cNvPr>
          <p:cNvSpPr>
            <a:spLocks/>
          </p:cNvSpPr>
          <p:nvPr/>
        </p:nvSpPr>
        <p:spPr bwMode="auto">
          <a:xfrm>
            <a:off x="5816798" y="1647571"/>
            <a:ext cx="2016223" cy="2500457"/>
          </a:xfrm>
          <a:prstGeom prst="roundRect">
            <a:avLst>
              <a:gd name="adj" fmla="val 3601"/>
            </a:avLst>
          </a:prstGeom>
          <a:solidFill>
            <a:srgbClr val="FFFFFF"/>
          </a:soli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02"/>
            <a:endParaRPr lang="es-AR" sz="1187">
              <a:solidFill>
                <a:srgbClr val="F0F0F0"/>
              </a:solidFill>
              <a:latin typeface="Pulso" pitchFamily="2" charset="0"/>
              <a:ea typeface="Roboto" panose="02000000000000000000" pitchFamily="2" charset="0"/>
            </a:endParaRPr>
          </a:p>
        </p:txBody>
      </p:sp>
      <p:sp>
        <p:nvSpPr>
          <p:cNvPr id="14" name="Rectángulo: esquinas redondeadas 13">
            <a:extLst>
              <a:ext uri="{FF2B5EF4-FFF2-40B4-BE49-F238E27FC236}">
                <a16:creationId xmlns:a16="http://schemas.microsoft.com/office/drawing/2014/main" id="{F9B9F3D9-DE88-D5FC-8BCE-BAC7074BEA78}"/>
              </a:ext>
            </a:extLst>
          </p:cNvPr>
          <p:cNvSpPr>
            <a:spLocks/>
          </p:cNvSpPr>
          <p:nvPr/>
        </p:nvSpPr>
        <p:spPr bwMode="auto">
          <a:xfrm>
            <a:off x="3646803" y="1647571"/>
            <a:ext cx="2016223" cy="2500457"/>
          </a:xfrm>
          <a:prstGeom prst="roundRect">
            <a:avLst>
              <a:gd name="adj" fmla="val 3601"/>
            </a:avLst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02"/>
            <a:endParaRPr lang="es-AR" sz="1187">
              <a:solidFill>
                <a:srgbClr val="F0F0F0"/>
              </a:solidFill>
              <a:latin typeface="Pulso" pitchFamily="2" charset="0"/>
              <a:ea typeface="Roboto" panose="02000000000000000000" pitchFamily="2" charset="0"/>
            </a:endParaRPr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3FEEEB66-A865-216D-F8A2-D0726CBDC523}"/>
              </a:ext>
            </a:extLst>
          </p:cNvPr>
          <p:cNvGrpSpPr/>
          <p:nvPr/>
        </p:nvGrpSpPr>
        <p:grpSpPr>
          <a:xfrm>
            <a:off x="29744" y="987188"/>
            <a:ext cx="2593255" cy="3422821"/>
            <a:chOff x="2646658" y="3072772"/>
            <a:chExt cx="1060570" cy="1399840"/>
          </a:xfrm>
          <a:solidFill>
            <a:schemeClr val="bg1">
              <a:lumMod val="90000"/>
            </a:schemeClr>
          </a:solidFill>
        </p:grpSpPr>
        <p:sp>
          <p:nvSpPr>
            <p:cNvPr id="23" name="Forma libre 16">
              <a:extLst>
                <a:ext uri="{FF2B5EF4-FFF2-40B4-BE49-F238E27FC236}">
                  <a16:creationId xmlns:a16="http://schemas.microsoft.com/office/drawing/2014/main" id="{28E8D434-8A2A-182D-2744-62C305506E70}"/>
                </a:ext>
              </a:extLst>
            </p:cNvPr>
            <p:cNvSpPr/>
            <p:nvPr/>
          </p:nvSpPr>
          <p:spPr>
            <a:xfrm>
              <a:off x="2972185" y="3209872"/>
              <a:ext cx="735043" cy="758719"/>
            </a:xfrm>
            <a:custGeom>
              <a:avLst/>
              <a:gdLst>
                <a:gd name="connsiteX0" fmla="*/ 328527 w 615124"/>
                <a:gd name="connsiteY0" fmla="*/ 629504 h 634937"/>
                <a:gd name="connsiteX1" fmla="*/ 340164 w 615124"/>
                <a:gd name="connsiteY1" fmla="*/ 610101 h 634937"/>
                <a:gd name="connsiteX2" fmla="*/ 348698 w 615124"/>
                <a:gd name="connsiteY2" fmla="*/ 590697 h 634937"/>
                <a:gd name="connsiteX3" fmla="*/ 357231 w 615124"/>
                <a:gd name="connsiteY3" fmla="*/ 574398 h 634937"/>
                <a:gd name="connsiteX4" fmla="*/ 357231 w 615124"/>
                <a:gd name="connsiteY4" fmla="*/ 588369 h 634937"/>
                <a:gd name="connsiteX5" fmla="*/ 358007 w 615124"/>
                <a:gd name="connsiteY5" fmla="*/ 593802 h 634937"/>
                <a:gd name="connsiteX6" fmla="*/ 378178 w 615124"/>
                <a:gd name="connsiteY6" fmla="*/ 563532 h 634937"/>
                <a:gd name="connsiteX7" fmla="*/ 393694 w 615124"/>
                <a:gd name="connsiteY7" fmla="*/ 547233 h 634937"/>
                <a:gd name="connsiteX8" fmla="*/ 398349 w 615124"/>
                <a:gd name="connsiteY8" fmla="*/ 524725 h 634937"/>
                <a:gd name="connsiteX9" fmla="*/ 398349 w 615124"/>
                <a:gd name="connsiteY9" fmla="*/ 501440 h 634937"/>
                <a:gd name="connsiteX10" fmla="*/ 403003 w 615124"/>
                <a:gd name="connsiteY10" fmla="*/ 489798 h 634937"/>
                <a:gd name="connsiteX11" fmla="*/ 422398 w 615124"/>
                <a:gd name="connsiteY11" fmla="*/ 475051 h 634937"/>
                <a:gd name="connsiteX12" fmla="*/ 442569 w 615124"/>
                <a:gd name="connsiteY12" fmla="*/ 465738 h 634937"/>
                <a:gd name="connsiteX13" fmla="*/ 451103 w 615124"/>
                <a:gd name="connsiteY13" fmla="*/ 461081 h 634937"/>
                <a:gd name="connsiteX14" fmla="*/ 463516 w 615124"/>
                <a:gd name="connsiteY14" fmla="*/ 451767 h 634937"/>
                <a:gd name="connsiteX15" fmla="*/ 489117 w 615124"/>
                <a:gd name="connsiteY15" fmla="*/ 451767 h 634937"/>
                <a:gd name="connsiteX16" fmla="*/ 503081 w 615124"/>
                <a:gd name="connsiteY16" fmla="*/ 447110 h 634937"/>
                <a:gd name="connsiteX17" fmla="*/ 511615 w 615124"/>
                <a:gd name="connsiteY17" fmla="*/ 437796 h 634937"/>
                <a:gd name="connsiteX18" fmla="*/ 518597 w 615124"/>
                <a:gd name="connsiteY18" fmla="*/ 429259 h 634937"/>
                <a:gd name="connsiteX19" fmla="*/ 524803 w 615124"/>
                <a:gd name="connsiteY19" fmla="*/ 415288 h 634937"/>
                <a:gd name="connsiteX20" fmla="*/ 531010 w 615124"/>
                <a:gd name="connsiteY20" fmla="*/ 400541 h 634937"/>
                <a:gd name="connsiteX21" fmla="*/ 537216 w 615124"/>
                <a:gd name="connsiteY21" fmla="*/ 392004 h 634937"/>
                <a:gd name="connsiteX22" fmla="*/ 539543 w 615124"/>
                <a:gd name="connsiteY22" fmla="*/ 372600 h 634937"/>
                <a:gd name="connsiteX23" fmla="*/ 547301 w 615124"/>
                <a:gd name="connsiteY23" fmla="*/ 364063 h 634937"/>
                <a:gd name="connsiteX24" fmla="*/ 548853 w 615124"/>
                <a:gd name="connsiteY24" fmla="*/ 344659 h 634937"/>
                <a:gd name="connsiteX25" fmla="*/ 548853 w 615124"/>
                <a:gd name="connsiteY25" fmla="*/ 314389 h 634937"/>
                <a:gd name="connsiteX26" fmla="*/ 551956 w 615124"/>
                <a:gd name="connsiteY26" fmla="*/ 291881 h 634937"/>
                <a:gd name="connsiteX27" fmla="*/ 551180 w 615124"/>
                <a:gd name="connsiteY27" fmla="*/ 285672 h 634937"/>
                <a:gd name="connsiteX28" fmla="*/ 554284 w 615124"/>
                <a:gd name="connsiteY28" fmla="*/ 281015 h 634937"/>
                <a:gd name="connsiteX29" fmla="*/ 563593 w 615124"/>
                <a:gd name="connsiteY29" fmla="*/ 284119 h 634937"/>
                <a:gd name="connsiteX30" fmla="*/ 576006 w 615124"/>
                <a:gd name="connsiteY30" fmla="*/ 260059 h 634937"/>
                <a:gd name="connsiteX31" fmla="*/ 590746 w 615124"/>
                <a:gd name="connsiteY31" fmla="*/ 248417 h 634937"/>
                <a:gd name="connsiteX32" fmla="*/ 612469 w 615124"/>
                <a:gd name="connsiteY32" fmla="*/ 217371 h 634937"/>
                <a:gd name="connsiteX33" fmla="*/ 609365 w 615124"/>
                <a:gd name="connsiteY33" fmla="*/ 172354 h 634937"/>
                <a:gd name="connsiteX34" fmla="*/ 596177 w 615124"/>
                <a:gd name="connsiteY34" fmla="*/ 163041 h 634937"/>
                <a:gd name="connsiteX35" fmla="*/ 558938 w 615124"/>
                <a:gd name="connsiteY35" fmla="*/ 142861 h 634937"/>
                <a:gd name="connsiteX36" fmla="*/ 513166 w 615124"/>
                <a:gd name="connsiteY36" fmla="*/ 128890 h 634937"/>
                <a:gd name="connsiteX37" fmla="*/ 482135 w 615124"/>
                <a:gd name="connsiteY37" fmla="*/ 121905 h 634937"/>
                <a:gd name="connsiteX38" fmla="*/ 461964 w 615124"/>
                <a:gd name="connsiteY38" fmla="*/ 131995 h 634937"/>
                <a:gd name="connsiteX39" fmla="*/ 465067 w 615124"/>
                <a:gd name="connsiteY39" fmla="*/ 117248 h 634937"/>
                <a:gd name="connsiteX40" fmla="*/ 428605 w 615124"/>
                <a:gd name="connsiteY40" fmla="*/ 94740 h 634937"/>
                <a:gd name="connsiteX41" fmla="*/ 406107 w 615124"/>
                <a:gd name="connsiteY41" fmla="*/ 101725 h 634937"/>
                <a:gd name="connsiteX42" fmla="*/ 395245 w 615124"/>
                <a:gd name="connsiteY42" fmla="*/ 109486 h 634937"/>
                <a:gd name="connsiteX43" fmla="*/ 387487 w 615124"/>
                <a:gd name="connsiteY43" fmla="*/ 109486 h 634937"/>
                <a:gd name="connsiteX44" fmla="*/ 400676 w 615124"/>
                <a:gd name="connsiteY44" fmla="*/ 91635 h 634937"/>
                <a:gd name="connsiteX45" fmla="*/ 368868 w 615124"/>
                <a:gd name="connsiteY45" fmla="*/ 83097 h 634937"/>
                <a:gd name="connsiteX46" fmla="*/ 358783 w 615124"/>
                <a:gd name="connsiteY46" fmla="*/ 95516 h 634937"/>
                <a:gd name="connsiteX47" fmla="*/ 362662 w 615124"/>
                <a:gd name="connsiteY47" fmla="*/ 82321 h 634937"/>
                <a:gd name="connsiteX48" fmla="*/ 378178 w 615124"/>
                <a:gd name="connsiteY48" fmla="*/ 62918 h 634937"/>
                <a:gd name="connsiteX49" fmla="*/ 365765 w 615124"/>
                <a:gd name="connsiteY49" fmla="*/ 46619 h 634937"/>
                <a:gd name="connsiteX50" fmla="*/ 354904 w 615124"/>
                <a:gd name="connsiteY50" fmla="*/ 16349 h 634937"/>
                <a:gd name="connsiteX51" fmla="*/ 336285 w 615124"/>
                <a:gd name="connsiteY51" fmla="*/ 41186 h 634937"/>
                <a:gd name="connsiteX52" fmla="*/ 319993 w 615124"/>
                <a:gd name="connsiteY52" fmla="*/ 48171 h 634937"/>
                <a:gd name="connsiteX53" fmla="*/ 304477 w 615124"/>
                <a:gd name="connsiteY53" fmla="*/ 43514 h 634937"/>
                <a:gd name="connsiteX54" fmla="*/ 287410 w 615124"/>
                <a:gd name="connsiteY54" fmla="*/ 42738 h 634937"/>
                <a:gd name="connsiteX55" fmla="*/ 281203 w 615124"/>
                <a:gd name="connsiteY55" fmla="*/ 52828 h 634937"/>
                <a:gd name="connsiteX56" fmla="*/ 262584 w 615124"/>
                <a:gd name="connsiteY56" fmla="*/ 52052 h 634937"/>
                <a:gd name="connsiteX57" fmla="*/ 254826 w 615124"/>
                <a:gd name="connsiteY57" fmla="*/ 55932 h 634937"/>
                <a:gd name="connsiteX58" fmla="*/ 244741 w 615124"/>
                <a:gd name="connsiteY58" fmla="*/ 59813 h 634937"/>
                <a:gd name="connsiteX59" fmla="*/ 227673 w 615124"/>
                <a:gd name="connsiteY59" fmla="*/ 54380 h 634937"/>
                <a:gd name="connsiteX60" fmla="*/ 224570 w 615124"/>
                <a:gd name="connsiteY60" fmla="*/ 26439 h 634937"/>
                <a:gd name="connsiteX61" fmla="*/ 223019 w 615124"/>
                <a:gd name="connsiteY61" fmla="*/ 13244 h 634937"/>
                <a:gd name="connsiteX62" fmla="*/ 216812 w 615124"/>
                <a:gd name="connsiteY62" fmla="*/ 50 h 634937"/>
                <a:gd name="connsiteX63" fmla="*/ 206727 w 615124"/>
                <a:gd name="connsiteY63" fmla="*/ 8587 h 634937"/>
                <a:gd name="connsiteX64" fmla="*/ 187332 w 615124"/>
                <a:gd name="connsiteY64" fmla="*/ 16349 h 634937"/>
                <a:gd name="connsiteX65" fmla="*/ 176471 w 615124"/>
                <a:gd name="connsiteY65" fmla="*/ 22558 h 634937"/>
                <a:gd name="connsiteX66" fmla="*/ 170264 w 615124"/>
                <a:gd name="connsiteY66" fmla="*/ 21782 h 634937"/>
                <a:gd name="connsiteX67" fmla="*/ 156300 w 615124"/>
                <a:gd name="connsiteY67" fmla="*/ 17125 h 634937"/>
                <a:gd name="connsiteX68" fmla="*/ 146215 w 615124"/>
                <a:gd name="connsiteY68" fmla="*/ 18677 h 634937"/>
                <a:gd name="connsiteX69" fmla="*/ 152421 w 615124"/>
                <a:gd name="connsiteY69" fmla="*/ 30320 h 634937"/>
                <a:gd name="connsiteX70" fmla="*/ 156300 w 615124"/>
                <a:gd name="connsiteY70" fmla="*/ 40409 h 634937"/>
                <a:gd name="connsiteX71" fmla="*/ 164058 w 615124"/>
                <a:gd name="connsiteY71" fmla="*/ 41962 h 634937"/>
                <a:gd name="connsiteX72" fmla="*/ 162507 w 615124"/>
                <a:gd name="connsiteY72" fmla="*/ 48171 h 634937"/>
                <a:gd name="connsiteX73" fmla="*/ 153973 w 615124"/>
                <a:gd name="connsiteY73" fmla="*/ 56709 h 634937"/>
                <a:gd name="connsiteX74" fmla="*/ 143887 w 615124"/>
                <a:gd name="connsiteY74" fmla="*/ 62142 h 634937"/>
                <a:gd name="connsiteX75" fmla="*/ 133026 w 615124"/>
                <a:gd name="connsiteY75" fmla="*/ 67575 h 634937"/>
                <a:gd name="connsiteX76" fmla="*/ 124493 w 615124"/>
                <a:gd name="connsiteY76" fmla="*/ 69127 h 634937"/>
                <a:gd name="connsiteX77" fmla="*/ 115183 w 615124"/>
                <a:gd name="connsiteY77" fmla="*/ 65246 h 634937"/>
                <a:gd name="connsiteX78" fmla="*/ 103546 w 615124"/>
                <a:gd name="connsiteY78" fmla="*/ 49723 h 634937"/>
                <a:gd name="connsiteX79" fmla="*/ 88030 w 615124"/>
                <a:gd name="connsiteY79" fmla="*/ 54380 h 634937"/>
                <a:gd name="connsiteX80" fmla="*/ 64756 w 615124"/>
                <a:gd name="connsiteY80" fmla="*/ 55932 h 634937"/>
                <a:gd name="connsiteX81" fmla="*/ 68635 w 615124"/>
                <a:gd name="connsiteY81" fmla="*/ 64470 h 634937"/>
                <a:gd name="connsiteX82" fmla="*/ 71738 w 615124"/>
                <a:gd name="connsiteY82" fmla="*/ 70679 h 634937"/>
                <a:gd name="connsiteX83" fmla="*/ 60877 w 615124"/>
                <a:gd name="connsiteY83" fmla="*/ 79217 h 634937"/>
                <a:gd name="connsiteX84" fmla="*/ 70963 w 615124"/>
                <a:gd name="connsiteY84" fmla="*/ 104830 h 634937"/>
                <a:gd name="connsiteX85" fmla="*/ 67859 w 615124"/>
                <a:gd name="connsiteY85" fmla="*/ 125785 h 634937"/>
                <a:gd name="connsiteX86" fmla="*/ 61653 w 615124"/>
                <a:gd name="connsiteY86" fmla="*/ 146742 h 634937"/>
                <a:gd name="connsiteX87" fmla="*/ 48464 w 615124"/>
                <a:gd name="connsiteY87" fmla="*/ 147518 h 634937"/>
                <a:gd name="connsiteX88" fmla="*/ 29845 w 615124"/>
                <a:gd name="connsiteY88" fmla="*/ 154503 h 634937"/>
                <a:gd name="connsiteX89" fmla="*/ 15881 w 615124"/>
                <a:gd name="connsiteY89" fmla="*/ 163817 h 634937"/>
                <a:gd name="connsiteX90" fmla="*/ 10450 w 615124"/>
                <a:gd name="connsiteY90" fmla="*/ 178563 h 634937"/>
                <a:gd name="connsiteX91" fmla="*/ 3468 w 615124"/>
                <a:gd name="connsiteY91" fmla="*/ 187101 h 634937"/>
                <a:gd name="connsiteX92" fmla="*/ 1141 w 615124"/>
                <a:gd name="connsiteY92" fmla="*/ 197191 h 634937"/>
                <a:gd name="connsiteX93" fmla="*/ 5020 w 615124"/>
                <a:gd name="connsiteY93" fmla="*/ 210386 h 634937"/>
                <a:gd name="connsiteX94" fmla="*/ 11226 w 615124"/>
                <a:gd name="connsiteY94" fmla="*/ 223580 h 634937"/>
                <a:gd name="connsiteX95" fmla="*/ 18984 w 615124"/>
                <a:gd name="connsiteY95" fmla="*/ 229789 h 634937"/>
                <a:gd name="connsiteX96" fmla="*/ 27518 w 615124"/>
                <a:gd name="connsiteY96" fmla="*/ 238327 h 634937"/>
                <a:gd name="connsiteX97" fmla="*/ 43810 w 615124"/>
                <a:gd name="connsiteY97" fmla="*/ 235998 h 634937"/>
                <a:gd name="connsiteX98" fmla="*/ 50792 w 615124"/>
                <a:gd name="connsiteY98" fmla="*/ 234446 h 634937"/>
                <a:gd name="connsiteX99" fmla="*/ 54671 w 615124"/>
                <a:gd name="connsiteY99" fmla="*/ 254626 h 634937"/>
                <a:gd name="connsiteX100" fmla="*/ 74841 w 615124"/>
                <a:gd name="connsiteY100" fmla="*/ 255402 h 634937"/>
                <a:gd name="connsiteX101" fmla="*/ 88030 w 615124"/>
                <a:gd name="connsiteY101" fmla="*/ 252297 h 634937"/>
                <a:gd name="connsiteX102" fmla="*/ 101219 w 615124"/>
                <a:gd name="connsiteY102" fmla="*/ 245312 h 634937"/>
                <a:gd name="connsiteX103" fmla="*/ 119838 w 615124"/>
                <a:gd name="connsiteY103" fmla="*/ 236775 h 634937"/>
                <a:gd name="connsiteX104" fmla="*/ 134578 w 615124"/>
                <a:gd name="connsiteY104" fmla="*/ 237551 h 634937"/>
                <a:gd name="connsiteX105" fmla="*/ 140008 w 615124"/>
                <a:gd name="connsiteY105" fmla="*/ 267820 h 634937"/>
                <a:gd name="connsiteX106" fmla="*/ 158628 w 615124"/>
                <a:gd name="connsiteY106" fmla="*/ 278686 h 634937"/>
                <a:gd name="connsiteX107" fmla="*/ 169489 w 615124"/>
                <a:gd name="connsiteY107" fmla="*/ 281015 h 634937"/>
                <a:gd name="connsiteX108" fmla="*/ 175695 w 615124"/>
                <a:gd name="connsiteY108" fmla="*/ 286448 h 634937"/>
                <a:gd name="connsiteX109" fmla="*/ 188884 w 615124"/>
                <a:gd name="connsiteY109" fmla="*/ 292657 h 634937"/>
                <a:gd name="connsiteX110" fmla="*/ 205951 w 615124"/>
                <a:gd name="connsiteY110" fmla="*/ 296538 h 634937"/>
                <a:gd name="connsiteX111" fmla="*/ 212158 w 615124"/>
                <a:gd name="connsiteY111" fmla="*/ 307404 h 634937"/>
                <a:gd name="connsiteX112" fmla="*/ 214485 w 615124"/>
                <a:gd name="connsiteY112" fmla="*/ 319046 h 634937"/>
                <a:gd name="connsiteX113" fmla="*/ 216037 w 615124"/>
                <a:gd name="connsiteY113" fmla="*/ 332240 h 634937"/>
                <a:gd name="connsiteX114" fmla="*/ 233104 w 615124"/>
                <a:gd name="connsiteY114" fmla="*/ 340002 h 634937"/>
                <a:gd name="connsiteX115" fmla="*/ 246293 w 615124"/>
                <a:gd name="connsiteY115" fmla="*/ 347763 h 634937"/>
                <a:gd name="connsiteX116" fmla="*/ 255602 w 615124"/>
                <a:gd name="connsiteY116" fmla="*/ 363286 h 634937"/>
                <a:gd name="connsiteX117" fmla="*/ 254050 w 615124"/>
                <a:gd name="connsiteY117" fmla="*/ 383466 h 634937"/>
                <a:gd name="connsiteX118" fmla="*/ 249396 w 615124"/>
                <a:gd name="connsiteY118" fmla="*/ 394332 h 634937"/>
                <a:gd name="connsiteX119" fmla="*/ 250172 w 615124"/>
                <a:gd name="connsiteY119" fmla="*/ 402870 h 634937"/>
                <a:gd name="connsiteX120" fmla="*/ 253275 w 615124"/>
                <a:gd name="connsiteY120" fmla="*/ 422273 h 634937"/>
                <a:gd name="connsiteX121" fmla="*/ 261033 w 615124"/>
                <a:gd name="connsiteY121" fmla="*/ 434692 h 634937"/>
                <a:gd name="connsiteX122" fmla="*/ 274221 w 615124"/>
                <a:gd name="connsiteY122" fmla="*/ 436244 h 634937"/>
                <a:gd name="connsiteX123" fmla="*/ 285082 w 615124"/>
                <a:gd name="connsiteY123" fmla="*/ 449439 h 634937"/>
                <a:gd name="connsiteX124" fmla="*/ 292840 w 615124"/>
                <a:gd name="connsiteY124" fmla="*/ 466514 h 634937"/>
                <a:gd name="connsiteX125" fmla="*/ 306029 w 615124"/>
                <a:gd name="connsiteY125" fmla="*/ 463409 h 634937"/>
                <a:gd name="connsiteX126" fmla="*/ 304477 w 615124"/>
                <a:gd name="connsiteY126" fmla="*/ 491350 h 634937"/>
                <a:gd name="connsiteX127" fmla="*/ 314563 w 615124"/>
                <a:gd name="connsiteY127" fmla="*/ 492127 h 634937"/>
                <a:gd name="connsiteX128" fmla="*/ 317666 w 615124"/>
                <a:gd name="connsiteY128" fmla="*/ 516187 h 634937"/>
                <a:gd name="connsiteX129" fmla="*/ 299047 w 615124"/>
                <a:gd name="connsiteY129" fmla="*/ 527053 h 634937"/>
                <a:gd name="connsiteX130" fmla="*/ 271894 w 615124"/>
                <a:gd name="connsiteY130" fmla="*/ 555771 h 634937"/>
                <a:gd name="connsiteX131" fmla="*/ 257929 w 615124"/>
                <a:gd name="connsiteY131" fmla="*/ 572070 h 634937"/>
                <a:gd name="connsiteX132" fmla="*/ 262584 w 615124"/>
                <a:gd name="connsiteY132" fmla="*/ 572070 h 634937"/>
                <a:gd name="connsiteX133" fmla="*/ 275773 w 615124"/>
                <a:gd name="connsiteY133" fmla="*/ 576727 h 634937"/>
                <a:gd name="connsiteX134" fmla="*/ 282755 w 615124"/>
                <a:gd name="connsiteY134" fmla="*/ 587593 h 634937"/>
                <a:gd name="connsiteX135" fmla="*/ 291289 w 615124"/>
                <a:gd name="connsiteY135" fmla="*/ 585264 h 634937"/>
                <a:gd name="connsiteX136" fmla="*/ 309132 w 615124"/>
                <a:gd name="connsiteY136" fmla="*/ 598459 h 634937"/>
                <a:gd name="connsiteX137" fmla="*/ 319993 w 615124"/>
                <a:gd name="connsiteY137" fmla="*/ 610877 h 634937"/>
                <a:gd name="connsiteX138" fmla="*/ 321545 w 615124"/>
                <a:gd name="connsiteY138" fmla="*/ 634938 h 634937"/>
                <a:gd name="connsiteX139" fmla="*/ 328527 w 615124"/>
                <a:gd name="connsiteY139" fmla="*/ 629504 h 634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</a:cxnLst>
              <a:rect l="l" t="t" r="r" b="b"/>
              <a:pathLst>
                <a:path w="615124" h="634937">
                  <a:moveTo>
                    <a:pt x="328527" y="629504"/>
                  </a:moveTo>
                  <a:cubicBezTo>
                    <a:pt x="337837" y="622519"/>
                    <a:pt x="335509" y="618638"/>
                    <a:pt x="340164" y="610101"/>
                  </a:cubicBezTo>
                  <a:cubicBezTo>
                    <a:pt x="344819" y="601563"/>
                    <a:pt x="340940" y="598459"/>
                    <a:pt x="348698" y="590697"/>
                  </a:cubicBezTo>
                  <a:cubicBezTo>
                    <a:pt x="356456" y="583712"/>
                    <a:pt x="347146" y="578279"/>
                    <a:pt x="357231" y="574398"/>
                  </a:cubicBezTo>
                  <a:cubicBezTo>
                    <a:pt x="366541" y="569741"/>
                    <a:pt x="365765" y="578279"/>
                    <a:pt x="357231" y="588369"/>
                  </a:cubicBezTo>
                  <a:cubicBezTo>
                    <a:pt x="349473" y="598459"/>
                    <a:pt x="347922" y="601563"/>
                    <a:pt x="358007" y="593802"/>
                  </a:cubicBezTo>
                  <a:cubicBezTo>
                    <a:pt x="368093" y="586040"/>
                    <a:pt x="371972" y="575174"/>
                    <a:pt x="378178" y="563532"/>
                  </a:cubicBezTo>
                  <a:cubicBezTo>
                    <a:pt x="384384" y="551114"/>
                    <a:pt x="388263" y="548009"/>
                    <a:pt x="393694" y="547233"/>
                  </a:cubicBezTo>
                  <a:cubicBezTo>
                    <a:pt x="399124" y="546457"/>
                    <a:pt x="399124" y="534039"/>
                    <a:pt x="398349" y="524725"/>
                  </a:cubicBezTo>
                  <a:cubicBezTo>
                    <a:pt x="397573" y="515411"/>
                    <a:pt x="395245" y="507650"/>
                    <a:pt x="398349" y="501440"/>
                  </a:cubicBezTo>
                  <a:cubicBezTo>
                    <a:pt x="402228" y="495231"/>
                    <a:pt x="398349" y="489798"/>
                    <a:pt x="403003" y="489798"/>
                  </a:cubicBezTo>
                  <a:cubicBezTo>
                    <a:pt x="407658" y="489798"/>
                    <a:pt x="415416" y="482813"/>
                    <a:pt x="422398" y="475051"/>
                  </a:cubicBezTo>
                  <a:cubicBezTo>
                    <a:pt x="430156" y="467290"/>
                    <a:pt x="434811" y="466514"/>
                    <a:pt x="442569" y="465738"/>
                  </a:cubicBezTo>
                  <a:cubicBezTo>
                    <a:pt x="450327" y="464962"/>
                    <a:pt x="445672" y="462633"/>
                    <a:pt x="451103" y="461081"/>
                  </a:cubicBezTo>
                  <a:cubicBezTo>
                    <a:pt x="456533" y="459528"/>
                    <a:pt x="459637" y="454871"/>
                    <a:pt x="463516" y="451767"/>
                  </a:cubicBezTo>
                  <a:cubicBezTo>
                    <a:pt x="466619" y="448662"/>
                    <a:pt x="481359" y="451767"/>
                    <a:pt x="489117" y="451767"/>
                  </a:cubicBezTo>
                  <a:cubicBezTo>
                    <a:pt x="497651" y="451767"/>
                    <a:pt x="503081" y="452543"/>
                    <a:pt x="503081" y="447110"/>
                  </a:cubicBezTo>
                  <a:cubicBezTo>
                    <a:pt x="503081" y="441677"/>
                    <a:pt x="506960" y="437796"/>
                    <a:pt x="511615" y="437796"/>
                  </a:cubicBezTo>
                  <a:cubicBezTo>
                    <a:pt x="516270" y="437796"/>
                    <a:pt x="518597" y="436244"/>
                    <a:pt x="518597" y="429259"/>
                  </a:cubicBezTo>
                  <a:cubicBezTo>
                    <a:pt x="518597" y="422273"/>
                    <a:pt x="520924" y="418393"/>
                    <a:pt x="524803" y="415288"/>
                  </a:cubicBezTo>
                  <a:cubicBezTo>
                    <a:pt x="528682" y="412183"/>
                    <a:pt x="529458" y="405198"/>
                    <a:pt x="531010" y="400541"/>
                  </a:cubicBezTo>
                  <a:cubicBezTo>
                    <a:pt x="532561" y="395885"/>
                    <a:pt x="537216" y="398989"/>
                    <a:pt x="537216" y="392004"/>
                  </a:cubicBezTo>
                  <a:cubicBezTo>
                    <a:pt x="537216" y="385795"/>
                    <a:pt x="539543" y="378033"/>
                    <a:pt x="539543" y="372600"/>
                  </a:cubicBezTo>
                  <a:cubicBezTo>
                    <a:pt x="539543" y="367167"/>
                    <a:pt x="544974" y="367943"/>
                    <a:pt x="547301" y="364063"/>
                  </a:cubicBezTo>
                  <a:cubicBezTo>
                    <a:pt x="549629" y="360182"/>
                    <a:pt x="544974" y="355525"/>
                    <a:pt x="548853" y="344659"/>
                  </a:cubicBezTo>
                  <a:cubicBezTo>
                    <a:pt x="552732" y="333793"/>
                    <a:pt x="548853" y="323703"/>
                    <a:pt x="548853" y="314389"/>
                  </a:cubicBezTo>
                  <a:cubicBezTo>
                    <a:pt x="548853" y="305075"/>
                    <a:pt x="548853" y="294986"/>
                    <a:pt x="551956" y="291881"/>
                  </a:cubicBezTo>
                  <a:cubicBezTo>
                    <a:pt x="555059" y="288776"/>
                    <a:pt x="553508" y="287224"/>
                    <a:pt x="551180" y="285672"/>
                  </a:cubicBezTo>
                  <a:cubicBezTo>
                    <a:pt x="548077" y="284119"/>
                    <a:pt x="551180" y="280239"/>
                    <a:pt x="554284" y="281015"/>
                  </a:cubicBezTo>
                  <a:cubicBezTo>
                    <a:pt x="556611" y="281791"/>
                    <a:pt x="559714" y="287224"/>
                    <a:pt x="563593" y="284119"/>
                  </a:cubicBezTo>
                  <a:cubicBezTo>
                    <a:pt x="568248" y="281015"/>
                    <a:pt x="572127" y="269373"/>
                    <a:pt x="576006" y="260059"/>
                  </a:cubicBezTo>
                  <a:cubicBezTo>
                    <a:pt x="579885" y="250745"/>
                    <a:pt x="586091" y="250745"/>
                    <a:pt x="590746" y="248417"/>
                  </a:cubicBezTo>
                  <a:cubicBezTo>
                    <a:pt x="595401" y="246088"/>
                    <a:pt x="606262" y="234446"/>
                    <a:pt x="612469" y="217371"/>
                  </a:cubicBezTo>
                  <a:cubicBezTo>
                    <a:pt x="618675" y="200296"/>
                    <a:pt x="612469" y="183996"/>
                    <a:pt x="609365" y="172354"/>
                  </a:cubicBezTo>
                  <a:cubicBezTo>
                    <a:pt x="606262" y="160712"/>
                    <a:pt x="603159" y="163041"/>
                    <a:pt x="596177" y="163041"/>
                  </a:cubicBezTo>
                  <a:cubicBezTo>
                    <a:pt x="589195" y="163041"/>
                    <a:pt x="576006" y="161488"/>
                    <a:pt x="558938" y="142861"/>
                  </a:cubicBezTo>
                  <a:cubicBezTo>
                    <a:pt x="541871" y="124233"/>
                    <a:pt x="524803" y="125785"/>
                    <a:pt x="513166" y="128890"/>
                  </a:cubicBezTo>
                  <a:cubicBezTo>
                    <a:pt x="501529" y="131995"/>
                    <a:pt x="489893" y="123457"/>
                    <a:pt x="482135" y="121905"/>
                  </a:cubicBezTo>
                  <a:cubicBezTo>
                    <a:pt x="474377" y="120352"/>
                    <a:pt x="467394" y="129666"/>
                    <a:pt x="461964" y="131995"/>
                  </a:cubicBezTo>
                  <a:cubicBezTo>
                    <a:pt x="456533" y="134323"/>
                    <a:pt x="465067" y="123457"/>
                    <a:pt x="465067" y="117248"/>
                  </a:cubicBezTo>
                  <a:cubicBezTo>
                    <a:pt x="465067" y="111039"/>
                    <a:pt x="444121" y="100949"/>
                    <a:pt x="428605" y="94740"/>
                  </a:cubicBezTo>
                  <a:cubicBezTo>
                    <a:pt x="412313" y="88531"/>
                    <a:pt x="406107" y="91635"/>
                    <a:pt x="406107" y="101725"/>
                  </a:cubicBezTo>
                  <a:cubicBezTo>
                    <a:pt x="406107" y="111815"/>
                    <a:pt x="399900" y="98620"/>
                    <a:pt x="395245" y="109486"/>
                  </a:cubicBezTo>
                  <a:cubicBezTo>
                    <a:pt x="390591" y="120352"/>
                    <a:pt x="381281" y="113367"/>
                    <a:pt x="387487" y="109486"/>
                  </a:cubicBezTo>
                  <a:cubicBezTo>
                    <a:pt x="393694" y="106382"/>
                    <a:pt x="399124" y="97844"/>
                    <a:pt x="400676" y="91635"/>
                  </a:cubicBezTo>
                  <a:cubicBezTo>
                    <a:pt x="403003" y="85426"/>
                    <a:pt x="378178" y="79993"/>
                    <a:pt x="368868" y="83097"/>
                  </a:cubicBezTo>
                  <a:cubicBezTo>
                    <a:pt x="360335" y="86202"/>
                    <a:pt x="365765" y="99397"/>
                    <a:pt x="358783" y="95516"/>
                  </a:cubicBezTo>
                  <a:cubicBezTo>
                    <a:pt x="351801" y="91635"/>
                    <a:pt x="357231" y="82321"/>
                    <a:pt x="362662" y="82321"/>
                  </a:cubicBezTo>
                  <a:cubicBezTo>
                    <a:pt x="368093" y="82321"/>
                    <a:pt x="374299" y="71455"/>
                    <a:pt x="378178" y="62918"/>
                  </a:cubicBezTo>
                  <a:cubicBezTo>
                    <a:pt x="382057" y="54380"/>
                    <a:pt x="371972" y="53604"/>
                    <a:pt x="365765" y="46619"/>
                  </a:cubicBezTo>
                  <a:cubicBezTo>
                    <a:pt x="359559" y="39633"/>
                    <a:pt x="361110" y="19453"/>
                    <a:pt x="354904" y="16349"/>
                  </a:cubicBezTo>
                  <a:cubicBezTo>
                    <a:pt x="347922" y="23334"/>
                    <a:pt x="339388" y="33424"/>
                    <a:pt x="336285" y="41186"/>
                  </a:cubicBezTo>
                  <a:cubicBezTo>
                    <a:pt x="333182" y="51276"/>
                    <a:pt x="328527" y="45066"/>
                    <a:pt x="319993" y="48171"/>
                  </a:cubicBezTo>
                  <a:cubicBezTo>
                    <a:pt x="311459" y="51276"/>
                    <a:pt x="306805" y="47395"/>
                    <a:pt x="304477" y="43514"/>
                  </a:cubicBezTo>
                  <a:cubicBezTo>
                    <a:pt x="302150" y="39633"/>
                    <a:pt x="293616" y="43514"/>
                    <a:pt x="287410" y="42738"/>
                  </a:cubicBezTo>
                  <a:cubicBezTo>
                    <a:pt x="281203" y="41962"/>
                    <a:pt x="285082" y="50499"/>
                    <a:pt x="281203" y="52828"/>
                  </a:cubicBezTo>
                  <a:cubicBezTo>
                    <a:pt x="277324" y="55156"/>
                    <a:pt x="266463" y="48171"/>
                    <a:pt x="262584" y="52052"/>
                  </a:cubicBezTo>
                  <a:cubicBezTo>
                    <a:pt x="258705" y="55932"/>
                    <a:pt x="256378" y="52052"/>
                    <a:pt x="254826" y="55932"/>
                  </a:cubicBezTo>
                  <a:cubicBezTo>
                    <a:pt x="253275" y="59813"/>
                    <a:pt x="246293" y="57485"/>
                    <a:pt x="244741" y="59813"/>
                  </a:cubicBezTo>
                  <a:cubicBezTo>
                    <a:pt x="243189" y="62142"/>
                    <a:pt x="236207" y="63694"/>
                    <a:pt x="227673" y="54380"/>
                  </a:cubicBezTo>
                  <a:cubicBezTo>
                    <a:pt x="219140" y="45066"/>
                    <a:pt x="220691" y="29543"/>
                    <a:pt x="224570" y="26439"/>
                  </a:cubicBezTo>
                  <a:cubicBezTo>
                    <a:pt x="228449" y="23334"/>
                    <a:pt x="228449" y="15573"/>
                    <a:pt x="223019" y="13244"/>
                  </a:cubicBezTo>
                  <a:cubicBezTo>
                    <a:pt x="217588" y="10916"/>
                    <a:pt x="223019" y="826"/>
                    <a:pt x="216812" y="50"/>
                  </a:cubicBezTo>
                  <a:cubicBezTo>
                    <a:pt x="210606" y="-726"/>
                    <a:pt x="211382" y="7811"/>
                    <a:pt x="206727" y="8587"/>
                  </a:cubicBezTo>
                  <a:cubicBezTo>
                    <a:pt x="202848" y="10140"/>
                    <a:pt x="191987" y="17125"/>
                    <a:pt x="187332" y="16349"/>
                  </a:cubicBezTo>
                  <a:cubicBezTo>
                    <a:pt x="182677" y="15573"/>
                    <a:pt x="176471" y="17125"/>
                    <a:pt x="176471" y="22558"/>
                  </a:cubicBezTo>
                  <a:cubicBezTo>
                    <a:pt x="176471" y="27991"/>
                    <a:pt x="171040" y="26439"/>
                    <a:pt x="170264" y="21782"/>
                  </a:cubicBezTo>
                  <a:cubicBezTo>
                    <a:pt x="169489" y="17901"/>
                    <a:pt x="159403" y="20230"/>
                    <a:pt x="156300" y="17125"/>
                  </a:cubicBezTo>
                  <a:cubicBezTo>
                    <a:pt x="153197" y="14020"/>
                    <a:pt x="140008" y="15573"/>
                    <a:pt x="146215" y="18677"/>
                  </a:cubicBezTo>
                  <a:cubicBezTo>
                    <a:pt x="151645" y="21782"/>
                    <a:pt x="152421" y="24886"/>
                    <a:pt x="152421" y="30320"/>
                  </a:cubicBezTo>
                  <a:cubicBezTo>
                    <a:pt x="152421" y="35753"/>
                    <a:pt x="156300" y="34200"/>
                    <a:pt x="156300" y="40409"/>
                  </a:cubicBezTo>
                  <a:cubicBezTo>
                    <a:pt x="156300" y="46619"/>
                    <a:pt x="160955" y="41962"/>
                    <a:pt x="164058" y="41962"/>
                  </a:cubicBezTo>
                  <a:cubicBezTo>
                    <a:pt x="167161" y="41962"/>
                    <a:pt x="167161" y="47395"/>
                    <a:pt x="162507" y="48171"/>
                  </a:cubicBezTo>
                  <a:cubicBezTo>
                    <a:pt x="157076" y="48947"/>
                    <a:pt x="154749" y="52052"/>
                    <a:pt x="153973" y="56709"/>
                  </a:cubicBezTo>
                  <a:cubicBezTo>
                    <a:pt x="152421" y="61365"/>
                    <a:pt x="147766" y="58261"/>
                    <a:pt x="143887" y="62142"/>
                  </a:cubicBezTo>
                  <a:cubicBezTo>
                    <a:pt x="140008" y="66022"/>
                    <a:pt x="136129" y="69903"/>
                    <a:pt x="133026" y="67575"/>
                  </a:cubicBezTo>
                  <a:cubicBezTo>
                    <a:pt x="129923" y="66022"/>
                    <a:pt x="127596" y="66798"/>
                    <a:pt x="124493" y="69127"/>
                  </a:cubicBezTo>
                  <a:cubicBezTo>
                    <a:pt x="121389" y="70679"/>
                    <a:pt x="119838" y="69127"/>
                    <a:pt x="115183" y="65246"/>
                  </a:cubicBezTo>
                  <a:cubicBezTo>
                    <a:pt x="111304" y="62142"/>
                    <a:pt x="109752" y="55932"/>
                    <a:pt x="103546" y="49723"/>
                  </a:cubicBezTo>
                  <a:cubicBezTo>
                    <a:pt x="99667" y="51276"/>
                    <a:pt x="92685" y="54380"/>
                    <a:pt x="88030" y="54380"/>
                  </a:cubicBezTo>
                  <a:cubicBezTo>
                    <a:pt x="82599" y="54380"/>
                    <a:pt x="65532" y="52828"/>
                    <a:pt x="64756" y="55932"/>
                  </a:cubicBezTo>
                  <a:cubicBezTo>
                    <a:pt x="63980" y="59037"/>
                    <a:pt x="66308" y="63694"/>
                    <a:pt x="68635" y="64470"/>
                  </a:cubicBezTo>
                  <a:cubicBezTo>
                    <a:pt x="71738" y="65246"/>
                    <a:pt x="77169" y="66798"/>
                    <a:pt x="71738" y="70679"/>
                  </a:cubicBezTo>
                  <a:cubicBezTo>
                    <a:pt x="66308" y="74560"/>
                    <a:pt x="60877" y="69127"/>
                    <a:pt x="60877" y="79217"/>
                  </a:cubicBezTo>
                  <a:cubicBezTo>
                    <a:pt x="60877" y="89307"/>
                    <a:pt x="73290" y="95516"/>
                    <a:pt x="70963" y="104830"/>
                  </a:cubicBezTo>
                  <a:cubicBezTo>
                    <a:pt x="69411" y="109486"/>
                    <a:pt x="67859" y="121129"/>
                    <a:pt x="67859" y="125785"/>
                  </a:cubicBezTo>
                  <a:cubicBezTo>
                    <a:pt x="67859" y="130442"/>
                    <a:pt x="66308" y="145965"/>
                    <a:pt x="61653" y="146742"/>
                  </a:cubicBezTo>
                  <a:cubicBezTo>
                    <a:pt x="57774" y="147518"/>
                    <a:pt x="53895" y="142861"/>
                    <a:pt x="48464" y="147518"/>
                  </a:cubicBezTo>
                  <a:cubicBezTo>
                    <a:pt x="43034" y="152175"/>
                    <a:pt x="36052" y="149070"/>
                    <a:pt x="29845" y="154503"/>
                  </a:cubicBezTo>
                  <a:cubicBezTo>
                    <a:pt x="23639" y="159936"/>
                    <a:pt x="16657" y="157608"/>
                    <a:pt x="15881" y="163817"/>
                  </a:cubicBezTo>
                  <a:cubicBezTo>
                    <a:pt x="15105" y="170026"/>
                    <a:pt x="9675" y="173130"/>
                    <a:pt x="10450" y="178563"/>
                  </a:cubicBezTo>
                  <a:cubicBezTo>
                    <a:pt x="12002" y="183996"/>
                    <a:pt x="7347" y="182444"/>
                    <a:pt x="3468" y="187101"/>
                  </a:cubicBezTo>
                  <a:cubicBezTo>
                    <a:pt x="-411" y="190982"/>
                    <a:pt x="4244" y="194086"/>
                    <a:pt x="1141" y="197191"/>
                  </a:cubicBezTo>
                  <a:cubicBezTo>
                    <a:pt x="-1962" y="200296"/>
                    <a:pt x="1917" y="205729"/>
                    <a:pt x="5020" y="210386"/>
                  </a:cubicBezTo>
                  <a:cubicBezTo>
                    <a:pt x="8123" y="215819"/>
                    <a:pt x="12002" y="218923"/>
                    <a:pt x="11226" y="223580"/>
                  </a:cubicBezTo>
                  <a:cubicBezTo>
                    <a:pt x="10450" y="228237"/>
                    <a:pt x="14329" y="229789"/>
                    <a:pt x="18984" y="229789"/>
                  </a:cubicBezTo>
                  <a:cubicBezTo>
                    <a:pt x="23639" y="229013"/>
                    <a:pt x="19760" y="238327"/>
                    <a:pt x="27518" y="238327"/>
                  </a:cubicBezTo>
                  <a:cubicBezTo>
                    <a:pt x="35276" y="238327"/>
                    <a:pt x="42258" y="239879"/>
                    <a:pt x="43810" y="235998"/>
                  </a:cubicBezTo>
                  <a:cubicBezTo>
                    <a:pt x="45361" y="232118"/>
                    <a:pt x="50792" y="228237"/>
                    <a:pt x="50792" y="234446"/>
                  </a:cubicBezTo>
                  <a:cubicBezTo>
                    <a:pt x="50792" y="240655"/>
                    <a:pt x="49240" y="256954"/>
                    <a:pt x="54671" y="254626"/>
                  </a:cubicBezTo>
                  <a:cubicBezTo>
                    <a:pt x="60101" y="253073"/>
                    <a:pt x="70187" y="253073"/>
                    <a:pt x="74841" y="255402"/>
                  </a:cubicBezTo>
                  <a:cubicBezTo>
                    <a:pt x="80272" y="256954"/>
                    <a:pt x="84927" y="255402"/>
                    <a:pt x="88030" y="252297"/>
                  </a:cubicBezTo>
                  <a:cubicBezTo>
                    <a:pt x="91133" y="249193"/>
                    <a:pt x="95012" y="249193"/>
                    <a:pt x="101219" y="245312"/>
                  </a:cubicBezTo>
                  <a:cubicBezTo>
                    <a:pt x="107425" y="241431"/>
                    <a:pt x="113631" y="236775"/>
                    <a:pt x="119838" y="236775"/>
                  </a:cubicBezTo>
                  <a:cubicBezTo>
                    <a:pt x="126044" y="236775"/>
                    <a:pt x="136129" y="232894"/>
                    <a:pt x="134578" y="237551"/>
                  </a:cubicBezTo>
                  <a:cubicBezTo>
                    <a:pt x="133026" y="242207"/>
                    <a:pt x="132250" y="259283"/>
                    <a:pt x="140008" y="267820"/>
                  </a:cubicBezTo>
                  <a:cubicBezTo>
                    <a:pt x="147766" y="276358"/>
                    <a:pt x="151645" y="279463"/>
                    <a:pt x="158628" y="278686"/>
                  </a:cubicBezTo>
                  <a:cubicBezTo>
                    <a:pt x="165610" y="277910"/>
                    <a:pt x="164834" y="281791"/>
                    <a:pt x="169489" y="281015"/>
                  </a:cubicBezTo>
                  <a:cubicBezTo>
                    <a:pt x="174919" y="280239"/>
                    <a:pt x="171040" y="286448"/>
                    <a:pt x="175695" y="286448"/>
                  </a:cubicBezTo>
                  <a:cubicBezTo>
                    <a:pt x="180350" y="286448"/>
                    <a:pt x="188884" y="287224"/>
                    <a:pt x="188884" y="292657"/>
                  </a:cubicBezTo>
                  <a:cubicBezTo>
                    <a:pt x="188884" y="298090"/>
                    <a:pt x="202848" y="293433"/>
                    <a:pt x="205951" y="296538"/>
                  </a:cubicBezTo>
                  <a:cubicBezTo>
                    <a:pt x="209054" y="299642"/>
                    <a:pt x="212933" y="301971"/>
                    <a:pt x="212158" y="307404"/>
                  </a:cubicBezTo>
                  <a:cubicBezTo>
                    <a:pt x="211382" y="312837"/>
                    <a:pt x="219140" y="316718"/>
                    <a:pt x="214485" y="319046"/>
                  </a:cubicBezTo>
                  <a:cubicBezTo>
                    <a:pt x="209830" y="321374"/>
                    <a:pt x="216037" y="326031"/>
                    <a:pt x="216037" y="332240"/>
                  </a:cubicBezTo>
                  <a:cubicBezTo>
                    <a:pt x="216812" y="338450"/>
                    <a:pt x="223019" y="340778"/>
                    <a:pt x="233104" y="340002"/>
                  </a:cubicBezTo>
                  <a:cubicBezTo>
                    <a:pt x="243189" y="339226"/>
                    <a:pt x="246293" y="340778"/>
                    <a:pt x="246293" y="347763"/>
                  </a:cubicBezTo>
                  <a:cubicBezTo>
                    <a:pt x="246293" y="354749"/>
                    <a:pt x="253275" y="356301"/>
                    <a:pt x="255602" y="363286"/>
                  </a:cubicBezTo>
                  <a:cubicBezTo>
                    <a:pt x="257929" y="370272"/>
                    <a:pt x="252499" y="378033"/>
                    <a:pt x="254050" y="383466"/>
                  </a:cubicBezTo>
                  <a:cubicBezTo>
                    <a:pt x="254826" y="387347"/>
                    <a:pt x="252499" y="392004"/>
                    <a:pt x="249396" y="394332"/>
                  </a:cubicBezTo>
                  <a:cubicBezTo>
                    <a:pt x="253275" y="398989"/>
                    <a:pt x="253275" y="400541"/>
                    <a:pt x="250172" y="402870"/>
                  </a:cubicBezTo>
                  <a:cubicBezTo>
                    <a:pt x="246293" y="405198"/>
                    <a:pt x="255602" y="411407"/>
                    <a:pt x="253275" y="422273"/>
                  </a:cubicBezTo>
                  <a:cubicBezTo>
                    <a:pt x="250947" y="432363"/>
                    <a:pt x="250172" y="434692"/>
                    <a:pt x="261033" y="434692"/>
                  </a:cubicBezTo>
                  <a:cubicBezTo>
                    <a:pt x="271894" y="435468"/>
                    <a:pt x="271118" y="438573"/>
                    <a:pt x="274221" y="436244"/>
                  </a:cubicBezTo>
                  <a:cubicBezTo>
                    <a:pt x="278100" y="433916"/>
                    <a:pt x="283531" y="444005"/>
                    <a:pt x="285082" y="449439"/>
                  </a:cubicBezTo>
                  <a:cubicBezTo>
                    <a:pt x="286634" y="454871"/>
                    <a:pt x="290513" y="466514"/>
                    <a:pt x="292840" y="466514"/>
                  </a:cubicBezTo>
                  <a:cubicBezTo>
                    <a:pt x="294392" y="466514"/>
                    <a:pt x="300598" y="461081"/>
                    <a:pt x="306029" y="463409"/>
                  </a:cubicBezTo>
                  <a:cubicBezTo>
                    <a:pt x="311459" y="465738"/>
                    <a:pt x="304477" y="483589"/>
                    <a:pt x="304477" y="491350"/>
                  </a:cubicBezTo>
                  <a:cubicBezTo>
                    <a:pt x="308356" y="491350"/>
                    <a:pt x="313011" y="491350"/>
                    <a:pt x="314563" y="492127"/>
                  </a:cubicBezTo>
                  <a:cubicBezTo>
                    <a:pt x="317666" y="493679"/>
                    <a:pt x="318442" y="512307"/>
                    <a:pt x="317666" y="516187"/>
                  </a:cubicBezTo>
                  <a:cubicBezTo>
                    <a:pt x="316114" y="520068"/>
                    <a:pt x="304477" y="523173"/>
                    <a:pt x="299047" y="527053"/>
                  </a:cubicBezTo>
                  <a:cubicBezTo>
                    <a:pt x="292840" y="530934"/>
                    <a:pt x="278876" y="544905"/>
                    <a:pt x="271894" y="555771"/>
                  </a:cubicBezTo>
                  <a:cubicBezTo>
                    <a:pt x="268015" y="561980"/>
                    <a:pt x="261808" y="567413"/>
                    <a:pt x="257929" y="572070"/>
                  </a:cubicBezTo>
                  <a:cubicBezTo>
                    <a:pt x="259481" y="572070"/>
                    <a:pt x="261808" y="572070"/>
                    <a:pt x="262584" y="572070"/>
                  </a:cubicBezTo>
                  <a:cubicBezTo>
                    <a:pt x="265687" y="570518"/>
                    <a:pt x="270342" y="570518"/>
                    <a:pt x="275773" y="576727"/>
                  </a:cubicBezTo>
                  <a:cubicBezTo>
                    <a:pt x="281203" y="582936"/>
                    <a:pt x="280428" y="587593"/>
                    <a:pt x="282755" y="587593"/>
                  </a:cubicBezTo>
                  <a:cubicBezTo>
                    <a:pt x="285082" y="587593"/>
                    <a:pt x="287410" y="579055"/>
                    <a:pt x="291289" y="585264"/>
                  </a:cubicBezTo>
                  <a:cubicBezTo>
                    <a:pt x="295168" y="591473"/>
                    <a:pt x="306029" y="596130"/>
                    <a:pt x="309132" y="598459"/>
                  </a:cubicBezTo>
                  <a:cubicBezTo>
                    <a:pt x="311459" y="601563"/>
                    <a:pt x="319993" y="603116"/>
                    <a:pt x="319993" y="610877"/>
                  </a:cubicBezTo>
                  <a:cubicBezTo>
                    <a:pt x="319993" y="616310"/>
                    <a:pt x="317666" y="626400"/>
                    <a:pt x="321545" y="634938"/>
                  </a:cubicBezTo>
                  <a:cubicBezTo>
                    <a:pt x="323872" y="634161"/>
                    <a:pt x="325424" y="631057"/>
                    <a:pt x="328527" y="629504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24" name="Forma libre 17">
              <a:extLst>
                <a:ext uri="{FF2B5EF4-FFF2-40B4-BE49-F238E27FC236}">
                  <a16:creationId xmlns:a16="http://schemas.microsoft.com/office/drawing/2014/main" id="{5F1639DE-F986-1CEB-C8DC-E6A006ECE5AB}"/>
                </a:ext>
              </a:extLst>
            </p:cNvPr>
            <p:cNvSpPr/>
            <p:nvPr/>
          </p:nvSpPr>
          <p:spPr>
            <a:xfrm>
              <a:off x="3265509" y="3892493"/>
              <a:ext cx="93630" cy="97092"/>
            </a:xfrm>
            <a:custGeom>
              <a:avLst/>
              <a:gdLst>
                <a:gd name="connsiteX0" fmla="*/ 76028 w 78355"/>
                <a:gd name="connsiteY0" fmla="*/ 39670 h 81252"/>
                <a:gd name="connsiteX1" fmla="*/ 65167 w 78355"/>
                <a:gd name="connsiteY1" fmla="*/ 27251 h 81252"/>
                <a:gd name="connsiteX2" fmla="*/ 47324 w 78355"/>
                <a:gd name="connsiteY2" fmla="*/ 14057 h 81252"/>
                <a:gd name="connsiteX3" fmla="*/ 38790 w 78355"/>
                <a:gd name="connsiteY3" fmla="*/ 16385 h 81252"/>
                <a:gd name="connsiteX4" fmla="*/ 31808 w 78355"/>
                <a:gd name="connsiteY4" fmla="*/ 5519 h 81252"/>
                <a:gd name="connsiteX5" fmla="*/ 18619 w 78355"/>
                <a:gd name="connsiteY5" fmla="*/ 862 h 81252"/>
                <a:gd name="connsiteX6" fmla="*/ 13964 w 78355"/>
                <a:gd name="connsiteY6" fmla="*/ 862 h 81252"/>
                <a:gd name="connsiteX7" fmla="*/ 9310 w 78355"/>
                <a:gd name="connsiteY7" fmla="*/ 9400 h 81252"/>
                <a:gd name="connsiteX8" fmla="*/ 3879 w 78355"/>
                <a:gd name="connsiteY8" fmla="*/ 35789 h 81252"/>
                <a:gd name="connsiteX9" fmla="*/ 0 w 78355"/>
                <a:gd name="connsiteY9" fmla="*/ 55969 h 81252"/>
                <a:gd name="connsiteX10" fmla="*/ 4655 w 78355"/>
                <a:gd name="connsiteY10" fmla="*/ 65282 h 81252"/>
                <a:gd name="connsiteX11" fmla="*/ 3879 w 78355"/>
                <a:gd name="connsiteY11" fmla="*/ 71492 h 81252"/>
                <a:gd name="connsiteX12" fmla="*/ 10085 w 78355"/>
                <a:gd name="connsiteY12" fmla="*/ 74596 h 81252"/>
                <a:gd name="connsiteX13" fmla="*/ 30256 w 78355"/>
                <a:gd name="connsiteY13" fmla="*/ 80029 h 81252"/>
                <a:gd name="connsiteX14" fmla="*/ 42669 w 78355"/>
                <a:gd name="connsiteY14" fmla="*/ 80029 h 81252"/>
                <a:gd name="connsiteX15" fmla="*/ 65943 w 78355"/>
                <a:gd name="connsiteY15" fmla="*/ 76925 h 81252"/>
                <a:gd name="connsiteX16" fmla="*/ 78355 w 78355"/>
                <a:gd name="connsiteY16" fmla="*/ 62178 h 81252"/>
                <a:gd name="connsiteX17" fmla="*/ 76028 w 78355"/>
                <a:gd name="connsiteY17" fmla="*/ 39670 h 81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8355" h="81252">
                  <a:moveTo>
                    <a:pt x="76028" y="39670"/>
                  </a:moveTo>
                  <a:cubicBezTo>
                    <a:pt x="76028" y="32684"/>
                    <a:pt x="68270" y="30356"/>
                    <a:pt x="65167" y="27251"/>
                  </a:cubicBezTo>
                  <a:cubicBezTo>
                    <a:pt x="62840" y="24147"/>
                    <a:pt x="51978" y="20266"/>
                    <a:pt x="47324" y="14057"/>
                  </a:cubicBezTo>
                  <a:cubicBezTo>
                    <a:pt x="43445" y="7848"/>
                    <a:pt x="40341" y="16385"/>
                    <a:pt x="38790" y="16385"/>
                  </a:cubicBezTo>
                  <a:cubicBezTo>
                    <a:pt x="36462" y="16385"/>
                    <a:pt x="37238" y="11728"/>
                    <a:pt x="31808" y="5519"/>
                  </a:cubicBezTo>
                  <a:cubicBezTo>
                    <a:pt x="26377" y="-690"/>
                    <a:pt x="21722" y="-690"/>
                    <a:pt x="18619" y="862"/>
                  </a:cubicBezTo>
                  <a:cubicBezTo>
                    <a:pt x="17843" y="1639"/>
                    <a:pt x="15516" y="1639"/>
                    <a:pt x="13964" y="862"/>
                  </a:cubicBezTo>
                  <a:cubicBezTo>
                    <a:pt x="10861" y="3967"/>
                    <a:pt x="9310" y="7072"/>
                    <a:pt x="9310" y="9400"/>
                  </a:cubicBezTo>
                  <a:cubicBezTo>
                    <a:pt x="9310" y="16385"/>
                    <a:pt x="4655" y="23371"/>
                    <a:pt x="3879" y="35789"/>
                  </a:cubicBezTo>
                  <a:cubicBezTo>
                    <a:pt x="3879" y="48207"/>
                    <a:pt x="0" y="46655"/>
                    <a:pt x="0" y="55969"/>
                  </a:cubicBezTo>
                  <a:cubicBezTo>
                    <a:pt x="0" y="66059"/>
                    <a:pt x="3103" y="63730"/>
                    <a:pt x="4655" y="65282"/>
                  </a:cubicBezTo>
                  <a:cubicBezTo>
                    <a:pt x="5431" y="66059"/>
                    <a:pt x="4655" y="69163"/>
                    <a:pt x="3879" y="71492"/>
                  </a:cubicBezTo>
                  <a:cubicBezTo>
                    <a:pt x="5431" y="73044"/>
                    <a:pt x="6982" y="74596"/>
                    <a:pt x="10085" y="74596"/>
                  </a:cubicBezTo>
                  <a:cubicBezTo>
                    <a:pt x="16292" y="73820"/>
                    <a:pt x="22498" y="76149"/>
                    <a:pt x="30256" y="80029"/>
                  </a:cubicBezTo>
                  <a:cubicBezTo>
                    <a:pt x="38014" y="83134"/>
                    <a:pt x="34911" y="79253"/>
                    <a:pt x="42669" y="80029"/>
                  </a:cubicBezTo>
                  <a:cubicBezTo>
                    <a:pt x="49651" y="80805"/>
                    <a:pt x="58185" y="81582"/>
                    <a:pt x="65943" y="76925"/>
                  </a:cubicBezTo>
                  <a:cubicBezTo>
                    <a:pt x="71373" y="73820"/>
                    <a:pt x="74477" y="67611"/>
                    <a:pt x="78355" y="62178"/>
                  </a:cubicBezTo>
                  <a:cubicBezTo>
                    <a:pt x="73701" y="55193"/>
                    <a:pt x="76028" y="45103"/>
                    <a:pt x="76028" y="39670"/>
                  </a:cubicBezTo>
                  <a:close/>
                </a:path>
              </a:pathLst>
            </a:custGeom>
            <a:solidFill>
              <a:schemeClr val="bg2"/>
            </a:solidFill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26" name="Forma libre 18">
              <a:extLst>
                <a:ext uri="{FF2B5EF4-FFF2-40B4-BE49-F238E27FC236}">
                  <a16:creationId xmlns:a16="http://schemas.microsoft.com/office/drawing/2014/main" id="{20B631C5-00EE-B8A3-11B8-3AD41FF5868C}"/>
                </a:ext>
              </a:extLst>
            </p:cNvPr>
            <p:cNvSpPr/>
            <p:nvPr/>
          </p:nvSpPr>
          <p:spPr>
            <a:xfrm>
              <a:off x="2984714" y="3719505"/>
              <a:ext cx="373812" cy="740109"/>
            </a:xfrm>
            <a:custGeom>
              <a:avLst/>
              <a:gdLst>
                <a:gd name="connsiteX0" fmla="*/ 113447 w 312826"/>
                <a:gd name="connsiteY0" fmla="*/ 607268 h 619363"/>
                <a:gd name="connsiteX1" fmla="*/ 82415 w 312826"/>
                <a:gd name="connsiteY1" fmla="*/ 587088 h 619363"/>
                <a:gd name="connsiteX2" fmla="*/ 74657 w 312826"/>
                <a:gd name="connsiteY2" fmla="*/ 580103 h 619363"/>
                <a:gd name="connsiteX3" fmla="*/ 76209 w 312826"/>
                <a:gd name="connsiteY3" fmla="*/ 573894 h 619363"/>
                <a:gd name="connsiteX4" fmla="*/ 70778 w 312826"/>
                <a:gd name="connsiteY4" fmla="*/ 565356 h 619363"/>
                <a:gd name="connsiteX5" fmla="*/ 70778 w 312826"/>
                <a:gd name="connsiteY5" fmla="*/ 616582 h 619363"/>
                <a:gd name="connsiteX6" fmla="*/ 97155 w 312826"/>
                <a:gd name="connsiteY6" fmla="*/ 618134 h 619363"/>
                <a:gd name="connsiteX7" fmla="*/ 104137 w 312826"/>
                <a:gd name="connsiteY7" fmla="*/ 618134 h 619363"/>
                <a:gd name="connsiteX8" fmla="*/ 123532 w 312826"/>
                <a:gd name="connsiteY8" fmla="*/ 612701 h 619363"/>
                <a:gd name="connsiteX9" fmla="*/ 113447 w 312826"/>
                <a:gd name="connsiteY9" fmla="*/ 607268 h 619363"/>
                <a:gd name="connsiteX10" fmla="*/ 305069 w 312826"/>
                <a:gd name="connsiteY10" fmla="*/ 60861 h 619363"/>
                <a:gd name="connsiteX11" fmla="*/ 294983 w 312826"/>
                <a:gd name="connsiteY11" fmla="*/ 60085 h 619363"/>
                <a:gd name="connsiteX12" fmla="*/ 294983 w 312826"/>
                <a:gd name="connsiteY12" fmla="*/ 61637 h 619363"/>
                <a:gd name="connsiteX13" fmla="*/ 287225 w 312826"/>
                <a:gd name="connsiteY13" fmla="*/ 84922 h 619363"/>
                <a:gd name="connsiteX14" fmla="*/ 274813 w 312826"/>
                <a:gd name="connsiteY14" fmla="*/ 91131 h 619363"/>
                <a:gd name="connsiteX15" fmla="*/ 260848 w 312826"/>
                <a:gd name="connsiteY15" fmla="*/ 94235 h 619363"/>
                <a:gd name="connsiteX16" fmla="*/ 246108 w 312826"/>
                <a:gd name="connsiteY16" fmla="*/ 92683 h 619363"/>
                <a:gd name="connsiteX17" fmla="*/ 231368 w 312826"/>
                <a:gd name="connsiteY17" fmla="*/ 89578 h 619363"/>
                <a:gd name="connsiteX18" fmla="*/ 236799 w 312826"/>
                <a:gd name="connsiteY18" fmla="*/ 79488 h 619363"/>
                <a:gd name="connsiteX19" fmla="*/ 249211 w 312826"/>
                <a:gd name="connsiteY19" fmla="*/ 58533 h 619363"/>
                <a:gd name="connsiteX20" fmla="*/ 220507 w 312826"/>
                <a:gd name="connsiteY20" fmla="*/ 43786 h 619363"/>
                <a:gd name="connsiteX21" fmla="*/ 203439 w 312826"/>
                <a:gd name="connsiteY21" fmla="*/ 35248 h 619363"/>
                <a:gd name="connsiteX22" fmla="*/ 186372 w 312826"/>
                <a:gd name="connsiteY22" fmla="*/ 24382 h 619363"/>
                <a:gd name="connsiteX23" fmla="*/ 164650 w 312826"/>
                <a:gd name="connsiteY23" fmla="*/ 1874 h 619363"/>
                <a:gd name="connsiteX24" fmla="*/ 149134 w 312826"/>
                <a:gd name="connsiteY24" fmla="*/ 1874 h 619363"/>
                <a:gd name="connsiteX25" fmla="*/ 139824 w 312826"/>
                <a:gd name="connsiteY25" fmla="*/ 11188 h 619363"/>
                <a:gd name="connsiteX26" fmla="*/ 121981 w 312826"/>
                <a:gd name="connsiteY26" fmla="*/ 3426 h 619363"/>
                <a:gd name="connsiteX27" fmla="*/ 108016 w 312826"/>
                <a:gd name="connsiteY27" fmla="*/ 4202 h 619363"/>
                <a:gd name="connsiteX28" fmla="*/ 96380 w 312826"/>
                <a:gd name="connsiteY28" fmla="*/ 13516 h 619363"/>
                <a:gd name="connsiteX29" fmla="*/ 93276 w 312826"/>
                <a:gd name="connsiteY29" fmla="*/ 32143 h 619363"/>
                <a:gd name="connsiteX30" fmla="*/ 75433 w 312826"/>
                <a:gd name="connsiteY30" fmla="*/ 46114 h 619363"/>
                <a:gd name="connsiteX31" fmla="*/ 74657 w 312826"/>
                <a:gd name="connsiteY31" fmla="*/ 56980 h 619363"/>
                <a:gd name="connsiteX32" fmla="*/ 76209 w 312826"/>
                <a:gd name="connsiteY32" fmla="*/ 74056 h 619363"/>
                <a:gd name="connsiteX33" fmla="*/ 76985 w 312826"/>
                <a:gd name="connsiteY33" fmla="*/ 84145 h 619363"/>
                <a:gd name="connsiteX34" fmla="*/ 67675 w 312826"/>
                <a:gd name="connsiteY34" fmla="*/ 91907 h 619363"/>
                <a:gd name="connsiteX35" fmla="*/ 63020 w 312826"/>
                <a:gd name="connsiteY35" fmla="*/ 105101 h 619363"/>
                <a:gd name="connsiteX36" fmla="*/ 56038 w 312826"/>
                <a:gd name="connsiteY36" fmla="*/ 119072 h 619363"/>
                <a:gd name="connsiteX37" fmla="*/ 52159 w 312826"/>
                <a:gd name="connsiteY37" fmla="*/ 127610 h 619363"/>
                <a:gd name="connsiteX38" fmla="*/ 52159 w 312826"/>
                <a:gd name="connsiteY38" fmla="*/ 143909 h 619363"/>
                <a:gd name="connsiteX39" fmla="*/ 45953 w 312826"/>
                <a:gd name="connsiteY39" fmla="*/ 156327 h 619363"/>
                <a:gd name="connsiteX40" fmla="*/ 45953 w 312826"/>
                <a:gd name="connsiteY40" fmla="*/ 173402 h 619363"/>
                <a:gd name="connsiteX41" fmla="*/ 51383 w 312826"/>
                <a:gd name="connsiteY41" fmla="*/ 188925 h 619363"/>
                <a:gd name="connsiteX42" fmla="*/ 55262 w 312826"/>
                <a:gd name="connsiteY42" fmla="*/ 202896 h 619363"/>
                <a:gd name="connsiteX43" fmla="*/ 51383 w 312826"/>
                <a:gd name="connsiteY43" fmla="*/ 216090 h 619363"/>
                <a:gd name="connsiteX44" fmla="*/ 46729 w 312826"/>
                <a:gd name="connsiteY44" fmla="*/ 226956 h 619363"/>
                <a:gd name="connsiteX45" fmla="*/ 46729 w 312826"/>
                <a:gd name="connsiteY45" fmla="*/ 246360 h 619363"/>
                <a:gd name="connsiteX46" fmla="*/ 35092 w 312826"/>
                <a:gd name="connsiteY46" fmla="*/ 261883 h 619363"/>
                <a:gd name="connsiteX47" fmla="*/ 35867 w 312826"/>
                <a:gd name="connsiteY47" fmla="*/ 282839 h 619363"/>
                <a:gd name="connsiteX48" fmla="*/ 39746 w 312826"/>
                <a:gd name="connsiteY48" fmla="*/ 291377 h 619363"/>
                <a:gd name="connsiteX49" fmla="*/ 31213 w 312826"/>
                <a:gd name="connsiteY49" fmla="*/ 297586 h 619363"/>
                <a:gd name="connsiteX50" fmla="*/ 30437 w 312826"/>
                <a:gd name="connsiteY50" fmla="*/ 309228 h 619363"/>
                <a:gd name="connsiteX51" fmla="*/ 26558 w 312826"/>
                <a:gd name="connsiteY51" fmla="*/ 319318 h 619363"/>
                <a:gd name="connsiteX52" fmla="*/ 22679 w 312826"/>
                <a:gd name="connsiteY52" fmla="*/ 330184 h 619363"/>
                <a:gd name="connsiteX53" fmla="*/ 25782 w 312826"/>
                <a:gd name="connsiteY53" fmla="*/ 341050 h 619363"/>
                <a:gd name="connsiteX54" fmla="*/ 25006 w 312826"/>
                <a:gd name="connsiteY54" fmla="*/ 358125 h 619363"/>
                <a:gd name="connsiteX55" fmla="*/ 22679 w 312826"/>
                <a:gd name="connsiteY55" fmla="*/ 374424 h 619363"/>
                <a:gd name="connsiteX56" fmla="*/ 24230 w 312826"/>
                <a:gd name="connsiteY56" fmla="*/ 382962 h 619363"/>
                <a:gd name="connsiteX57" fmla="*/ 26558 w 312826"/>
                <a:gd name="connsiteY57" fmla="*/ 393052 h 619363"/>
                <a:gd name="connsiteX58" fmla="*/ 31213 w 312826"/>
                <a:gd name="connsiteY58" fmla="*/ 400813 h 619363"/>
                <a:gd name="connsiteX59" fmla="*/ 33540 w 312826"/>
                <a:gd name="connsiteY59" fmla="*/ 407798 h 619363"/>
                <a:gd name="connsiteX60" fmla="*/ 27334 w 312826"/>
                <a:gd name="connsiteY60" fmla="*/ 410903 h 619363"/>
                <a:gd name="connsiteX61" fmla="*/ 29661 w 312826"/>
                <a:gd name="connsiteY61" fmla="*/ 420993 h 619363"/>
                <a:gd name="connsiteX62" fmla="*/ 27334 w 312826"/>
                <a:gd name="connsiteY62" fmla="*/ 433411 h 619363"/>
                <a:gd name="connsiteX63" fmla="*/ 26558 w 312826"/>
                <a:gd name="connsiteY63" fmla="*/ 445830 h 619363"/>
                <a:gd name="connsiteX64" fmla="*/ 21903 w 312826"/>
                <a:gd name="connsiteY64" fmla="*/ 456696 h 619363"/>
                <a:gd name="connsiteX65" fmla="*/ 15697 w 312826"/>
                <a:gd name="connsiteY65" fmla="*/ 466785 h 619363"/>
                <a:gd name="connsiteX66" fmla="*/ 16472 w 312826"/>
                <a:gd name="connsiteY66" fmla="*/ 479204 h 619363"/>
                <a:gd name="connsiteX67" fmla="*/ 10266 w 312826"/>
                <a:gd name="connsiteY67" fmla="*/ 490070 h 619363"/>
                <a:gd name="connsiteX68" fmla="*/ 1732 w 312826"/>
                <a:gd name="connsiteY68" fmla="*/ 500160 h 619363"/>
                <a:gd name="connsiteX69" fmla="*/ 2508 w 312826"/>
                <a:gd name="connsiteY69" fmla="*/ 514907 h 619363"/>
                <a:gd name="connsiteX70" fmla="*/ 5611 w 312826"/>
                <a:gd name="connsiteY70" fmla="*/ 524996 h 619363"/>
                <a:gd name="connsiteX71" fmla="*/ 20351 w 312826"/>
                <a:gd name="connsiteY71" fmla="*/ 529653 h 619363"/>
                <a:gd name="connsiteX72" fmla="*/ 21127 w 312826"/>
                <a:gd name="connsiteY72" fmla="*/ 547505 h 619363"/>
                <a:gd name="connsiteX73" fmla="*/ 28885 w 312826"/>
                <a:gd name="connsiteY73" fmla="*/ 553714 h 619363"/>
                <a:gd name="connsiteX74" fmla="*/ 56814 w 312826"/>
                <a:gd name="connsiteY74" fmla="*/ 552938 h 619363"/>
                <a:gd name="connsiteX75" fmla="*/ 65348 w 312826"/>
                <a:gd name="connsiteY75" fmla="*/ 557595 h 619363"/>
                <a:gd name="connsiteX76" fmla="*/ 80088 w 312826"/>
                <a:gd name="connsiteY76" fmla="*/ 559923 h 619363"/>
                <a:gd name="connsiteX77" fmla="*/ 71554 w 312826"/>
                <a:gd name="connsiteY77" fmla="*/ 545176 h 619363"/>
                <a:gd name="connsiteX78" fmla="*/ 70002 w 312826"/>
                <a:gd name="connsiteY78" fmla="*/ 533534 h 619363"/>
                <a:gd name="connsiteX79" fmla="*/ 73106 w 312826"/>
                <a:gd name="connsiteY79" fmla="*/ 518787 h 619363"/>
                <a:gd name="connsiteX80" fmla="*/ 81639 w 312826"/>
                <a:gd name="connsiteY80" fmla="*/ 512578 h 619363"/>
                <a:gd name="connsiteX81" fmla="*/ 90949 w 312826"/>
                <a:gd name="connsiteY81" fmla="*/ 501712 h 619363"/>
                <a:gd name="connsiteX82" fmla="*/ 101810 w 312826"/>
                <a:gd name="connsiteY82" fmla="*/ 484637 h 619363"/>
                <a:gd name="connsiteX83" fmla="*/ 120429 w 312826"/>
                <a:gd name="connsiteY83" fmla="*/ 469114 h 619363"/>
                <a:gd name="connsiteX84" fmla="*/ 123532 w 312826"/>
                <a:gd name="connsiteY84" fmla="*/ 453591 h 619363"/>
                <a:gd name="connsiteX85" fmla="*/ 108016 w 312826"/>
                <a:gd name="connsiteY85" fmla="*/ 449710 h 619363"/>
                <a:gd name="connsiteX86" fmla="*/ 97155 w 312826"/>
                <a:gd name="connsiteY86" fmla="*/ 425650 h 619363"/>
                <a:gd name="connsiteX87" fmla="*/ 122757 w 312826"/>
                <a:gd name="connsiteY87" fmla="*/ 410903 h 619363"/>
                <a:gd name="connsiteX88" fmla="*/ 126636 w 312826"/>
                <a:gd name="connsiteY88" fmla="*/ 402365 h 619363"/>
                <a:gd name="connsiteX89" fmla="*/ 130515 w 312826"/>
                <a:gd name="connsiteY89" fmla="*/ 391499 h 619363"/>
                <a:gd name="connsiteX90" fmla="*/ 136721 w 312826"/>
                <a:gd name="connsiteY90" fmla="*/ 375200 h 619363"/>
                <a:gd name="connsiteX91" fmla="*/ 140600 w 312826"/>
                <a:gd name="connsiteY91" fmla="*/ 369767 h 619363"/>
                <a:gd name="connsiteX92" fmla="*/ 141376 w 312826"/>
                <a:gd name="connsiteY92" fmla="*/ 363558 h 619363"/>
                <a:gd name="connsiteX93" fmla="*/ 149909 w 312826"/>
                <a:gd name="connsiteY93" fmla="*/ 368991 h 619363"/>
                <a:gd name="connsiteX94" fmla="*/ 156116 w 312826"/>
                <a:gd name="connsiteY94" fmla="*/ 356573 h 619363"/>
                <a:gd name="connsiteX95" fmla="*/ 145255 w 312826"/>
                <a:gd name="connsiteY95" fmla="*/ 359677 h 619363"/>
                <a:gd name="connsiteX96" fmla="*/ 136721 w 312826"/>
                <a:gd name="connsiteY96" fmla="*/ 355797 h 619363"/>
                <a:gd name="connsiteX97" fmla="*/ 134393 w 312826"/>
                <a:gd name="connsiteY97" fmla="*/ 344154 h 619363"/>
                <a:gd name="connsiteX98" fmla="*/ 133618 w 312826"/>
                <a:gd name="connsiteY98" fmla="*/ 329408 h 619363"/>
                <a:gd name="connsiteX99" fmla="*/ 158443 w 312826"/>
                <a:gd name="connsiteY99" fmla="*/ 335617 h 619363"/>
                <a:gd name="connsiteX100" fmla="*/ 176287 w 312826"/>
                <a:gd name="connsiteY100" fmla="*/ 326303 h 619363"/>
                <a:gd name="connsiteX101" fmla="*/ 177838 w 312826"/>
                <a:gd name="connsiteY101" fmla="*/ 311556 h 619363"/>
                <a:gd name="connsiteX102" fmla="*/ 177062 w 312826"/>
                <a:gd name="connsiteY102" fmla="*/ 300690 h 619363"/>
                <a:gd name="connsiteX103" fmla="*/ 182493 w 312826"/>
                <a:gd name="connsiteY103" fmla="*/ 294481 h 619363"/>
                <a:gd name="connsiteX104" fmla="*/ 222834 w 312826"/>
                <a:gd name="connsiteY104" fmla="*/ 292153 h 619363"/>
                <a:gd name="connsiteX105" fmla="*/ 252315 w 312826"/>
                <a:gd name="connsiteY105" fmla="*/ 277406 h 619363"/>
                <a:gd name="connsiteX106" fmla="*/ 266279 w 312826"/>
                <a:gd name="connsiteY106" fmla="*/ 257226 h 619363"/>
                <a:gd name="connsiteX107" fmla="*/ 260073 w 312826"/>
                <a:gd name="connsiteY107" fmla="*/ 247136 h 619363"/>
                <a:gd name="connsiteX108" fmla="*/ 256969 w 312826"/>
                <a:gd name="connsiteY108" fmla="*/ 233942 h 619363"/>
                <a:gd name="connsiteX109" fmla="*/ 248436 w 312826"/>
                <a:gd name="connsiteY109" fmla="*/ 224628 h 619363"/>
                <a:gd name="connsiteX110" fmla="*/ 237574 w 312826"/>
                <a:gd name="connsiteY110" fmla="*/ 213762 h 619363"/>
                <a:gd name="connsiteX111" fmla="*/ 243005 w 312826"/>
                <a:gd name="connsiteY111" fmla="*/ 212986 h 619363"/>
                <a:gd name="connsiteX112" fmla="*/ 243781 w 312826"/>
                <a:gd name="connsiteY112" fmla="*/ 206776 h 619363"/>
                <a:gd name="connsiteX113" fmla="*/ 239126 w 312826"/>
                <a:gd name="connsiteY113" fmla="*/ 197463 h 619363"/>
                <a:gd name="connsiteX114" fmla="*/ 243005 w 312826"/>
                <a:gd name="connsiteY114" fmla="*/ 177283 h 619363"/>
                <a:gd name="connsiteX115" fmla="*/ 248436 w 312826"/>
                <a:gd name="connsiteY115" fmla="*/ 150894 h 619363"/>
                <a:gd name="connsiteX116" fmla="*/ 267055 w 312826"/>
                <a:gd name="connsiteY116" fmla="*/ 125281 h 619363"/>
                <a:gd name="connsiteX117" fmla="*/ 294208 w 312826"/>
                <a:gd name="connsiteY117" fmla="*/ 96564 h 619363"/>
                <a:gd name="connsiteX118" fmla="*/ 312827 w 312826"/>
                <a:gd name="connsiteY118" fmla="*/ 85698 h 619363"/>
                <a:gd name="connsiteX119" fmla="*/ 305069 w 312826"/>
                <a:gd name="connsiteY119" fmla="*/ 60861 h 61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312826" h="619363">
                  <a:moveTo>
                    <a:pt x="113447" y="607268"/>
                  </a:moveTo>
                  <a:cubicBezTo>
                    <a:pt x="104913" y="607268"/>
                    <a:pt x="87846" y="590969"/>
                    <a:pt x="82415" y="587088"/>
                  </a:cubicBezTo>
                  <a:cubicBezTo>
                    <a:pt x="76985" y="583207"/>
                    <a:pt x="80864" y="578551"/>
                    <a:pt x="74657" y="580103"/>
                  </a:cubicBezTo>
                  <a:cubicBezTo>
                    <a:pt x="68451" y="580879"/>
                    <a:pt x="72330" y="575446"/>
                    <a:pt x="76209" y="573894"/>
                  </a:cubicBezTo>
                  <a:cubicBezTo>
                    <a:pt x="79312" y="572341"/>
                    <a:pt x="74657" y="566132"/>
                    <a:pt x="70778" y="565356"/>
                  </a:cubicBezTo>
                  <a:cubicBezTo>
                    <a:pt x="70002" y="574670"/>
                    <a:pt x="68451" y="616582"/>
                    <a:pt x="70778" y="616582"/>
                  </a:cubicBezTo>
                  <a:cubicBezTo>
                    <a:pt x="73106" y="617358"/>
                    <a:pt x="91725" y="614253"/>
                    <a:pt x="97155" y="618134"/>
                  </a:cubicBezTo>
                  <a:cubicBezTo>
                    <a:pt x="99483" y="618910"/>
                    <a:pt x="101810" y="620463"/>
                    <a:pt x="104137" y="618134"/>
                  </a:cubicBezTo>
                  <a:cubicBezTo>
                    <a:pt x="107241" y="614253"/>
                    <a:pt x="118102" y="616582"/>
                    <a:pt x="123532" y="612701"/>
                  </a:cubicBezTo>
                  <a:cubicBezTo>
                    <a:pt x="128963" y="608044"/>
                    <a:pt x="121981" y="607268"/>
                    <a:pt x="113447" y="607268"/>
                  </a:cubicBezTo>
                  <a:close/>
                  <a:moveTo>
                    <a:pt x="305069" y="60861"/>
                  </a:moveTo>
                  <a:cubicBezTo>
                    <a:pt x="303517" y="60085"/>
                    <a:pt x="298862" y="60085"/>
                    <a:pt x="294983" y="60085"/>
                  </a:cubicBezTo>
                  <a:cubicBezTo>
                    <a:pt x="294983" y="60861"/>
                    <a:pt x="294983" y="60861"/>
                    <a:pt x="294983" y="61637"/>
                  </a:cubicBezTo>
                  <a:cubicBezTo>
                    <a:pt x="295759" y="67846"/>
                    <a:pt x="291880" y="84922"/>
                    <a:pt x="287225" y="84922"/>
                  </a:cubicBezTo>
                  <a:cubicBezTo>
                    <a:pt x="282571" y="84145"/>
                    <a:pt x="278692" y="91907"/>
                    <a:pt x="274813" y="91131"/>
                  </a:cubicBezTo>
                  <a:cubicBezTo>
                    <a:pt x="270934" y="90354"/>
                    <a:pt x="266279" y="96564"/>
                    <a:pt x="260848" y="94235"/>
                  </a:cubicBezTo>
                  <a:cubicBezTo>
                    <a:pt x="256194" y="91131"/>
                    <a:pt x="249987" y="95011"/>
                    <a:pt x="246108" y="92683"/>
                  </a:cubicBezTo>
                  <a:cubicBezTo>
                    <a:pt x="242229" y="90354"/>
                    <a:pt x="231368" y="91907"/>
                    <a:pt x="231368" y="89578"/>
                  </a:cubicBezTo>
                  <a:cubicBezTo>
                    <a:pt x="231368" y="86474"/>
                    <a:pt x="236799" y="88026"/>
                    <a:pt x="236799" y="79488"/>
                  </a:cubicBezTo>
                  <a:cubicBezTo>
                    <a:pt x="236799" y="70951"/>
                    <a:pt x="250763" y="61637"/>
                    <a:pt x="249211" y="58533"/>
                  </a:cubicBezTo>
                  <a:cubicBezTo>
                    <a:pt x="247660" y="55428"/>
                    <a:pt x="223610" y="48443"/>
                    <a:pt x="220507" y="43786"/>
                  </a:cubicBezTo>
                  <a:cubicBezTo>
                    <a:pt x="217404" y="39905"/>
                    <a:pt x="212749" y="36024"/>
                    <a:pt x="203439" y="35248"/>
                  </a:cubicBezTo>
                  <a:cubicBezTo>
                    <a:pt x="194130" y="34472"/>
                    <a:pt x="194906" y="29815"/>
                    <a:pt x="186372" y="24382"/>
                  </a:cubicBezTo>
                  <a:cubicBezTo>
                    <a:pt x="179390" y="19725"/>
                    <a:pt x="168529" y="8859"/>
                    <a:pt x="164650" y="1874"/>
                  </a:cubicBezTo>
                  <a:cubicBezTo>
                    <a:pt x="159219" y="1098"/>
                    <a:pt x="150685" y="322"/>
                    <a:pt x="149134" y="1874"/>
                  </a:cubicBezTo>
                  <a:cubicBezTo>
                    <a:pt x="146806" y="4978"/>
                    <a:pt x="142927" y="17397"/>
                    <a:pt x="139824" y="11188"/>
                  </a:cubicBezTo>
                  <a:cubicBezTo>
                    <a:pt x="136721" y="4978"/>
                    <a:pt x="128963" y="4978"/>
                    <a:pt x="121981" y="3426"/>
                  </a:cubicBezTo>
                  <a:cubicBezTo>
                    <a:pt x="114999" y="2650"/>
                    <a:pt x="115774" y="-4335"/>
                    <a:pt x="108016" y="4202"/>
                  </a:cubicBezTo>
                  <a:cubicBezTo>
                    <a:pt x="104913" y="8083"/>
                    <a:pt x="100259" y="11188"/>
                    <a:pt x="96380" y="13516"/>
                  </a:cubicBezTo>
                  <a:cubicBezTo>
                    <a:pt x="95604" y="21277"/>
                    <a:pt x="94828" y="29039"/>
                    <a:pt x="93276" y="32143"/>
                  </a:cubicBezTo>
                  <a:cubicBezTo>
                    <a:pt x="91725" y="35248"/>
                    <a:pt x="76209" y="42234"/>
                    <a:pt x="75433" y="46114"/>
                  </a:cubicBezTo>
                  <a:cubicBezTo>
                    <a:pt x="74657" y="49995"/>
                    <a:pt x="76985" y="54652"/>
                    <a:pt x="74657" y="56980"/>
                  </a:cubicBezTo>
                  <a:cubicBezTo>
                    <a:pt x="71554" y="59309"/>
                    <a:pt x="80864" y="70951"/>
                    <a:pt x="76209" y="74056"/>
                  </a:cubicBezTo>
                  <a:cubicBezTo>
                    <a:pt x="70778" y="77160"/>
                    <a:pt x="80088" y="81817"/>
                    <a:pt x="76985" y="84145"/>
                  </a:cubicBezTo>
                  <a:cubicBezTo>
                    <a:pt x="73881" y="87250"/>
                    <a:pt x="67675" y="88026"/>
                    <a:pt x="67675" y="91907"/>
                  </a:cubicBezTo>
                  <a:cubicBezTo>
                    <a:pt x="67675" y="95011"/>
                    <a:pt x="66899" y="102773"/>
                    <a:pt x="63020" y="105101"/>
                  </a:cubicBezTo>
                  <a:cubicBezTo>
                    <a:pt x="59141" y="106654"/>
                    <a:pt x="56038" y="113639"/>
                    <a:pt x="56038" y="119072"/>
                  </a:cubicBezTo>
                  <a:cubicBezTo>
                    <a:pt x="56038" y="124505"/>
                    <a:pt x="49832" y="120624"/>
                    <a:pt x="52159" y="127610"/>
                  </a:cubicBezTo>
                  <a:cubicBezTo>
                    <a:pt x="54487" y="133819"/>
                    <a:pt x="57590" y="142356"/>
                    <a:pt x="52159" y="143909"/>
                  </a:cubicBezTo>
                  <a:cubicBezTo>
                    <a:pt x="46729" y="145461"/>
                    <a:pt x="48280" y="156327"/>
                    <a:pt x="45953" y="156327"/>
                  </a:cubicBezTo>
                  <a:cubicBezTo>
                    <a:pt x="42850" y="156327"/>
                    <a:pt x="42074" y="167193"/>
                    <a:pt x="45953" y="173402"/>
                  </a:cubicBezTo>
                  <a:cubicBezTo>
                    <a:pt x="49832" y="178835"/>
                    <a:pt x="51383" y="183492"/>
                    <a:pt x="51383" y="188925"/>
                  </a:cubicBezTo>
                  <a:cubicBezTo>
                    <a:pt x="51383" y="194358"/>
                    <a:pt x="56814" y="196687"/>
                    <a:pt x="55262" y="202896"/>
                  </a:cubicBezTo>
                  <a:cubicBezTo>
                    <a:pt x="53711" y="208329"/>
                    <a:pt x="54487" y="213762"/>
                    <a:pt x="51383" y="216090"/>
                  </a:cubicBezTo>
                  <a:cubicBezTo>
                    <a:pt x="48280" y="218419"/>
                    <a:pt x="50608" y="225404"/>
                    <a:pt x="46729" y="226956"/>
                  </a:cubicBezTo>
                  <a:cubicBezTo>
                    <a:pt x="42850" y="228509"/>
                    <a:pt x="49832" y="244032"/>
                    <a:pt x="46729" y="246360"/>
                  </a:cubicBezTo>
                  <a:cubicBezTo>
                    <a:pt x="43625" y="249464"/>
                    <a:pt x="35092" y="251793"/>
                    <a:pt x="35092" y="261883"/>
                  </a:cubicBezTo>
                  <a:cubicBezTo>
                    <a:pt x="35092" y="271973"/>
                    <a:pt x="36643" y="278182"/>
                    <a:pt x="35867" y="282839"/>
                  </a:cubicBezTo>
                  <a:cubicBezTo>
                    <a:pt x="35092" y="286720"/>
                    <a:pt x="40522" y="285943"/>
                    <a:pt x="39746" y="291377"/>
                  </a:cubicBezTo>
                  <a:cubicBezTo>
                    <a:pt x="38971" y="297586"/>
                    <a:pt x="31213" y="293705"/>
                    <a:pt x="31213" y="297586"/>
                  </a:cubicBezTo>
                  <a:cubicBezTo>
                    <a:pt x="30437" y="301466"/>
                    <a:pt x="32764" y="309228"/>
                    <a:pt x="30437" y="309228"/>
                  </a:cubicBezTo>
                  <a:cubicBezTo>
                    <a:pt x="27334" y="310004"/>
                    <a:pt x="26558" y="312332"/>
                    <a:pt x="26558" y="319318"/>
                  </a:cubicBezTo>
                  <a:cubicBezTo>
                    <a:pt x="26558" y="325527"/>
                    <a:pt x="22679" y="327079"/>
                    <a:pt x="22679" y="330184"/>
                  </a:cubicBezTo>
                  <a:cubicBezTo>
                    <a:pt x="21903" y="333288"/>
                    <a:pt x="25782" y="337169"/>
                    <a:pt x="25782" y="341050"/>
                  </a:cubicBezTo>
                  <a:cubicBezTo>
                    <a:pt x="25782" y="344931"/>
                    <a:pt x="28109" y="357349"/>
                    <a:pt x="25006" y="358125"/>
                  </a:cubicBezTo>
                  <a:cubicBezTo>
                    <a:pt x="21903" y="358901"/>
                    <a:pt x="19576" y="372872"/>
                    <a:pt x="22679" y="374424"/>
                  </a:cubicBezTo>
                  <a:cubicBezTo>
                    <a:pt x="25782" y="375976"/>
                    <a:pt x="25782" y="379857"/>
                    <a:pt x="24230" y="382962"/>
                  </a:cubicBezTo>
                  <a:cubicBezTo>
                    <a:pt x="22679" y="386066"/>
                    <a:pt x="30437" y="388395"/>
                    <a:pt x="26558" y="393052"/>
                  </a:cubicBezTo>
                  <a:cubicBezTo>
                    <a:pt x="22679" y="396932"/>
                    <a:pt x="25782" y="402365"/>
                    <a:pt x="31213" y="400813"/>
                  </a:cubicBezTo>
                  <a:cubicBezTo>
                    <a:pt x="35867" y="399261"/>
                    <a:pt x="38971" y="407798"/>
                    <a:pt x="33540" y="407798"/>
                  </a:cubicBezTo>
                  <a:cubicBezTo>
                    <a:pt x="28109" y="407798"/>
                    <a:pt x="23455" y="407798"/>
                    <a:pt x="27334" y="410903"/>
                  </a:cubicBezTo>
                  <a:cubicBezTo>
                    <a:pt x="31213" y="414008"/>
                    <a:pt x="35867" y="418664"/>
                    <a:pt x="29661" y="420993"/>
                  </a:cubicBezTo>
                  <a:cubicBezTo>
                    <a:pt x="23455" y="423321"/>
                    <a:pt x="28885" y="427202"/>
                    <a:pt x="27334" y="433411"/>
                  </a:cubicBezTo>
                  <a:cubicBezTo>
                    <a:pt x="25782" y="438844"/>
                    <a:pt x="31213" y="444277"/>
                    <a:pt x="26558" y="445830"/>
                  </a:cubicBezTo>
                  <a:cubicBezTo>
                    <a:pt x="21903" y="447382"/>
                    <a:pt x="28109" y="455919"/>
                    <a:pt x="21903" y="456696"/>
                  </a:cubicBezTo>
                  <a:cubicBezTo>
                    <a:pt x="15697" y="457472"/>
                    <a:pt x="19576" y="463681"/>
                    <a:pt x="15697" y="466785"/>
                  </a:cubicBezTo>
                  <a:cubicBezTo>
                    <a:pt x="11818" y="469890"/>
                    <a:pt x="21127" y="475323"/>
                    <a:pt x="16472" y="479204"/>
                  </a:cubicBezTo>
                  <a:cubicBezTo>
                    <a:pt x="11042" y="482308"/>
                    <a:pt x="14921" y="490070"/>
                    <a:pt x="10266" y="490070"/>
                  </a:cubicBezTo>
                  <a:cubicBezTo>
                    <a:pt x="4836" y="490070"/>
                    <a:pt x="2508" y="497055"/>
                    <a:pt x="1732" y="500160"/>
                  </a:cubicBezTo>
                  <a:cubicBezTo>
                    <a:pt x="957" y="503264"/>
                    <a:pt x="-2147" y="510250"/>
                    <a:pt x="2508" y="514907"/>
                  </a:cubicBezTo>
                  <a:cubicBezTo>
                    <a:pt x="6387" y="519564"/>
                    <a:pt x="1732" y="523444"/>
                    <a:pt x="5611" y="524996"/>
                  </a:cubicBezTo>
                  <a:cubicBezTo>
                    <a:pt x="9490" y="526549"/>
                    <a:pt x="21903" y="524220"/>
                    <a:pt x="20351" y="529653"/>
                  </a:cubicBezTo>
                  <a:cubicBezTo>
                    <a:pt x="18800" y="535086"/>
                    <a:pt x="18800" y="547505"/>
                    <a:pt x="21127" y="547505"/>
                  </a:cubicBezTo>
                  <a:cubicBezTo>
                    <a:pt x="23455" y="547505"/>
                    <a:pt x="25006" y="554490"/>
                    <a:pt x="28885" y="553714"/>
                  </a:cubicBezTo>
                  <a:cubicBezTo>
                    <a:pt x="32764" y="552938"/>
                    <a:pt x="49832" y="551386"/>
                    <a:pt x="56814" y="552938"/>
                  </a:cubicBezTo>
                  <a:cubicBezTo>
                    <a:pt x="59917" y="553714"/>
                    <a:pt x="63020" y="556042"/>
                    <a:pt x="65348" y="557595"/>
                  </a:cubicBezTo>
                  <a:cubicBezTo>
                    <a:pt x="69227" y="556042"/>
                    <a:pt x="77760" y="561475"/>
                    <a:pt x="80088" y="559923"/>
                  </a:cubicBezTo>
                  <a:cubicBezTo>
                    <a:pt x="82415" y="557595"/>
                    <a:pt x="71554" y="548281"/>
                    <a:pt x="71554" y="545176"/>
                  </a:cubicBezTo>
                  <a:cubicBezTo>
                    <a:pt x="71554" y="542072"/>
                    <a:pt x="70002" y="536639"/>
                    <a:pt x="70002" y="533534"/>
                  </a:cubicBezTo>
                  <a:cubicBezTo>
                    <a:pt x="70002" y="530430"/>
                    <a:pt x="68451" y="522668"/>
                    <a:pt x="73106" y="518787"/>
                  </a:cubicBezTo>
                  <a:cubicBezTo>
                    <a:pt x="77760" y="515683"/>
                    <a:pt x="78536" y="511802"/>
                    <a:pt x="81639" y="512578"/>
                  </a:cubicBezTo>
                  <a:cubicBezTo>
                    <a:pt x="84743" y="513354"/>
                    <a:pt x="90949" y="509473"/>
                    <a:pt x="90949" y="501712"/>
                  </a:cubicBezTo>
                  <a:cubicBezTo>
                    <a:pt x="90949" y="493175"/>
                    <a:pt x="94828" y="490070"/>
                    <a:pt x="101810" y="484637"/>
                  </a:cubicBezTo>
                  <a:cubicBezTo>
                    <a:pt x="109568" y="478428"/>
                    <a:pt x="121981" y="472219"/>
                    <a:pt x="120429" y="469114"/>
                  </a:cubicBezTo>
                  <a:cubicBezTo>
                    <a:pt x="118878" y="466009"/>
                    <a:pt x="123532" y="457472"/>
                    <a:pt x="123532" y="453591"/>
                  </a:cubicBezTo>
                  <a:cubicBezTo>
                    <a:pt x="123532" y="450487"/>
                    <a:pt x="111895" y="450487"/>
                    <a:pt x="108016" y="449710"/>
                  </a:cubicBezTo>
                  <a:cubicBezTo>
                    <a:pt x="104137" y="448158"/>
                    <a:pt x="90173" y="438844"/>
                    <a:pt x="97155" y="425650"/>
                  </a:cubicBezTo>
                  <a:cubicBezTo>
                    <a:pt x="104137" y="413231"/>
                    <a:pt x="118878" y="411679"/>
                    <a:pt x="122757" y="410903"/>
                  </a:cubicBezTo>
                  <a:cubicBezTo>
                    <a:pt x="126636" y="410903"/>
                    <a:pt x="122757" y="404694"/>
                    <a:pt x="126636" y="402365"/>
                  </a:cubicBezTo>
                  <a:cubicBezTo>
                    <a:pt x="129739" y="400037"/>
                    <a:pt x="130515" y="396932"/>
                    <a:pt x="130515" y="391499"/>
                  </a:cubicBezTo>
                  <a:cubicBezTo>
                    <a:pt x="130515" y="385290"/>
                    <a:pt x="130515" y="375976"/>
                    <a:pt x="136721" y="375200"/>
                  </a:cubicBezTo>
                  <a:cubicBezTo>
                    <a:pt x="142927" y="374424"/>
                    <a:pt x="144479" y="371320"/>
                    <a:pt x="140600" y="369767"/>
                  </a:cubicBezTo>
                  <a:cubicBezTo>
                    <a:pt x="136721" y="368991"/>
                    <a:pt x="135169" y="364334"/>
                    <a:pt x="141376" y="363558"/>
                  </a:cubicBezTo>
                  <a:cubicBezTo>
                    <a:pt x="147582" y="362782"/>
                    <a:pt x="145255" y="368991"/>
                    <a:pt x="149909" y="368991"/>
                  </a:cubicBezTo>
                  <a:cubicBezTo>
                    <a:pt x="154564" y="368991"/>
                    <a:pt x="162322" y="361230"/>
                    <a:pt x="156116" y="356573"/>
                  </a:cubicBezTo>
                  <a:cubicBezTo>
                    <a:pt x="149909" y="351916"/>
                    <a:pt x="148358" y="358901"/>
                    <a:pt x="145255" y="359677"/>
                  </a:cubicBezTo>
                  <a:cubicBezTo>
                    <a:pt x="142151" y="360454"/>
                    <a:pt x="139824" y="355797"/>
                    <a:pt x="136721" y="355797"/>
                  </a:cubicBezTo>
                  <a:cubicBezTo>
                    <a:pt x="133618" y="355797"/>
                    <a:pt x="135945" y="347259"/>
                    <a:pt x="134393" y="344154"/>
                  </a:cubicBezTo>
                  <a:cubicBezTo>
                    <a:pt x="132842" y="341050"/>
                    <a:pt x="131290" y="333288"/>
                    <a:pt x="133618" y="329408"/>
                  </a:cubicBezTo>
                  <a:cubicBezTo>
                    <a:pt x="136721" y="325527"/>
                    <a:pt x="148358" y="335617"/>
                    <a:pt x="158443" y="335617"/>
                  </a:cubicBezTo>
                  <a:cubicBezTo>
                    <a:pt x="168529" y="336393"/>
                    <a:pt x="176287" y="330184"/>
                    <a:pt x="176287" y="326303"/>
                  </a:cubicBezTo>
                  <a:cubicBezTo>
                    <a:pt x="176287" y="322422"/>
                    <a:pt x="171632" y="315437"/>
                    <a:pt x="177838" y="311556"/>
                  </a:cubicBezTo>
                  <a:cubicBezTo>
                    <a:pt x="184045" y="307675"/>
                    <a:pt x="178614" y="306123"/>
                    <a:pt x="177062" y="300690"/>
                  </a:cubicBezTo>
                  <a:cubicBezTo>
                    <a:pt x="175511" y="295257"/>
                    <a:pt x="180166" y="291377"/>
                    <a:pt x="182493" y="294481"/>
                  </a:cubicBezTo>
                  <a:cubicBezTo>
                    <a:pt x="185596" y="297586"/>
                    <a:pt x="205767" y="295257"/>
                    <a:pt x="222834" y="292153"/>
                  </a:cubicBezTo>
                  <a:cubicBezTo>
                    <a:pt x="239902" y="289048"/>
                    <a:pt x="251539" y="282839"/>
                    <a:pt x="252315" y="277406"/>
                  </a:cubicBezTo>
                  <a:cubicBezTo>
                    <a:pt x="253090" y="272749"/>
                    <a:pt x="263952" y="261107"/>
                    <a:pt x="266279" y="257226"/>
                  </a:cubicBezTo>
                  <a:cubicBezTo>
                    <a:pt x="268606" y="253345"/>
                    <a:pt x="266279" y="247912"/>
                    <a:pt x="260073" y="247136"/>
                  </a:cubicBezTo>
                  <a:cubicBezTo>
                    <a:pt x="253090" y="246360"/>
                    <a:pt x="253866" y="237822"/>
                    <a:pt x="256969" y="233942"/>
                  </a:cubicBezTo>
                  <a:cubicBezTo>
                    <a:pt x="260848" y="229285"/>
                    <a:pt x="254642" y="225404"/>
                    <a:pt x="248436" y="224628"/>
                  </a:cubicBezTo>
                  <a:cubicBezTo>
                    <a:pt x="242229" y="223852"/>
                    <a:pt x="231368" y="219195"/>
                    <a:pt x="237574" y="213762"/>
                  </a:cubicBezTo>
                  <a:cubicBezTo>
                    <a:pt x="240678" y="211433"/>
                    <a:pt x="241453" y="211433"/>
                    <a:pt x="243005" y="212986"/>
                  </a:cubicBezTo>
                  <a:cubicBezTo>
                    <a:pt x="243781" y="210657"/>
                    <a:pt x="244557" y="207553"/>
                    <a:pt x="243781" y="206776"/>
                  </a:cubicBezTo>
                  <a:cubicBezTo>
                    <a:pt x="242229" y="205224"/>
                    <a:pt x="239126" y="206776"/>
                    <a:pt x="239126" y="197463"/>
                  </a:cubicBezTo>
                  <a:cubicBezTo>
                    <a:pt x="239126" y="187373"/>
                    <a:pt x="243005" y="189701"/>
                    <a:pt x="243005" y="177283"/>
                  </a:cubicBezTo>
                  <a:cubicBezTo>
                    <a:pt x="243005" y="164865"/>
                    <a:pt x="248436" y="157103"/>
                    <a:pt x="248436" y="150894"/>
                  </a:cubicBezTo>
                  <a:cubicBezTo>
                    <a:pt x="248436" y="143909"/>
                    <a:pt x="260073" y="136147"/>
                    <a:pt x="267055" y="125281"/>
                  </a:cubicBezTo>
                  <a:cubicBezTo>
                    <a:pt x="274037" y="114415"/>
                    <a:pt x="288001" y="100444"/>
                    <a:pt x="294208" y="96564"/>
                  </a:cubicBezTo>
                  <a:cubicBezTo>
                    <a:pt x="300414" y="92683"/>
                    <a:pt x="312051" y="89578"/>
                    <a:pt x="312827" y="85698"/>
                  </a:cubicBezTo>
                  <a:cubicBezTo>
                    <a:pt x="308948" y="81041"/>
                    <a:pt x="307396" y="61637"/>
                    <a:pt x="305069" y="60861"/>
                  </a:cubicBez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28" name="Forma libre 19">
              <a:extLst>
                <a:ext uri="{FF2B5EF4-FFF2-40B4-BE49-F238E27FC236}">
                  <a16:creationId xmlns:a16="http://schemas.microsoft.com/office/drawing/2014/main" id="{139048BF-305D-A6D7-3161-8632FDB785F7}"/>
                </a:ext>
              </a:extLst>
            </p:cNvPr>
            <p:cNvSpPr/>
            <p:nvPr/>
          </p:nvSpPr>
          <p:spPr>
            <a:xfrm>
              <a:off x="2941326" y="3636062"/>
              <a:ext cx="164085" cy="836550"/>
            </a:xfrm>
            <a:custGeom>
              <a:avLst/>
              <a:gdLst>
                <a:gd name="connsiteX0" fmla="*/ 65943 w 137315"/>
                <a:gd name="connsiteY0" fmla="*/ 624582 h 700070"/>
                <a:gd name="connsiteX1" fmla="*/ 58185 w 137315"/>
                <a:gd name="connsiteY1" fmla="*/ 618373 h 700070"/>
                <a:gd name="connsiteX2" fmla="*/ 57409 w 137315"/>
                <a:gd name="connsiteY2" fmla="*/ 600522 h 700070"/>
                <a:gd name="connsiteX3" fmla="*/ 42669 w 137315"/>
                <a:gd name="connsiteY3" fmla="*/ 595865 h 700070"/>
                <a:gd name="connsiteX4" fmla="*/ 39566 w 137315"/>
                <a:gd name="connsiteY4" fmla="*/ 585775 h 700070"/>
                <a:gd name="connsiteX5" fmla="*/ 38790 w 137315"/>
                <a:gd name="connsiteY5" fmla="*/ 571028 h 700070"/>
                <a:gd name="connsiteX6" fmla="*/ 47324 w 137315"/>
                <a:gd name="connsiteY6" fmla="*/ 560938 h 700070"/>
                <a:gd name="connsiteX7" fmla="*/ 53530 w 137315"/>
                <a:gd name="connsiteY7" fmla="*/ 550072 h 700070"/>
                <a:gd name="connsiteX8" fmla="*/ 52754 w 137315"/>
                <a:gd name="connsiteY8" fmla="*/ 537654 h 700070"/>
                <a:gd name="connsiteX9" fmla="*/ 58961 w 137315"/>
                <a:gd name="connsiteY9" fmla="*/ 527564 h 700070"/>
                <a:gd name="connsiteX10" fmla="*/ 63615 w 137315"/>
                <a:gd name="connsiteY10" fmla="*/ 516698 h 700070"/>
                <a:gd name="connsiteX11" fmla="*/ 64391 w 137315"/>
                <a:gd name="connsiteY11" fmla="*/ 504280 h 700070"/>
                <a:gd name="connsiteX12" fmla="*/ 66719 w 137315"/>
                <a:gd name="connsiteY12" fmla="*/ 491861 h 700070"/>
                <a:gd name="connsiteX13" fmla="*/ 64391 w 137315"/>
                <a:gd name="connsiteY13" fmla="*/ 481771 h 700070"/>
                <a:gd name="connsiteX14" fmla="*/ 70598 w 137315"/>
                <a:gd name="connsiteY14" fmla="*/ 478667 h 700070"/>
                <a:gd name="connsiteX15" fmla="*/ 68270 w 137315"/>
                <a:gd name="connsiteY15" fmla="*/ 471681 h 700070"/>
                <a:gd name="connsiteX16" fmla="*/ 63615 w 137315"/>
                <a:gd name="connsiteY16" fmla="*/ 463920 h 700070"/>
                <a:gd name="connsiteX17" fmla="*/ 61288 w 137315"/>
                <a:gd name="connsiteY17" fmla="*/ 453830 h 700070"/>
                <a:gd name="connsiteX18" fmla="*/ 59736 w 137315"/>
                <a:gd name="connsiteY18" fmla="*/ 445292 h 700070"/>
                <a:gd name="connsiteX19" fmla="*/ 62064 w 137315"/>
                <a:gd name="connsiteY19" fmla="*/ 428993 h 700070"/>
                <a:gd name="connsiteX20" fmla="*/ 62840 w 137315"/>
                <a:gd name="connsiteY20" fmla="*/ 411918 h 700070"/>
                <a:gd name="connsiteX21" fmla="*/ 59736 w 137315"/>
                <a:gd name="connsiteY21" fmla="*/ 401052 h 700070"/>
                <a:gd name="connsiteX22" fmla="*/ 63615 w 137315"/>
                <a:gd name="connsiteY22" fmla="*/ 390186 h 700070"/>
                <a:gd name="connsiteX23" fmla="*/ 67494 w 137315"/>
                <a:gd name="connsiteY23" fmla="*/ 380096 h 700070"/>
                <a:gd name="connsiteX24" fmla="*/ 68270 w 137315"/>
                <a:gd name="connsiteY24" fmla="*/ 368454 h 700070"/>
                <a:gd name="connsiteX25" fmla="*/ 76804 w 137315"/>
                <a:gd name="connsiteY25" fmla="*/ 362245 h 700070"/>
                <a:gd name="connsiteX26" fmla="*/ 72925 w 137315"/>
                <a:gd name="connsiteY26" fmla="*/ 353707 h 700070"/>
                <a:gd name="connsiteX27" fmla="*/ 72149 w 137315"/>
                <a:gd name="connsiteY27" fmla="*/ 332751 h 700070"/>
                <a:gd name="connsiteX28" fmla="*/ 83786 w 137315"/>
                <a:gd name="connsiteY28" fmla="*/ 317228 h 700070"/>
                <a:gd name="connsiteX29" fmla="*/ 83786 w 137315"/>
                <a:gd name="connsiteY29" fmla="*/ 297825 h 700070"/>
                <a:gd name="connsiteX30" fmla="*/ 88441 w 137315"/>
                <a:gd name="connsiteY30" fmla="*/ 286959 h 700070"/>
                <a:gd name="connsiteX31" fmla="*/ 92320 w 137315"/>
                <a:gd name="connsiteY31" fmla="*/ 273764 h 700070"/>
                <a:gd name="connsiteX32" fmla="*/ 88441 w 137315"/>
                <a:gd name="connsiteY32" fmla="*/ 259794 h 700070"/>
                <a:gd name="connsiteX33" fmla="*/ 83010 w 137315"/>
                <a:gd name="connsiteY33" fmla="*/ 244271 h 700070"/>
                <a:gd name="connsiteX34" fmla="*/ 83010 w 137315"/>
                <a:gd name="connsiteY34" fmla="*/ 227195 h 700070"/>
                <a:gd name="connsiteX35" fmla="*/ 89217 w 137315"/>
                <a:gd name="connsiteY35" fmla="*/ 214777 h 700070"/>
                <a:gd name="connsiteX36" fmla="*/ 89217 w 137315"/>
                <a:gd name="connsiteY36" fmla="*/ 198478 h 700070"/>
                <a:gd name="connsiteX37" fmla="*/ 93096 w 137315"/>
                <a:gd name="connsiteY37" fmla="*/ 189940 h 700070"/>
                <a:gd name="connsiteX38" fmla="*/ 100078 w 137315"/>
                <a:gd name="connsiteY38" fmla="*/ 175970 h 700070"/>
                <a:gd name="connsiteX39" fmla="*/ 104733 w 137315"/>
                <a:gd name="connsiteY39" fmla="*/ 162775 h 700070"/>
                <a:gd name="connsiteX40" fmla="*/ 114042 w 137315"/>
                <a:gd name="connsiteY40" fmla="*/ 155014 h 700070"/>
                <a:gd name="connsiteX41" fmla="*/ 113266 w 137315"/>
                <a:gd name="connsiteY41" fmla="*/ 144924 h 700070"/>
                <a:gd name="connsiteX42" fmla="*/ 111715 w 137315"/>
                <a:gd name="connsiteY42" fmla="*/ 127849 h 700070"/>
                <a:gd name="connsiteX43" fmla="*/ 112490 w 137315"/>
                <a:gd name="connsiteY43" fmla="*/ 116982 h 700070"/>
                <a:gd name="connsiteX44" fmla="*/ 130334 w 137315"/>
                <a:gd name="connsiteY44" fmla="*/ 103012 h 700070"/>
                <a:gd name="connsiteX45" fmla="*/ 133437 w 137315"/>
                <a:gd name="connsiteY45" fmla="*/ 84384 h 700070"/>
                <a:gd name="connsiteX46" fmla="*/ 123352 w 137315"/>
                <a:gd name="connsiteY46" fmla="*/ 87489 h 700070"/>
                <a:gd name="connsiteX47" fmla="*/ 119473 w 137315"/>
                <a:gd name="connsiteY47" fmla="*/ 70414 h 700070"/>
                <a:gd name="connsiteX48" fmla="*/ 114042 w 137315"/>
                <a:gd name="connsiteY48" fmla="*/ 56443 h 700070"/>
                <a:gd name="connsiteX49" fmla="*/ 108611 w 137315"/>
                <a:gd name="connsiteY49" fmla="*/ 43249 h 700070"/>
                <a:gd name="connsiteX50" fmla="*/ 111715 w 137315"/>
                <a:gd name="connsiteY50" fmla="*/ 32383 h 700070"/>
                <a:gd name="connsiteX51" fmla="*/ 105508 w 137315"/>
                <a:gd name="connsiteY51" fmla="*/ 23845 h 700070"/>
                <a:gd name="connsiteX52" fmla="*/ 101629 w 137315"/>
                <a:gd name="connsiteY52" fmla="*/ 7546 h 700070"/>
                <a:gd name="connsiteX53" fmla="*/ 94647 w 137315"/>
                <a:gd name="connsiteY53" fmla="*/ 561 h 700070"/>
                <a:gd name="connsiteX54" fmla="*/ 88441 w 137315"/>
                <a:gd name="connsiteY54" fmla="*/ 12979 h 700070"/>
                <a:gd name="connsiteX55" fmla="*/ 85338 w 137315"/>
                <a:gd name="connsiteY55" fmla="*/ 15307 h 700070"/>
                <a:gd name="connsiteX56" fmla="*/ 85338 w 137315"/>
                <a:gd name="connsiteY56" fmla="*/ 29278 h 700070"/>
                <a:gd name="connsiteX57" fmla="*/ 86113 w 137315"/>
                <a:gd name="connsiteY57" fmla="*/ 69638 h 700070"/>
                <a:gd name="connsiteX58" fmla="*/ 79907 w 137315"/>
                <a:gd name="connsiteY58" fmla="*/ 92922 h 700070"/>
                <a:gd name="connsiteX59" fmla="*/ 82234 w 137315"/>
                <a:gd name="connsiteY59" fmla="*/ 102236 h 700070"/>
                <a:gd name="connsiteX60" fmla="*/ 80683 w 137315"/>
                <a:gd name="connsiteY60" fmla="*/ 123192 h 700070"/>
                <a:gd name="connsiteX61" fmla="*/ 73701 w 137315"/>
                <a:gd name="connsiteY61" fmla="*/ 158895 h 700070"/>
                <a:gd name="connsiteX62" fmla="*/ 69822 w 137315"/>
                <a:gd name="connsiteY62" fmla="*/ 175193 h 700070"/>
                <a:gd name="connsiteX63" fmla="*/ 62840 w 137315"/>
                <a:gd name="connsiteY63" fmla="*/ 188388 h 700070"/>
                <a:gd name="connsiteX64" fmla="*/ 69046 w 137315"/>
                <a:gd name="connsiteY64" fmla="*/ 207015 h 700070"/>
                <a:gd name="connsiteX65" fmla="*/ 62840 w 137315"/>
                <a:gd name="connsiteY65" fmla="*/ 224091 h 700070"/>
                <a:gd name="connsiteX66" fmla="*/ 62840 w 137315"/>
                <a:gd name="connsiteY66" fmla="*/ 258241 h 700070"/>
                <a:gd name="connsiteX67" fmla="*/ 59736 w 137315"/>
                <a:gd name="connsiteY67" fmla="*/ 269107 h 700070"/>
                <a:gd name="connsiteX68" fmla="*/ 54306 w 137315"/>
                <a:gd name="connsiteY68" fmla="*/ 288511 h 700070"/>
                <a:gd name="connsiteX69" fmla="*/ 41893 w 137315"/>
                <a:gd name="connsiteY69" fmla="*/ 321885 h 700070"/>
                <a:gd name="connsiteX70" fmla="*/ 34911 w 137315"/>
                <a:gd name="connsiteY70" fmla="*/ 334303 h 700070"/>
                <a:gd name="connsiteX71" fmla="*/ 32583 w 137315"/>
                <a:gd name="connsiteY71" fmla="*/ 345946 h 700070"/>
                <a:gd name="connsiteX72" fmla="*/ 34911 w 137315"/>
                <a:gd name="connsiteY72" fmla="*/ 365349 h 700070"/>
                <a:gd name="connsiteX73" fmla="*/ 35687 w 137315"/>
                <a:gd name="connsiteY73" fmla="*/ 381648 h 700070"/>
                <a:gd name="connsiteX74" fmla="*/ 31032 w 137315"/>
                <a:gd name="connsiteY74" fmla="*/ 394843 h 700070"/>
                <a:gd name="connsiteX75" fmla="*/ 28704 w 137315"/>
                <a:gd name="connsiteY75" fmla="*/ 413470 h 700070"/>
                <a:gd name="connsiteX76" fmla="*/ 27153 w 137315"/>
                <a:gd name="connsiteY76" fmla="*/ 422784 h 700070"/>
                <a:gd name="connsiteX77" fmla="*/ 20946 w 137315"/>
                <a:gd name="connsiteY77" fmla="*/ 439859 h 700070"/>
                <a:gd name="connsiteX78" fmla="*/ 27929 w 137315"/>
                <a:gd name="connsiteY78" fmla="*/ 449949 h 700070"/>
                <a:gd name="connsiteX79" fmla="*/ 34911 w 137315"/>
                <a:gd name="connsiteY79" fmla="*/ 422008 h 700070"/>
                <a:gd name="connsiteX80" fmla="*/ 41117 w 137315"/>
                <a:gd name="connsiteY80" fmla="*/ 415799 h 700070"/>
                <a:gd name="connsiteX81" fmla="*/ 44996 w 137315"/>
                <a:gd name="connsiteY81" fmla="*/ 422008 h 700070"/>
                <a:gd name="connsiteX82" fmla="*/ 45772 w 137315"/>
                <a:gd name="connsiteY82" fmla="*/ 428993 h 700070"/>
                <a:gd name="connsiteX83" fmla="*/ 44220 w 137315"/>
                <a:gd name="connsiteY83" fmla="*/ 442188 h 700070"/>
                <a:gd name="connsiteX84" fmla="*/ 40341 w 137315"/>
                <a:gd name="connsiteY84" fmla="*/ 454606 h 700070"/>
                <a:gd name="connsiteX85" fmla="*/ 37238 w 137315"/>
                <a:gd name="connsiteY85" fmla="*/ 464696 h 700070"/>
                <a:gd name="connsiteX86" fmla="*/ 38014 w 137315"/>
                <a:gd name="connsiteY86" fmla="*/ 472458 h 700070"/>
                <a:gd name="connsiteX87" fmla="*/ 38014 w 137315"/>
                <a:gd name="connsiteY87" fmla="*/ 478667 h 700070"/>
                <a:gd name="connsiteX88" fmla="*/ 38790 w 137315"/>
                <a:gd name="connsiteY88" fmla="*/ 487981 h 700070"/>
                <a:gd name="connsiteX89" fmla="*/ 31032 w 137315"/>
                <a:gd name="connsiteY89" fmla="*/ 492637 h 700070"/>
                <a:gd name="connsiteX90" fmla="*/ 32583 w 137315"/>
                <a:gd name="connsiteY90" fmla="*/ 502727 h 700070"/>
                <a:gd name="connsiteX91" fmla="*/ 22498 w 137315"/>
                <a:gd name="connsiteY91" fmla="*/ 498847 h 700070"/>
                <a:gd name="connsiteX92" fmla="*/ 29480 w 137315"/>
                <a:gd name="connsiteY92" fmla="*/ 488757 h 700070"/>
                <a:gd name="connsiteX93" fmla="*/ 20946 w 137315"/>
                <a:gd name="connsiteY93" fmla="*/ 477115 h 700070"/>
                <a:gd name="connsiteX94" fmla="*/ 26377 w 137315"/>
                <a:gd name="connsiteY94" fmla="*/ 489533 h 700070"/>
                <a:gd name="connsiteX95" fmla="*/ 17843 w 137315"/>
                <a:gd name="connsiteY95" fmla="*/ 493413 h 700070"/>
                <a:gd name="connsiteX96" fmla="*/ 8534 w 137315"/>
                <a:gd name="connsiteY96" fmla="*/ 499623 h 700070"/>
                <a:gd name="connsiteX97" fmla="*/ 9310 w 137315"/>
                <a:gd name="connsiteY97" fmla="*/ 507384 h 700070"/>
                <a:gd name="connsiteX98" fmla="*/ 0 w 137315"/>
                <a:gd name="connsiteY98" fmla="*/ 516698 h 700070"/>
                <a:gd name="connsiteX99" fmla="*/ 3879 w 137315"/>
                <a:gd name="connsiteY99" fmla="*/ 517474 h 700070"/>
                <a:gd name="connsiteX100" fmla="*/ 10861 w 137315"/>
                <a:gd name="connsiteY100" fmla="*/ 517474 h 700070"/>
                <a:gd name="connsiteX101" fmla="*/ 20171 w 137315"/>
                <a:gd name="connsiteY101" fmla="*/ 518250 h 700070"/>
                <a:gd name="connsiteX102" fmla="*/ 21722 w 137315"/>
                <a:gd name="connsiteY102" fmla="*/ 526012 h 700070"/>
                <a:gd name="connsiteX103" fmla="*/ 17067 w 137315"/>
                <a:gd name="connsiteY103" fmla="*/ 535326 h 700070"/>
                <a:gd name="connsiteX104" fmla="*/ 31808 w 137315"/>
                <a:gd name="connsiteY104" fmla="*/ 536878 h 700070"/>
                <a:gd name="connsiteX105" fmla="*/ 31808 w 137315"/>
                <a:gd name="connsiteY105" fmla="*/ 543087 h 700070"/>
                <a:gd name="connsiteX106" fmla="*/ 21722 w 137315"/>
                <a:gd name="connsiteY106" fmla="*/ 540758 h 700070"/>
                <a:gd name="connsiteX107" fmla="*/ 12413 w 137315"/>
                <a:gd name="connsiteY107" fmla="*/ 541535 h 700070"/>
                <a:gd name="connsiteX108" fmla="*/ 2327 w 137315"/>
                <a:gd name="connsiteY108" fmla="*/ 550072 h 700070"/>
                <a:gd name="connsiteX109" fmla="*/ 8534 w 137315"/>
                <a:gd name="connsiteY109" fmla="*/ 557058 h 700070"/>
                <a:gd name="connsiteX110" fmla="*/ 16292 w 137315"/>
                <a:gd name="connsiteY110" fmla="*/ 552401 h 700070"/>
                <a:gd name="connsiteX111" fmla="*/ 22498 w 137315"/>
                <a:gd name="connsiteY111" fmla="*/ 553177 h 700070"/>
                <a:gd name="connsiteX112" fmla="*/ 14740 w 137315"/>
                <a:gd name="connsiteY112" fmla="*/ 559386 h 700070"/>
                <a:gd name="connsiteX113" fmla="*/ 6206 w 137315"/>
                <a:gd name="connsiteY113" fmla="*/ 568700 h 700070"/>
                <a:gd name="connsiteX114" fmla="*/ 9310 w 137315"/>
                <a:gd name="connsiteY114" fmla="*/ 574909 h 700070"/>
                <a:gd name="connsiteX115" fmla="*/ 13189 w 137315"/>
                <a:gd name="connsiteY115" fmla="*/ 579566 h 700070"/>
                <a:gd name="connsiteX116" fmla="*/ 17843 w 137315"/>
                <a:gd name="connsiteY116" fmla="*/ 573357 h 700070"/>
                <a:gd name="connsiteX117" fmla="*/ 24050 w 137315"/>
                <a:gd name="connsiteY117" fmla="*/ 566371 h 700070"/>
                <a:gd name="connsiteX118" fmla="*/ 21722 w 137315"/>
                <a:gd name="connsiteY118" fmla="*/ 577237 h 700070"/>
                <a:gd name="connsiteX119" fmla="*/ 19395 w 137315"/>
                <a:gd name="connsiteY119" fmla="*/ 588880 h 700070"/>
                <a:gd name="connsiteX120" fmla="*/ 15516 w 137315"/>
                <a:gd name="connsiteY120" fmla="*/ 595089 h 700070"/>
                <a:gd name="connsiteX121" fmla="*/ 10085 w 137315"/>
                <a:gd name="connsiteY121" fmla="*/ 598969 h 700070"/>
                <a:gd name="connsiteX122" fmla="*/ 10085 w 137315"/>
                <a:gd name="connsiteY122" fmla="*/ 608283 h 700070"/>
                <a:gd name="connsiteX123" fmla="*/ 18619 w 137315"/>
                <a:gd name="connsiteY123" fmla="*/ 605955 h 700070"/>
                <a:gd name="connsiteX124" fmla="*/ 26377 w 137315"/>
                <a:gd name="connsiteY124" fmla="*/ 605955 h 700070"/>
                <a:gd name="connsiteX125" fmla="*/ 29480 w 137315"/>
                <a:gd name="connsiteY125" fmla="*/ 611388 h 700070"/>
                <a:gd name="connsiteX126" fmla="*/ 22498 w 137315"/>
                <a:gd name="connsiteY126" fmla="*/ 618373 h 700070"/>
                <a:gd name="connsiteX127" fmla="*/ 31808 w 137315"/>
                <a:gd name="connsiteY127" fmla="*/ 619149 h 700070"/>
                <a:gd name="connsiteX128" fmla="*/ 37238 w 137315"/>
                <a:gd name="connsiteY128" fmla="*/ 617597 h 700070"/>
                <a:gd name="connsiteX129" fmla="*/ 47324 w 137315"/>
                <a:gd name="connsiteY129" fmla="*/ 620702 h 700070"/>
                <a:gd name="connsiteX130" fmla="*/ 33359 w 137315"/>
                <a:gd name="connsiteY130" fmla="*/ 626135 h 700070"/>
                <a:gd name="connsiteX131" fmla="*/ 28704 w 137315"/>
                <a:gd name="connsiteY131" fmla="*/ 635448 h 700070"/>
                <a:gd name="connsiteX132" fmla="*/ 40341 w 137315"/>
                <a:gd name="connsiteY132" fmla="*/ 631568 h 700070"/>
                <a:gd name="connsiteX133" fmla="*/ 64391 w 137315"/>
                <a:gd name="connsiteY133" fmla="*/ 633120 h 700070"/>
                <a:gd name="connsiteX134" fmla="*/ 55082 w 137315"/>
                <a:gd name="connsiteY134" fmla="*/ 636225 h 700070"/>
                <a:gd name="connsiteX135" fmla="*/ 45772 w 137315"/>
                <a:gd name="connsiteY135" fmla="*/ 637777 h 700070"/>
                <a:gd name="connsiteX136" fmla="*/ 37238 w 137315"/>
                <a:gd name="connsiteY136" fmla="*/ 643210 h 700070"/>
                <a:gd name="connsiteX137" fmla="*/ 37238 w 137315"/>
                <a:gd name="connsiteY137" fmla="*/ 649419 h 700070"/>
                <a:gd name="connsiteX138" fmla="*/ 51203 w 137315"/>
                <a:gd name="connsiteY138" fmla="*/ 643210 h 700070"/>
                <a:gd name="connsiteX139" fmla="*/ 69046 w 137315"/>
                <a:gd name="connsiteY139" fmla="*/ 640105 h 700070"/>
                <a:gd name="connsiteX140" fmla="*/ 57409 w 137315"/>
                <a:gd name="connsiteY140" fmla="*/ 646314 h 700070"/>
                <a:gd name="connsiteX141" fmla="*/ 49651 w 137315"/>
                <a:gd name="connsiteY141" fmla="*/ 654076 h 700070"/>
                <a:gd name="connsiteX142" fmla="*/ 33359 w 137315"/>
                <a:gd name="connsiteY142" fmla="*/ 651747 h 700070"/>
                <a:gd name="connsiteX143" fmla="*/ 34911 w 137315"/>
                <a:gd name="connsiteY143" fmla="*/ 661837 h 700070"/>
                <a:gd name="connsiteX144" fmla="*/ 48099 w 137315"/>
                <a:gd name="connsiteY144" fmla="*/ 664942 h 700070"/>
                <a:gd name="connsiteX145" fmla="*/ 58185 w 137315"/>
                <a:gd name="connsiteY145" fmla="*/ 668823 h 700070"/>
                <a:gd name="connsiteX146" fmla="*/ 55082 w 137315"/>
                <a:gd name="connsiteY146" fmla="*/ 663390 h 700070"/>
                <a:gd name="connsiteX147" fmla="*/ 61288 w 137315"/>
                <a:gd name="connsiteY147" fmla="*/ 658733 h 700070"/>
                <a:gd name="connsiteX148" fmla="*/ 73701 w 137315"/>
                <a:gd name="connsiteY148" fmla="*/ 647867 h 700070"/>
                <a:gd name="connsiteX149" fmla="*/ 87665 w 137315"/>
                <a:gd name="connsiteY149" fmla="*/ 633120 h 700070"/>
                <a:gd name="connsiteX150" fmla="*/ 85338 w 137315"/>
                <a:gd name="connsiteY150" fmla="*/ 640881 h 700070"/>
                <a:gd name="connsiteX151" fmla="*/ 83010 w 137315"/>
                <a:gd name="connsiteY151" fmla="*/ 650195 h 700070"/>
                <a:gd name="connsiteX152" fmla="*/ 96975 w 137315"/>
                <a:gd name="connsiteY152" fmla="*/ 650971 h 700070"/>
                <a:gd name="connsiteX153" fmla="*/ 88441 w 137315"/>
                <a:gd name="connsiteY153" fmla="*/ 657957 h 700070"/>
                <a:gd name="connsiteX154" fmla="*/ 89217 w 137315"/>
                <a:gd name="connsiteY154" fmla="*/ 668823 h 700070"/>
                <a:gd name="connsiteX155" fmla="*/ 83010 w 137315"/>
                <a:gd name="connsiteY155" fmla="*/ 656404 h 700070"/>
                <a:gd name="connsiteX156" fmla="*/ 79907 w 137315"/>
                <a:gd name="connsiteY156" fmla="*/ 665718 h 700070"/>
                <a:gd name="connsiteX157" fmla="*/ 72149 w 137315"/>
                <a:gd name="connsiteY157" fmla="*/ 662613 h 700070"/>
                <a:gd name="connsiteX158" fmla="*/ 68270 w 137315"/>
                <a:gd name="connsiteY158" fmla="*/ 668823 h 700070"/>
                <a:gd name="connsiteX159" fmla="*/ 60512 w 137315"/>
                <a:gd name="connsiteY159" fmla="*/ 675032 h 700070"/>
                <a:gd name="connsiteX160" fmla="*/ 72149 w 137315"/>
                <a:gd name="connsiteY160" fmla="*/ 677360 h 700070"/>
                <a:gd name="connsiteX161" fmla="*/ 79907 w 137315"/>
                <a:gd name="connsiteY161" fmla="*/ 691331 h 700070"/>
                <a:gd name="connsiteX162" fmla="*/ 85338 w 137315"/>
                <a:gd name="connsiteY162" fmla="*/ 678913 h 700070"/>
                <a:gd name="connsiteX163" fmla="*/ 96199 w 137315"/>
                <a:gd name="connsiteY163" fmla="*/ 693659 h 700070"/>
                <a:gd name="connsiteX164" fmla="*/ 101629 w 137315"/>
                <a:gd name="connsiteY164" fmla="*/ 688226 h 700070"/>
                <a:gd name="connsiteX165" fmla="*/ 117921 w 137315"/>
                <a:gd name="connsiteY165" fmla="*/ 699868 h 700070"/>
                <a:gd name="connsiteX166" fmla="*/ 115594 w 137315"/>
                <a:gd name="connsiteY166" fmla="*/ 689779 h 700070"/>
                <a:gd name="connsiteX167" fmla="*/ 124903 w 137315"/>
                <a:gd name="connsiteY167" fmla="*/ 689779 h 700070"/>
                <a:gd name="connsiteX168" fmla="*/ 134989 w 137315"/>
                <a:gd name="connsiteY168" fmla="*/ 688226 h 700070"/>
                <a:gd name="connsiteX169" fmla="*/ 137316 w 137315"/>
                <a:gd name="connsiteY169" fmla="*/ 687450 h 700070"/>
                <a:gd name="connsiteX170" fmla="*/ 110939 w 137315"/>
                <a:gd name="connsiteY170" fmla="*/ 685898 h 700070"/>
                <a:gd name="connsiteX171" fmla="*/ 110939 w 137315"/>
                <a:gd name="connsiteY171" fmla="*/ 634672 h 700070"/>
                <a:gd name="connsiteX172" fmla="*/ 110163 w 137315"/>
                <a:gd name="connsiteY172" fmla="*/ 634672 h 700070"/>
                <a:gd name="connsiteX173" fmla="*/ 97750 w 137315"/>
                <a:gd name="connsiteY173" fmla="*/ 628463 h 700070"/>
                <a:gd name="connsiteX174" fmla="*/ 99302 w 137315"/>
                <a:gd name="connsiteY174" fmla="*/ 626135 h 700070"/>
                <a:gd name="connsiteX175" fmla="*/ 90768 w 137315"/>
                <a:gd name="connsiteY175" fmla="*/ 621478 h 700070"/>
                <a:gd name="connsiteX176" fmla="*/ 65943 w 137315"/>
                <a:gd name="connsiteY176" fmla="*/ 624582 h 700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</a:cxnLst>
              <a:rect l="l" t="t" r="r" b="b"/>
              <a:pathLst>
                <a:path w="137315" h="700070">
                  <a:moveTo>
                    <a:pt x="65943" y="624582"/>
                  </a:moveTo>
                  <a:cubicBezTo>
                    <a:pt x="62064" y="625358"/>
                    <a:pt x="60512" y="618373"/>
                    <a:pt x="58185" y="618373"/>
                  </a:cubicBezTo>
                  <a:cubicBezTo>
                    <a:pt x="55857" y="618373"/>
                    <a:pt x="55082" y="605955"/>
                    <a:pt x="57409" y="600522"/>
                  </a:cubicBezTo>
                  <a:cubicBezTo>
                    <a:pt x="58961" y="595089"/>
                    <a:pt x="46548" y="597417"/>
                    <a:pt x="42669" y="595865"/>
                  </a:cubicBezTo>
                  <a:cubicBezTo>
                    <a:pt x="38790" y="594312"/>
                    <a:pt x="44220" y="590432"/>
                    <a:pt x="39566" y="585775"/>
                  </a:cubicBezTo>
                  <a:cubicBezTo>
                    <a:pt x="35687" y="581118"/>
                    <a:pt x="38790" y="574909"/>
                    <a:pt x="38790" y="571028"/>
                  </a:cubicBezTo>
                  <a:cubicBezTo>
                    <a:pt x="39566" y="567924"/>
                    <a:pt x="41893" y="560938"/>
                    <a:pt x="47324" y="560938"/>
                  </a:cubicBezTo>
                  <a:cubicBezTo>
                    <a:pt x="52754" y="560938"/>
                    <a:pt x="48875" y="553177"/>
                    <a:pt x="53530" y="550072"/>
                  </a:cubicBezTo>
                  <a:cubicBezTo>
                    <a:pt x="58961" y="546968"/>
                    <a:pt x="48875" y="541535"/>
                    <a:pt x="52754" y="537654"/>
                  </a:cubicBezTo>
                  <a:cubicBezTo>
                    <a:pt x="56633" y="534549"/>
                    <a:pt x="52754" y="528340"/>
                    <a:pt x="58961" y="527564"/>
                  </a:cubicBezTo>
                  <a:cubicBezTo>
                    <a:pt x="65167" y="526788"/>
                    <a:pt x="58961" y="518250"/>
                    <a:pt x="63615" y="516698"/>
                  </a:cubicBezTo>
                  <a:cubicBezTo>
                    <a:pt x="68270" y="515146"/>
                    <a:pt x="62840" y="510489"/>
                    <a:pt x="64391" y="504280"/>
                  </a:cubicBezTo>
                  <a:cubicBezTo>
                    <a:pt x="65943" y="498847"/>
                    <a:pt x="60512" y="494190"/>
                    <a:pt x="66719" y="491861"/>
                  </a:cubicBezTo>
                  <a:cubicBezTo>
                    <a:pt x="72925" y="489533"/>
                    <a:pt x="68270" y="484876"/>
                    <a:pt x="64391" y="481771"/>
                  </a:cubicBezTo>
                  <a:cubicBezTo>
                    <a:pt x="60512" y="478667"/>
                    <a:pt x="65167" y="478667"/>
                    <a:pt x="70598" y="478667"/>
                  </a:cubicBezTo>
                  <a:cubicBezTo>
                    <a:pt x="76028" y="478667"/>
                    <a:pt x="72925" y="470129"/>
                    <a:pt x="68270" y="471681"/>
                  </a:cubicBezTo>
                  <a:cubicBezTo>
                    <a:pt x="62840" y="473234"/>
                    <a:pt x="59736" y="467801"/>
                    <a:pt x="63615" y="463920"/>
                  </a:cubicBezTo>
                  <a:cubicBezTo>
                    <a:pt x="67494" y="460039"/>
                    <a:pt x="59736" y="456935"/>
                    <a:pt x="61288" y="453830"/>
                  </a:cubicBezTo>
                  <a:cubicBezTo>
                    <a:pt x="62840" y="450725"/>
                    <a:pt x="62840" y="447621"/>
                    <a:pt x="59736" y="445292"/>
                  </a:cubicBezTo>
                  <a:cubicBezTo>
                    <a:pt x="56633" y="443740"/>
                    <a:pt x="58961" y="428993"/>
                    <a:pt x="62064" y="428993"/>
                  </a:cubicBezTo>
                  <a:cubicBezTo>
                    <a:pt x="65167" y="428217"/>
                    <a:pt x="62840" y="415799"/>
                    <a:pt x="62840" y="411918"/>
                  </a:cubicBezTo>
                  <a:cubicBezTo>
                    <a:pt x="62840" y="408037"/>
                    <a:pt x="58961" y="404157"/>
                    <a:pt x="59736" y="401052"/>
                  </a:cubicBezTo>
                  <a:cubicBezTo>
                    <a:pt x="60512" y="397948"/>
                    <a:pt x="63615" y="397171"/>
                    <a:pt x="63615" y="390186"/>
                  </a:cubicBezTo>
                  <a:cubicBezTo>
                    <a:pt x="63615" y="383977"/>
                    <a:pt x="65167" y="380872"/>
                    <a:pt x="67494" y="380096"/>
                  </a:cubicBezTo>
                  <a:cubicBezTo>
                    <a:pt x="70598" y="379320"/>
                    <a:pt x="68270" y="372335"/>
                    <a:pt x="68270" y="368454"/>
                  </a:cubicBezTo>
                  <a:cubicBezTo>
                    <a:pt x="69046" y="364573"/>
                    <a:pt x="76028" y="368454"/>
                    <a:pt x="76804" y="362245"/>
                  </a:cubicBezTo>
                  <a:cubicBezTo>
                    <a:pt x="77580" y="356036"/>
                    <a:pt x="72149" y="356812"/>
                    <a:pt x="72925" y="353707"/>
                  </a:cubicBezTo>
                  <a:cubicBezTo>
                    <a:pt x="73701" y="349050"/>
                    <a:pt x="72149" y="343617"/>
                    <a:pt x="72149" y="332751"/>
                  </a:cubicBezTo>
                  <a:cubicBezTo>
                    <a:pt x="72149" y="322661"/>
                    <a:pt x="80683" y="320333"/>
                    <a:pt x="83786" y="317228"/>
                  </a:cubicBezTo>
                  <a:cubicBezTo>
                    <a:pt x="86889" y="314124"/>
                    <a:pt x="79907" y="299377"/>
                    <a:pt x="83786" y="297825"/>
                  </a:cubicBezTo>
                  <a:cubicBezTo>
                    <a:pt x="87665" y="296272"/>
                    <a:pt x="85338" y="289287"/>
                    <a:pt x="88441" y="286959"/>
                  </a:cubicBezTo>
                  <a:cubicBezTo>
                    <a:pt x="91544" y="284630"/>
                    <a:pt x="90768" y="279197"/>
                    <a:pt x="92320" y="273764"/>
                  </a:cubicBezTo>
                  <a:cubicBezTo>
                    <a:pt x="93871" y="268331"/>
                    <a:pt x="88441" y="265226"/>
                    <a:pt x="88441" y="259794"/>
                  </a:cubicBezTo>
                  <a:cubicBezTo>
                    <a:pt x="88441" y="254360"/>
                    <a:pt x="87665" y="249704"/>
                    <a:pt x="83010" y="244271"/>
                  </a:cubicBezTo>
                  <a:cubicBezTo>
                    <a:pt x="79131" y="238838"/>
                    <a:pt x="79907" y="227195"/>
                    <a:pt x="83010" y="227195"/>
                  </a:cubicBezTo>
                  <a:cubicBezTo>
                    <a:pt x="86113" y="227195"/>
                    <a:pt x="84562" y="216329"/>
                    <a:pt x="89217" y="214777"/>
                  </a:cubicBezTo>
                  <a:cubicBezTo>
                    <a:pt x="94647" y="213225"/>
                    <a:pt x="91544" y="205463"/>
                    <a:pt x="89217" y="198478"/>
                  </a:cubicBezTo>
                  <a:cubicBezTo>
                    <a:pt x="86889" y="192269"/>
                    <a:pt x="93096" y="195373"/>
                    <a:pt x="93096" y="189940"/>
                  </a:cubicBezTo>
                  <a:cubicBezTo>
                    <a:pt x="93096" y="184507"/>
                    <a:pt x="96199" y="177522"/>
                    <a:pt x="100078" y="175970"/>
                  </a:cubicBezTo>
                  <a:cubicBezTo>
                    <a:pt x="103957" y="174417"/>
                    <a:pt x="104733" y="165880"/>
                    <a:pt x="104733" y="162775"/>
                  </a:cubicBezTo>
                  <a:cubicBezTo>
                    <a:pt x="104733" y="159671"/>
                    <a:pt x="110939" y="158118"/>
                    <a:pt x="114042" y="155014"/>
                  </a:cubicBezTo>
                  <a:cubicBezTo>
                    <a:pt x="117145" y="151909"/>
                    <a:pt x="108611" y="147252"/>
                    <a:pt x="113266" y="144924"/>
                  </a:cubicBezTo>
                  <a:cubicBezTo>
                    <a:pt x="118697" y="141819"/>
                    <a:pt x="109387" y="130177"/>
                    <a:pt x="111715" y="127849"/>
                  </a:cubicBezTo>
                  <a:cubicBezTo>
                    <a:pt x="114818" y="125520"/>
                    <a:pt x="112490" y="120087"/>
                    <a:pt x="112490" y="116982"/>
                  </a:cubicBezTo>
                  <a:cubicBezTo>
                    <a:pt x="113266" y="113102"/>
                    <a:pt x="128782" y="106116"/>
                    <a:pt x="130334" y="103012"/>
                  </a:cubicBezTo>
                  <a:cubicBezTo>
                    <a:pt x="131885" y="100684"/>
                    <a:pt x="133437" y="92146"/>
                    <a:pt x="133437" y="84384"/>
                  </a:cubicBezTo>
                  <a:cubicBezTo>
                    <a:pt x="128782" y="87489"/>
                    <a:pt x="124127" y="89041"/>
                    <a:pt x="123352" y="87489"/>
                  </a:cubicBezTo>
                  <a:cubicBezTo>
                    <a:pt x="121800" y="84384"/>
                    <a:pt x="124127" y="74294"/>
                    <a:pt x="119473" y="70414"/>
                  </a:cubicBezTo>
                  <a:cubicBezTo>
                    <a:pt x="115594" y="66533"/>
                    <a:pt x="117921" y="57996"/>
                    <a:pt x="114042" y="56443"/>
                  </a:cubicBezTo>
                  <a:cubicBezTo>
                    <a:pt x="110163" y="54891"/>
                    <a:pt x="104733" y="46353"/>
                    <a:pt x="108611" y="43249"/>
                  </a:cubicBezTo>
                  <a:cubicBezTo>
                    <a:pt x="112490" y="40144"/>
                    <a:pt x="108611" y="34711"/>
                    <a:pt x="111715" y="32383"/>
                  </a:cubicBezTo>
                  <a:cubicBezTo>
                    <a:pt x="114818" y="29278"/>
                    <a:pt x="110163" y="29278"/>
                    <a:pt x="105508" y="23845"/>
                  </a:cubicBezTo>
                  <a:cubicBezTo>
                    <a:pt x="100854" y="18412"/>
                    <a:pt x="107060" y="11427"/>
                    <a:pt x="101629" y="7546"/>
                  </a:cubicBezTo>
                  <a:cubicBezTo>
                    <a:pt x="96199" y="3665"/>
                    <a:pt x="96199" y="-1768"/>
                    <a:pt x="94647" y="561"/>
                  </a:cubicBezTo>
                  <a:cubicBezTo>
                    <a:pt x="93096" y="2889"/>
                    <a:pt x="93096" y="10651"/>
                    <a:pt x="88441" y="12979"/>
                  </a:cubicBezTo>
                  <a:cubicBezTo>
                    <a:pt x="87665" y="12979"/>
                    <a:pt x="86113" y="14531"/>
                    <a:pt x="85338" y="15307"/>
                  </a:cubicBezTo>
                  <a:cubicBezTo>
                    <a:pt x="85338" y="19188"/>
                    <a:pt x="83786" y="25397"/>
                    <a:pt x="85338" y="29278"/>
                  </a:cubicBezTo>
                  <a:cubicBezTo>
                    <a:pt x="87665" y="34711"/>
                    <a:pt x="88441" y="59548"/>
                    <a:pt x="86113" y="69638"/>
                  </a:cubicBezTo>
                  <a:cubicBezTo>
                    <a:pt x="83786" y="78951"/>
                    <a:pt x="82234" y="87489"/>
                    <a:pt x="79907" y="92922"/>
                  </a:cubicBezTo>
                  <a:cubicBezTo>
                    <a:pt x="77580" y="99131"/>
                    <a:pt x="84562" y="99131"/>
                    <a:pt x="82234" y="102236"/>
                  </a:cubicBezTo>
                  <a:cubicBezTo>
                    <a:pt x="79131" y="105340"/>
                    <a:pt x="80683" y="111550"/>
                    <a:pt x="80683" y="123192"/>
                  </a:cubicBezTo>
                  <a:cubicBezTo>
                    <a:pt x="80683" y="134058"/>
                    <a:pt x="74477" y="152685"/>
                    <a:pt x="73701" y="158895"/>
                  </a:cubicBezTo>
                  <a:cubicBezTo>
                    <a:pt x="73701" y="165104"/>
                    <a:pt x="69046" y="168208"/>
                    <a:pt x="69822" y="175193"/>
                  </a:cubicBezTo>
                  <a:cubicBezTo>
                    <a:pt x="70598" y="181403"/>
                    <a:pt x="66719" y="185283"/>
                    <a:pt x="62840" y="188388"/>
                  </a:cubicBezTo>
                  <a:cubicBezTo>
                    <a:pt x="58961" y="191493"/>
                    <a:pt x="69046" y="201583"/>
                    <a:pt x="69046" y="207015"/>
                  </a:cubicBezTo>
                  <a:cubicBezTo>
                    <a:pt x="69046" y="212449"/>
                    <a:pt x="61288" y="214777"/>
                    <a:pt x="62840" y="224091"/>
                  </a:cubicBezTo>
                  <a:cubicBezTo>
                    <a:pt x="65167" y="234957"/>
                    <a:pt x="62840" y="254360"/>
                    <a:pt x="62840" y="258241"/>
                  </a:cubicBezTo>
                  <a:cubicBezTo>
                    <a:pt x="62840" y="262122"/>
                    <a:pt x="58185" y="261346"/>
                    <a:pt x="59736" y="269107"/>
                  </a:cubicBezTo>
                  <a:cubicBezTo>
                    <a:pt x="60512" y="276092"/>
                    <a:pt x="55082" y="278421"/>
                    <a:pt x="54306" y="288511"/>
                  </a:cubicBezTo>
                  <a:cubicBezTo>
                    <a:pt x="53530" y="298601"/>
                    <a:pt x="44996" y="314124"/>
                    <a:pt x="41893" y="321885"/>
                  </a:cubicBezTo>
                  <a:cubicBezTo>
                    <a:pt x="38790" y="329647"/>
                    <a:pt x="38790" y="334303"/>
                    <a:pt x="34911" y="334303"/>
                  </a:cubicBezTo>
                  <a:cubicBezTo>
                    <a:pt x="31032" y="334303"/>
                    <a:pt x="29480" y="338960"/>
                    <a:pt x="32583" y="345946"/>
                  </a:cubicBezTo>
                  <a:cubicBezTo>
                    <a:pt x="35687" y="352931"/>
                    <a:pt x="30256" y="358364"/>
                    <a:pt x="34911" y="365349"/>
                  </a:cubicBezTo>
                  <a:cubicBezTo>
                    <a:pt x="38790" y="372335"/>
                    <a:pt x="38014" y="374663"/>
                    <a:pt x="35687" y="381648"/>
                  </a:cubicBezTo>
                  <a:cubicBezTo>
                    <a:pt x="33359" y="387858"/>
                    <a:pt x="31032" y="388634"/>
                    <a:pt x="31032" y="394843"/>
                  </a:cubicBezTo>
                  <a:cubicBezTo>
                    <a:pt x="31032" y="401052"/>
                    <a:pt x="26377" y="406485"/>
                    <a:pt x="28704" y="413470"/>
                  </a:cubicBezTo>
                  <a:cubicBezTo>
                    <a:pt x="31808" y="420456"/>
                    <a:pt x="31032" y="422784"/>
                    <a:pt x="27153" y="422784"/>
                  </a:cubicBezTo>
                  <a:cubicBezTo>
                    <a:pt x="24050" y="422784"/>
                    <a:pt x="21722" y="428217"/>
                    <a:pt x="20946" y="439859"/>
                  </a:cubicBezTo>
                  <a:cubicBezTo>
                    <a:pt x="19395" y="451502"/>
                    <a:pt x="20171" y="450725"/>
                    <a:pt x="27929" y="449949"/>
                  </a:cubicBezTo>
                  <a:cubicBezTo>
                    <a:pt x="36462" y="449173"/>
                    <a:pt x="29480" y="422008"/>
                    <a:pt x="34911" y="422008"/>
                  </a:cubicBezTo>
                  <a:cubicBezTo>
                    <a:pt x="40341" y="422008"/>
                    <a:pt x="35687" y="417351"/>
                    <a:pt x="41117" y="415799"/>
                  </a:cubicBezTo>
                  <a:cubicBezTo>
                    <a:pt x="46548" y="414247"/>
                    <a:pt x="41893" y="420456"/>
                    <a:pt x="44996" y="422008"/>
                  </a:cubicBezTo>
                  <a:cubicBezTo>
                    <a:pt x="48099" y="422784"/>
                    <a:pt x="51203" y="425889"/>
                    <a:pt x="45772" y="428993"/>
                  </a:cubicBezTo>
                  <a:cubicBezTo>
                    <a:pt x="41117" y="432098"/>
                    <a:pt x="46548" y="438307"/>
                    <a:pt x="44220" y="442188"/>
                  </a:cubicBezTo>
                  <a:cubicBezTo>
                    <a:pt x="41893" y="446069"/>
                    <a:pt x="38014" y="449949"/>
                    <a:pt x="40341" y="454606"/>
                  </a:cubicBezTo>
                  <a:cubicBezTo>
                    <a:pt x="42669" y="459263"/>
                    <a:pt x="38014" y="458487"/>
                    <a:pt x="37238" y="464696"/>
                  </a:cubicBezTo>
                  <a:cubicBezTo>
                    <a:pt x="37238" y="470905"/>
                    <a:pt x="40341" y="470905"/>
                    <a:pt x="38014" y="472458"/>
                  </a:cubicBezTo>
                  <a:cubicBezTo>
                    <a:pt x="35687" y="474010"/>
                    <a:pt x="41117" y="478667"/>
                    <a:pt x="38014" y="478667"/>
                  </a:cubicBezTo>
                  <a:cubicBezTo>
                    <a:pt x="34911" y="479443"/>
                    <a:pt x="36462" y="484100"/>
                    <a:pt x="38790" y="487981"/>
                  </a:cubicBezTo>
                  <a:cubicBezTo>
                    <a:pt x="41117" y="491861"/>
                    <a:pt x="34135" y="489533"/>
                    <a:pt x="31032" y="492637"/>
                  </a:cubicBezTo>
                  <a:cubicBezTo>
                    <a:pt x="27929" y="495742"/>
                    <a:pt x="34135" y="498847"/>
                    <a:pt x="32583" y="502727"/>
                  </a:cubicBezTo>
                  <a:cubicBezTo>
                    <a:pt x="30256" y="506608"/>
                    <a:pt x="24825" y="500399"/>
                    <a:pt x="22498" y="498847"/>
                  </a:cubicBezTo>
                  <a:cubicBezTo>
                    <a:pt x="20171" y="496518"/>
                    <a:pt x="26377" y="492637"/>
                    <a:pt x="29480" y="488757"/>
                  </a:cubicBezTo>
                  <a:cubicBezTo>
                    <a:pt x="32583" y="484876"/>
                    <a:pt x="26377" y="475562"/>
                    <a:pt x="20946" y="477115"/>
                  </a:cubicBezTo>
                  <a:cubicBezTo>
                    <a:pt x="15516" y="479443"/>
                    <a:pt x="26377" y="484876"/>
                    <a:pt x="26377" y="489533"/>
                  </a:cubicBezTo>
                  <a:cubicBezTo>
                    <a:pt x="26377" y="494190"/>
                    <a:pt x="17843" y="488757"/>
                    <a:pt x="17843" y="493413"/>
                  </a:cubicBezTo>
                  <a:cubicBezTo>
                    <a:pt x="17843" y="498070"/>
                    <a:pt x="11637" y="496518"/>
                    <a:pt x="8534" y="499623"/>
                  </a:cubicBezTo>
                  <a:cubicBezTo>
                    <a:pt x="5431" y="502727"/>
                    <a:pt x="12413" y="505832"/>
                    <a:pt x="9310" y="507384"/>
                  </a:cubicBezTo>
                  <a:cubicBezTo>
                    <a:pt x="6206" y="508160"/>
                    <a:pt x="0" y="513593"/>
                    <a:pt x="0" y="516698"/>
                  </a:cubicBezTo>
                  <a:cubicBezTo>
                    <a:pt x="0" y="519803"/>
                    <a:pt x="3879" y="520579"/>
                    <a:pt x="3879" y="517474"/>
                  </a:cubicBezTo>
                  <a:cubicBezTo>
                    <a:pt x="3879" y="514369"/>
                    <a:pt x="9310" y="512817"/>
                    <a:pt x="10861" y="517474"/>
                  </a:cubicBezTo>
                  <a:cubicBezTo>
                    <a:pt x="12413" y="522131"/>
                    <a:pt x="14740" y="517474"/>
                    <a:pt x="20171" y="518250"/>
                  </a:cubicBezTo>
                  <a:cubicBezTo>
                    <a:pt x="24825" y="519026"/>
                    <a:pt x="24050" y="526788"/>
                    <a:pt x="21722" y="526012"/>
                  </a:cubicBezTo>
                  <a:cubicBezTo>
                    <a:pt x="18619" y="526012"/>
                    <a:pt x="16292" y="530669"/>
                    <a:pt x="17067" y="535326"/>
                  </a:cubicBezTo>
                  <a:cubicBezTo>
                    <a:pt x="17843" y="540758"/>
                    <a:pt x="27153" y="535326"/>
                    <a:pt x="31808" y="536878"/>
                  </a:cubicBezTo>
                  <a:cubicBezTo>
                    <a:pt x="35687" y="538430"/>
                    <a:pt x="34911" y="545415"/>
                    <a:pt x="31808" y="543087"/>
                  </a:cubicBezTo>
                  <a:cubicBezTo>
                    <a:pt x="29480" y="540758"/>
                    <a:pt x="24050" y="536878"/>
                    <a:pt x="21722" y="540758"/>
                  </a:cubicBezTo>
                  <a:cubicBezTo>
                    <a:pt x="19395" y="544639"/>
                    <a:pt x="15516" y="543087"/>
                    <a:pt x="12413" y="541535"/>
                  </a:cubicBezTo>
                  <a:cubicBezTo>
                    <a:pt x="9310" y="539982"/>
                    <a:pt x="-1552" y="547744"/>
                    <a:pt x="2327" y="550072"/>
                  </a:cubicBezTo>
                  <a:cubicBezTo>
                    <a:pt x="6206" y="553177"/>
                    <a:pt x="5431" y="557058"/>
                    <a:pt x="8534" y="557058"/>
                  </a:cubicBezTo>
                  <a:cubicBezTo>
                    <a:pt x="10861" y="557058"/>
                    <a:pt x="14740" y="554729"/>
                    <a:pt x="16292" y="552401"/>
                  </a:cubicBezTo>
                  <a:cubicBezTo>
                    <a:pt x="17843" y="549296"/>
                    <a:pt x="22498" y="546968"/>
                    <a:pt x="22498" y="553177"/>
                  </a:cubicBezTo>
                  <a:cubicBezTo>
                    <a:pt x="22498" y="559386"/>
                    <a:pt x="16292" y="556281"/>
                    <a:pt x="14740" y="559386"/>
                  </a:cubicBezTo>
                  <a:cubicBezTo>
                    <a:pt x="13189" y="562491"/>
                    <a:pt x="10861" y="565595"/>
                    <a:pt x="6206" y="568700"/>
                  </a:cubicBezTo>
                  <a:cubicBezTo>
                    <a:pt x="2327" y="571804"/>
                    <a:pt x="6206" y="577237"/>
                    <a:pt x="9310" y="574909"/>
                  </a:cubicBezTo>
                  <a:cubicBezTo>
                    <a:pt x="12413" y="573357"/>
                    <a:pt x="8534" y="578790"/>
                    <a:pt x="13189" y="579566"/>
                  </a:cubicBezTo>
                  <a:cubicBezTo>
                    <a:pt x="17843" y="580342"/>
                    <a:pt x="19395" y="576461"/>
                    <a:pt x="17843" y="573357"/>
                  </a:cubicBezTo>
                  <a:cubicBezTo>
                    <a:pt x="17067" y="570252"/>
                    <a:pt x="20171" y="562491"/>
                    <a:pt x="24050" y="566371"/>
                  </a:cubicBezTo>
                  <a:cubicBezTo>
                    <a:pt x="27929" y="570252"/>
                    <a:pt x="21722" y="574133"/>
                    <a:pt x="21722" y="577237"/>
                  </a:cubicBezTo>
                  <a:cubicBezTo>
                    <a:pt x="21722" y="580342"/>
                    <a:pt x="19395" y="584999"/>
                    <a:pt x="19395" y="588880"/>
                  </a:cubicBezTo>
                  <a:cubicBezTo>
                    <a:pt x="19395" y="592760"/>
                    <a:pt x="14740" y="590432"/>
                    <a:pt x="15516" y="595089"/>
                  </a:cubicBezTo>
                  <a:cubicBezTo>
                    <a:pt x="15516" y="598969"/>
                    <a:pt x="6206" y="596641"/>
                    <a:pt x="10085" y="598969"/>
                  </a:cubicBezTo>
                  <a:cubicBezTo>
                    <a:pt x="14740" y="602074"/>
                    <a:pt x="6982" y="605179"/>
                    <a:pt x="10085" y="608283"/>
                  </a:cubicBezTo>
                  <a:cubicBezTo>
                    <a:pt x="12413" y="611388"/>
                    <a:pt x="14740" y="604403"/>
                    <a:pt x="18619" y="605955"/>
                  </a:cubicBezTo>
                  <a:cubicBezTo>
                    <a:pt x="22498" y="607507"/>
                    <a:pt x="21722" y="608283"/>
                    <a:pt x="26377" y="605955"/>
                  </a:cubicBezTo>
                  <a:cubicBezTo>
                    <a:pt x="31032" y="603626"/>
                    <a:pt x="34135" y="609835"/>
                    <a:pt x="29480" y="611388"/>
                  </a:cubicBezTo>
                  <a:cubicBezTo>
                    <a:pt x="24825" y="612940"/>
                    <a:pt x="20171" y="617597"/>
                    <a:pt x="22498" y="618373"/>
                  </a:cubicBezTo>
                  <a:cubicBezTo>
                    <a:pt x="24825" y="619149"/>
                    <a:pt x="30256" y="615269"/>
                    <a:pt x="31808" y="619149"/>
                  </a:cubicBezTo>
                  <a:cubicBezTo>
                    <a:pt x="33359" y="623806"/>
                    <a:pt x="36462" y="622254"/>
                    <a:pt x="37238" y="617597"/>
                  </a:cubicBezTo>
                  <a:cubicBezTo>
                    <a:pt x="37238" y="612940"/>
                    <a:pt x="45772" y="616821"/>
                    <a:pt x="47324" y="620702"/>
                  </a:cubicBezTo>
                  <a:cubicBezTo>
                    <a:pt x="48875" y="624582"/>
                    <a:pt x="38790" y="626911"/>
                    <a:pt x="33359" y="626135"/>
                  </a:cubicBezTo>
                  <a:cubicBezTo>
                    <a:pt x="27929" y="625358"/>
                    <a:pt x="25601" y="630791"/>
                    <a:pt x="28704" y="635448"/>
                  </a:cubicBezTo>
                  <a:cubicBezTo>
                    <a:pt x="31808" y="640105"/>
                    <a:pt x="36462" y="635448"/>
                    <a:pt x="40341" y="631568"/>
                  </a:cubicBezTo>
                  <a:cubicBezTo>
                    <a:pt x="44220" y="627687"/>
                    <a:pt x="62840" y="628463"/>
                    <a:pt x="64391" y="633120"/>
                  </a:cubicBezTo>
                  <a:cubicBezTo>
                    <a:pt x="65943" y="637001"/>
                    <a:pt x="55857" y="633896"/>
                    <a:pt x="55082" y="636225"/>
                  </a:cubicBezTo>
                  <a:cubicBezTo>
                    <a:pt x="54306" y="638553"/>
                    <a:pt x="46548" y="640881"/>
                    <a:pt x="45772" y="637777"/>
                  </a:cubicBezTo>
                  <a:cubicBezTo>
                    <a:pt x="44996" y="634672"/>
                    <a:pt x="37238" y="638553"/>
                    <a:pt x="37238" y="643210"/>
                  </a:cubicBezTo>
                  <a:cubicBezTo>
                    <a:pt x="37238" y="647867"/>
                    <a:pt x="31032" y="647867"/>
                    <a:pt x="37238" y="649419"/>
                  </a:cubicBezTo>
                  <a:cubicBezTo>
                    <a:pt x="43445" y="650971"/>
                    <a:pt x="41893" y="643210"/>
                    <a:pt x="51203" y="643210"/>
                  </a:cubicBezTo>
                  <a:cubicBezTo>
                    <a:pt x="60512" y="643986"/>
                    <a:pt x="65943" y="633896"/>
                    <a:pt x="69046" y="640105"/>
                  </a:cubicBezTo>
                  <a:cubicBezTo>
                    <a:pt x="72149" y="645538"/>
                    <a:pt x="61288" y="650195"/>
                    <a:pt x="57409" y="646314"/>
                  </a:cubicBezTo>
                  <a:cubicBezTo>
                    <a:pt x="53530" y="643210"/>
                    <a:pt x="48875" y="648643"/>
                    <a:pt x="49651" y="654076"/>
                  </a:cubicBezTo>
                  <a:cubicBezTo>
                    <a:pt x="49651" y="659509"/>
                    <a:pt x="38790" y="652523"/>
                    <a:pt x="33359" y="651747"/>
                  </a:cubicBezTo>
                  <a:cubicBezTo>
                    <a:pt x="27929" y="650971"/>
                    <a:pt x="30256" y="657180"/>
                    <a:pt x="34911" y="661837"/>
                  </a:cubicBezTo>
                  <a:cubicBezTo>
                    <a:pt x="39566" y="667270"/>
                    <a:pt x="42669" y="661061"/>
                    <a:pt x="48099" y="664942"/>
                  </a:cubicBezTo>
                  <a:cubicBezTo>
                    <a:pt x="54306" y="668823"/>
                    <a:pt x="54306" y="672703"/>
                    <a:pt x="58185" y="668823"/>
                  </a:cubicBezTo>
                  <a:cubicBezTo>
                    <a:pt x="62064" y="664942"/>
                    <a:pt x="58185" y="665718"/>
                    <a:pt x="55082" y="663390"/>
                  </a:cubicBezTo>
                  <a:cubicBezTo>
                    <a:pt x="51978" y="661837"/>
                    <a:pt x="55082" y="655628"/>
                    <a:pt x="61288" y="658733"/>
                  </a:cubicBezTo>
                  <a:cubicBezTo>
                    <a:pt x="67494" y="661837"/>
                    <a:pt x="75252" y="655628"/>
                    <a:pt x="73701" y="647867"/>
                  </a:cubicBezTo>
                  <a:cubicBezTo>
                    <a:pt x="71373" y="639329"/>
                    <a:pt x="79907" y="635448"/>
                    <a:pt x="87665" y="633120"/>
                  </a:cubicBezTo>
                  <a:cubicBezTo>
                    <a:pt x="95423" y="630015"/>
                    <a:pt x="91544" y="638553"/>
                    <a:pt x="85338" y="640881"/>
                  </a:cubicBezTo>
                  <a:cubicBezTo>
                    <a:pt x="79131" y="643210"/>
                    <a:pt x="78355" y="644762"/>
                    <a:pt x="83010" y="650195"/>
                  </a:cubicBezTo>
                  <a:cubicBezTo>
                    <a:pt x="87665" y="654852"/>
                    <a:pt x="93096" y="647091"/>
                    <a:pt x="96975" y="650971"/>
                  </a:cubicBezTo>
                  <a:cubicBezTo>
                    <a:pt x="100854" y="654852"/>
                    <a:pt x="89992" y="654076"/>
                    <a:pt x="88441" y="657957"/>
                  </a:cubicBezTo>
                  <a:cubicBezTo>
                    <a:pt x="86889" y="661837"/>
                    <a:pt x="94647" y="666494"/>
                    <a:pt x="89217" y="668823"/>
                  </a:cubicBezTo>
                  <a:cubicBezTo>
                    <a:pt x="83010" y="671927"/>
                    <a:pt x="86113" y="657180"/>
                    <a:pt x="83010" y="656404"/>
                  </a:cubicBezTo>
                  <a:cubicBezTo>
                    <a:pt x="79907" y="654852"/>
                    <a:pt x="76804" y="657957"/>
                    <a:pt x="79907" y="665718"/>
                  </a:cubicBezTo>
                  <a:cubicBezTo>
                    <a:pt x="83010" y="673479"/>
                    <a:pt x="76028" y="666494"/>
                    <a:pt x="72149" y="662613"/>
                  </a:cubicBezTo>
                  <a:cubicBezTo>
                    <a:pt x="69046" y="658733"/>
                    <a:pt x="63615" y="664166"/>
                    <a:pt x="68270" y="668823"/>
                  </a:cubicBezTo>
                  <a:cubicBezTo>
                    <a:pt x="72149" y="672703"/>
                    <a:pt x="60512" y="668823"/>
                    <a:pt x="60512" y="675032"/>
                  </a:cubicBezTo>
                  <a:cubicBezTo>
                    <a:pt x="60512" y="681241"/>
                    <a:pt x="65943" y="675808"/>
                    <a:pt x="72149" y="677360"/>
                  </a:cubicBezTo>
                  <a:cubicBezTo>
                    <a:pt x="78355" y="678913"/>
                    <a:pt x="75252" y="687450"/>
                    <a:pt x="79907" y="691331"/>
                  </a:cubicBezTo>
                  <a:cubicBezTo>
                    <a:pt x="84562" y="694436"/>
                    <a:pt x="80683" y="680465"/>
                    <a:pt x="85338" y="678913"/>
                  </a:cubicBezTo>
                  <a:cubicBezTo>
                    <a:pt x="89992" y="678136"/>
                    <a:pt x="85338" y="689779"/>
                    <a:pt x="96199" y="693659"/>
                  </a:cubicBezTo>
                  <a:cubicBezTo>
                    <a:pt x="107060" y="696764"/>
                    <a:pt x="96975" y="691331"/>
                    <a:pt x="101629" y="688226"/>
                  </a:cubicBezTo>
                  <a:cubicBezTo>
                    <a:pt x="106284" y="685122"/>
                    <a:pt x="112490" y="698316"/>
                    <a:pt x="117921" y="699868"/>
                  </a:cubicBezTo>
                  <a:cubicBezTo>
                    <a:pt x="123352" y="701421"/>
                    <a:pt x="119473" y="693659"/>
                    <a:pt x="115594" y="689779"/>
                  </a:cubicBezTo>
                  <a:cubicBezTo>
                    <a:pt x="111715" y="685898"/>
                    <a:pt x="119473" y="688226"/>
                    <a:pt x="124903" y="689779"/>
                  </a:cubicBezTo>
                  <a:cubicBezTo>
                    <a:pt x="130334" y="691331"/>
                    <a:pt x="134213" y="692107"/>
                    <a:pt x="134989" y="688226"/>
                  </a:cubicBezTo>
                  <a:cubicBezTo>
                    <a:pt x="135764" y="686674"/>
                    <a:pt x="136540" y="686674"/>
                    <a:pt x="137316" y="687450"/>
                  </a:cubicBezTo>
                  <a:cubicBezTo>
                    <a:pt x="131885" y="683569"/>
                    <a:pt x="113266" y="686674"/>
                    <a:pt x="110939" y="685898"/>
                  </a:cubicBezTo>
                  <a:cubicBezTo>
                    <a:pt x="108611" y="685122"/>
                    <a:pt x="110163" y="643986"/>
                    <a:pt x="110939" y="634672"/>
                  </a:cubicBezTo>
                  <a:cubicBezTo>
                    <a:pt x="110939" y="634672"/>
                    <a:pt x="110163" y="634672"/>
                    <a:pt x="110163" y="634672"/>
                  </a:cubicBezTo>
                  <a:cubicBezTo>
                    <a:pt x="105508" y="634672"/>
                    <a:pt x="95423" y="635448"/>
                    <a:pt x="97750" y="628463"/>
                  </a:cubicBezTo>
                  <a:cubicBezTo>
                    <a:pt x="97750" y="626911"/>
                    <a:pt x="98526" y="626911"/>
                    <a:pt x="99302" y="626135"/>
                  </a:cubicBezTo>
                  <a:cubicBezTo>
                    <a:pt x="96975" y="624582"/>
                    <a:pt x="94647" y="622254"/>
                    <a:pt x="90768" y="621478"/>
                  </a:cubicBezTo>
                  <a:cubicBezTo>
                    <a:pt x="86113" y="622254"/>
                    <a:pt x="69822" y="624582"/>
                    <a:pt x="65943" y="624582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29" name="Forma libre 20">
              <a:extLst>
                <a:ext uri="{FF2B5EF4-FFF2-40B4-BE49-F238E27FC236}">
                  <a16:creationId xmlns:a16="http://schemas.microsoft.com/office/drawing/2014/main" id="{7617E502-9649-0F4F-A8F2-55525B640D08}"/>
                </a:ext>
              </a:extLst>
            </p:cNvPr>
            <p:cNvSpPr/>
            <p:nvPr/>
          </p:nvSpPr>
          <p:spPr>
            <a:xfrm>
              <a:off x="3180277" y="3670957"/>
              <a:ext cx="160317" cy="163408"/>
            </a:xfrm>
            <a:custGeom>
              <a:avLst/>
              <a:gdLst>
                <a:gd name="connsiteX0" fmla="*/ 131885 w 134162"/>
                <a:gd name="connsiteY0" fmla="*/ 74634 h 136749"/>
                <a:gd name="connsiteX1" fmla="*/ 118697 w 134162"/>
                <a:gd name="connsiteY1" fmla="*/ 77739 h 136749"/>
                <a:gd name="connsiteX2" fmla="*/ 110939 w 134162"/>
                <a:gd name="connsiteY2" fmla="*/ 60664 h 136749"/>
                <a:gd name="connsiteX3" fmla="*/ 100078 w 134162"/>
                <a:gd name="connsiteY3" fmla="*/ 47469 h 136749"/>
                <a:gd name="connsiteX4" fmla="*/ 86889 w 134162"/>
                <a:gd name="connsiteY4" fmla="*/ 45917 h 136749"/>
                <a:gd name="connsiteX5" fmla="*/ 79131 w 134162"/>
                <a:gd name="connsiteY5" fmla="*/ 33498 h 136749"/>
                <a:gd name="connsiteX6" fmla="*/ 76028 w 134162"/>
                <a:gd name="connsiteY6" fmla="*/ 14095 h 136749"/>
                <a:gd name="connsiteX7" fmla="*/ 75252 w 134162"/>
                <a:gd name="connsiteY7" fmla="*/ 5557 h 136749"/>
                <a:gd name="connsiteX8" fmla="*/ 72925 w 134162"/>
                <a:gd name="connsiteY8" fmla="*/ 6333 h 136749"/>
                <a:gd name="connsiteX9" fmla="*/ 58185 w 134162"/>
                <a:gd name="connsiteY9" fmla="*/ 124 h 136749"/>
                <a:gd name="connsiteX10" fmla="*/ 40341 w 134162"/>
                <a:gd name="connsiteY10" fmla="*/ 1676 h 136749"/>
                <a:gd name="connsiteX11" fmla="*/ 21722 w 134162"/>
                <a:gd name="connsiteY11" fmla="*/ 4781 h 136749"/>
                <a:gd name="connsiteX12" fmla="*/ 10085 w 134162"/>
                <a:gd name="connsiteY12" fmla="*/ 19528 h 136749"/>
                <a:gd name="connsiteX13" fmla="*/ 5431 w 134162"/>
                <a:gd name="connsiteY13" fmla="*/ 43588 h 136749"/>
                <a:gd name="connsiteX14" fmla="*/ 0 w 134162"/>
                <a:gd name="connsiteY14" fmla="*/ 43588 h 136749"/>
                <a:gd name="connsiteX15" fmla="*/ 21722 w 134162"/>
                <a:gd name="connsiteY15" fmla="*/ 66097 h 136749"/>
                <a:gd name="connsiteX16" fmla="*/ 38790 w 134162"/>
                <a:gd name="connsiteY16" fmla="*/ 76963 h 136749"/>
                <a:gd name="connsiteX17" fmla="*/ 55857 w 134162"/>
                <a:gd name="connsiteY17" fmla="*/ 85500 h 136749"/>
                <a:gd name="connsiteX18" fmla="*/ 84562 w 134162"/>
                <a:gd name="connsiteY18" fmla="*/ 100247 h 136749"/>
                <a:gd name="connsiteX19" fmla="*/ 72149 w 134162"/>
                <a:gd name="connsiteY19" fmla="*/ 121203 h 136749"/>
                <a:gd name="connsiteX20" fmla="*/ 66719 w 134162"/>
                <a:gd name="connsiteY20" fmla="*/ 131293 h 136749"/>
                <a:gd name="connsiteX21" fmla="*/ 81459 w 134162"/>
                <a:gd name="connsiteY21" fmla="*/ 134397 h 136749"/>
                <a:gd name="connsiteX22" fmla="*/ 96199 w 134162"/>
                <a:gd name="connsiteY22" fmla="*/ 135950 h 136749"/>
                <a:gd name="connsiteX23" fmla="*/ 110163 w 134162"/>
                <a:gd name="connsiteY23" fmla="*/ 132845 h 136749"/>
                <a:gd name="connsiteX24" fmla="*/ 122576 w 134162"/>
                <a:gd name="connsiteY24" fmla="*/ 126636 h 136749"/>
                <a:gd name="connsiteX25" fmla="*/ 130334 w 134162"/>
                <a:gd name="connsiteY25" fmla="*/ 103352 h 136749"/>
                <a:gd name="connsiteX26" fmla="*/ 131885 w 134162"/>
                <a:gd name="connsiteY26" fmla="*/ 74634 h 136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4162" h="136749">
                  <a:moveTo>
                    <a:pt x="131885" y="74634"/>
                  </a:moveTo>
                  <a:cubicBezTo>
                    <a:pt x="126455" y="71530"/>
                    <a:pt x="121024" y="77739"/>
                    <a:pt x="118697" y="77739"/>
                  </a:cubicBezTo>
                  <a:cubicBezTo>
                    <a:pt x="117145" y="77739"/>
                    <a:pt x="112490" y="65320"/>
                    <a:pt x="110939" y="60664"/>
                  </a:cubicBezTo>
                  <a:cubicBezTo>
                    <a:pt x="109387" y="55230"/>
                    <a:pt x="103957" y="45141"/>
                    <a:pt x="100078" y="47469"/>
                  </a:cubicBezTo>
                  <a:cubicBezTo>
                    <a:pt x="96199" y="49798"/>
                    <a:pt x="96975" y="46693"/>
                    <a:pt x="86889" y="45917"/>
                  </a:cubicBezTo>
                  <a:cubicBezTo>
                    <a:pt x="76028" y="45141"/>
                    <a:pt x="76804" y="43588"/>
                    <a:pt x="79131" y="33498"/>
                  </a:cubicBezTo>
                  <a:cubicBezTo>
                    <a:pt x="81459" y="23409"/>
                    <a:pt x="72149" y="16423"/>
                    <a:pt x="76028" y="14095"/>
                  </a:cubicBezTo>
                  <a:cubicBezTo>
                    <a:pt x="79131" y="12542"/>
                    <a:pt x="79131" y="10214"/>
                    <a:pt x="75252" y="5557"/>
                  </a:cubicBezTo>
                  <a:cubicBezTo>
                    <a:pt x="74477" y="6333"/>
                    <a:pt x="73701" y="6333"/>
                    <a:pt x="72925" y="6333"/>
                  </a:cubicBezTo>
                  <a:cubicBezTo>
                    <a:pt x="69046" y="6333"/>
                    <a:pt x="64391" y="124"/>
                    <a:pt x="58185" y="124"/>
                  </a:cubicBezTo>
                  <a:cubicBezTo>
                    <a:pt x="51978" y="124"/>
                    <a:pt x="44996" y="-652"/>
                    <a:pt x="40341" y="1676"/>
                  </a:cubicBezTo>
                  <a:cubicBezTo>
                    <a:pt x="35687" y="4005"/>
                    <a:pt x="27153" y="900"/>
                    <a:pt x="21722" y="4781"/>
                  </a:cubicBezTo>
                  <a:cubicBezTo>
                    <a:pt x="16292" y="8662"/>
                    <a:pt x="9310" y="16423"/>
                    <a:pt x="10085" y="19528"/>
                  </a:cubicBezTo>
                  <a:cubicBezTo>
                    <a:pt x="10861" y="22632"/>
                    <a:pt x="8534" y="42812"/>
                    <a:pt x="5431" y="43588"/>
                  </a:cubicBezTo>
                  <a:cubicBezTo>
                    <a:pt x="4655" y="43588"/>
                    <a:pt x="2327" y="43588"/>
                    <a:pt x="0" y="43588"/>
                  </a:cubicBezTo>
                  <a:cubicBezTo>
                    <a:pt x="3879" y="49798"/>
                    <a:pt x="14740" y="61440"/>
                    <a:pt x="21722" y="66097"/>
                  </a:cubicBezTo>
                  <a:cubicBezTo>
                    <a:pt x="30256" y="71530"/>
                    <a:pt x="29480" y="76186"/>
                    <a:pt x="38790" y="76963"/>
                  </a:cubicBezTo>
                  <a:cubicBezTo>
                    <a:pt x="48099" y="77739"/>
                    <a:pt x="52754" y="81620"/>
                    <a:pt x="55857" y="85500"/>
                  </a:cubicBezTo>
                  <a:cubicBezTo>
                    <a:pt x="58961" y="89381"/>
                    <a:pt x="83010" y="96366"/>
                    <a:pt x="84562" y="100247"/>
                  </a:cubicBezTo>
                  <a:cubicBezTo>
                    <a:pt x="86113" y="103352"/>
                    <a:pt x="72149" y="112665"/>
                    <a:pt x="72149" y="121203"/>
                  </a:cubicBezTo>
                  <a:cubicBezTo>
                    <a:pt x="72149" y="129741"/>
                    <a:pt x="66719" y="128964"/>
                    <a:pt x="66719" y="131293"/>
                  </a:cubicBezTo>
                  <a:cubicBezTo>
                    <a:pt x="66719" y="134397"/>
                    <a:pt x="77580" y="132069"/>
                    <a:pt x="81459" y="134397"/>
                  </a:cubicBezTo>
                  <a:cubicBezTo>
                    <a:pt x="85338" y="136726"/>
                    <a:pt x="91544" y="132845"/>
                    <a:pt x="96199" y="135950"/>
                  </a:cubicBezTo>
                  <a:cubicBezTo>
                    <a:pt x="100854" y="139054"/>
                    <a:pt x="106284" y="132069"/>
                    <a:pt x="110163" y="132845"/>
                  </a:cubicBezTo>
                  <a:cubicBezTo>
                    <a:pt x="114042" y="133621"/>
                    <a:pt x="117921" y="126636"/>
                    <a:pt x="122576" y="126636"/>
                  </a:cubicBezTo>
                  <a:cubicBezTo>
                    <a:pt x="127231" y="127412"/>
                    <a:pt x="131110" y="110337"/>
                    <a:pt x="130334" y="103352"/>
                  </a:cubicBezTo>
                  <a:cubicBezTo>
                    <a:pt x="129558" y="97142"/>
                    <a:pt x="138092" y="76963"/>
                    <a:pt x="131885" y="74634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30" name="Forma libre 21">
              <a:extLst>
                <a:ext uri="{FF2B5EF4-FFF2-40B4-BE49-F238E27FC236}">
                  <a16:creationId xmlns:a16="http://schemas.microsoft.com/office/drawing/2014/main" id="{96C17A20-B087-0364-C6F7-571067EB191A}"/>
                </a:ext>
              </a:extLst>
            </p:cNvPr>
            <p:cNvSpPr/>
            <p:nvPr/>
          </p:nvSpPr>
          <p:spPr>
            <a:xfrm>
              <a:off x="2879917" y="3072772"/>
              <a:ext cx="220004" cy="311692"/>
            </a:xfrm>
            <a:custGeom>
              <a:avLst/>
              <a:gdLst>
                <a:gd name="connsiteX0" fmla="*/ 26377 w 184111"/>
                <a:gd name="connsiteY0" fmla="*/ 187883 h 260841"/>
                <a:gd name="connsiteX1" fmla="*/ 38014 w 184111"/>
                <a:gd name="connsiteY1" fmla="*/ 187883 h 260841"/>
                <a:gd name="connsiteX2" fmla="*/ 48875 w 184111"/>
                <a:gd name="connsiteY2" fmla="*/ 196421 h 260841"/>
                <a:gd name="connsiteX3" fmla="*/ 49651 w 184111"/>
                <a:gd name="connsiteY3" fmla="*/ 197197 h 260841"/>
                <a:gd name="connsiteX4" fmla="*/ 62839 w 184111"/>
                <a:gd name="connsiteY4" fmla="*/ 196421 h 260841"/>
                <a:gd name="connsiteX5" fmla="*/ 72149 w 184111"/>
                <a:gd name="connsiteY5" fmla="*/ 209615 h 260841"/>
                <a:gd name="connsiteX6" fmla="*/ 82234 w 184111"/>
                <a:gd name="connsiteY6" fmla="*/ 219705 h 260841"/>
                <a:gd name="connsiteX7" fmla="*/ 88441 w 184111"/>
                <a:gd name="connsiteY7" fmla="*/ 229795 h 260841"/>
                <a:gd name="connsiteX8" fmla="*/ 106284 w 184111"/>
                <a:gd name="connsiteY8" fmla="*/ 232124 h 260841"/>
                <a:gd name="connsiteX9" fmla="*/ 115594 w 184111"/>
                <a:gd name="connsiteY9" fmla="*/ 231348 h 260841"/>
                <a:gd name="connsiteX10" fmla="*/ 125679 w 184111"/>
                <a:gd name="connsiteY10" fmla="*/ 230571 h 260841"/>
                <a:gd name="connsiteX11" fmla="*/ 137316 w 184111"/>
                <a:gd name="connsiteY11" fmla="*/ 239885 h 260841"/>
                <a:gd name="connsiteX12" fmla="*/ 129558 w 184111"/>
                <a:gd name="connsiteY12" fmla="*/ 253080 h 260841"/>
                <a:gd name="connsiteX13" fmla="*/ 138868 w 184111"/>
                <a:gd name="connsiteY13" fmla="*/ 260841 h 260841"/>
                <a:gd name="connsiteX14" fmla="*/ 139643 w 184111"/>
                <a:gd name="connsiteY14" fmla="*/ 260841 h 260841"/>
                <a:gd name="connsiteX15" fmla="*/ 145850 w 184111"/>
                <a:gd name="connsiteY15" fmla="*/ 239885 h 260841"/>
                <a:gd name="connsiteX16" fmla="*/ 148953 w 184111"/>
                <a:gd name="connsiteY16" fmla="*/ 218929 h 260841"/>
                <a:gd name="connsiteX17" fmla="*/ 138868 w 184111"/>
                <a:gd name="connsiteY17" fmla="*/ 193316 h 260841"/>
                <a:gd name="connsiteX18" fmla="*/ 149729 w 184111"/>
                <a:gd name="connsiteY18" fmla="*/ 184779 h 260841"/>
                <a:gd name="connsiteX19" fmla="*/ 146625 w 184111"/>
                <a:gd name="connsiteY19" fmla="*/ 178570 h 260841"/>
                <a:gd name="connsiteX20" fmla="*/ 142746 w 184111"/>
                <a:gd name="connsiteY20" fmla="*/ 170032 h 260841"/>
                <a:gd name="connsiteX21" fmla="*/ 166020 w 184111"/>
                <a:gd name="connsiteY21" fmla="*/ 168480 h 260841"/>
                <a:gd name="connsiteX22" fmla="*/ 183864 w 184111"/>
                <a:gd name="connsiteY22" fmla="*/ 163047 h 260841"/>
                <a:gd name="connsiteX23" fmla="*/ 180761 w 184111"/>
                <a:gd name="connsiteY23" fmla="*/ 155285 h 260841"/>
                <a:gd name="connsiteX24" fmla="*/ 181536 w 184111"/>
                <a:gd name="connsiteY24" fmla="*/ 143643 h 260841"/>
                <a:gd name="connsiteX25" fmla="*/ 175330 w 184111"/>
                <a:gd name="connsiteY25" fmla="*/ 132001 h 260841"/>
                <a:gd name="connsiteX26" fmla="*/ 179209 w 184111"/>
                <a:gd name="connsiteY26" fmla="*/ 103283 h 260841"/>
                <a:gd name="connsiteX27" fmla="*/ 160590 w 184111"/>
                <a:gd name="connsiteY27" fmla="*/ 98626 h 260841"/>
                <a:gd name="connsiteX28" fmla="*/ 138868 w 184111"/>
                <a:gd name="connsiteY28" fmla="*/ 89313 h 260841"/>
                <a:gd name="connsiteX29" fmla="*/ 112490 w 184111"/>
                <a:gd name="connsiteY29" fmla="*/ 86984 h 260841"/>
                <a:gd name="connsiteX30" fmla="*/ 102405 w 184111"/>
                <a:gd name="connsiteY30" fmla="*/ 66028 h 260841"/>
                <a:gd name="connsiteX31" fmla="*/ 95423 w 184111"/>
                <a:gd name="connsiteY31" fmla="*/ 55938 h 260841"/>
                <a:gd name="connsiteX32" fmla="*/ 88441 w 184111"/>
                <a:gd name="connsiteY32" fmla="*/ 52834 h 260841"/>
                <a:gd name="connsiteX33" fmla="*/ 90768 w 184111"/>
                <a:gd name="connsiteY33" fmla="*/ 45849 h 260841"/>
                <a:gd name="connsiteX34" fmla="*/ 93096 w 184111"/>
                <a:gd name="connsiteY34" fmla="*/ 34206 h 260841"/>
                <a:gd name="connsiteX35" fmla="*/ 107060 w 184111"/>
                <a:gd name="connsiteY35" fmla="*/ 16355 h 260841"/>
                <a:gd name="connsiteX36" fmla="*/ 111715 w 184111"/>
                <a:gd name="connsiteY36" fmla="*/ 13250 h 260841"/>
                <a:gd name="connsiteX37" fmla="*/ 115594 w 184111"/>
                <a:gd name="connsiteY37" fmla="*/ 10146 h 260841"/>
                <a:gd name="connsiteX38" fmla="*/ 119473 w 184111"/>
                <a:gd name="connsiteY38" fmla="*/ 832 h 260841"/>
                <a:gd name="connsiteX39" fmla="*/ 101629 w 184111"/>
                <a:gd name="connsiteY39" fmla="*/ 9370 h 260841"/>
                <a:gd name="connsiteX40" fmla="*/ 88441 w 184111"/>
                <a:gd name="connsiteY40" fmla="*/ 17131 h 260841"/>
                <a:gd name="connsiteX41" fmla="*/ 74476 w 184111"/>
                <a:gd name="connsiteY41" fmla="*/ 21788 h 260841"/>
                <a:gd name="connsiteX42" fmla="*/ 67494 w 184111"/>
                <a:gd name="connsiteY42" fmla="*/ 21012 h 260841"/>
                <a:gd name="connsiteX43" fmla="*/ 52754 w 184111"/>
                <a:gd name="connsiteY43" fmla="*/ 34206 h 260841"/>
                <a:gd name="connsiteX44" fmla="*/ 47324 w 184111"/>
                <a:gd name="connsiteY44" fmla="*/ 48953 h 260841"/>
                <a:gd name="connsiteX45" fmla="*/ 31808 w 184111"/>
                <a:gd name="connsiteY45" fmla="*/ 66805 h 260841"/>
                <a:gd name="connsiteX46" fmla="*/ 28704 w 184111"/>
                <a:gd name="connsiteY46" fmla="*/ 67581 h 260841"/>
                <a:gd name="connsiteX47" fmla="*/ 26377 w 184111"/>
                <a:gd name="connsiteY47" fmla="*/ 72238 h 260841"/>
                <a:gd name="connsiteX48" fmla="*/ 15516 w 184111"/>
                <a:gd name="connsiteY48" fmla="*/ 82327 h 260841"/>
                <a:gd name="connsiteX49" fmla="*/ 20171 w 184111"/>
                <a:gd name="connsiteY49" fmla="*/ 86984 h 260841"/>
                <a:gd name="connsiteX50" fmla="*/ 23274 w 184111"/>
                <a:gd name="connsiteY50" fmla="*/ 99403 h 260841"/>
                <a:gd name="connsiteX51" fmla="*/ 23274 w 184111"/>
                <a:gd name="connsiteY51" fmla="*/ 107940 h 260841"/>
                <a:gd name="connsiteX52" fmla="*/ 26377 w 184111"/>
                <a:gd name="connsiteY52" fmla="*/ 132001 h 260841"/>
                <a:gd name="connsiteX53" fmla="*/ 23274 w 184111"/>
                <a:gd name="connsiteY53" fmla="*/ 145195 h 260841"/>
                <a:gd name="connsiteX54" fmla="*/ 10861 w 184111"/>
                <a:gd name="connsiteY54" fmla="*/ 155285 h 260841"/>
                <a:gd name="connsiteX55" fmla="*/ 3103 w 184111"/>
                <a:gd name="connsiteY55" fmla="*/ 165375 h 260841"/>
                <a:gd name="connsiteX56" fmla="*/ 0 w 184111"/>
                <a:gd name="connsiteY56" fmla="*/ 171584 h 260841"/>
                <a:gd name="connsiteX57" fmla="*/ 19395 w 184111"/>
                <a:gd name="connsiteY57" fmla="*/ 182450 h 260841"/>
                <a:gd name="connsiteX58" fmla="*/ 26377 w 184111"/>
                <a:gd name="connsiteY58" fmla="*/ 187883 h 260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184111" h="260841">
                  <a:moveTo>
                    <a:pt x="26377" y="187883"/>
                  </a:moveTo>
                  <a:cubicBezTo>
                    <a:pt x="31032" y="190212"/>
                    <a:pt x="36462" y="189436"/>
                    <a:pt x="38014" y="187883"/>
                  </a:cubicBezTo>
                  <a:cubicBezTo>
                    <a:pt x="39566" y="186331"/>
                    <a:pt x="43445" y="190212"/>
                    <a:pt x="48875" y="196421"/>
                  </a:cubicBezTo>
                  <a:cubicBezTo>
                    <a:pt x="48875" y="196421"/>
                    <a:pt x="49651" y="197197"/>
                    <a:pt x="49651" y="197197"/>
                  </a:cubicBezTo>
                  <a:cubicBezTo>
                    <a:pt x="54306" y="196421"/>
                    <a:pt x="60512" y="194869"/>
                    <a:pt x="62839" y="196421"/>
                  </a:cubicBezTo>
                  <a:cubicBezTo>
                    <a:pt x="67494" y="199526"/>
                    <a:pt x="65943" y="208839"/>
                    <a:pt x="72149" y="209615"/>
                  </a:cubicBezTo>
                  <a:cubicBezTo>
                    <a:pt x="78355" y="210392"/>
                    <a:pt x="82234" y="215825"/>
                    <a:pt x="82234" y="219705"/>
                  </a:cubicBezTo>
                  <a:cubicBezTo>
                    <a:pt x="81459" y="222810"/>
                    <a:pt x="88441" y="224362"/>
                    <a:pt x="88441" y="229795"/>
                  </a:cubicBezTo>
                  <a:cubicBezTo>
                    <a:pt x="87665" y="234452"/>
                    <a:pt x="103957" y="233676"/>
                    <a:pt x="106284" y="232124"/>
                  </a:cubicBezTo>
                  <a:cubicBezTo>
                    <a:pt x="108611" y="230571"/>
                    <a:pt x="112490" y="229795"/>
                    <a:pt x="115594" y="231348"/>
                  </a:cubicBezTo>
                  <a:cubicBezTo>
                    <a:pt x="118697" y="232900"/>
                    <a:pt x="123352" y="229795"/>
                    <a:pt x="125679" y="230571"/>
                  </a:cubicBezTo>
                  <a:cubicBezTo>
                    <a:pt x="128782" y="231348"/>
                    <a:pt x="138868" y="236004"/>
                    <a:pt x="137316" y="239885"/>
                  </a:cubicBezTo>
                  <a:cubicBezTo>
                    <a:pt x="134989" y="243766"/>
                    <a:pt x="127231" y="249975"/>
                    <a:pt x="129558" y="253080"/>
                  </a:cubicBezTo>
                  <a:cubicBezTo>
                    <a:pt x="131110" y="255408"/>
                    <a:pt x="136540" y="256960"/>
                    <a:pt x="138868" y="260841"/>
                  </a:cubicBezTo>
                  <a:cubicBezTo>
                    <a:pt x="138868" y="260841"/>
                    <a:pt x="139643" y="260841"/>
                    <a:pt x="139643" y="260841"/>
                  </a:cubicBezTo>
                  <a:cubicBezTo>
                    <a:pt x="143522" y="260065"/>
                    <a:pt x="145850" y="244542"/>
                    <a:pt x="145850" y="239885"/>
                  </a:cubicBezTo>
                  <a:cubicBezTo>
                    <a:pt x="145850" y="235228"/>
                    <a:pt x="147401" y="223586"/>
                    <a:pt x="148953" y="218929"/>
                  </a:cubicBezTo>
                  <a:cubicBezTo>
                    <a:pt x="151280" y="209615"/>
                    <a:pt x="138868" y="203406"/>
                    <a:pt x="138868" y="193316"/>
                  </a:cubicBezTo>
                  <a:cubicBezTo>
                    <a:pt x="138868" y="183227"/>
                    <a:pt x="143522" y="188660"/>
                    <a:pt x="149729" y="184779"/>
                  </a:cubicBezTo>
                  <a:cubicBezTo>
                    <a:pt x="155159" y="180898"/>
                    <a:pt x="149729" y="179346"/>
                    <a:pt x="146625" y="178570"/>
                  </a:cubicBezTo>
                  <a:cubicBezTo>
                    <a:pt x="143522" y="177793"/>
                    <a:pt x="141971" y="173137"/>
                    <a:pt x="142746" y="170032"/>
                  </a:cubicBezTo>
                  <a:cubicBezTo>
                    <a:pt x="143522" y="166927"/>
                    <a:pt x="160590" y="168480"/>
                    <a:pt x="166020" y="168480"/>
                  </a:cubicBezTo>
                  <a:cubicBezTo>
                    <a:pt x="171451" y="168480"/>
                    <a:pt x="183088" y="163823"/>
                    <a:pt x="183864" y="163047"/>
                  </a:cubicBezTo>
                  <a:cubicBezTo>
                    <a:pt x="183864" y="162270"/>
                    <a:pt x="185415" y="158390"/>
                    <a:pt x="180761" y="155285"/>
                  </a:cubicBezTo>
                  <a:cubicBezTo>
                    <a:pt x="176882" y="152181"/>
                    <a:pt x="178433" y="147524"/>
                    <a:pt x="181536" y="143643"/>
                  </a:cubicBezTo>
                  <a:cubicBezTo>
                    <a:pt x="184640" y="139762"/>
                    <a:pt x="179209" y="135882"/>
                    <a:pt x="175330" y="132001"/>
                  </a:cubicBezTo>
                  <a:cubicBezTo>
                    <a:pt x="171451" y="127344"/>
                    <a:pt x="174554" y="111045"/>
                    <a:pt x="179209" y="103283"/>
                  </a:cubicBezTo>
                  <a:cubicBezTo>
                    <a:pt x="183864" y="95522"/>
                    <a:pt x="169899" y="97074"/>
                    <a:pt x="160590" y="98626"/>
                  </a:cubicBezTo>
                  <a:cubicBezTo>
                    <a:pt x="152056" y="99403"/>
                    <a:pt x="144298" y="96298"/>
                    <a:pt x="138868" y="89313"/>
                  </a:cubicBezTo>
                  <a:cubicBezTo>
                    <a:pt x="133437" y="82327"/>
                    <a:pt x="125679" y="86984"/>
                    <a:pt x="112490" y="86984"/>
                  </a:cubicBezTo>
                  <a:cubicBezTo>
                    <a:pt x="99302" y="86984"/>
                    <a:pt x="101629" y="72238"/>
                    <a:pt x="102405" y="66028"/>
                  </a:cubicBezTo>
                  <a:cubicBezTo>
                    <a:pt x="103181" y="60595"/>
                    <a:pt x="95423" y="59819"/>
                    <a:pt x="95423" y="55938"/>
                  </a:cubicBezTo>
                  <a:cubicBezTo>
                    <a:pt x="95423" y="52058"/>
                    <a:pt x="91544" y="52058"/>
                    <a:pt x="88441" y="52834"/>
                  </a:cubicBezTo>
                  <a:cubicBezTo>
                    <a:pt x="85338" y="52834"/>
                    <a:pt x="88441" y="48953"/>
                    <a:pt x="90768" y="45849"/>
                  </a:cubicBezTo>
                  <a:cubicBezTo>
                    <a:pt x="93096" y="42744"/>
                    <a:pt x="93096" y="40416"/>
                    <a:pt x="93096" y="34206"/>
                  </a:cubicBezTo>
                  <a:cubicBezTo>
                    <a:pt x="93096" y="27997"/>
                    <a:pt x="102405" y="22564"/>
                    <a:pt x="107060" y="16355"/>
                  </a:cubicBezTo>
                  <a:cubicBezTo>
                    <a:pt x="107836" y="14803"/>
                    <a:pt x="110163" y="14027"/>
                    <a:pt x="111715" y="13250"/>
                  </a:cubicBezTo>
                  <a:cubicBezTo>
                    <a:pt x="112490" y="11698"/>
                    <a:pt x="113266" y="10922"/>
                    <a:pt x="115594" y="10146"/>
                  </a:cubicBezTo>
                  <a:cubicBezTo>
                    <a:pt x="122576" y="8594"/>
                    <a:pt x="125679" y="3937"/>
                    <a:pt x="119473" y="832"/>
                  </a:cubicBezTo>
                  <a:cubicBezTo>
                    <a:pt x="113266" y="-3049"/>
                    <a:pt x="109387" y="7817"/>
                    <a:pt x="101629" y="9370"/>
                  </a:cubicBezTo>
                  <a:cubicBezTo>
                    <a:pt x="94647" y="10146"/>
                    <a:pt x="93096" y="14803"/>
                    <a:pt x="88441" y="17131"/>
                  </a:cubicBezTo>
                  <a:cubicBezTo>
                    <a:pt x="83786" y="19460"/>
                    <a:pt x="74476" y="17131"/>
                    <a:pt x="74476" y="21788"/>
                  </a:cubicBezTo>
                  <a:cubicBezTo>
                    <a:pt x="74476" y="26445"/>
                    <a:pt x="71373" y="21788"/>
                    <a:pt x="67494" y="21012"/>
                  </a:cubicBezTo>
                  <a:cubicBezTo>
                    <a:pt x="63615" y="20236"/>
                    <a:pt x="52754" y="29550"/>
                    <a:pt x="52754" y="34206"/>
                  </a:cubicBezTo>
                  <a:cubicBezTo>
                    <a:pt x="52754" y="39639"/>
                    <a:pt x="55081" y="44296"/>
                    <a:pt x="47324" y="48953"/>
                  </a:cubicBezTo>
                  <a:cubicBezTo>
                    <a:pt x="39566" y="53610"/>
                    <a:pt x="34911" y="62924"/>
                    <a:pt x="31808" y="66805"/>
                  </a:cubicBezTo>
                  <a:cubicBezTo>
                    <a:pt x="31032" y="68357"/>
                    <a:pt x="29480" y="68357"/>
                    <a:pt x="28704" y="67581"/>
                  </a:cubicBezTo>
                  <a:cubicBezTo>
                    <a:pt x="27929" y="69909"/>
                    <a:pt x="27929" y="71461"/>
                    <a:pt x="26377" y="72238"/>
                  </a:cubicBezTo>
                  <a:cubicBezTo>
                    <a:pt x="24825" y="73790"/>
                    <a:pt x="20171" y="78447"/>
                    <a:pt x="15516" y="82327"/>
                  </a:cubicBezTo>
                  <a:cubicBezTo>
                    <a:pt x="17843" y="83880"/>
                    <a:pt x="19395" y="86208"/>
                    <a:pt x="20171" y="86984"/>
                  </a:cubicBezTo>
                  <a:cubicBezTo>
                    <a:pt x="24825" y="92417"/>
                    <a:pt x="21722" y="96298"/>
                    <a:pt x="23274" y="99403"/>
                  </a:cubicBezTo>
                  <a:cubicBezTo>
                    <a:pt x="24825" y="102507"/>
                    <a:pt x="26377" y="106388"/>
                    <a:pt x="23274" y="107940"/>
                  </a:cubicBezTo>
                  <a:cubicBezTo>
                    <a:pt x="20171" y="109493"/>
                    <a:pt x="23274" y="128896"/>
                    <a:pt x="26377" y="132001"/>
                  </a:cubicBezTo>
                  <a:cubicBezTo>
                    <a:pt x="29480" y="135105"/>
                    <a:pt x="26377" y="138210"/>
                    <a:pt x="23274" y="145195"/>
                  </a:cubicBezTo>
                  <a:cubicBezTo>
                    <a:pt x="20171" y="152181"/>
                    <a:pt x="17067" y="155285"/>
                    <a:pt x="10861" y="155285"/>
                  </a:cubicBezTo>
                  <a:cubicBezTo>
                    <a:pt x="4655" y="155285"/>
                    <a:pt x="4655" y="165375"/>
                    <a:pt x="3103" y="165375"/>
                  </a:cubicBezTo>
                  <a:cubicBezTo>
                    <a:pt x="1552" y="165375"/>
                    <a:pt x="0" y="169256"/>
                    <a:pt x="0" y="171584"/>
                  </a:cubicBezTo>
                  <a:cubicBezTo>
                    <a:pt x="5431" y="176241"/>
                    <a:pt x="16292" y="182450"/>
                    <a:pt x="19395" y="182450"/>
                  </a:cubicBezTo>
                  <a:cubicBezTo>
                    <a:pt x="20171" y="180898"/>
                    <a:pt x="22498" y="185555"/>
                    <a:pt x="26377" y="187883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33" name="Forma libre 24">
              <a:extLst>
                <a:ext uri="{FF2B5EF4-FFF2-40B4-BE49-F238E27FC236}">
                  <a16:creationId xmlns:a16="http://schemas.microsoft.com/office/drawing/2014/main" id="{F945D070-C00D-21E0-C3DD-5280F1C475AF}"/>
                </a:ext>
              </a:extLst>
            </p:cNvPr>
            <p:cNvSpPr/>
            <p:nvPr/>
          </p:nvSpPr>
          <p:spPr>
            <a:xfrm>
              <a:off x="3054144" y="3489310"/>
              <a:ext cx="226968" cy="253062"/>
            </a:xfrm>
            <a:custGeom>
              <a:avLst/>
              <a:gdLst>
                <a:gd name="connsiteX0" fmla="*/ 189294 w 189939"/>
                <a:gd name="connsiteY0" fmla="*/ 128028 h 211776"/>
                <a:gd name="connsiteX1" fmla="*/ 179985 w 189939"/>
                <a:gd name="connsiteY1" fmla="*/ 112505 h 211776"/>
                <a:gd name="connsiteX2" fmla="*/ 166796 w 189939"/>
                <a:gd name="connsiteY2" fmla="*/ 104743 h 211776"/>
                <a:gd name="connsiteX3" fmla="*/ 149729 w 189939"/>
                <a:gd name="connsiteY3" fmla="*/ 96982 h 211776"/>
                <a:gd name="connsiteX4" fmla="*/ 148177 w 189939"/>
                <a:gd name="connsiteY4" fmla="*/ 83787 h 211776"/>
                <a:gd name="connsiteX5" fmla="*/ 145850 w 189939"/>
                <a:gd name="connsiteY5" fmla="*/ 72145 h 211776"/>
                <a:gd name="connsiteX6" fmla="*/ 139643 w 189939"/>
                <a:gd name="connsiteY6" fmla="*/ 61279 h 211776"/>
                <a:gd name="connsiteX7" fmla="*/ 122576 w 189939"/>
                <a:gd name="connsiteY7" fmla="*/ 57398 h 211776"/>
                <a:gd name="connsiteX8" fmla="*/ 109387 w 189939"/>
                <a:gd name="connsiteY8" fmla="*/ 51189 h 211776"/>
                <a:gd name="connsiteX9" fmla="*/ 103181 w 189939"/>
                <a:gd name="connsiteY9" fmla="*/ 45756 h 211776"/>
                <a:gd name="connsiteX10" fmla="*/ 92320 w 189939"/>
                <a:gd name="connsiteY10" fmla="*/ 43428 h 211776"/>
                <a:gd name="connsiteX11" fmla="*/ 73701 w 189939"/>
                <a:gd name="connsiteY11" fmla="*/ 32562 h 211776"/>
                <a:gd name="connsiteX12" fmla="*/ 68270 w 189939"/>
                <a:gd name="connsiteY12" fmla="*/ 2292 h 211776"/>
                <a:gd name="connsiteX13" fmla="*/ 53530 w 189939"/>
                <a:gd name="connsiteY13" fmla="*/ 1516 h 211776"/>
                <a:gd name="connsiteX14" fmla="*/ 34911 w 189939"/>
                <a:gd name="connsiteY14" fmla="*/ 10054 h 211776"/>
                <a:gd name="connsiteX15" fmla="*/ 21722 w 189939"/>
                <a:gd name="connsiteY15" fmla="*/ 17039 h 211776"/>
                <a:gd name="connsiteX16" fmla="*/ 8534 w 189939"/>
                <a:gd name="connsiteY16" fmla="*/ 20143 h 211776"/>
                <a:gd name="connsiteX17" fmla="*/ 3103 w 189939"/>
                <a:gd name="connsiteY17" fmla="*/ 18591 h 211776"/>
                <a:gd name="connsiteX18" fmla="*/ 13964 w 189939"/>
                <a:gd name="connsiteY18" fmla="*/ 40323 h 211776"/>
                <a:gd name="connsiteX19" fmla="*/ 10085 w 189939"/>
                <a:gd name="connsiteY19" fmla="*/ 48861 h 211776"/>
                <a:gd name="connsiteX20" fmla="*/ 11637 w 189939"/>
                <a:gd name="connsiteY20" fmla="*/ 71369 h 211776"/>
                <a:gd name="connsiteX21" fmla="*/ 7758 w 189939"/>
                <a:gd name="connsiteY21" fmla="*/ 84563 h 211776"/>
                <a:gd name="connsiteX22" fmla="*/ 3879 w 189939"/>
                <a:gd name="connsiteY22" fmla="*/ 97758 h 211776"/>
                <a:gd name="connsiteX23" fmla="*/ 10085 w 189939"/>
                <a:gd name="connsiteY23" fmla="*/ 104743 h 211776"/>
                <a:gd name="connsiteX24" fmla="*/ 1552 w 189939"/>
                <a:gd name="connsiteY24" fmla="*/ 117162 h 211776"/>
                <a:gd name="connsiteX25" fmla="*/ 0 w 189939"/>
                <a:gd name="connsiteY25" fmla="*/ 123371 h 211776"/>
                <a:gd name="connsiteX26" fmla="*/ 6206 w 189939"/>
                <a:gd name="connsiteY26" fmla="*/ 131132 h 211776"/>
                <a:gd name="connsiteX27" fmla="*/ 10085 w 189939"/>
                <a:gd name="connsiteY27" fmla="*/ 147431 h 211776"/>
                <a:gd name="connsiteX28" fmla="*/ 16292 w 189939"/>
                <a:gd name="connsiteY28" fmla="*/ 155969 h 211776"/>
                <a:gd name="connsiteX29" fmla="*/ 13189 w 189939"/>
                <a:gd name="connsiteY29" fmla="*/ 166835 h 211776"/>
                <a:gd name="connsiteX30" fmla="*/ 18619 w 189939"/>
                <a:gd name="connsiteY30" fmla="*/ 180030 h 211776"/>
                <a:gd name="connsiteX31" fmla="*/ 24050 w 189939"/>
                <a:gd name="connsiteY31" fmla="*/ 194000 h 211776"/>
                <a:gd name="connsiteX32" fmla="*/ 27929 w 189939"/>
                <a:gd name="connsiteY32" fmla="*/ 211075 h 211776"/>
                <a:gd name="connsiteX33" fmla="*/ 48875 w 189939"/>
                <a:gd name="connsiteY33" fmla="*/ 198657 h 211776"/>
                <a:gd name="connsiteX34" fmla="*/ 62840 w 189939"/>
                <a:gd name="connsiteY34" fmla="*/ 197881 h 211776"/>
                <a:gd name="connsiteX35" fmla="*/ 80683 w 189939"/>
                <a:gd name="connsiteY35" fmla="*/ 205642 h 211776"/>
                <a:gd name="connsiteX36" fmla="*/ 89992 w 189939"/>
                <a:gd name="connsiteY36" fmla="*/ 196329 h 211776"/>
                <a:gd name="connsiteX37" fmla="*/ 110939 w 189939"/>
                <a:gd name="connsiteY37" fmla="*/ 196329 h 211776"/>
                <a:gd name="connsiteX38" fmla="*/ 115594 w 189939"/>
                <a:gd name="connsiteY38" fmla="*/ 172268 h 211776"/>
                <a:gd name="connsiteX39" fmla="*/ 127231 w 189939"/>
                <a:gd name="connsiteY39" fmla="*/ 157521 h 211776"/>
                <a:gd name="connsiteX40" fmla="*/ 145850 w 189939"/>
                <a:gd name="connsiteY40" fmla="*/ 154417 h 211776"/>
                <a:gd name="connsiteX41" fmla="*/ 163693 w 189939"/>
                <a:gd name="connsiteY41" fmla="*/ 152864 h 211776"/>
                <a:gd name="connsiteX42" fmla="*/ 178433 w 189939"/>
                <a:gd name="connsiteY42" fmla="*/ 159074 h 211776"/>
                <a:gd name="connsiteX43" fmla="*/ 186191 w 189939"/>
                <a:gd name="connsiteY43" fmla="*/ 147431 h 211776"/>
                <a:gd name="connsiteX44" fmla="*/ 189294 w 189939"/>
                <a:gd name="connsiteY44" fmla="*/ 128028 h 21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9939" h="211776">
                  <a:moveTo>
                    <a:pt x="189294" y="128028"/>
                  </a:moveTo>
                  <a:cubicBezTo>
                    <a:pt x="186967" y="121042"/>
                    <a:pt x="179985" y="120266"/>
                    <a:pt x="179985" y="112505"/>
                  </a:cubicBezTo>
                  <a:cubicBezTo>
                    <a:pt x="179985" y="104743"/>
                    <a:pt x="176882" y="103967"/>
                    <a:pt x="166796" y="104743"/>
                  </a:cubicBezTo>
                  <a:cubicBezTo>
                    <a:pt x="156711" y="105519"/>
                    <a:pt x="150505" y="103191"/>
                    <a:pt x="149729" y="96982"/>
                  </a:cubicBezTo>
                  <a:cubicBezTo>
                    <a:pt x="148953" y="90773"/>
                    <a:pt x="143522" y="86116"/>
                    <a:pt x="148177" y="83787"/>
                  </a:cubicBezTo>
                  <a:cubicBezTo>
                    <a:pt x="152832" y="81459"/>
                    <a:pt x="145074" y="77578"/>
                    <a:pt x="145850" y="72145"/>
                  </a:cubicBezTo>
                  <a:cubicBezTo>
                    <a:pt x="146626" y="66712"/>
                    <a:pt x="142747" y="64384"/>
                    <a:pt x="139643" y="61279"/>
                  </a:cubicBezTo>
                  <a:cubicBezTo>
                    <a:pt x="136540" y="58174"/>
                    <a:pt x="122576" y="62831"/>
                    <a:pt x="122576" y="57398"/>
                  </a:cubicBezTo>
                  <a:cubicBezTo>
                    <a:pt x="122576" y="51965"/>
                    <a:pt x="114042" y="51189"/>
                    <a:pt x="109387" y="51189"/>
                  </a:cubicBezTo>
                  <a:cubicBezTo>
                    <a:pt x="104733" y="51189"/>
                    <a:pt x="107836" y="44980"/>
                    <a:pt x="103181" y="45756"/>
                  </a:cubicBezTo>
                  <a:cubicBezTo>
                    <a:pt x="97750" y="46532"/>
                    <a:pt x="99302" y="42652"/>
                    <a:pt x="92320" y="43428"/>
                  </a:cubicBezTo>
                  <a:cubicBezTo>
                    <a:pt x="85338" y="44204"/>
                    <a:pt x="81459" y="41099"/>
                    <a:pt x="73701" y="32562"/>
                  </a:cubicBezTo>
                  <a:cubicBezTo>
                    <a:pt x="65943" y="24024"/>
                    <a:pt x="67494" y="6949"/>
                    <a:pt x="68270" y="2292"/>
                  </a:cubicBezTo>
                  <a:cubicBezTo>
                    <a:pt x="69822" y="-2365"/>
                    <a:pt x="59736" y="1516"/>
                    <a:pt x="53530" y="1516"/>
                  </a:cubicBezTo>
                  <a:cubicBezTo>
                    <a:pt x="47324" y="1516"/>
                    <a:pt x="41893" y="6173"/>
                    <a:pt x="34911" y="10054"/>
                  </a:cubicBezTo>
                  <a:cubicBezTo>
                    <a:pt x="28705" y="13934"/>
                    <a:pt x="24826" y="13934"/>
                    <a:pt x="21722" y="17039"/>
                  </a:cubicBezTo>
                  <a:cubicBezTo>
                    <a:pt x="18619" y="20143"/>
                    <a:pt x="13189" y="22472"/>
                    <a:pt x="8534" y="20143"/>
                  </a:cubicBezTo>
                  <a:cubicBezTo>
                    <a:pt x="6982" y="19367"/>
                    <a:pt x="5431" y="19367"/>
                    <a:pt x="3103" y="18591"/>
                  </a:cubicBezTo>
                  <a:cubicBezTo>
                    <a:pt x="6206" y="25576"/>
                    <a:pt x="12413" y="36442"/>
                    <a:pt x="13964" y="40323"/>
                  </a:cubicBezTo>
                  <a:cubicBezTo>
                    <a:pt x="15516" y="45756"/>
                    <a:pt x="11637" y="46532"/>
                    <a:pt x="10085" y="48861"/>
                  </a:cubicBezTo>
                  <a:cubicBezTo>
                    <a:pt x="8534" y="50413"/>
                    <a:pt x="10861" y="67488"/>
                    <a:pt x="11637" y="71369"/>
                  </a:cubicBezTo>
                  <a:cubicBezTo>
                    <a:pt x="12413" y="75250"/>
                    <a:pt x="5431" y="82235"/>
                    <a:pt x="7758" y="84563"/>
                  </a:cubicBezTo>
                  <a:cubicBezTo>
                    <a:pt x="10861" y="86892"/>
                    <a:pt x="3879" y="93877"/>
                    <a:pt x="3879" y="97758"/>
                  </a:cubicBezTo>
                  <a:cubicBezTo>
                    <a:pt x="3879" y="101639"/>
                    <a:pt x="10085" y="101639"/>
                    <a:pt x="10085" y="104743"/>
                  </a:cubicBezTo>
                  <a:cubicBezTo>
                    <a:pt x="10085" y="107848"/>
                    <a:pt x="4655" y="115609"/>
                    <a:pt x="1552" y="117162"/>
                  </a:cubicBezTo>
                  <a:cubicBezTo>
                    <a:pt x="0" y="117938"/>
                    <a:pt x="0" y="121042"/>
                    <a:pt x="0" y="123371"/>
                  </a:cubicBezTo>
                  <a:cubicBezTo>
                    <a:pt x="776" y="123371"/>
                    <a:pt x="1552" y="127251"/>
                    <a:pt x="6206" y="131132"/>
                  </a:cubicBezTo>
                  <a:cubicBezTo>
                    <a:pt x="11637" y="135013"/>
                    <a:pt x="5431" y="141998"/>
                    <a:pt x="10085" y="147431"/>
                  </a:cubicBezTo>
                  <a:cubicBezTo>
                    <a:pt x="14740" y="152864"/>
                    <a:pt x="19395" y="153641"/>
                    <a:pt x="16292" y="155969"/>
                  </a:cubicBezTo>
                  <a:cubicBezTo>
                    <a:pt x="13189" y="159074"/>
                    <a:pt x="17068" y="164507"/>
                    <a:pt x="13189" y="166835"/>
                  </a:cubicBezTo>
                  <a:cubicBezTo>
                    <a:pt x="9310" y="169940"/>
                    <a:pt x="14740" y="177701"/>
                    <a:pt x="18619" y="180030"/>
                  </a:cubicBezTo>
                  <a:cubicBezTo>
                    <a:pt x="22498" y="181582"/>
                    <a:pt x="20171" y="190119"/>
                    <a:pt x="24050" y="194000"/>
                  </a:cubicBezTo>
                  <a:cubicBezTo>
                    <a:pt x="27929" y="197881"/>
                    <a:pt x="26377" y="207971"/>
                    <a:pt x="27929" y="211075"/>
                  </a:cubicBezTo>
                  <a:cubicBezTo>
                    <a:pt x="29480" y="214180"/>
                    <a:pt x="41893" y="206418"/>
                    <a:pt x="48875" y="198657"/>
                  </a:cubicBezTo>
                  <a:cubicBezTo>
                    <a:pt x="56633" y="190896"/>
                    <a:pt x="55857" y="197105"/>
                    <a:pt x="62840" y="197881"/>
                  </a:cubicBezTo>
                  <a:cubicBezTo>
                    <a:pt x="69822" y="198657"/>
                    <a:pt x="77580" y="198657"/>
                    <a:pt x="80683" y="205642"/>
                  </a:cubicBezTo>
                  <a:cubicBezTo>
                    <a:pt x="83786" y="211852"/>
                    <a:pt x="87665" y="199433"/>
                    <a:pt x="89992" y="196329"/>
                  </a:cubicBezTo>
                  <a:cubicBezTo>
                    <a:pt x="92320" y="193224"/>
                    <a:pt x="107836" y="197105"/>
                    <a:pt x="110939" y="196329"/>
                  </a:cubicBezTo>
                  <a:cubicBezTo>
                    <a:pt x="114042" y="195552"/>
                    <a:pt x="116369" y="175373"/>
                    <a:pt x="115594" y="172268"/>
                  </a:cubicBezTo>
                  <a:cubicBezTo>
                    <a:pt x="114818" y="169164"/>
                    <a:pt x="121800" y="161402"/>
                    <a:pt x="127231" y="157521"/>
                  </a:cubicBezTo>
                  <a:cubicBezTo>
                    <a:pt x="132661" y="153641"/>
                    <a:pt x="141195" y="156745"/>
                    <a:pt x="145850" y="154417"/>
                  </a:cubicBezTo>
                  <a:cubicBezTo>
                    <a:pt x="150505" y="152088"/>
                    <a:pt x="157487" y="152864"/>
                    <a:pt x="163693" y="152864"/>
                  </a:cubicBezTo>
                  <a:cubicBezTo>
                    <a:pt x="169899" y="152864"/>
                    <a:pt x="174554" y="159074"/>
                    <a:pt x="178433" y="159074"/>
                  </a:cubicBezTo>
                  <a:cubicBezTo>
                    <a:pt x="182312" y="159074"/>
                    <a:pt x="186967" y="152864"/>
                    <a:pt x="186191" y="147431"/>
                  </a:cubicBezTo>
                  <a:cubicBezTo>
                    <a:pt x="186967" y="142774"/>
                    <a:pt x="191622" y="135013"/>
                    <a:pt x="189294" y="128028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34" name="Forma libre 25">
              <a:extLst>
                <a:ext uri="{FF2B5EF4-FFF2-40B4-BE49-F238E27FC236}">
                  <a16:creationId xmlns:a16="http://schemas.microsoft.com/office/drawing/2014/main" id="{9F85B501-B6C1-6AF0-457D-5015FBF3231A}"/>
                </a:ext>
              </a:extLst>
            </p:cNvPr>
            <p:cNvSpPr/>
            <p:nvPr/>
          </p:nvSpPr>
          <p:spPr>
            <a:xfrm>
              <a:off x="2836294" y="3305546"/>
              <a:ext cx="237099" cy="348807"/>
            </a:xfrm>
            <a:custGeom>
              <a:avLst/>
              <a:gdLst>
                <a:gd name="connsiteX0" fmla="*/ 183814 w 198417"/>
                <a:gd name="connsiteY0" fmla="*/ 277930 h 291901"/>
                <a:gd name="connsiteX1" fmla="*/ 183814 w 198417"/>
                <a:gd name="connsiteY1" fmla="*/ 277930 h 291901"/>
                <a:gd name="connsiteX2" fmla="*/ 185365 w 198417"/>
                <a:gd name="connsiteY2" fmla="*/ 270945 h 291901"/>
                <a:gd name="connsiteX3" fmla="*/ 193899 w 198417"/>
                <a:gd name="connsiteY3" fmla="*/ 258527 h 291901"/>
                <a:gd name="connsiteX4" fmla="*/ 187693 w 198417"/>
                <a:gd name="connsiteY4" fmla="*/ 251541 h 291901"/>
                <a:gd name="connsiteX5" fmla="*/ 191572 w 198417"/>
                <a:gd name="connsiteY5" fmla="*/ 238347 h 291901"/>
                <a:gd name="connsiteX6" fmla="*/ 195451 w 198417"/>
                <a:gd name="connsiteY6" fmla="*/ 225152 h 291901"/>
                <a:gd name="connsiteX7" fmla="*/ 193899 w 198417"/>
                <a:gd name="connsiteY7" fmla="*/ 202644 h 291901"/>
                <a:gd name="connsiteX8" fmla="*/ 197778 w 198417"/>
                <a:gd name="connsiteY8" fmla="*/ 194107 h 291901"/>
                <a:gd name="connsiteX9" fmla="*/ 186917 w 198417"/>
                <a:gd name="connsiteY9" fmla="*/ 172374 h 291901"/>
                <a:gd name="connsiteX10" fmla="*/ 172177 w 198417"/>
                <a:gd name="connsiteY10" fmla="*/ 173151 h 291901"/>
                <a:gd name="connsiteX11" fmla="*/ 168298 w 198417"/>
                <a:gd name="connsiteY11" fmla="*/ 152971 h 291901"/>
                <a:gd name="connsiteX12" fmla="*/ 161316 w 198417"/>
                <a:gd name="connsiteY12" fmla="*/ 154523 h 291901"/>
                <a:gd name="connsiteX13" fmla="*/ 145024 w 198417"/>
                <a:gd name="connsiteY13" fmla="*/ 156851 h 291901"/>
                <a:gd name="connsiteX14" fmla="*/ 136490 w 198417"/>
                <a:gd name="connsiteY14" fmla="*/ 148314 h 291901"/>
                <a:gd name="connsiteX15" fmla="*/ 128732 w 198417"/>
                <a:gd name="connsiteY15" fmla="*/ 142105 h 291901"/>
                <a:gd name="connsiteX16" fmla="*/ 122526 w 198417"/>
                <a:gd name="connsiteY16" fmla="*/ 128910 h 291901"/>
                <a:gd name="connsiteX17" fmla="*/ 118647 w 198417"/>
                <a:gd name="connsiteY17" fmla="*/ 115716 h 291901"/>
                <a:gd name="connsiteX18" fmla="*/ 120974 w 198417"/>
                <a:gd name="connsiteY18" fmla="*/ 105626 h 291901"/>
                <a:gd name="connsiteX19" fmla="*/ 127956 w 198417"/>
                <a:gd name="connsiteY19" fmla="*/ 97088 h 291901"/>
                <a:gd name="connsiteX20" fmla="*/ 133387 w 198417"/>
                <a:gd name="connsiteY20" fmla="*/ 82341 h 291901"/>
                <a:gd name="connsiteX21" fmla="*/ 147351 w 198417"/>
                <a:gd name="connsiteY21" fmla="*/ 73028 h 291901"/>
                <a:gd name="connsiteX22" fmla="*/ 165970 w 198417"/>
                <a:gd name="connsiteY22" fmla="*/ 66042 h 291901"/>
                <a:gd name="connsiteX23" fmla="*/ 178383 w 198417"/>
                <a:gd name="connsiteY23" fmla="*/ 65266 h 291901"/>
                <a:gd name="connsiteX24" fmla="*/ 169074 w 198417"/>
                <a:gd name="connsiteY24" fmla="*/ 57505 h 291901"/>
                <a:gd name="connsiteX25" fmla="*/ 176831 w 198417"/>
                <a:gd name="connsiteY25" fmla="*/ 44310 h 291901"/>
                <a:gd name="connsiteX26" fmla="*/ 165195 w 198417"/>
                <a:gd name="connsiteY26" fmla="*/ 34997 h 291901"/>
                <a:gd name="connsiteX27" fmla="*/ 155109 w 198417"/>
                <a:gd name="connsiteY27" fmla="*/ 35773 h 291901"/>
                <a:gd name="connsiteX28" fmla="*/ 145800 w 198417"/>
                <a:gd name="connsiteY28" fmla="*/ 36549 h 291901"/>
                <a:gd name="connsiteX29" fmla="*/ 127956 w 198417"/>
                <a:gd name="connsiteY29" fmla="*/ 34220 h 291901"/>
                <a:gd name="connsiteX30" fmla="*/ 121750 w 198417"/>
                <a:gd name="connsiteY30" fmla="*/ 24130 h 291901"/>
                <a:gd name="connsiteX31" fmla="*/ 111665 w 198417"/>
                <a:gd name="connsiteY31" fmla="*/ 14041 h 291901"/>
                <a:gd name="connsiteX32" fmla="*/ 102355 w 198417"/>
                <a:gd name="connsiteY32" fmla="*/ 846 h 291901"/>
                <a:gd name="connsiteX33" fmla="*/ 89166 w 198417"/>
                <a:gd name="connsiteY33" fmla="*/ 1622 h 291901"/>
                <a:gd name="connsiteX34" fmla="*/ 93045 w 198417"/>
                <a:gd name="connsiteY34" fmla="*/ 12488 h 291901"/>
                <a:gd name="connsiteX35" fmla="*/ 84512 w 198417"/>
                <a:gd name="connsiteY35" fmla="*/ 28011 h 291901"/>
                <a:gd name="connsiteX36" fmla="*/ 53480 w 198417"/>
                <a:gd name="connsiteY36" fmla="*/ 44310 h 291901"/>
                <a:gd name="connsiteX37" fmla="*/ 39516 w 198417"/>
                <a:gd name="connsiteY37" fmla="*/ 69147 h 291901"/>
                <a:gd name="connsiteX38" fmla="*/ 28654 w 198417"/>
                <a:gd name="connsiteY38" fmla="*/ 69923 h 291901"/>
                <a:gd name="connsiteX39" fmla="*/ 17017 w 198417"/>
                <a:gd name="connsiteY39" fmla="*/ 66819 h 291901"/>
                <a:gd name="connsiteX40" fmla="*/ 17017 w 198417"/>
                <a:gd name="connsiteY40" fmla="*/ 59057 h 291901"/>
                <a:gd name="connsiteX41" fmla="*/ 13914 w 198417"/>
                <a:gd name="connsiteY41" fmla="*/ 51296 h 291901"/>
                <a:gd name="connsiteX42" fmla="*/ 726 w 198417"/>
                <a:gd name="connsiteY42" fmla="*/ 65266 h 291901"/>
                <a:gd name="connsiteX43" fmla="*/ 6932 w 198417"/>
                <a:gd name="connsiteY43" fmla="*/ 86998 h 291901"/>
                <a:gd name="connsiteX44" fmla="*/ 2277 w 198417"/>
                <a:gd name="connsiteY44" fmla="*/ 90879 h 291901"/>
                <a:gd name="connsiteX45" fmla="*/ 19345 w 198417"/>
                <a:gd name="connsiteY45" fmla="*/ 104074 h 291901"/>
                <a:gd name="connsiteX46" fmla="*/ 34861 w 198417"/>
                <a:gd name="connsiteY46" fmla="*/ 125806 h 291901"/>
                <a:gd name="connsiteX47" fmla="*/ 45722 w 198417"/>
                <a:gd name="connsiteY47" fmla="*/ 149866 h 291901"/>
                <a:gd name="connsiteX48" fmla="*/ 69772 w 198417"/>
                <a:gd name="connsiteY48" fmla="*/ 195659 h 291901"/>
                <a:gd name="connsiteX49" fmla="*/ 79081 w 198417"/>
                <a:gd name="connsiteY49" fmla="*/ 215839 h 291901"/>
                <a:gd name="connsiteX50" fmla="*/ 85287 w 198417"/>
                <a:gd name="connsiteY50" fmla="*/ 229809 h 291901"/>
                <a:gd name="connsiteX51" fmla="*/ 110113 w 198417"/>
                <a:gd name="connsiteY51" fmla="*/ 246884 h 291901"/>
                <a:gd name="connsiteX52" fmla="*/ 155109 w 198417"/>
                <a:gd name="connsiteY52" fmla="*/ 274826 h 291901"/>
                <a:gd name="connsiteX53" fmla="*/ 173728 w 198417"/>
                <a:gd name="connsiteY53" fmla="*/ 288796 h 291901"/>
                <a:gd name="connsiteX54" fmla="*/ 174504 w 198417"/>
                <a:gd name="connsiteY54" fmla="*/ 291901 h 291901"/>
                <a:gd name="connsiteX55" fmla="*/ 177607 w 198417"/>
                <a:gd name="connsiteY55" fmla="*/ 289573 h 291901"/>
                <a:gd name="connsiteX56" fmla="*/ 183814 w 198417"/>
                <a:gd name="connsiteY56" fmla="*/ 277930 h 291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98417" h="291901">
                  <a:moveTo>
                    <a:pt x="183814" y="277930"/>
                  </a:moveTo>
                  <a:cubicBezTo>
                    <a:pt x="184589" y="277930"/>
                    <a:pt x="184589" y="277154"/>
                    <a:pt x="183814" y="277930"/>
                  </a:cubicBezTo>
                  <a:cubicBezTo>
                    <a:pt x="183814" y="274826"/>
                    <a:pt x="183814" y="271721"/>
                    <a:pt x="185365" y="270945"/>
                  </a:cubicBezTo>
                  <a:cubicBezTo>
                    <a:pt x="188468" y="269393"/>
                    <a:pt x="193899" y="261631"/>
                    <a:pt x="193899" y="258527"/>
                  </a:cubicBezTo>
                  <a:cubicBezTo>
                    <a:pt x="193899" y="255422"/>
                    <a:pt x="187693" y="255422"/>
                    <a:pt x="187693" y="251541"/>
                  </a:cubicBezTo>
                  <a:cubicBezTo>
                    <a:pt x="187693" y="247661"/>
                    <a:pt x="193899" y="240675"/>
                    <a:pt x="191572" y="238347"/>
                  </a:cubicBezTo>
                  <a:cubicBezTo>
                    <a:pt x="188468" y="236018"/>
                    <a:pt x="195451" y="229033"/>
                    <a:pt x="195451" y="225152"/>
                  </a:cubicBezTo>
                  <a:cubicBezTo>
                    <a:pt x="194675" y="221272"/>
                    <a:pt x="192347" y="204973"/>
                    <a:pt x="193899" y="202644"/>
                  </a:cubicBezTo>
                  <a:cubicBezTo>
                    <a:pt x="195451" y="201092"/>
                    <a:pt x="200105" y="199539"/>
                    <a:pt x="197778" y="194107"/>
                  </a:cubicBezTo>
                  <a:cubicBezTo>
                    <a:pt x="196226" y="190226"/>
                    <a:pt x="190020" y="178584"/>
                    <a:pt x="186917" y="172374"/>
                  </a:cubicBezTo>
                  <a:cubicBezTo>
                    <a:pt x="181486" y="171598"/>
                    <a:pt x="175280" y="171598"/>
                    <a:pt x="172177" y="173151"/>
                  </a:cubicBezTo>
                  <a:cubicBezTo>
                    <a:pt x="166746" y="174703"/>
                    <a:pt x="168298" y="159180"/>
                    <a:pt x="168298" y="152971"/>
                  </a:cubicBezTo>
                  <a:cubicBezTo>
                    <a:pt x="168298" y="146762"/>
                    <a:pt x="162867" y="149866"/>
                    <a:pt x="161316" y="154523"/>
                  </a:cubicBezTo>
                  <a:cubicBezTo>
                    <a:pt x="159764" y="158404"/>
                    <a:pt x="152006" y="156851"/>
                    <a:pt x="145024" y="156851"/>
                  </a:cubicBezTo>
                  <a:cubicBezTo>
                    <a:pt x="137266" y="156851"/>
                    <a:pt x="141145" y="147538"/>
                    <a:pt x="136490" y="148314"/>
                  </a:cubicBezTo>
                  <a:cubicBezTo>
                    <a:pt x="131835" y="149090"/>
                    <a:pt x="127956" y="146762"/>
                    <a:pt x="128732" y="142105"/>
                  </a:cubicBezTo>
                  <a:cubicBezTo>
                    <a:pt x="129508" y="137448"/>
                    <a:pt x="125629" y="133567"/>
                    <a:pt x="122526" y="128910"/>
                  </a:cubicBezTo>
                  <a:cubicBezTo>
                    <a:pt x="119423" y="123477"/>
                    <a:pt x="115544" y="118820"/>
                    <a:pt x="118647" y="115716"/>
                  </a:cubicBezTo>
                  <a:cubicBezTo>
                    <a:pt x="121750" y="112611"/>
                    <a:pt x="117095" y="109507"/>
                    <a:pt x="120974" y="105626"/>
                  </a:cubicBezTo>
                  <a:cubicBezTo>
                    <a:pt x="124853" y="101745"/>
                    <a:pt x="129508" y="102521"/>
                    <a:pt x="127956" y="97088"/>
                  </a:cubicBezTo>
                  <a:cubicBezTo>
                    <a:pt x="126405" y="91655"/>
                    <a:pt x="132611" y="88551"/>
                    <a:pt x="133387" y="82341"/>
                  </a:cubicBezTo>
                  <a:cubicBezTo>
                    <a:pt x="134163" y="76132"/>
                    <a:pt x="141145" y="78461"/>
                    <a:pt x="147351" y="73028"/>
                  </a:cubicBezTo>
                  <a:cubicBezTo>
                    <a:pt x="153558" y="67595"/>
                    <a:pt x="160540" y="70699"/>
                    <a:pt x="165970" y="66042"/>
                  </a:cubicBezTo>
                  <a:cubicBezTo>
                    <a:pt x="171401" y="61386"/>
                    <a:pt x="174504" y="65266"/>
                    <a:pt x="178383" y="65266"/>
                  </a:cubicBezTo>
                  <a:cubicBezTo>
                    <a:pt x="176056" y="62162"/>
                    <a:pt x="170625" y="60609"/>
                    <a:pt x="169074" y="57505"/>
                  </a:cubicBezTo>
                  <a:cubicBezTo>
                    <a:pt x="167522" y="54400"/>
                    <a:pt x="175280" y="48191"/>
                    <a:pt x="176831" y="44310"/>
                  </a:cubicBezTo>
                  <a:cubicBezTo>
                    <a:pt x="179159" y="40430"/>
                    <a:pt x="168298" y="36549"/>
                    <a:pt x="165195" y="34997"/>
                  </a:cubicBezTo>
                  <a:cubicBezTo>
                    <a:pt x="162091" y="34220"/>
                    <a:pt x="157437" y="37325"/>
                    <a:pt x="155109" y="35773"/>
                  </a:cubicBezTo>
                  <a:cubicBezTo>
                    <a:pt x="152006" y="34220"/>
                    <a:pt x="148127" y="34997"/>
                    <a:pt x="145800" y="36549"/>
                  </a:cubicBezTo>
                  <a:cubicBezTo>
                    <a:pt x="143472" y="38101"/>
                    <a:pt x="127181" y="38877"/>
                    <a:pt x="127956" y="34220"/>
                  </a:cubicBezTo>
                  <a:cubicBezTo>
                    <a:pt x="128732" y="29563"/>
                    <a:pt x="121750" y="28011"/>
                    <a:pt x="121750" y="24130"/>
                  </a:cubicBezTo>
                  <a:cubicBezTo>
                    <a:pt x="122526" y="21026"/>
                    <a:pt x="117871" y="14817"/>
                    <a:pt x="111665" y="14041"/>
                  </a:cubicBezTo>
                  <a:cubicBezTo>
                    <a:pt x="105458" y="13264"/>
                    <a:pt x="107010" y="3951"/>
                    <a:pt x="102355" y="846"/>
                  </a:cubicBezTo>
                  <a:cubicBezTo>
                    <a:pt x="100028" y="-706"/>
                    <a:pt x="93821" y="70"/>
                    <a:pt x="89166" y="1622"/>
                  </a:cubicBezTo>
                  <a:cubicBezTo>
                    <a:pt x="94597" y="7831"/>
                    <a:pt x="96149" y="10160"/>
                    <a:pt x="93045" y="12488"/>
                  </a:cubicBezTo>
                  <a:cubicBezTo>
                    <a:pt x="88391" y="16369"/>
                    <a:pt x="93045" y="17145"/>
                    <a:pt x="84512" y="28011"/>
                  </a:cubicBezTo>
                  <a:cubicBezTo>
                    <a:pt x="75978" y="39653"/>
                    <a:pt x="61238" y="42758"/>
                    <a:pt x="53480" y="44310"/>
                  </a:cubicBezTo>
                  <a:cubicBezTo>
                    <a:pt x="46498" y="46639"/>
                    <a:pt x="43395" y="59833"/>
                    <a:pt x="39516" y="69147"/>
                  </a:cubicBezTo>
                  <a:cubicBezTo>
                    <a:pt x="35637" y="78461"/>
                    <a:pt x="32533" y="75356"/>
                    <a:pt x="28654" y="69923"/>
                  </a:cubicBezTo>
                  <a:cubicBezTo>
                    <a:pt x="24775" y="64490"/>
                    <a:pt x="21672" y="70699"/>
                    <a:pt x="17017" y="66819"/>
                  </a:cubicBezTo>
                  <a:cubicBezTo>
                    <a:pt x="12363" y="62162"/>
                    <a:pt x="14690" y="62162"/>
                    <a:pt x="17017" y="59057"/>
                  </a:cubicBezTo>
                  <a:cubicBezTo>
                    <a:pt x="18569" y="57505"/>
                    <a:pt x="17017" y="54400"/>
                    <a:pt x="13914" y="51296"/>
                  </a:cubicBezTo>
                  <a:cubicBezTo>
                    <a:pt x="8484" y="52072"/>
                    <a:pt x="3829" y="59833"/>
                    <a:pt x="726" y="65266"/>
                  </a:cubicBezTo>
                  <a:cubicBezTo>
                    <a:pt x="-2378" y="71475"/>
                    <a:pt x="5380" y="82341"/>
                    <a:pt x="6932" y="86998"/>
                  </a:cubicBezTo>
                  <a:cubicBezTo>
                    <a:pt x="7708" y="90879"/>
                    <a:pt x="3053" y="86998"/>
                    <a:pt x="2277" y="90879"/>
                  </a:cubicBezTo>
                  <a:cubicBezTo>
                    <a:pt x="1501" y="94760"/>
                    <a:pt x="13914" y="100193"/>
                    <a:pt x="19345" y="104074"/>
                  </a:cubicBezTo>
                  <a:cubicBezTo>
                    <a:pt x="24775" y="107954"/>
                    <a:pt x="29430" y="120373"/>
                    <a:pt x="34861" y="125806"/>
                  </a:cubicBezTo>
                  <a:cubicBezTo>
                    <a:pt x="40291" y="131239"/>
                    <a:pt x="40291" y="135896"/>
                    <a:pt x="45722" y="149866"/>
                  </a:cubicBezTo>
                  <a:cubicBezTo>
                    <a:pt x="51152" y="163061"/>
                    <a:pt x="62014" y="186345"/>
                    <a:pt x="69772" y="195659"/>
                  </a:cubicBezTo>
                  <a:cubicBezTo>
                    <a:pt x="77530" y="204973"/>
                    <a:pt x="80633" y="212734"/>
                    <a:pt x="79081" y="215839"/>
                  </a:cubicBezTo>
                  <a:cubicBezTo>
                    <a:pt x="77530" y="218943"/>
                    <a:pt x="79081" y="225929"/>
                    <a:pt x="85287" y="229809"/>
                  </a:cubicBezTo>
                  <a:cubicBezTo>
                    <a:pt x="90718" y="233690"/>
                    <a:pt x="95373" y="239899"/>
                    <a:pt x="110113" y="246884"/>
                  </a:cubicBezTo>
                  <a:cubicBezTo>
                    <a:pt x="124853" y="253870"/>
                    <a:pt x="151230" y="267841"/>
                    <a:pt x="155109" y="274826"/>
                  </a:cubicBezTo>
                  <a:cubicBezTo>
                    <a:pt x="158988" y="281035"/>
                    <a:pt x="171401" y="287244"/>
                    <a:pt x="173728" y="288796"/>
                  </a:cubicBezTo>
                  <a:cubicBezTo>
                    <a:pt x="174504" y="288796"/>
                    <a:pt x="174504" y="290349"/>
                    <a:pt x="174504" y="291901"/>
                  </a:cubicBezTo>
                  <a:cubicBezTo>
                    <a:pt x="176056" y="290349"/>
                    <a:pt x="176831" y="289573"/>
                    <a:pt x="177607" y="289573"/>
                  </a:cubicBezTo>
                  <a:cubicBezTo>
                    <a:pt x="182262" y="288020"/>
                    <a:pt x="183038" y="280259"/>
                    <a:pt x="183814" y="277930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38" name="Forma libre 26">
              <a:extLst>
                <a:ext uri="{FF2B5EF4-FFF2-40B4-BE49-F238E27FC236}">
                  <a16:creationId xmlns:a16="http://schemas.microsoft.com/office/drawing/2014/main" id="{3D5979DC-D6B5-5319-ACCD-A75F261BFF52}"/>
                </a:ext>
              </a:extLst>
            </p:cNvPr>
            <p:cNvSpPr/>
            <p:nvPr/>
          </p:nvSpPr>
          <p:spPr>
            <a:xfrm>
              <a:off x="2983112" y="3079217"/>
              <a:ext cx="254642" cy="214025"/>
            </a:xfrm>
            <a:custGeom>
              <a:avLst/>
              <a:gdLst>
                <a:gd name="connsiteX0" fmla="*/ 19925 w 213098"/>
                <a:gd name="connsiteY0" fmla="*/ 10866 h 179108"/>
                <a:gd name="connsiteX1" fmla="*/ 5960 w 213098"/>
                <a:gd name="connsiteY1" fmla="*/ 28717 h 179108"/>
                <a:gd name="connsiteX2" fmla="*/ 3633 w 213098"/>
                <a:gd name="connsiteY2" fmla="*/ 40360 h 179108"/>
                <a:gd name="connsiteX3" fmla="*/ 1306 w 213098"/>
                <a:gd name="connsiteY3" fmla="*/ 47345 h 179108"/>
                <a:gd name="connsiteX4" fmla="*/ 8288 w 213098"/>
                <a:gd name="connsiteY4" fmla="*/ 50450 h 179108"/>
                <a:gd name="connsiteX5" fmla="*/ 15270 w 213098"/>
                <a:gd name="connsiteY5" fmla="*/ 60539 h 179108"/>
                <a:gd name="connsiteX6" fmla="*/ 25355 w 213098"/>
                <a:gd name="connsiteY6" fmla="*/ 81495 h 179108"/>
                <a:gd name="connsiteX7" fmla="*/ 51732 w 213098"/>
                <a:gd name="connsiteY7" fmla="*/ 83824 h 179108"/>
                <a:gd name="connsiteX8" fmla="*/ 73455 w 213098"/>
                <a:gd name="connsiteY8" fmla="*/ 93138 h 179108"/>
                <a:gd name="connsiteX9" fmla="*/ 92074 w 213098"/>
                <a:gd name="connsiteY9" fmla="*/ 97794 h 179108"/>
                <a:gd name="connsiteX10" fmla="*/ 88195 w 213098"/>
                <a:gd name="connsiteY10" fmla="*/ 126512 h 179108"/>
                <a:gd name="connsiteX11" fmla="*/ 94401 w 213098"/>
                <a:gd name="connsiteY11" fmla="*/ 138154 h 179108"/>
                <a:gd name="connsiteX12" fmla="*/ 93625 w 213098"/>
                <a:gd name="connsiteY12" fmla="*/ 149796 h 179108"/>
                <a:gd name="connsiteX13" fmla="*/ 96729 w 213098"/>
                <a:gd name="connsiteY13" fmla="*/ 157558 h 179108"/>
                <a:gd name="connsiteX14" fmla="*/ 94401 w 213098"/>
                <a:gd name="connsiteY14" fmla="*/ 159110 h 179108"/>
                <a:gd name="connsiteX15" fmla="*/ 106038 w 213098"/>
                <a:gd name="connsiteY15" fmla="*/ 174633 h 179108"/>
                <a:gd name="connsiteX16" fmla="*/ 115348 w 213098"/>
                <a:gd name="connsiteY16" fmla="*/ 178514 h 179108"/>
                <a:gd name="connsiteX17" fmla="*/ 123881 w 213098"/>
                <a:gd name="connsiteY17" fmla="*/ 176961 h 179108"/>
                <a:gd name="connsiteX18" fmla="*/ 134743 w 213098"/>
                <a:gd name="connsiteY18" fmla="*/ 171528 h 179108"/>
                <a:gd name="connsiteX19" fmla="*/ 144828 w 213098"/>
                <a:gd name="connsiteY19" fmla="*/ 166095 h 179108"/>
                <a:gd name="connsiteX20" fmla="*/ 153362 w 213098"/>
                <a:gd name="connsiteY20" fmla="*/ 157558 h 179108"/>
                <a:gd name="connsiteX21" fmla="*/ 154913 w 213098"/>
                <a:gd name="connsiteY21" fmla="*/ 151349 h 179108"/>
                <a:gd name="connsiteX22" fmla="*/ 147155 w 213098"/>
                <a:gd name="connsiteY22" fmla="*/ 149796 h 179108"/>
                <a:gd name="connsiteX23" fmla="*/ 143276 w 213098"/>
                <a:gd name="connsiteY23" fmla="*/ 139706 h 179108"/>
                <a:gd name="connsiteX24" fmla="*/ 137070 w 213098"/>
                <a:gd name="connsiteY24" fmla="*/ 128064 h 179108"/>
                <a:gd name="connsiteX25" fmla="*/ 147155 w 213098"/>
                <a:gd name="connsiteY25" fmla="*/ 126512 h 179108"/>
                <a:gd name="connsiteX26" fmla="*/ 161120 w 213098"/>
                <a:gd name="connsiteY26" fmla="*/ 131169 h 179108"/>
                <a:gd name="connsiteX27" fmla="*/ 167326 w 213098"/>
                <a:gd name="connsiteY27" fmla="*/ 131945 h 179108"/>
                <a:gd name="connsiteX28" fmla="*/ 178187 w 213098"/>
                <a:gd name="connsiteY28" fmla="*/ 125736 h 179108"/>
                <a:gd name="connsiteX29" fmla="*/ 197582 w 213098"/>
                <a:gd name="connsiteY29" fmla="*/ 117974 h 179108"/>
                <a:gd name="connsiteX30" fmla="*/ 201461 w 213098"/>
                <a:gd name="connsiteY30" fmla="*/ 112541 h 179108"/>
                <a:gd name="connsiteX31" fmla="*/ 191376 w 213098"/>
                <a:gd name="connsiteY31" fmla="*/ 100123 h 179108"/>
                <a:gd name="connsiteX32" fmla="*/ 192927 w 213098"/>
                <a:gd name="connsiteY32" fmla="*/ 91585 h 179108"/>
                <a:gd name="connsiteX33" fmla="*/ 199910 w 213098"/>
                <a:gd name="connsiteY33" fmla="*/ 84600 h 179108"/>
                <a:gd name="connsiteX34" fmla="*/ 202237 w 213098"/>
                <a:gd name="connsiteY34" fmla="*/ 76062 h 179108"/>
                <a:gd name="connsiteX35" fmla="*/ 207667 w 213098"/>
                <a:gd name="connsiteY35" fmla="*/ 65196 h 179108"/>
                <a:gd name="connsiteX36" fmla="*/ 213098 w 213098"/>
                <a:gd name="connsiteY36" fmla="*/ 57435 h 179108"/>
                <a:gd name="connsiteX37" fmla="*/ 190600 w 213098"/>
                <a:gd name="connsiteY37" fmla="*/ 55106 h 179108"/>
                <a:gd name="connsiteX38" fmla="*/ 194479 w 213098"/>
                <a:gd name="connsiteY38" fmla="*/ 42688 h 179108"/>
                <a:gd name="connsiteX39" fmla="*/ 171205 w 213098"/>
                <a:gd name="connsiteY39" fmla="*/ 34150 h 179108"/>
                <a:gd name="connsiteX40" fmla="*/ 173532 w 213098"/>
                <a:gd name="connsiteY40" fmla="*/ 25613 h 179108"/>
                <a:gd name="connsiteX41" fmla="*/ 160344 w 213098"/>
                <a:gd name="connsiteY41" fmla="*/ 21732 h 179108"/>
                <a:gd name="connsiteX42" fmla="*/ 130088 w 213098"/>
                <a:gd name="connsiteY42" fmla="*/ 32598 h 179108"/>
                <a:gd name="connsiteX43" fmla="*/ 100608 w 213098"/>
                <a:gd name="connsiteY43" fmla="*/ 24060 h 179108"/>
                <a:gd name="connsiteX44" fmla="*/ 80437 w 213098"/>
                <a:gd name="connsiteY44" fmla="*/ 20956 h 179108"/>
                <a:gd name="connsiteX45" fmla="*/ 68024 w 213098"/>
                <a:gd name="connsiteY45" fmla="*/ 8538 h 179108"/>
                <a:gd name="connsiteX46" fmla="*/ 54836 w 213098"/>
                <a:gd name="connsiteY46" fmla="*/ 0 h 179108"/>
                <a:gd name="connsiteX47" fmla="*/ 50181 w 213098"/>
                <a:gd name="connsiteY47" fmla="*/ 10090 h 179108"/>
                <a:gd name="connsiteX48" fmla="*/ 29234 w 213098"/>
                <a:gd name="connsiteY48" fmla="*/ 22508 h 179108"/>
                <a:gd name="connsiteX49" fmla="*/ 34665 w 213098"/>
                <a:gd name="connsiteY49" fmla="*/ 45017 h 179108"/>
                <a:gd name="connsiteX50" fmla="*/ 18373 w 213098"/>
                <a:gd name="connsiteY50" fmla="*/ 39583 h 179108"/>
                <a:gd name="connsiteX51" fmla="*/ 25355 w 213098"/>
                <a:gd name="connsiteY51" fmla="*/ 19404 h 179108"/>
                <a:gd name="connsiteX52" fmla="*/ 23028 w 213098"/>
                <a:gd name="connsiteY52" fmla="*/ 8538 h 179108"/>
                <a:gd name="connsiteX53" fmla="*/ 19925 w 213098"/>
                <a:gd name="connsiteY53" fmla="*/ 10866 h 17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13098" h="179108">
                  <a:moveTo>
                    <a:pt x="19925" y="10866"/>
                  </a:moveTo>
                  <a:cubicBezTo>
                    <a:pt x="15270" y="17075"/>
                    <a:pt x="6736" y="22508"/>
                    <a:pt x="5960" y="28717"/>
                  </a:cubicBezTo>
                  <a:cubicBezTo>
                    <a:pt x="5960" y="34927"/>
                    <a:pt x="5960" y="37255"/>
                    <a:pt x="3633" y="40360"/>
                  </a:cubicBezTo>
                  <a:cubicBezTo>
                    <a:pt x="1306" y="43464"/>
                    <a:pt x="-1798" y="48121"/>
                    <a:pt x="1306" y="47345"/>
                  </a:cubicBezTo>
                  <a:cubicBezTo>
                    <a:pt x="4409" y="47345"/>
                    <a:pt x="8288" y="47345"/>
                    <a:pt x="8288" y="50450"/>
                  </a:cubicBezTo>
                  <a:cubicBezTo>
                    <a:pt x="8288" y="54330"/>
                    <a:pt x="16046" y="55106"/>
                    <a:pt x="15270" y="60539"/>
                  </a:cubicBezTo>
                  <a:cubicBezTo>
                    <a:pt x="14494" y="65972"/>
                    <a:pt x="12167" y="81495"/>
                    <a:pt x="25355" y="81495"/>
                  </a:cubicBezTo>
                  <a:cubicBezTo>
                    <a:pt x="38544" y="81495"/>
                    <a:pt x="46302" y="76838"/>
                    <a:pt x="51732" y="83824"/>
                  </a:cubicBezTo>
                  <a:cubicBezTo>
                    <a:pt x="57163" y="90809"/>
                    <a:pt x="64921" y="94690"/>
                    <a:pt x="73455" y="93138"/>
                  </a:cubicBezTo>
                  <a:cubicBezTo>
                    <a:pt x="81988" y="92361"/>
                    <a:pt x="96729" y="90033"/>
                    <a:pt x="92074" y="97794"/>
                  </a:cubicBezTo>
                  <a:cubicBezTo>
                    <a:pt x="87419" y="105556"/>
                    <a:pt x="84316" y="121855"/>
                    <a:pt x="88195" y="126512"/>
                  </a:cubicBezTo>
                  <a:cubicBezTo>
                    <a:pt x="92074" y="131169"/>
                    <a:pt x="97504" y="135049"/>
                    <a:pt x="94401" y="138154"/>
                  </a:cubicBezTo>
                  <a:cubicBezTo>
                    <a:pt x="91298" y="142035"/>
                    <a:pt x="89746" y="146692"/>
                    <a:pt x="93625" y="149796"/>
                  </a:cubicBezTo>
                  <a:cubicBezTo>
                    <a:pt x="97504" y="152901"/>
                    <a:pt x="96729" y="156782"/>
                    <a:pt x="96729" y="157558"/>
                  </a:cubicBezTo>
                  <a:cubicBezTo>
                    <a:pt x="96729" y="157558"/>
                    <a:pt x="95953" y="158334"/>
                    <a:pt x="94401" y="159110"/>
                  </a:cubicBezTo>
                  <a:cubicBezTo>
                    <a:pt x="100608" y="165319"/>
                    <a:pt x="102935" y="172304"/>
                    <a:pt x="106038" y="174633"/>
                  </a:cubicBezTo>
                  <a:cubicBezTo>
                    <a:pt x="110693" y="178514"/>
                    <a:pt x="112244" y="180066"/>
                    <a:pt x="115348" y="178514"/>
                  </a:cubicBezTo>
                  <a:cubicBezTo>
                    <a:pt x="118451" y="176961"/>
                    <a:pt x="120778" y="175409"/>
                    <a:pt x="123881" y="176961"/>
                  </a:cubicBezTo>
                  <a:cubicBezTo>
                    <a:pt x="126985" y="178514"/>
                    <a:pt x="130088" y="175409"/>
                    <a:pt x="134743" y="171528"/>
                  </a:cubicBezTo>
                  <a:cubicBezTo>
                    <a:pt x="138622" y="167648"/>
                    <a:pt x="143276" y="170752"/>
                    <a:pt x="144828" y="166095"/>
                  </a:cubicBezTo>
                  <a:cubicBezTo>
                    <a:pt x="146380" y="161438"/>
                    <a:pt x="148707" y="158334"/>
                    <a:pt x="153362" y="157558"/>
                  </a:cubicBezTo>
                  <a:cubicBezTo>
                    <a:pt x="158792" y="156782"/>
                    <a:pt x="158792" y="151349"/>
                    <a:pt x="154913" y="151349"/>
                  </a:cubicBezTo>
                  <a:cubicBezTo>
                    <a:pt x="151810" y="151349"/>
                    <a:pt x="147155" y="155229"/>
                    <a:pt x="147155" y="149796"/>
                  </a:cubicBezTo>
                  <a:cubicBezTo>
                    <a:pt x="147155" y="143587"/>
                    <a:pt x="143276" y="145139"/>
                    <a:pt x="143276" y="139706"/>
                  </a:cubicBezTo>
                  <a:cubicBezTo>
                    <a:pt x="143276" y="134273"/>
                    <a:pt x="142501" y="131169"/>
                    <a:pt x="137070" y="128064"/>
                  </a:cubicBezTo>
                  <a:cubicBezTo>
                    <a:pt x="131639" y="124959"/>
                    <a:pt x="144828" y="123407"/>
                    <a:pt x="147155" y="126512"/>
                  </a:cubicBezTo>
                  <a:cubicBezTo>
                    <a:pt x="150259" y="129616"/>
                    <a:pt x="159568" y="127288"/>
                    <a:pt x="161120" y="131169"/>
                  </a:cubicBezTo>
                  <a:cubicBezTo>
                    <a:pt x="161896" y="135049"/>
                    <a:pt x="167326" y="136602"/>
                    <a:pt x="167326" y="131945"/>
                  </a:cubicBezTo>
                  <a:cubicBezTo>
                    <a:pt x="167326" y="126512"/>
                    <a:pt x="173532" y="124959"/>
                    <a:pt x="178187" y="125736"/>
                  </a:cubicBezTo>
                  <a:cubicBezTo>
                    <a:pt x="182842" y="126512"/>
                    <a:pt x="192927" y="119526"/>
                    <a:pt x="197582" y="117974"/>
                  </a:cubicBezTo>
                  <a:cubicBezTo>
                    <a:pt x="199910" y="117198"/>
                    <a:pt x="200685" y="114870"/>
                    <a:pt x="201461" y="112541"/>
                  </a:cubicBezTo>
                  <a:cubicBezTo>
                    <a:pt x="198358" y="108660"/>
                    <a:pt x="193703" y="101675"/>
                    <a:pt x="191376" y="100123"/>
                  </a:cubicBezTo>
                  <a:cubicBezTo>
                    <a:pt x="188273" y="97018"/>
                    <a:pt x="193703" y="95466"/>
                    <a:pt x="192927" y="91585"/>
                  </a:cubicBezTo>
                  <a:cubicBezTo>
                    <a:pt x="192152" y="87705"/>
                    <a:pt x="192927" y="84600"/>
                    <a:pt x="199910" y="84600"/>
                  </a:cubicBezTo>
                  <a:cubicBezTo>
                    <a:pt x="206892" y="83824"/>
                    <a:pt x="206116" y="78391"/>
                    <a:pt x="202237" y="76062"/>
                  </a:cubicBezTo>
                  <a:cubicBezTo>
                    <a:pt x="198358" y="73734"/>
                    <a:pt x="203788" y="67525"/>
                    <a:pt x="207667" y="65196"/>
                  </a:cubicBezTo>
                  <a:cubicBezTo>
                    <a:pt x="209219" y="64420"/>
                    <a:pt x="211546" y="61316"/>
                    <a:pt x="213098" y="57435"/>
                  </a:cubicBezTo>
                  <a:cubicBezTo>
                    <a:pt x="205340" y="54330"/>
                    <a:pt x="195255" y="55106"/>
                    <a:pt x="190600" y="55106"/>
                  </a:cubicBezTo>
                  <a:cubicBezTo>
                    <a:pt x="184394" y="55106"/>
                    <a:pt x="194479" y="48897"/>
                    <a:pt x="194479" y="42688"/>
                  </a:cubicBezTo>
                  <a:cubicBezTo>
                    <a:pt x="194479" y="36479"/>
                    <a:pt x="178187" y="35703"/>
                    <a:pt x="171205" y="34150"/>
                  </a:cubicBezTo>
                  <a:cubicBezTo>
                    <a:pt x="164999" y="32598"/>
                    <a:pt x="166550" y="25613"/>
                    <a:pt x="173532" y="25613"/>
                  </a:cubicBezTo>
                  <a:cubicBezTo>
                    <a:pt x="180515" y="25613"/>
                    <a:pt x="169654" y="20180"/>
                    <a:pt x="160344" y="21732"/>
                  </a:cubicBezTo>
                  <a:cubicBezTo>
                    <a:pt x="151034" y="23284"/>
                    <a:pt x="137846" y="27941"/>
                    <a:pt x="130088" y="32598"/>
                  </a:cubicBezTo>
                  <a:cubicBezTo>
                    <a:pt x="122330" y="36479"/>
                    <a:pt x="109141" y="20180"/>
                    <a:pt x="100608" y="24060"/>
                  </a:cubicBezTo>
                  <a:cubicBezTo>
                    <a:pt x="92074" y="27165"/>
                    <a:pt x="79661" y="27165"/>
                    <a:pt x="80437" y="20956"/>
                  </a:cubicBezTo>
                  <a:cubicBezTo>
                    <a:pt x="80437" y="13971"/>
                    <a:pt x="77334" y="8538"/>
                    <a:pt x="68024" y="8538"/>
                  </a:cubicBezTo>
                  <a:cubicBezTo>
                    <a:pt x="59490" y="9314"/>
                    <a:pt x="61818" y="0"/>
                    <a:pt x="54836" y="0"/>
                  </a:cubicBezTo>
                  <a:cubicBezTo>
                    <a:pt x="48629" y="0"/>
                    <a:pt x="54836" y="7761"/>
                    <a:pt x="50181" y="10090"/>
                  </a:cubicBezTo>
                  <a:cubicBezTo>
                    <a:pt x="45526" y="12418"/>
                    <a:pt x="30010" y="16299"/>
                    <a:pt x="29234" y="22508"/>
                  </a:cubicBezTo>
                  <a:cubicBezTo>
                    <a:pt x="28459" y="28717"/>
                    <a:pt x="37768" y="38807"/>
                    <a:pt x="34665" y="45017"/>
                  </a:cubicBezTo>
                  <a:cubicBezTo>
                    <a:pt x="31562" y="51226"/>
                    <a:pt x="21476" y="45793"/>
                    <a:pt x="18373" y="39583"/>
                  </a:cubicBezTo>
                  <a:cubicBezTo>
                    <a:pt x="15270" y="33374"/>
                    <a:pt x="27683" y="23284"/>
                    <a:pt x="25355" y="19404"/>
                  </a:cubicBezTo>
                  <a:cubicBezTo>
                    <a:pt x="23804" y="17075"/>
                    <a:pt x="22252" y="11642"/>
                    <a:pt x="23028" y="8538"/>
                  </a:cubicBezTo>
                  <a:cubicBezTo>
                    <a:pt x="22252" y="8538"/>
                    <a:pt x="20701" y="9314"/>
                    <a:pt x="19925" y="10866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39" name="Forma libre 27">
              <a:extLst>
                <a:ext uri="{FF2B5EF4-FFF2-40B4-BE49-F238E27FC236}">
                  <a16:creationId xmlns:a16="http://schemas.microsoft.com/office/drawing/2014/main" id="{D7A50AB5-E522-B549-E7FD-D63320A9C1CE}"/>
                </a:ext>
              </a:extLst>
            </p:cNvPr>
            <p:cNvSpPr/>
            <p:nvPr/>
          </p:nvSpPr>
          <p:spPr>
            <a:xfrm>
              <a:off x="3269778" y="3191315"/>
              <a:ext cx="77478" cy="82123"/>
            </a:xfrm>
            <a:custGeom>
              <a:avLst/>
              <a:gdLst>
                <a:gd name="connsiteX0" fmla="*/ 13636 w 64838"/>
                <a:gd name="connsiteY0" fmla="*/ 13298 h 68725"/>
                <a:gd name="connsiteX1" fmla="*/ 6654 w 64838"/>
                <a:gd name="connsiteY1" fmla="*/ 20283 h 68725"/>
                <a:gd name="connsiteX2" fmla="*/ 448 w 64838"/>
                <a:gd name="connsiteY2" fmla="*/ 33478 h 68725"/>
                <a:gd name="connsiteX3" fmla="*/ 13636 w 64838"/>
                <a:gd name="connsiteY3" fmla="*/ 49777 h 68725"/>
                <a:gd name="connsiteX4" fmla="*/ 22946 w 64838"/>
                <a:gd name="connsiteY4" fmla="*/ 67628 h 68725"/>
                <a:gd name="connsiteX5" fmla="*/ 30704 w 64838"/>
                <a:gd name="connsiteY5" fmla="*/ 68404 h 68725"/>
                <a:gd name="connsiteX6" fmla="*/ 36910 w 64838"/>
                <a:gd name="connsiteY6" fmla="*/ 58315 h 68725"/>
                <a:gd name="connsiteX7" fmla="*/ 53978 w 64838"/>
                <a:gd name="connsiteY7" fmla="*/ 59091 h 68725"/>
                <a:gd name="connsiteX8" fmla="*/ 55529 w 64838"/>
                <a:gd name="connsiteY8" fmla="*/ 61419 h 68725"/>
                <a:gd name="connsiteX9" fmla="*/ 60184 w 64838"/>
                <a:gd name="connsiteY9" fmla="*/ 54434 h 68725"/>
                <a:gd name="connsiteX10" fmla="*/ 58632 w 64838"/>
                <a:gd name="connsiteY10" fmla="*/ 33478 h 68725"/>
                <a:gd name="connsiteX11" fmla="*/ 61736 w 64838"/>
                <a:gd name="connsiteY11" fmla="*/ 14850 h 68725"/>
                <a:gd name="connsiteX12" fmla="*/ 64839 w 64838"/>
                <a:gd name="connsiteY12" fmla="*/ 7089 h 68725"/>
                <a:gd name="connsiteX13" fmla="*/ 49323 w 64838"/>
                <a:gd name="connsiteY13" fmla="*/ 3208 h 68725"/>
                <a:gd name="connsiteX14" fmla="*/ 29152 w 64838"/>
                <a:gd name="connsiteY14" fmla="*/ 3208 h 68725"/>
                <a:gd name="connsiteX15" fmla="*/ 17515 w 64838"/>
                <a:gd name="connsiteY15" fmla="*/ 3208 h 68725"/>
                <a:gd name="connsiteX16" fmla="*/ 15964 w 64838"/>
                <a:gd name="connsiteY16" fmla="*/ 3984 h 68725"/>
                <a:gd name="connsiteX17" fmla="*/ 13636 w 64838"/>
                <a:gd name="connsiteY17" fmla="*/ 13298 h 6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4838" h="68725">
                  <a:moveTo>
                    <a:pt x="13636" y="13298"/>
                  </a:moveTo>
                  <a:cubicBezTo>
                    <a:pt x="15964" y="17955"/>
                    <a:pt x="10533" y="20283"/>
                    <a:pt x="6654" y="20283"/>
                  </a:cubicBezTo>
                  <a:cubicBezTo>
                    <a:pt x="1999" y="21060"/>
                    <a:pt x="3551" y="31149"/>
                    <a:pt x="448" y="33478"/>
                  </a:cubicBezTo>
                  <a:cubicBezTo>
                    <a:pt x="-2656" y="36583"/>
                    <a:pt x="11309" y="43568"/>
                    <a:pt x="13636" y="49777"/>
                  </a:cubicBezTo>
                  <a:cubicBezTo>
                    <a:pt x="15188" y="53658"/>
                    <a:pt x="19067" y="61419"/>
                    <a:pt x="22946" y="67628"/>
                  </a:cubicBezTo>
                  <a:cubicBezTo>
                    <a:pt x="26049" y="68404"/>
                    <a:pt x="29152" y="69181"/>
                    <a:pt x="30704" y="68404"/>
                  </a:cubicBezTo>
                  <a:cubicBezTo>
                    <a:pt x="34583" y="66076"/>
                    <a:pt x="31480" y="58315"/>
                    <a:pt x="36910" y="58315"/>
                  </a:cubicBezTo>
                  <a:cubicBezTo>
                    <a:pt x="43116" y="59091"/>
                    <a:pt x="51650" y="55210"/>
                    <a:pt x="53978" y="59091"/>
                  </a:cubicBezTo>
                  <a:cubicBezTo>
                    <a:pt x="54753" y="59867"/>
                    <a:pt x="54753" y="60643"/>
                    <a:pt x="55529" y="61419"/>
                  </a:cubicBezTo>
                  <a:cubicBezTo>
                    <a:pt x="57857" y="58315"/>
                    <a:pt x="59408" y="55210"/>
                    <a:pt x="60184" y="54434"/>
                  </a:cubicBezTo>
                  <a:cubicBezTo>
                    <a:pt x="60960" y="52105"/>
                    <a:pt x="60960" y="40463"/>
                    <a:pt x="58632" y="33478"/>
                  </a:cubicBezTo>
                  <a:cubicBezTo>
                    <a:pt x="55529" y="26493"/>
                    <a:pt x="57857" y="17955"/>
                    <a:pt x="61736" y="14850"/>
                  </a:cubicBezTo>
                  <a:cubicBezTo>
                    <a:pt x="62511" y="14074"/>
                    <a:pt x="63287" y="10970"/>
                    <a:pt x="64839" y="7089"/>
                  </a:cubicBezTo>
                  <a:cubicBezTo>
                    <a:pt x="59408" y="4760"/>
                    <a:pt x="53978" y="3208"/>
                    <a:pt x="49323" y="3208"/>
                  </a:cubicBezTo>
                  <a:cubicBezTo>
                    <a:pt x="40789" y="3984"/>
                    <a:pt x="32255" y="7865"/>
                    <a:pt x="29152" y="3208"/>
                  </a:cubicBezTo>
                  <a:cubicBezTo>
                    <a:pt x="26049" y="-1449"/>
                    <a:pt x="21394" y="-673"/>
                    <a:pt x="17515" y="3208"/>
                  </a:cubicBezTo>
                  <a:cubicBezTo>
                    <a:pt x="16739" y="3208"/>
                    <a:pt x="16739" y="3984"/>
                    <a:pt x="15964" y="3984"/>
                  </a:cubicBezTo>
                  <a:cubicBezTo>
                    <a:pt x="13636" y="7089"/>
                    <a:pt x="12085" y="10970"/>
                    <a:pt x="13636" y="13298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40" name="Forma libre 30">
              <a:extLst>
                <a:ext uri="{FF2B5EF4-FFF2-40B4-BE49-F238E27FC236}">
                  <a16:creationId xmlns:a16="http://schemas.microsoft.com/office/drawing/2014/main" id="{2142679D-7F03-653A-2E4E-996147F4CEAB}"/>
                </a:ext>
              </a:extLst>
            </p:cNvPr>
            <p:cNvSpPr/>
            <p:nvPr/>
          </p:nvSpPr>
          <p:spPr>
            <a:xfrm>
              <a:off x="3209770" y="3147849"/>
              <a:ext cx="87369" cy="135677"/>
            </a:xfrm>
            <a:custGeom>
              <a:avLst/>
              <a:gdLst>
                <a:gd name="connsiteX0" fmla="*/ 17258 w 73115"/>
                <a:gd name="connsiteY0" fmla="*/ 7761 h 113542"/>
                <a:gd name="connsiteX1" fmla="*/ 11828 w 73115"/>
                <a:gd name="connsiteY1" fmla="*/ 18628 h 113542"/>
                <a:gd name="connsiteX2" fmla="*/ 9500 w 73115"/>
                <a:gd name="connsiteY2" fmla="*/ 27165 h 113542"/>
                <a:gd name="connsiteX3" fmla="*/ 2518 w 73115"/>
                <a:gd name="connsiteY3" fmla="*/ 34151 h 113542"/>
                <a:gd name="connsiteX4" fmla="*/ 966 w 73115"/>
                <a:gd name="connsiteY4" fmla="*/ 42688 h 113542"/>
                <a:gd name="connsiteX5" fmla="*/ 11052 w 73115"/>
                <a:gd name="connsiteY5" fmla="*/ 55106 h 113542"/>
                <a:gd name="connsiteX6" fmla="*/ 16482 w 73115"/>
                <a:gd name="connsiteY6" fmla="*/ 52002 h 113542"/>
                <a:gd name="connsiteX7" fmla="*/ 22689 w 73115"/>
                <a:gd name="connsiteY7" fmla="*/ 65196 h 113542"/>
                <a:gd name="connsiteX8" fmla="*/ 24240 w 73115"/>
                <a:gd name="connsiteY8" fmla="*/ 78391 h 113542"/>
                <a:gd name="connsiteX9" fmla="*/ 27344 w 73115"/>
                <a:gd name="connsiteY9" fmla="*/ 106332 h 113542"/>
                <a:gd name="connsiteX10" fmla="*/ 44411 w 73115"/>
                <a:gd name="connsiteY10" fmla="*/ 111765 h 113542"/>
                <a:gd name="connsiteX11" fmla="*/ 54496 w 73115"/>
                <a:gd name="connsiteY11" fmla="*/ 107884 h 113542"/>
                <a:gd name="connsiteX12" fmla="*/ 62254 w 73115"/>
                <a:gd name="connsiteY12" fmla="*/ 104004 h 113542"/>
                <a:gd name="connsiteX13" fmla="*/ 73116 w 73115"/>
                <a:gd name="connsiteY13" fmla="*/ 104004 h 113542"/>
                <a:gd name="connsiteX14" fmla="*/ 63806 w 73115"/>
                <a:gd name="connsiteY14" fmla="*/ 86152 h 113542"/>
                <a:gd name="connsiteX15" fmla="*/ 50618 w 73115"/>
                <a:gd name="connsiteY15" fmla="*/ 69853 h 113542"/>
                <a:gd name="connsiteX16" fmla="*/ 56824 w 73115"/>
                <a:gd name="connsiteY16" fmla="*/ 56659 h 113542"/>
                <a:gd name="connsiteX17" fmla="*/ 63806 w 73115"/>
                <a:gd name="connsiteY17" fmla="*/ 49673 h 113542"/>
                <a:gd name="connsiteX18" fmla="*/ 65358 w 73115"/>
                <a:gd name="connsiteY18" fmla="*/ 39584 h 113542"/>
                <a:gd name="connsiteX19" fmla="*/ 50618 w 73115"/>
                <a:gd name="connsiteY19" fmla="*/ 26389 h 113542"/>
                <a:gd name="connsiteX20" fmla="*/ 42860 w 73115"/>
                <a:gd name="connsiteY20" fmla="*/ 17075 h 113542"/>
                <a:gd name="connsiteX21" fmla="*/ 27344 w 73115"/>
                <a:gd name="connsiteY21" fmla="*/ 3881 h 113542"/>
                <a:gd name="connsiteX22" fmla="*/ 21913 w 73115"/>
                <a:gd name="connsiteY22" fmla="*/ 0 h 113542"/>
                <a:gd name="connsiteX23" fmla="*/ 17258 w 73115"/>
                <a:gd name="connsiteY23" fmla="*/ 7761 h 113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73115" h="113542">
                  <a:moveTo>
                    <a:pt x="17258" y="7761"/>
                  </a:moveTo>
                  <a:cubicBezTo>
                    <a:pt x="13379" y="10090"/>
                    <a:pt x="7949" y="16299"/>
                    <a:pt x="11828" y="18628"/>
                  </a:cubicBezTo>
                  <a:cubicBezTo>
                    <a:pt x="15707" y="20956"/>
                    <a:pt x="17258" y="26389"/>
                    <a:pt x="9500" y="27165"/>
                  </a:cubicBezTo>
                  <a:cubicBezTo>
                    <a:pt x="2518" y="27941"/>
                    <a:pt x="1742" y="30270"/>
                    <a:pt x="2518" y="34151"/>
                  </a:cubicBezTo>
                  <a:cubicBezTo>
                    <a:pt x="3294" y="38031"/>
                    <a:pt x="-2137" y="39584"/>
                    <a:pt x="966" y="42688"/>
                  </a:cubicBezTo>
                  <a:cubicBezTo>
                    <a:pt x="3294" y="44240"/>
                    <a:pt x="7949" y="51226"/>
                    <a:pt x="11052" y="55106"/>
                  </a:cubicBezTo>
                  <a:cubicBezTo>
                    <a:pt x="11828" y="52778"/>
                    <a:pt x="13379" y="51226"/>
                    <a:pt x="16482" y="52002"/>
                  </a:cubicBezTo>
                  <a:cubicBezTo>
                    <a:pt x="22689" y="52778"/>
                    <a:pt x="18034" y="62868"/>
                    <a:pt x="22689" y="65196"/>
                  </a:cubicBezTo>
                  <a:cubicBezTo>
                    <a:pt x="28119" y="67525"/>
                    <a:pt x="28119" y="75286"/>
                    <a:pt x="24240" y="78391"/>
                  </a:cubicBezTo>
                  <a:cubicBezTo>
                    <a:pt x="20361" y="81495"/>
                    <a:pt x="18810" y="97018"/>
                    <a:pt x="27344" y="106332"/>
                  </a:cubicBezTo>
                  <a:cubicBezTo>
                    <a:pt x="35877" y="115646"/>
                    <a:pt x="42084" y="114093"/>
                    <a:pt x="44411" y="111765"/>
                  </a:cubicBezTo>
                  <a:cubicBezTo>
                    <a:pt x="45963" y="109437"/>
                    <a:pt x="52945" y="111765"/>
                    <a:pt x="54496" y="107884"/>
                  </a:cubicBezTo>
                  <a:cubicBezTo>
                    <a:pt x="56048" y="104004"/>
                    <a:pt x="58375" y="108660"/>
                    <a:pt x="62254" y="104004"/>
                  </a:cubicBezTo>
                  <a:cubicBezTo>
                    <a:pt x="64582" y="101675"/>
                    <a:pt x="69237" y="103227"/>
                    <a:pt x="73116" y="104004"/>
                  </a:cubicBezTo>
                  <a:cubicBezTo>
                    <a:pt x="70012" y="97794"/>
                    <a:pt x="65358" y="90033"/>
                    <a:pt x="63806" y="86152"/>
                  </a:cubicBezTo>
                  <a:cubicBezTo>
                    <a:pt x="61479" y="79943"/>
                    <a:pt x="48290" y="72958"/>
                    <a:pt x="50618" y="69853"/>
                  </a:cubicBezTo>
                  <a:cubicBezTo>
                    <a:pt x="53721" y="66749"/>
                    <a:pt x="52169" y="56659"/>
                    <a:pt x="56824" y="56659"/>
                  </a:cubicBezTo>
                  <a:cubicBezTo>
                    <a:pt x="61479" y="55883"/>
                    <a:pt x="66133" y="53554"/>
                    <a:pt x="63806" y="49673"/>
                  </a:cubicBezTo>
                  <a:cubicBezTo>
                    <a:pt x="63030" y="47345"/>
                    <a:pt x="63806" y="43464"/>
                    <a:pt x="65358" y="39584"/>
                  </a:cubicBezTo>
                  <a:cubicBezTo>
                    <a:pt x="60703" y="38807"/>
                    <a:pt x="54496" y="26389"/>
                    <a:pt x="50618" y="26389"/>
                  </a:cubicBezTo>
                  <a:cubicBezTo>
                    <a:pt x="46739" y="26389"/>
                    <a:pt x="41308" y="23284"/>
                    <a:pt x="42860" y="17075"/>
                  </a:cubicBezTo>
                  <a:cubicBezTo>
                    <a:pt x="43635" y="10866"/>
                    <a:pt x="33550" y="10866"/>
                    <a:pt x="27344" y="3881"/>
                  </a:cubicBezTo>
                  <a:cubicBezTo>
                    <a:pt x="25792" y="2328"/>
                    <a:pt x="24240" y="776"/>
                    <a:pt x="21913" y="0"/>
                  </a:cubicBezTo>
                  <a:cubicBezTo>
                    <a:pt x="21137" y="4657"/>
                    <a:pt x="18810" y="6985"/>
                    <a:pt x="17258" y="7761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41" name="Forma libre 31">
              <a:extLst>
                <a:ext uri="{FF2B5EF4-FFF2-40B4-BE49-F238E27FC236}">
                  <a16:creationId xmlns:a16="http://schemas.microsoft.com/office/drawing/2014/main" id="{315975B9-F7F1-C77E-98F9-8BECCDFD8283}"/>
                </a:ext>
              </a:extLst>
            </p:cNvPr>
            <p:cNvSpPr/>
            <p:nvPr/>
          </p:nvSpPr>
          <p:spPr>
            <a:xfrm>
              <a:off x="3337003" y="3199730"/>
              <a:ext cx="58403" cy="69970"/>
            </a:xfrm>
            <a:custGeom>
              <a:avLst/>
              <a:gdLst>
                <a:gd name="connsiteX0" fmla="*/ 3103 w 48875"/>
                <a:gd name="connsiteY0" fmla="*/ 27165 h 58555"/>
                <a:gd name="connsiteX1" fmla="*/ 4655 w 48875"/>
                <a:gd name="connsiteY1" fmla="*/ 48121 h 58555"/>
                <a:gd name="connsiteX2" fmla="*/ 0 w 48875"/>
                <a:gd name="connsiteY2" fmla="*/ 55106 h 58555"/>
                <a:gd name="connsiteX3" fmla="*/ 13964 w 48875"/>
                <a:gd name="connsiteY3" fmla="*/ 57435 h 58555"/>
                <a:gd name="connsiteX4" fmla="*/ 30256 w 48875"/>
                <a:gd name="connsiteY4" fmla="*/ 50450 h 58555"/>
                <a:gd name="connsiteX5" fmla="*/ 48875 w 48875"/>
                <a:gd name="connsiteY5" fmla="*/ 25613 h 58555"/>
                <a:gd name="connsiteX6" fmla="*/ 48875 w 48875"/>
                <a:gd name="connsiteY6" fmla="*/ 25613 h 58555"/>
                <a:gd name="connsiteX7" fmla="*/ 22498 w 48875"/>
                <a:gd name="connsiteY7" fmla="*/ 4657 h 58555"/>
                <a:gd name="connsiteX8" fmla="*/ 9310 w 48875"/>
                <a:gd name="connsiteY8" fmla="*/ 0 h 58555"/>
                <a:gd name="connsiteX9" fmla="*/ 6206 w 48875"/>
                <a:gd name="connsiteY9" fmla="*/ 7761 h 58555"/>
                <a:gd name="connsiteX10" fmla="*/ 3103 w 48875"/>
                <a:gd name="connsiteY10" fmla="*/ 27165 h 58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875" h="58555">
                  <a:moveTo>
                    <a:pt x="3103" y="27165"/>
                  </a:moveTo>
                  <a:cubicBezTo>
                    <a:pt x="6206" y="34150"/>
                    <a:pt x="6206" y="45793"/>
                    <a:pt x="4655" y="48121"/>
                  </a:cubicBezTo>
                  <a:cubicBezTo>
                    <a:pt x="3879" y="48897"/>
                    <a:pt x="2327" y="52778"/>
                    <a:pt x="0" y="55106"/>
                  </a:cubicBezTo>
                  <a:cubicBezTo>
                    <a:pt x="2327" y="58211"/>
                    <a:pt x="6982" y="59763"/>
                    <a:pt x="13964" y="57435"/>
                  </a:cubicBezTo>
                  <a:cubicBezTo>
                    <a:pt x="22498" y="54330"/>
                    <a:pt x="27153" y="60539"/>
                    <a:pt x="30256" y="50450"/>
                  </a:cubicBezTo>
                  <a:cubicBezTo>
                    <a:pt x="32583" y="42688"/>
                    <a:pt x="41893" y="32598"/>
                    <a:pt x="48875" y="25613"/>
                  </a:cubicBezTo>
                  <a:cubicBezTo>
                    <a:pt x="48875" y="25613"/>
                    <a:pt x="48875" y="25613"/>
                    <a:pt x="48875" y="25613"/>
                  </a:cubicBezTo>
                  <a:cubicBezTo>
                    <a:pt x="42669" y="22508"/>
                    <a:pt x="32583" y="6985"/>
                    <a:pt x="22498" y="4657"/>
                  </a:cubicBezTo>
                  <a:cubicBezTo>
                    <a:pt x="17843" y="3881"/>
                    <a:pt x="13964" y="1552"/>
                    <a:pt x="9310" y="0"/>
                  </a:cubicBezTo>
                  <a:cubicBezTo>
                    <a:pt x="7758" y="4657"/>
                    <a:pt x="6982" y="7761"/>
                    <a:pt x="6206" y="7761"/>
                  </a:cubicBezTo>
                  <a:cubicBezTo>
                    <a:pt x="3103" y="11642"/>
                    <a:pt x="776" y="20180"/>
                    <a:pt x="3103" y="27165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42" name="Forma libre 32">
              <a:extLst>
                <a:ext uri="{FF2B5EF4-FFF2-40B4-BE49-F238E27FC236}">
                  <a16:creationId xmlns:a16="http://schemas.microsoft.com/office/drawing/2014/main" id="{790B489E-1A73-1840-7116-784BD05EC64C}"/>
                </a:ext>
              </a:extLst>
            </p:cNvPr>
            <p:cNvSpPr/>
            <p:nvPr/>
          </p:nvSpPr>
          <p:spPr>
            <a:xfrm>
              <a:off x="3220524" y="4365469"/>
              <a:ext cx="57319" cy="24056"/>
            </a:xfrm>
            <a:custGeom>
              <a:avLst/>
              <a:gdLst>
                <a:gd name="connsiteX0" fmla="*/ 47685 w 47968"/>
                <a:gd name="connsiteY0" fmla="*/ 7870 h 20131"/>
                <a:gd name="connsiteX1" fmla="*/ 22083 w 47968"/>
                <a:gd name="connsiteY1" fmla="*/ 19512 h 20131"/>
                <a:gd name="connsiteX2" fmla="*/ 47685 w 47968"/>
                <a:gd name="connsiteY2" fmla="*/ 7870 h 20131"/>
                <a:gd name="connsiteX3" fmla="*/ 19756 w 47968"/>
                <a:gd name="connsiteY3" fmla="*/ 109 h 20131"/>
                <a:gd name="connsiteX4" fmla="*/ 1913 w 47968"/>
                <a:gd name="connsiteY4" fmla="*/ 17960 h 20131"/>
                <a:gd name="connsiteX5" fmla="*/ 19756 w 47968"/>
                <a:gd name="connsiteY5" fmla="*/ 109 h 20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68" h="20131">
                  <a:moveTo>
                    <a:pt x="47685" y="7870"/>
                  </a:moveTo>
                  <a:cubicBezTo>
                    <a:pt x="42254" y="-2220"/>
                    <a:pt x="16653" y="17184"/>
                    <a:pt x="22083" y="19512"/>
                  </a:cubicBezTo>
                  <a:cubicBezTo>
                    <a:pt x="27514" y="22617"/>
                    <a:pt x="50788" y="13303"/>
                    <a:pt x="47685" y="7870"/>
                  </a:cubicBezTo>
                  <a:close/>
                  <a:moveTo>
                    <a:pt x="19756" y="109"/>
                  </a:moveTo>
                  <a:cubicBezTo>
                    <a:pt x="11998" y="-1444"/>
                    <a:pt x="-5845" y="14079"/>
                    <a:pt x="1913" y="17960"/>
                  </a:cubicBezTo>
                  <a:cubicBezTo>
                    <a:pt x="9670" y="22617"/>
                    <a:pt x="27514" y="1661"/>
                    <a:pt x="19756" y="109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44" name="Forma libre 34">
              <a:extLst>
                <a:ext uri="{FF2B5EF4-FFF2-40B4-BE49-F238E27FC236}">
                  <a16:creationId xmlns:a16="http://schemas.microsoft.com/office/drawing/2014/main" id="{2D86B8CF-3FCB-321B-97DA-9A1E039E9601}"/>
                </a:ext>
              </a:extLst>
            </p:cNvPr>
            <p:cNvSpPr/>
            <p:nvPr/>
          </p:nvSpPr>
          <p:spPr>
            <a:xfrm>
              <a:off x="2646658" y="3275952"/>
              <a:ext cx="303408" cy="120261"/>
            </a:xfrm>
            <a:custGeom>
              <a:avLst/>
              <a:gdLst>
                <a:gd name="connsiteX0" fmla="*/ 247864 w 253908"/>
                <a:gd name="connsiteY0" fmla="*/ 26389 h 100641"/>
                <a:gd name="connsiteX1" fmla="*/ 237003 w 253908"/>
                <a:gd name="connsiteY1" fmla="*/ 17851 h 100641"/>
                <a:gd name="connsiteX2" fmla="*/ 225366 w 253908"/>
                <a:gd name="connsiteY2" fmla="*/ 17851 h 100641"/>
                <a:gd name="connsiteX3" fmla="*/ 215281 w 253908"/>
                <a:gd name="connsiteY3" fmla="*/ 10866 h 100641"/>
                <a:gd name="connsiteX4" fmla="*/ 195886 w 253908"/>
                <a:gd name="connsiteY4" fmla="*/ 0 h 100641"/>
                <a:gd name="connsiteX5" fmla="*/ 195886 w 253908"/>
                <a:gd name="connsiteY5" fmla="*/ 2328 h 100641"/>
                <a:gd name="connsiteX6" fmla="*/ 185025 w 253908"/>
                <a:gd name="connsiteY6" fmla="*/ 7761 h 100641"/>
                <a:gd name="connsiteX7" fmla="*/ 179594 w 253908"/>
                <a:gd name="connsiteY7" fmla="*/ 19404 h 100641"/>
                <a:gd name="connsiteX8" fmla="*/ 172612 w 253908"/>
                <a:gd name="connsiteY8" fmla="*/ 28718 h 100641"/>
                <a:gd name="connsiteX9" fmla="*/ 168733 w 253908"/>
                <a:gd name="connsiteY9" fmla="*/ 37255 h 100641"/>
                <a:gd name="connsiteX10" fmla="*/ 165630 w 253908"/>
                <a:gd name="connsiteY10" fmla="*/ 48121 h 100641"/>
                <a:gd name="connsiteX11" fmla="*/ 164854 w 253908"/>
                <a:gd name="connsiteY11" fmla="*/ 58211 h 100641"/>
                <a:gd name="connsiteX12" fmla="*/ 174164 w 253908"/>
                <a:gd name="connsiteY12" fmla="*/ 65972 h 100641"/>
                <a:gd name="connsiteX13" fmla="*/ 181922 w 253908"/>
                <a:gd name="connsiteY13" fmla="*/ 67525 h 100641"/>
                <a:gd name="connsiteX14" fmla="*/ 174939 w 253908"/>
                <a:gd name="connsiteY14" fmla="*/ 76839 h 100641"/>
                <a:gd name="connsiteX15" fmla="*/ 173388 w 253908"/>
                <a:gd name="connsiteY15" fmla="*/ 76839 h 100641"/>
                <a:gd name="connsiteX16" fmla="*/ 176491 w 253908"/>
                <a:gd name="connsiteY16" fmla="*/ 84600 h 100641"/>
                <a:gd name="connsiteX17" fmla="*/ 176491 w 253908"/>
                <a:gd name="connsiteY17" fmla="*/ 92361 h 100641"/>
                <a:gd name="connsiteX18" fmla="*/ 188128 w 253908"/>
                <a:gd name="connsiteY18" fmla="*/ 95466 h 100641"/>
                <a:gd name="connsiteX19" fmla="*/ 198989 w 253908"/>
                <a:gd name="connsiteY19" fmla="*/ 94690 h 100641"/>
                <a:gd name="connsiteX20" fmla="*/ 212953 w 253908"/>
                <a:gd name="connsiteY20" fmla="*/ 69853 h 100641"/>
                <a:gd name="connsiteX21" fmla="*/ 243985 w 253908"/>
                <a:gd name="connsiteY21" fmla="*/ 53554 h 100641"/>
                <a:gd name="connsiteX22" fmla="*/ 252519 w 253908"/>
                <a:gd name="connsiteY22" fmla="*/ 38031 h 100641"/>
                <a:gd name="connsiteX23" fmla="*/ 247864 w 253908"/>
                <a:gd name="connsiteY23" fmla="*/ 26389 h 100641"/>
                <a:gd name="connsiteX24" fmla="*/ 1937 w 253908"/>
                <a:gd name="connsiteY24" fmla="*/ 21732 h 100641"/>
                <a:gd name="connsiteX25" fmla="*/ 11246 w 253908"/>
                <a:gd name="connsiteY25" fmla="*/ 37255 h 100641"/>
                <a:gd name="connsiteX26" fmla="*/ 1937 w 253908"/>
                <a:gd name="connsiteY26" fmla="*/ 21732 h 100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53908" h="100641">
                  <a:moveTo>
                    <a:pt x="247864" y="26389"/>
                  </a:moveTo>
                  <a:cubicBezTo>
                    <a:pt x="242434" y="20180"/>
                    <a:pt x="237779" y="16299"/>
                    <a:pt x="237003" y="17851"/>
                  </a:cubicBezTo>
                  <a:cubicBezTo>
                    <a:pt x="235452" y="19404"/>
                    <a:pt x="229245" y="20180"/>
                    <a:pt x="225366" y="17851"/>
                  </a:cubicBezTo>
                  <a:cubicBezTo>
                    <a:pt x="220711" y="15523"/>
                    <a:pt x="219160" y="10866"/>
                    <a:pt x="215281" y="10866"/>
                  </a:cubicBezTo>
                  <a:cubicBezTo>
                    <a:pt x="212178" y="10866"/>
                    <a:pt x="202092" y="4657"/>
                    <a:pt x="195886" y="0"/>
                  </a:cubicBezTo>
                  <a:cubicBezTo>
                    <a:pt x="195886" y="776"/>
                    <a:pt x="195886" y="1552"/>
                    <a:pt x="195886" y="2328"/>
                  </a:cubicBezTo>
                  <a:cubicBezTo>
                    <a:pt x="195886" y="5433"/>
                    <a:pt x="191231" y="7761"/>
                    <a:pt x="185025" y="7761"/>
                  </a:cubicBezTo>
                  <a:cubicBezTo>
                    <a:pt x="178818" y="7761"/>
                    <a:pt x="179594" y="14747"/>
                    <a:pt x="179594" y="19404"/>
                  </a:cubicBezTo>
                  <a:cubicBezTo>
                    <a:pt x="179594" y="24061"/>
                    <a:pt x="174939" y="24061"/>
                    <a:pt x="172612" y="28718"/>
                  </a:cubicBezTo>
                  <a:cubicBezTo>
                    <a:pt x="170285" y="33374"/>
                    <a:pt x="173388" y="34927"/>
                    <a:pt x="168733" y="37255"/>
                  </a:cubicBezTo>
                  <a:cubicBezTo>
                    <a:pt x="164078" y="39584"/>
                    <a:pt x="162527" y="43464"/>
                    <a:pt x="165630" y="48121"/>
                  </a:cubicBezTo>
                  <a:cubicBezTo>
                    <a:pt x="168733" y="52002"/>
                    <a:pt x="165630" y="55883"/>
                    <a:pt x="164854" y="58211"/>
                  </a:cubicBezTo>
                  <a:cubicBezTo>
                    <a:pt x="164078" y="60539"/>
                    <a:pt x="168733" y="61316"/>
                    <a:pt x="174164" y="65972"/>
                  </a:cubicBezTo>
                  <a:cubicBezTo>
                    <a:pt x="178818" y="70629"/>
                    <a:pt x="179594" y="64420"/>
                    <a:pt x="181922" y="67525"/>
                  </a:cubicBezTo>
                  <a:cubicBezTo>
                    <a:pt x="184249" y="70629"/>
                    <a:pt x="180370" y="76839"/>
                    <a:pt x="174939" y="76839"/>
                  </a:cubicBezTo>
                  <a:cubicBezTo>
                    <a:pt x="174164" y="76839"/>
                    <a:pt x="174164" y="76839"/>
                    <a:pt x="173388" y="76839"/>
                  </a:cubicBezTo>
                  <a:cubicBezTo>
                    <a:pt x="176491" y="79943"/>
                    <a:pt x="178043" y="83048"/>
                    <a:pt x="176491" y="84600"/>
                  </a:cubicBezTo>
                  <a:cubicBezTo>
                    <a:pt x="174164" y="88481"/>
                    <a:pt x="171836" y="88481"/>
                    <a:pt x="176491" y="92361"/>
                  </a:cubicBezTo>
                  <a:cubicBezTo>
                    <a:pt x="181146" y="97018"/>
                    <a:pt x="184249" y="90033"/>
                    <a:pt x="188128" y="95466"/>
                  </a:cubicBezTo>
                  <a:cubicBezTo>
                    <a:pt x="192007" y="100899"/>
                    <a:pt x="195110" y="104004"/>
                    <a:pt x="198989" y="94690"/>
                  </a:cubicBezTo>
                  <a:cubicBezTo>
                    <a:pt x="202868" y="85376"/>
                    <a:pt x="205971" y="72182"/>
                    <a:pt x="212953" y="69853"/>
                  </a:cubicBezTo>
                  <a:cubicBezTo>
                    <a:pt x="219936" y="67525"/>
                    <a:pt x="234676" y="64420"/>
                    <a:pt x="243985" y="53554"/>
                  </a:cubicBezTo>
                  <a:cubicBezTo>
                    <a:pt x="252519" y="41912"/>
                    <a:pt x="247864" y="41136"/>
                    <a:pt x="252519" y="38031"/>
                  </a:cubicBezTo>
                  <a:cubicBezTo>
                    <a:pt x="255622" y="35703"/>
                    <a:pt x="253295" y="32598"/>
                    <a:pt x="247864" y="26389"/>
                  </a:cubicBezTo>
                  <a:close/>
                  <a:moveTo>
                    <a:pt x="1937" y="21732"/>
                  </a:moveTo>
                  <a:cubicBezTo>
                    <a:pt x="-5045" y="31822"/>
                    <a:pt x="8919" y="41912"/>
                    <a:pt x="11246" y="37255"/>
                  </a:cubicBezTo>
                  <a:cubicBezTo>
                    <a:pt x="15125" y="32598"/>
                    <a:pt x="8919" y="11642"/>
                    <a:pt x="1937" y="21732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54" name="Forma libre 35">
              <a:extLst>
                <a:ext uri="{FF2B5EF4-FFF2-40B4-BE49-F238E27FC236}">
                  <a16:creationId xmlns:a16="http://schemas.microsoft.com/office/drawing/2014/main" id="{B3420EDE-A672-ECF4-66C2-7B8027426872}"/>
                </a:ext>
              </a:extLst>
            </p:cNvPr>
            <p:cNvSpPr/>
            <p:nvPr/>
          </p:nvSpPr>
          <p:spPr>
            <a:xfrm>
              <a:off x="3652941" y="4439020"/>
              <a:ext cx="37913" cy="22931"/>
            </a:xfrm>
            <a:custGeom>
              <a:avLst/>
              <a:gdLst>
                <a:gd name="connsiteX0" fmla="*/ 12 w 31728"/>
                <a:gd name="connsiteY0" fmla="*/ 649 h 19190"/>
                <a:gd name="connsiteX1" fmla="*/ 13200 w 31728"/>
                <a:gd name="connsiteY1" fmla="*/ 9187 h 19190"/>
                <a:gd name="connsiteX2" fmla="*/ 31044 w 31728"/>
                <a:gd name="connsiteY2" fmla="*/ 15396 h 19190"/>
                <a:gd name="connsiteX3" fmla="*/ 12 w 31728"/>
                <a:gd name="connsiteY3" fmla="*/ 649 h 19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28" h="19190">
                  <a:moveTo>
                    <a:pt x="12" y="649"/>
                  </a:moveTo>
                  <a:cubicBezTo>
                    <a:pt x="1563" y="6858"/>
                    <a:pt x="7770" y="3754"/>
                    <a:pt x="13200" y="9187"/>
                  </a:cubicBezTo>
                  <a:cubicBezTo>
                    <a:pt x="19407" y="14620"/>
                    <a:pt x="24837" y="24710"/>
                    <a:pt x="31044" y="15396"/>
                  </a:cubicBezTo>
                  <a:cubicBezTo>
                    <a:pt x="37250" y="6083"/>
                    <a:pt x="-764" y="-2455"/>
                    <a:pt x="12" y="649"/>
                  </a:cubicBezTo>
                  <a:close/>
                </a:path>
              </a:pathLst>
            </a:custGeom>
            <a:grpFill/>
            <a:ln w="1937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50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</p:grpSp>
      <p:sp>
        <p:nvSpPr>
          <p:cNvPr id="61" name="CuadroTexto 60">
            <a:extLst>
              <a:ext uri="{FF2B5EF4-FFF2-40B4-BE49-F238E27FC236}">
                <a16:creationId xmlns:a16="http://schemas.microsoft.com/office/drawing/2014/main" id="{AA7DACC8-BE2C-5E70-5786-3CD001656B55}"/>
              </a:ext>
            </a:extLst>
          </p:cNvPr>
          <p:cNvSpPr txBox="1">
            <a:spLocks/>
          </p:cNvSpPr>
          <p:nvPr/>
        </p:nvSpPr>
        <p:spPr>
          <a:xfrm>
            <a:off x="4070500" y="2528467"/>
            <a:ext cx="115806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B989F9"/>
                </a:solidFill>
                <a:latin typeface="Pulso" pitchFamily="2" charset="0"/>
                <a:ea typeface="Roboto" panose="02000000000000000000" pitchFamily="2" charset="0"/>
              </a:defRPr>
            </a:lvl1pPr>
          </a:lstStyle>
          <a:p>
            <a:pPr algn="ctr" defTabSz="435426">
              <a:defRPr/>
            </a:pPr>
            <a:r>
              <a:rPr lang="es-AR" sz="1200" b="0">
                <a:solidFill>
                  <a:srgbClr val="FFFFFF"/>
                </a:solidFill>
                <a:ea typeface="Roboto Medium" panose="02000000000000000000" pitchFamily="2" charset="0"/>
              </a:rPr>
              <a:t>Hay que buscar oportunidades para consolidar el negocio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6AF6E5EC-C823-1A34-C42C-5DD893B41F4D}"/>
              </a:ext>
            </a:extLst>
          </p:cNvPr>
          <p:cNvSpPr txBox="1"/>
          <p:nvPr/>
        </p:nvSpPr>
        <p:spPr>
          <a:xfrm>
            <a:off x="4329068" y="4718153"/>
            <a:ext cx="4428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s-ES" sz="1050">
                <a:solidFill>
                  <a:prstClr val="black"/>
                </a:solidFill>
                <a:latin typeface="Pulso" pitchFamily="2" charset="0"/>
              </a:rPr>
              <a:t>“L</a:t>
            </a:r>
            <a:r>
              <a:rPr lang="es-MX" sz="1050" err="1">
                <a:solidFill>
                  <a:prstClr val="black"/>
                </a:solidFill>
                <a:latin typeface="Pulso" pitchFamily="2" charset="0"/>
              </a:rPr>
              <a:t>iderar</a:t>
            </a:r>
            <a:r>
              <a:rPr lang="es-MX" sz="1050">
                <a:solidFill>
                  <a:prstClr val="black"/>
                </a:solidFill>
                <a:latin typeface="Pulso" pitchFamily="2" charset="0"/>
              </a:rPr>
              <a:t> el NPS de la industria</a:t>
            </a:r>
            <a:r>
              <a:rPr lang="es-ES" sz="1050">
                <a:solidFill>
                  <a:prstClr val="black"/>
                </a:solidFill>
                <a:latin typeface="Pulso" pitchFamily="2" charset="0"/>
              </a:rPr>
              <a:t>”</a:t>
            </a:r>
            <a:endParaRPr lang="es-PY" sz="1050" b="1">
              <a:solidFill>
                <a:prstClr val="black"/>
              </a:solidFill>
              <a:latin typeface="Pulso" pitchFamily="2" charset="0"/>
            </a:endParaRP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9B3AE885-6105-2785-57CD-7550EDFBFDFC}"/>
              </a:ext>
            </a:extLst>
          </p:cNvPr>
          <p:cNvSpPr txBox="1">
            <a:spLocks/>
          </p:cNvSpPr>
          <p:nvPr/>
        </p:nvSpPr>
        <p:spPr>
          <a:xfrm>
            <a:off x="6528683" y="2759300"/>
            <a:ext cx="6636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800"/>
              </a:spcAft>
              <a:defRPr/>
            </a:pPr>
            <a:r>
              <a:rPr lang="es-ES" sz="1200">
                <a:solidFill>
                  <a:schemeClr val="tx2"/>
                </a:solidFill>
                <a:latin typeface="Pulso" pitchFamily="2" charset="0"/>
                <a:ea typeface="Roboto Medium" panose="02000000000000000000" pitchFamily="2" charset="0"/>
              </a:rPr>
              <a:t>Salir</a:t>
            </a:r>
            <a:endParaRPr lang="es-PY" sz="900">
              <a:solidFill>
                <a:schemeClr val="tx2"/>
              </a:solidFill>
              <a:latin typeface="Pulso Light" pitchFamily="2" charset="0"/>
            </a:endParaRPr>
          </a:p>
        </p:txBody>
      </p:sp>
      <p:sp>
        <p:nvSpPr>
          <p:cNvPr id="66" name="Redondear rectángulo de esquina del mismo lado 53">
            <a:extLst>
              <a:ext uri="{FF2B5EF4-FFF2-40B4-BE49-F238E27FC236}">
                <a16:creationId xmlns:a16="http://schemas.microsoft.com/office/drawing/2014/main" id="{796E29B2-6B56-B1EC-7ABE-D6B34F568ECB}"/>
              </a:ext>
            </a:extLst>
          </p:cNvPr>
          <p:cNvSpPr/>
          <p:nvPr/>
        </p:nvSpPr>
        <p:spPr>
          <a:xfrm rot="5400000">
            <a:off x="2409133" y="2168152"/>
            <a:ext cx="304928" cy="1882656"/>
          </a:xfrm>
          <a:prstGeom prst="round2SameRect">
            <a:avLst>
              <a:gd name="adj1" fmla="val 15747"/>
              <a:gd name="adj2" fmla="val 0"/>
            </a:avLst>
          </a:prstGeom>
          <a:gradFill>
            <a:gsLst>
              <a:gs pos="40000">
                <a:srgbClr val="FFFFFF"/>
              </a:gs>
              <a:gs pos="100000">
                <a:srgbClr val="F0F0F0">
                  <a:alpha val="0"/>
                </a:srgbClr>
              </a:gs>
            </a:gsLst>
            <a:lin ang="5400000" scaled="0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563"/>
              </a:spcBef>
            </a:pPr>
            <a:endParaRPr lang="es-AR" sz="825" b="1">
              <a:solidFill>
                <a:schemeClr val="tx1"/>
              </a:solidFill>
            </a:endParaRPr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AEFC0176-CC73-F323-E406-8E2C78169D60}"/>
              </a:ext>
            </a:extLst>
          </p:cNvPr>
          <p:cNvGrpSpPr/>
          <p:nvPr/>
        </p:nvGrpSpPr>
        <p:grpSpPr>
          <a:xfrm>
            <a:off x="2610531" y="2730722"/>
            <a:ext cx="741600" cy="943303"/>
            <a:chOff x="2610531" y="2259966"/>
            <a:chExt cx="741600" cy="943303"/>
          </a:xfrm>
        </p:grpSpPr>
        <p:sp>
          <p:nvSpPr>
            <p:cNvPr id="71" name="CuadroTexto 70">
              <a:extLst>
                <a:ext uri="{FF2B5EF4-FFF2-40B4-BE49-F238E27FC236}">
                  <a16:creationId xmlns:a16="http://schemas.microsoft.com/office/drawing/2014/main" id="{3CDA6A39-39FC-72BF-916D-F87A54309E82}"/>
                </a:ext>
              </a:extLst>
            </p:cNvPr>
            <p:cNvSpPr txBox="1"/>
            <p:nvPr/>
          </p:nvSpPr>
          <p:spPr>
            <a:xfrm>
              <a:off x="2692790" y="3033992"/>
              <a:ext cx="577081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435426">
                <a:defRPr/>
              </a:pPr>
              <a:r>
                <a:rPr lang="es-AR" sz="1100" b="1">
                  <a:solidFill>
                    <a:schemeClr val="tx2"/>
                  </a:solidFill>
                  <a:latin typeface="Pulso" pitchFamily="2" charset="0"/>
                  <a:ea typeface="Roboto Medium" panose="02000000000000000000" pitchFamily="2" charset="0"/>
                  <a:cs typeface="Roboto" panose="02000000000000000000" pitchFamily="2" charset="0"/>
                </a:rPr>
                <a:t>Uruguay</a:t>
              </a:r>
            </a:p>
          </p:txBody>
        </p:sp>
        <p:pic>
          <p:nvPicPr>
            <p:cNvPr id="4" name="Imagen 3">
              <a:extLst>
                <a:ext uri="{FF2B5EF4-FFF2-40B4-BE49-F238E27FC236}">
                  <a16:creationId xmlns:a16="http://schemas.microsoft.com/office/drawing/2014/main" id="{A1825F0F-12FF-D04A-BE55-6605347DB68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610531" y="2259966"/>
              <a:ext cx="741600" cy="741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2284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D1207E-D17C-BDCD-B0E1-DFCF760A71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orma libre 46">
            <a:extLst>
              <a:ext uri="{FF2B5EF4-FFF2-40B4-BE49-F238E27FC236}">
                <a16:creationId xmlns:a16="http://schemas.microsoft.com/office/drawing/2014/main" id="{EAEDFB95-4874-9D65-F19E-F5055D524402}"/>
              </a:ext>
            </a:extLst>
          </p:cNvPr>
          <p:cNvSpPr/>
          <p:nvPr/>
        </p:nvSpPr>
        <p:spPr>
          <a:xfrm>
            <a:off x="4783762" y="0"/>
            <a:ext cx="3438000" cy="5148000"/>
          </a:xfrm>
          <a:custGeom>
            <a:avLst/>
            <a:gdLst>
              <a:gd name="connsiteX0" fmla="*/ 0 w 3437719"/>
              <a:gd name="connsiteY0" fmla="*/ 0 h 5143500"/>
              <a:gd name="connsiteX1" fmla="*/ 2845711 w 3437719"/>
              <a:gd name="connsiteY1" fmla="*/ 0 h 5143500"/>
              <a:gd name="connsiteX2" fmla="*/ 2859164 w 3437719"/>
              <a:gd name="connsiteY2" fmla="*/ 26279 h 5143500"/>
              <a:gd name="connsiteX3" fmla="*/ 3437719 w 3437719"/>
              <a:gd name="connsiteY3" fmla="*/ 2571759 h 5143500"/>
              <a:gd name="connsiteX4" fmla="*/ 2859164 w 3437719"/>
              <a:gd name="connsiteY4" fmla="*/ 5109548 h 5143500"/>
              <a:gd name="connsiteX5" fmla="*/ 2841774 w 3437719"/>
              <a:gd name="connsiteY5" fmla="*/ 5143500 h 5143500"/>
              <a:gd name="connsiteX6" fmla="*/ 2 w 3437719"/>
              <a:gd name="connsiteY6" fmla="*/ 5143500 h 5143500"/>
              <a:gd name="connsiteX7" fmla="*/ 73187 w 3437719"/>
              <a:gd name="connsiteY7" fmla="*/ 5076984 h 5143500"/>
              <a:gd name="connsiteX8" fmla="*/ 1110970 w 3437719"/>
              <a:gd name="connsiteY8" fmla="*/ 2571759 h 5143500"/>
              <a:gd name="connsiteX9" fmla="*/ 73187 w 3437719"/>
              <a:gd name="connsiteY9" fmla="*/ 66518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37719" h="5143500">
                <a:moveTo>
                  <a:pt x="0" y="0"/>
                </a:moveTo>
                <a:lnTo>
                  <a:pt x="2845711" y="0"/>
                </a:lnTo>
                <a:lnTo>
                  <a:pt x="2859164" y="26279"/>
                </a:lnTo>
                <a:cubicBezTo>
                  <a:pt x="3229966" y="796168"/>
                  <a:pt x="3437719" y="1659563"/>
                  <a:pt x="3437719" y="2571759"/>
                </a:cubicBezTo>
                <a:cubicBezTo>
                  <a:pt x="3437719" y="3478995"/>
                  <a:pt x="3229966" y="4340218"/>
                  <a:pt x="2859164" y="5109548"/>
                </a:cubicBezTo>
                <a:lnTo>
                  <a:pt x="2841774" y="5143500"/>
                </a:lnTo>
                <a:lnTo>
                  <a:pt x="2" y="5143500"/>
                </a:lnTo>
                <a:lnTo>
                  <a:pt x="73187" y="5076984"/>
                </a:lnTo>
                <a:cubicBezTo>
                  <a:pt x="714366" y="4435804"/>
                  <a:pt x="1110970" y="3550051"/>
                  <a:pt x="1110970" y="2571759"/>
                </a:cubicBezTo>
                <a:cubicBezTo>
                  <a:pt x="1110970" y="1593458"/>
                  <a:pt x="714366" y="707700"/>
                  <a:pt x="73187" y="66518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grpSp>
        <p:nvGrpSpPr>
          <p:cNvPr id="59" name="Grupo 58">
            <a:extLst>
              <a:ext uri="{FF2B5EF4-FFF2-40B4-BE49-F238E27FC236}">
                <a16:creationId xmlns:a16="http://schemas.microsoft.com/office/drawing/2014/main" id="{0F18C34E-3BFA-71D7-5927-AB21B2600974}"/>
              </a:ext>
            </a:extLst>
          </p:cNvPr>
          <p:cNvGrpSpPr/>
          <p:nvPr/>
        </p:nvGrpSpPr>
        <p:grpSpPr>
          <a:xfrm>
            <a:off x="117446" y="4735746"/>
            <a:ext cx="8906400" cy="268682"/>
            <a:chOff x="117446" y="4735746"/>
            <a:chExt cx="8906400" cy="268682"/>
          </a:xfrm>
        </p:grpSpPr>
        <p:sp>
          <p:nvSpPr>
            <p:cNvPr id="48" name="Rectángulo redondeado 47">
              <a:extLst>
                <a:ext uri="{FF2B5EF4-FFF2-40B4-BE49-F238E27FC236}">
                  <a16:creationId xmlns:a16="http://schemas.microsoft.com/office/drawing/2014/main" id="{4FC10004-972F-5917-70F4-5520C66C4B15}"/>
                </a:ext>
              </a:extLst>
            </p:cNvPr>
            <p:cNvSpPr/>
            <p:nvPr/>
          </p:nvSpPr>
          <p:spPr>
            <a:xfrm>
              <a:off x="117446" y="4735746"/>
              <a:ext cx="8906400" cy="26868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lvl="0" algn="ctr">
                <a:spcBef>
                  <a:spcPts val="1000"/>
                </a:spcBef>
              </a:pPr>
              <a:endParaRPr lang="es-AR" sz="14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  <p:grpSp>
          <p:nvGrpSpPr>
            <p:cNvPr id="49" name="Gráfico 3">
              <a:extLst>
                <a:ext uri="{FF2B5EF4-FFF2-40B4-BE49-F238E27FC236}">
                  <a16:creationId xmlns:a16="http://schemas.microsoft.com/office/drawing/2014/main" id="{95FD06ED-8C37-3398-6D93-5C63FA5B4B64}"/>
                </a:ext>
              </a:extLst>
            </p:cNvPr>
            <p:cNvGrpSpPr/>
            <p:nvPr/>
          </p:nvGrpSpPr>
          <p:grpSpPr>
            <a:xfrm>
              <a:off x="8243851" y="4808412"/>
              <a:ext cx="549475" cy="126054"/>
              <a:chOff x="3835717" y="2907982"/>
              <a:chExt cx="4521517" cy="1037272"/>
            </a:xfrm>
            <a:solidFill>
              <a:schemeClr val="accent2"/>
            </a:solidFill>
          </p:grpSpPr>
          <p:sp>
            <p:nvSpPr>
              <p:cNvPr id="50" name="Forma libre 49">
                <a:extLst>
                  <a:ext uri="{FF2B5EF4-FFF2-40B4-BE49-F238E27FC236}">
                    <a16:creationId xmlns:a16="http://schemas.microsoft.com/office/drawing/2014/main" id="{02DFA7A4-01A4-3D13-DD94-0963F4C460AE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1" name="Forma libre 50">
                <a:extLst>
                  <a:ext uri="{FF2B5EF4-FFF2-40B4-BE49-F238E27FC236}">
                    <a16:creationId xmlns:a16="http://schemas.microsoft.com/office/drawing/2014/main" id="{6234F8EB-E8E0-73DF-12E8-DD97F68578D8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2" name="Forma libre 51">
                <a:extLst>
                  <a:ext uri="{FF2B5EF4-FFF2-40B4-BE49-F238E27FC236}">
                    <a16:creationId xmlns:a16="http://schemas.microsoft.com/office/drawing/2014/main" id="{760F776A-D03A-472B-4509-DF694CCF60B1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3" name="Forma libre 52">
                <a:extLst>
                  <a:ext uri="{FF2B5EF4-FFF2-40B4-BE49-F238E27FC236}">
                    <a16:creationId xmlns:a16="http://schemas.microsoft.com/office/drawing/2014/main" id="{DBBE5AC0-4D2E-E903-F321-F5FB90A4364F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4" name="Forma libre 53">
                <a:extLst>
                  <a:ext uri="{FF2B5EF4-FFF2-40B4-BE49-F238E27FC236}">
                    <a16:creationId xmlns:a16="http://schemas.microsoft.com/office/drawing/2014/main" id="{19FAE086-DBF6-4C92-6FA6-BD10525F94D3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5" name="Forma libre 54">
                <a:extLst>
                  <a:ext uri="{FF2B5EF4-FFF2-40B4-BE49-F238E27FC236}">
                    <a16:creationId xmlns:a16="http://schemas.microsoft.com/office/drawing/2014/main" id="{B3721E5D-C242-4878-4804-E744FE513DE9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6" name="Forma libre 55">
                <a:extLst>
                  <a:ext uri="{FF2B5EF4-FFF2-40B4-BE49-F238E27FC236}">
                    <a16:creationId xmlns:a16="http://schemas.microsoft.com/office/drawing/2014/main" id="{F4884B99-2F82-7BF5-489C-955B7ABDC3A3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7" name="Forma libre 56">
                <a:extLst>
                  <a:ext uri="{FF2B5EF4-FFF2-40B4-BE49-F238E27FC236}">
                    <a16:creationId xmlns:a16="http://schemas.microsoft.com/office/drawing/2014/main" id="{556178A2-422E-F495-982A-63A84AE273F4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58" name="Rectángulo 57">
              <a:extLst>
                <a:ext uri="{FF2B5EF4-FFF2-40B4-BE49-F238E27FC236}">
                  <a16:creationId xmlns:a16="http://schemas.microsoft.com/office/drawing/2014/main" id="{9EC5C5D2-F023-9CDA-CCD0-B7BFF6A37DBD}"/>
                </a:ext>
              </a:extLst>
            </p:cNvPr>
            <p:cNvSpPr/>
            <p:nvPr/>
          </p:nvSpPr>
          <p:spPr>
            <a:xfrm>
              <a:off x="257485" y="4831799"/>
              <a:ext cx="1163588" cy="10464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l">
                <a:lnSpc>
                  <a:spcPct val="85000"/>
                </a:lnSpc>
              </a:pPr>
              <a:r>
                <a:rPr lang="es-ES_tradnl" sz="800" b="0" i="0" spc="-7" noProof="0">
                  <a:solidFill>
                    <a:schemeClr val="tx2"/>
                  </a:solidFill>
                  <a:latin typeface="Pulso Light" pitchFamily="2" charset="0"/>
                  <a:ea typeface="Inter Light BETA" panose="020B0402030000000004" pitchFamily="34" charset="0"/>
                </a:rPr>
                <a:t>Estrategia</a:t>
              </a:r>
              <a:r>
                <a:rPr lang="es-ES_tradnl" sz="800" b="0" i="0" spc="-7" noProof="0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  <a:t>  </a:t>
              </a:r>
              <a:r>
                <a:rPr lang="es-ES_tradnl" sz="800" b="1" i="0" spc="-7" noProof="0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  <a:t>2026  ·  2030</a:t>
              </a:r>
              <a:endPara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Extra Bold" panose="020B0502030000000004" pitchFamily="34" charset="0"/>
              </a:endParaRPr>
            </a:p>
          </p:txBody>
        </p:sp>
      </p:grpSp>
      <p:sp>
        <p:nvSpPr>
          <p:cNvPr id="22" name="Marcador de texto 8">
            <a:extLst>
              <a:ext uri="{FF2B5EF4-FFF2-40B4-BE49-F238E27FC236}">
                <a16:creationId xmlns:a16="http://schemas.microsoft.com/office/drawing/2014/main" id="{7B043B2B-AE54-AD3B-551F-7287A874622A}"/>
              </a:ext>
            </a:extLst>
          </p:cNvPr>
          <p:cNvSpPr txBox="1">
            <a:spLocks/>
          </p:cNvSpPr>
          <p:nvPr/>
        </p:nvSpPr>
        <p:spPr>
          <a:xfrm>
            <a:off x="1252627" y="1573440"/>
            <a:ext cx="2067921" cy="153266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400" spc="-15">
                <a:latin typeface="Pulso Light" pitchFamily="2" charset="0"/>
                <a:ea typeface="Open Sans Light"/>
                <a:cs typeface="Open Sans Light"/>
              </a:rPr>
              <a:t>Nos apalancamos en el Negocio Core tradicional para desarrollar nuevos negocios digitales con visión de ecosistema.</a:t>
            </a:r>
          </a:p>
        </p:txBody>
      </p:sp>
      <p:grpSp>
        <p:nvGrpSpPr>
          <p:cNvPr id="43" name="Grupo 42">
            <a:extLst>
              <a:ext uri="{FF2B5EF4-FFF2-40B4-BE49-F238E27FC236}">
                <a16:creationId xmlns:a16="http://schemas.microsoft.com/office/drawing/2014/main" id="{380E913D-BF94-1B9D-B8A6-B632E65A34D2}"/>
              </a:ext>
            </a:extLst>
          </p:cNvPr>
          <p:cNvGrpSpPr/>
          <p:nvPr/>
        </p:nvGrpSpPr>
        <p:grpSpPr>
          <a:xfrm>
            <a:off x="540651" y="704103"/>
            <a:ext cx="4356109" cy="718147"/>
            <a:chOff x="1186436" y="701273"/>
            <a:chExt cx="1874891" cy="309093"/>
          </a:xfrm>
        </p:grpSpPr>
        <p:grpSp>
          <p:nvGrpSpPr>
            <p:cNvPr id="44" name="Grupo 43">
              <a:extLst>
                <a:ext uri="{FF2B5EF4-FFF2-40B4-BE49-F238E27FC236}">
                  <a16:creationId xmlns:a16="http://schemas.microsoft.com/office/drawing/2014/main" id="{27D4B56E-1E75-2F50-C868-589630F019BE}"/>
                </a:ext>
              </a:extLst>
            </p:cNvPr>
            <p:cNvGrpSpPr/>
            <p:nvPr/>
          </p:nvGrpSpPr>
          <p:grpSpPr>
            <a:xfrm>
              <a:off x="1186436" y="727786"/>
              <a:ext cx="236474" cy="236229"/>
              <a:chOff x="3955161" y="1943655"/>
              <a:chExt cx="1169097" cy="1167892"/>
            </a:xfrm>
          </p:grpSpPr>
          <p:sp>
            <p:nvSpPr>
              <p:cNvPr id="46" name="Forma libre 45">
                <a:extLst>
                  <a:ext uri="{FF2B5EF4-FFF2-40B4-BE49-F238E27FC236}">
                    <a16:creationId xmlns:a16="http://schemas.microsoft.com/office/drawing/2014/main" id="{744009A8-277E-F76F-281E-BE2A0240883C}"/>
                  </a:ext>
                </a:extLst>
              </p:cNvPr>
              <p:cNvSpPr/>
              <p:nvPr/>
            </p:nvSpPr>
            <p:spPr>
              <a:xfrm>
                <a:off x="4190142" y="2178081"/>
                <a:ext cx="699134" cy="699134"/>
              </a:xfrm>
              <a:custGeom>
                <a:avLst/>
                <a:gdLst>
                  <a:gd name="connsiteX0" fmla="*/ 699135 w 699134"/>
                  <a:gd name="connsiteY0" fmla="*/ 349567 h 699134"/>
                  <a:gd name="connsiteX1" fmla="*/ 349568 w 699134"/>
                  <a:gd name="connsiteY1" fmla="*/ 699135 h 699134"/>
                  <a:gd name="connsiteX2" fmla="*/ 0 w 699134"/>
                  <a:gd name="connsiteY2" fmla="*/ 349568 h 699134"/>
                  <a:gd name="connsiteX3" fmla="*/ 349568 w 699134"/>
                  <a:gd name="connsiteY3" fmla="*/ 0 h 699134"/>
                  <a:gd name="connsiteX4" fmla="*/ 699135 w 699134"/>
                  <a:gd name="connsiteY4" fmla="*/ 349567 h 699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134" h="699134">
                    <a:moveTo>
                      <a:pt x="699135" y="349567"/>
                    </a:moveTo>
                    <a:cubicBezTo>
                      <a:pt x="699135" y="542628"/>
                      <a:pt x="542628" y="699135"/>
                      <a:pt x="349568" y="699135"/>
                    </a:cubicBezTo>
                    <a:cubicBezTo>
                      <a:pt x="156507" y="699135"/>
                      <a:pt x="0" y="542628"/>
                      <a:pt x="0" y="349568"/>
                    </a:cubicBezTo>
                    <a:cubicBezTo>
                      <a:pt x="0" y="156507"/>
                      <a:pt x="156507" y="0"/>
                      <a:pt x="349568" y="0"/>
                    </a:cubicBezTo>
                    <a:cubicBezTo>
                      <a:pt x="542628" y="0"/>
                      <a:pt x="699135" y="156507"/>
                      <a:pt x="699135" y="349567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0" name="Forma libre 59">
                <a:extLst>
                  <a:ext uri="{FF2B5EF4-FFF2-40B4-BE49-F238E27FC236}">
                    <a16:creationId xmlns:a16="http://schemas.microsoft.com/office/drawing/2014/main" id="{8CFFD6AE-CF25-63C6-4C25-BEAC9ECBCEEC}"/>
                  </a:ext>
                </a:extLst>
              </p:cNvPr>
              <p:cNvSpPr/>
              <p:nvPr/>
            </p:nvSpPr>
            <p:spPr>
              <a:xfrm>
                <a:off x="4552759" y="2731320"/>
                <a:ext cx="481275" cy="380227"/>
              </a:xfrm>
              <a:custGeom>
                <a:avLst/>
                <a:gdLst>
                  <a:gd name="connsiteX0" fmla="*/ 298704 w 481275"/>
                  <a:gd name="connsiteY0" fmla="*/ 6070 h 380227"/>
                  <a:gd name="connsiteX1" fmla="*/ 12764 w 481275"/>
                  <a:gd name="connsiteY1" fmla="*/ 171138 h 380227"/>
                  <a:gd name="connsiteX2" fmla="*/ 0 w 481275"/>
                  <a:gd name="connsiteY2" fmla="*/ 184568 h 380227"/>
                  <a:gd name="connsiteX3" fmla="*/ 0 w 481275"/>
                  <a:gd name="connsiteY3" fmla="*/ 366686 h 380227"/>
                  <a:gd name="connsiteX4" fmla="*/ 14002 w 481275"/>
                  <a:gd name="connsiteY4" fmla="*/ 380212 h 380227"/>
                  <a:gd name="connsiteX5" fmla="*/ 479203 w 481275"/>
                  <a:gd name="connsiteY5" fmla="*/ 111892 h 380227"/>
                  <a:gd name="connsiteX6" fmla="*/ 474535 w 481275"/>
                  <a:gd name="connsiteY6" fmla="*/ 93033 h 380227"/>
                  <a:gd name="connsiteX7" fmla="*/ 316611 w 481275"/>
                  <a:gd name="connsiteY7" fmla="*/ 1879 h 380227"/>
                  <a:gd name="connsiteX8" fmla="*/ 298704 w 481275"/>
                  <a:gd name="connsiteY8" fmla="*/ 6070 h 38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275" h="380227">
                    <a:moveTo>
                      <a:pt x="298704" y="6070"/>
                    </a:moveTo>
                    <a:cubicBezTo>
                      <a:pt x="235744" y="99510"/>
                      <a:pt x="131921" y="163041"/>
                      <a:pt x="12764" y="171138"/>
                    </a:cubicBezTo>
                    <a:cubicBezTo>
                      <a:pt x="5620" y="171614"/>
                      <a:pt x="0" y="177424"/>
                      <a:pt x="0" y="184568"/>
                    </a:cubicBezTo>
                    <a:lnTo>
                      <a:pt x="0" y="366686"/>
                    </a:lnTo>
                    <a:cubicBezTo>
                      <a:pt x="0" y="374306"/>
                      <a:pt x="6382" y="380592"/>
                      <a:pt x="14002" y="380212"/>
                    </a:cubicBezTo>
                    <a:cubicBezTo>
                      <a:pt x="209359" y="371258"/>
                      <a:pt x="379762" y="266578"/>
                      <a:pt x="479203" y="111892"/>
                    </a:cubicBezTo>
                    <a:cubicBezTo>
                      <a:pt x="483299" y="105510"/>
                      <a:pt x="481108" y="96843"/>
                      <a:pt x="474535" y="93033"/>
                    </a:cubicBezTo>
                    <a:lnTo>
                      <a:pt x="316611" y="1879"/>
                    </a:lnTo>
                    <a:cubicBezTo>
                      <a:pt x="310515" y="-1836"/>
                      <a:pt x="302705" y="164"/>
                      <a:pt x="298704" y="607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1" name="Forma libre 60">
                <a:extLst>
                  <a:ext uri="{FF2B5EF4-FFF2-40B4-BE49-F238E27FC236}">
                    <a16:creationId xmlns:a16="http://schemas.microsoft.com/office/drawing/2014/main" id="{A6BFABEE-9072-0951-9606-64DE9A6C36BF}"/>
                  </a:ext>
                </a:extLst>
              </p:cNvPr>
              <p:cNvSpPr/>
              <p:nvPr/>
            </p:nvSpPr>
            <p:spPr>
              <a:xfrm>
                <a:off x="4045385" y="1943655"/>
                <a:ext cx="481275" cy="380282"/>
              </a:xfrm>
              <a:custGeom>
                <a:avLst/>
                <a:gdLst>
                  <a:gd name="connsiteX0" fmla="*/ 182571 w 481275"/>
                  <a:gd name="connsiteY0" fmla="*/ 374158 h 380282"/>
                  <a:gd name="connsiteX1" fmla="*/ 468512 w 481275"/>
                  <a:gd name="connsiteY1" fmla="*/ 209090 h 380282"/>
                  <a:gd name="connsiteX2" fmla="*/ 481275 w 481275"/>
                  <a:gd name="connsiteY2" fmla="*/ 195660 h 380282"/>
                  <a:gd name="connsiteX3" fmla="*/ 481275 w 481275"/>
                  <a:gd name="connsiteY3" fmla="*/ 13542 h 380282"/>
                  <a:gd name="connsiteX4" fmla="*/ 467274 w 481275"/>
                  <a:gd name="connsiteY4" fmla="*/ 16 h 380282"/>
                  <a:gd name="connsiteX5" fmla="*/ 2073 w 481275"/>
                  <a:gd name="connsiteY5" fmla="*/ 268336 h 380282"/>
                  <a:gd name="connsiteX6" fmla="*/ 6740 w 481275"/>
                  <a:gd name="connsiteY6" fmla="*/ 287195 h 380282"/>
                  <a:gd name="connsiteX7" fmla="*/ 164664 w 481275"/>
                  <a:gd name="connsiteY7" fmla="*/ 378540 h 380282"/>
                  <a:gd name="connsiteX8" fmla="*/ 182571 w 481275"/>
                  <a:gd name="connsiteY8" fmla="*/ 374158 h 380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275" h="380282">
                    <a:moveTo>
                      <a:pt x="182571" y="374158"/>
                    </a:moveTo>
                    <a:cubicBezTo>
                      <a:pt x="245532" y="280718"/>
                      <a:pt x="349354" y="217186"/>
                      <a:pt x="468512" y="209090"/>
                    </a:cubicBezTo>
                    <a:cubicBezTo>
                      <a:pt x="475656" y="208614"/>
                      <a:pt x="481275" y="202804"/>
                      <a:pt x="481275" y="195660"/>
                    </a:cubicBezTo>
                    <a:lnTo>
                      <a:pt x="481275" y="13542"/>
                    </a:lnTo>
                    <a:cubicBezTo>
                      <a:pt x="481275" y="5922"/>
                      <a:pt x="474894" y="-364"/>
                      <a:pt x="467274" y="16"/>
                    </a:cubicBezTo>
                    <a:cubicBezTo>
                      <a:pt x="271916" y="8970"/>
                      <a:pt x="101514" y="113650"/>
                      <a:pt x="2073" y="268336"/>
                    </a:cubicBezTo>
                    <a:cubicBezTo>
                      <a:pt x="-2023" y="274717"/>
                      <a:pt x="168" y="283385"/>
                      <a:pt x="6740" y="287195"/>
                    </a:cubicBezTo>
                    <a:lnTo>
                      <a:pt x="164664" y="378540"/>
                    </a:lnTo>
                    <a:cubicBezTo>
                      <a:pt x="170856" y="382064"/>
                      <a:pt x="178571" y="380064"/>
                      <a:pt x="182571" y="37415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2" name="Forma libre 61">
                <a:extLst>
                  <a:ext uri="{FF2B5EF4-FFF2-40B4-BE49-F238E27FC236}">
                    <a16:creationId xmlns:a16="http://schemas.microsoft.com/office/drawing/2014/main" id="{064AFD2B-95CE-47A9-5E77-9FC5BEEE271A}"/>
                  </a:ext>
                </a:extLst>
              </p:cNvPr>
              <p:cNvSpPr/>
              <p:nvPr/>
            </p:nvSpPr>
            <p:spPr>
              <a:xfrm>
                <a:off x="4875850" y="2251895"/>
                <a:ext cx="248408" cy="551508"/>
              </a:xfrm>
              <a:custGeom>
                <a:avLst/>
                <a:gdLst>
                  <a:gd name="connsiteX0" fmla="*/ 164493 w 248408"/>
                  <a:gd name="connsiteY0" fmla="*/ 549693 h 551508"/>
                  <a:gd name="connsiteX1" fmla="*/ 183162 w 248408"/>
                  <a:gd name="connsiteY1" fmla="*/ 544359 h 551508"/>
                  <a:gd name="connsiteX2" fmla="*/ 248409 w 248408"/>
                  <a:gd name="connsiteY2" fmla="*/ 275754 h 551508"/>
                  <a:gd name="connsiteX3" fmla="*/ 183162 w 248408"/>
                  <a:gd name="connsiteY3" fmla="*/ 7149 h 551508"/>
                  <a:gd name="connsiteX4" fmla="*/ 164493 w 248408"/>
                  <a:gd name="connsiteY4" fmla="*/ 1815 h 551508"/>
                  <a:gd name="connsiteX5" fmla="*/ 6664 w 248408"/>
                  <a:gd name="connsiteY5" fmla="*/ 92969 h 551508"/>
                  <a:gd name="connsiteX6" fmla="*/ 1425 w 248408"/>
                  <a:gd name="connsiteY6" fmla="*/ 110686 h 551508"/>
                  <a:gd name="connsiteX7" fmla="*/ 39621 w 248408"/>
                  <a:gd name="connsiteY7" fmla="*/ 275754 h 551508"/>
                  <a:gd name="connsiteX8" fmla="*/ 1425 w 248408"/>
                  <a:gd name="connsiteY8" fmla="*/ 440822 h 551508"/>
                  <a:gd name="connsiteX9" fmla="*/ 6664 w 248408"/>
                  <a:gd name="connsiteY9" fmla="*/ 458539 h 551508"/>
                  <a:gd name="connsiteX10" fmla="*/ 164493 w 248408"/>
                  <a:gd name="connsiteY10" fmla="*/ 549693 h 551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8408" h="551508">
                    <a:moveTo>
                      <a:pt x="164493" y="549693"/>
                    </a:moveTo>
                    <a:cubicBezTo>
                      <a:pt x="171065" y="553503"/>
                      <a:pt x="179638" y="551122"/>
                      <a:pt x="183162" y="544359"/>
                    </a:cubicBezTo>
                    <a:cubicBezTo>
                      <a:pt x="224882" y="463968"/>
                      <a:pt x="248409" y="372623"/>
                      <a:pt x="248409" y="275754"/>
                    </a:cubicBezTo>
                    <a:cubicBezTo>
                      <a:pt x="248409" y="178885"/>
                      <a:pt x="224787" y="87540"/>
                      <a:pt x="183162" y="7149"/>
                    </a:cubicBezTo>
                    <a:cubicBezTo>
                      <a:pt x="179638" y="386"/>
                      <a:pt x="171065" y="-1995"/>
                      <a:pt x="164493" y="1815"/>
                    </a:cubicBezTo>
                    <a:lnTo>
                      <a:pt x="6664" y="92969"/>
                    </a:lnTo>
                    <a:cubicBezTo>
                      <a:pt x="473" y="96589"/>
                      <a:pt x="-1718" y="104304"/>
                      <a:pt x="1425" y="110686"/>
                    </a:cubicBezTo>
                    <a:cubicBezTo>
                      <a:pt x="25809" y="160502"/>
                      <a:pt x="39621" y="216509"/>
                      <a:pt x="39621" y="275754"/>
                    </a:cubicBezTo>
                    <a:cubicBezTo>
                      <a:pt x="39621" y="335000"/>
                      <a:pt x="25905" y="391007"/>
                      <a:pt x="1425" y="440822"/>
                    </a:cubicBezTo>
                    <a:cubicBezTo>
                      <a:pt x="-1718" y="447204"/>
                      <a:pt x="473" y="455015"/>
                      <a:pt x="6664" y="458539"/>
                    </a:cubicBezTo>
                    <a:lnTo>
                      <a:pt x="164493" y="549693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3" name="Forma libre 62">
                <a:extLst>
                  <a:ext uri="{FF2B5EF4-FFF2-40B4-BE49-F238E27FC236}">
                    <a16:creationId xmlns:a16="http://schemas.microsoft.com/office/drawing/2014/main" id="{BE40E2DA-32DB-7C5A-4897-1FA6B93E44DE}"/>
                  </a:ext>
                </a:extLst>
              </p:cNvPr>
              <p:cNvSpPr/>
              <p:nvPr/>
            </p:nvSpPr>
            <p:spPr>
              <a:xfrm>
                <a:off x="4552854" y="1943845"/>
                <a:ext cx="481317" cy="380159"/>
              </a:xfrm>
              <a:custGeom>
                <a:avLst/>
                <a:gdLst>
                  <a:gd name="connsiteX0" fmla="*/ 12668 w 481317"/>
                  <a:gd name="connsiteY0" fmla="*/ 208995 h 380159"/>
                  <a:gd name="connsiteX1" fmla="*/ 298609 w 481317"/>
                  <a:gd name="connsiteY1" fmla="*/ 374063 h 380159"/>
                  <a:gd name="connsiteX2" fmla="*/ 316611 w 481317"/>
                  <a:gd name="connsiteY2" fmla="*/ 378349 h 380159"/>
                  <a:gd name="connsiteX3" fmla="*/ 474535 w 481317"/>
                  <a:gd name="connsiteY3" fmla="*/ 287195 h 380159"/>
                  <a:gd name="connsiteX4" fmla="*/ 479203 w 481317"/>
                  <a:gd name="connsiteY4" fmla="*/ 268336 h 380159"/>
                  <a:gd name="connsiteX5" fmla="*/ 14002 w 481317"/>
                  <a:gd name="connsiteY5" fmla="*/ 16 h 380159"/>
                  <a:gd name="connsiteX6" fmla="*/ 0 w 481317"/>
                  <a:gd name="connsiteY6" fmla="*/ 13542 h 380159"/>
                  <a:gd name="connsiteX7" fmla="*/ 0 w 481317"/>
                  <a:gd name="connsiteY7" fmla="*/ 195660 h 380159"/>
                  <a:gd name="connsiteX8" fmla="*/ 12668 w 481317"/>
                  <a:gd name="connsiteY8" fmla="*/ 208995 h 380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317" h="380159">
                    <a:moveTo>
                      <a:pt x="12668" y="208995"/>
                    </a:moveTo>
                    <a:cubicBezTo>
                      <a:pt x="131731" y="217091"/>
                      <a:pt x="235553" y="280623"/>
                      <a:pt x="298609" y="374063"/>
                    </a:cubicBezTo>
                    <a:cubicBezTo>
                      <a:pt x="302609" y="379969"/>
                      <a:pt x="310420" y="381969"/>
                      <a:pt x="316611" y="378349"/>
                    </a:cubicBezTo>
                    <a:lnTo>
                      <a:pt x="474535" y="287195"/>
                    </a:lnTo>
                    <a:cubicBezTo>
                      <a:pt x="481108" y="283385"/>
                      <a:pt x="483394" y="274717"/>
                      <a:pt x="479203" y="268336"/>
                    </a:cubicBezTo>
                    <a:cubicBezTo>
                      <a:pt x="379857" y="113554"/>
                      <a:pt x="209359" y="8875"/>
                      <a:pt x="14002" y="16"/>
                    </a:cubicBezTo>
                    <a:cubicBezTo>
                      <a:pt x="6382" y="-365"/>
                      <a:pt x="0" y="5922"/>
                      <a:pt x="0" y="13542"/>
                    </a:cubicBezTo>
                    <a:lnTo>
                      <a:pt x="0" y="195660"/>
                    </a:lnTo>
                    <a:cubicBezTo>
                      <a:pt x="0" y="202708"/>
                      <a:pt x="5525" y="208519"/>
                      <a:pt x="12668" y="208995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4" name="Forma libre 63">
                <a:extLst>
                  <a:ext uri="{FF2B5EF4-FFF2-40B4-BE49-F238E27FC236}">
                    <a16:creationId xmlns:a16="http://schemas.microsoft.com/office/drawing/2014/main" id="{97A0E13E-B30E-23EB-09FB-EBABE9B72A5E}"/>
                  </a:ext>
                </a:extLst>
              </p:cNvPr>
              <p:cNvSpPr/>
              <p:nvPr/>
            </p:nvSpPr>
            <p:spPr>
              <a:xfrm>
                <a:off x="4045248" y="2731293"/>
                <a:ext cx="481318" cy="380159"/>
              </a:xfrm>
              <a:custGeom>
                <a:avLst/>
                <a:gdLst>
                  <a:gd name="connsiteX0" fmla="*/ 468649 w 481318"/>
                  <a:gd name="connsiteY0" fmla="*/ 171165 h 380159"/>
                  <a:gd name="connsiteX1" fmla="*/ 182709 w 481318"/>
                  <a:gd name="connsiteY1" fmla="*/ 6097 h 380159"/>
                  <a:gd name="connsiteX2" fmla="*/ 164707 w 481318"/>
                  <a:gd name="connsiteY2" fmla="*/ 1810 h 380159"/>
                  <a:gd name="connsiteX3" fmla="*/ 6782 w 481318"/>
                  <a:gd name="connsiteY3" fmla="*/ 92965 h 380159"/>
                  <a:gd name="connsiteX4" fmla="*/ 2115 w 481318"/>
                  <a:gd name="connsiteY4" fmla="*/ 111824 h 380159"/>
                  <a:gd name="connsiteX5" fmla="*/ 467316 w 481318"/>
                  <a:gd name="connsiteY5" fmla="*/ 380143 h 380159"/>
                  <a:gd name="connsiteX6" fmla="*/ 481318 w 481318"/>
                  <a:gd name="connsiteY6" fmla="*/ 366618 h 380159"/>
                  <a:gd name="connsiteX7" fmla="*/ 481318 w 481318"/>
                  <a:gd name="connsiteY7" fmla="*/ 184500 h 380159"/>
                  <a:gd name="connsiteX8" fmla="*/ 468649 w 481318"/>
                  <a:gd name="connsiteY8" fmla="*/ 171165 h 380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318" h="380159">
                    <a:moveTo>
                      <a:pt x="468649" y="171165"/>
                    </a:moveTo>
                    <a:cubicBezTo>
                      <a:pt x="349587" y="163069"/>
                      <a:pt x="245764" y="99537"/>
                      <a:pt x="182709" y="6097"/>
                    </a:cubicBezTo>
                    <a:cubicBezTo>
                      <a:pt x="178709" y="191"/>
                      <a:pt x="170898" y="-1809"/>
                      <a:pt x="164707" y="1810"/>
                    </a:cubicBezTo>
                    <a:lnTo>
                      <a:pt x="6782" y="92965"/>
                    </a:lnTo>
                    <a:cubicBezTo>
                      <a:pt x="210" y="96775"/>
                      <a:pt x="-2076" y="105442"/>
                      <a:pt x="2115" y="111824"/>
                    </a:cubicBezTo>
                    <a:cubicBezTo>
                      <a:pt x="101461" y="266605"/>
                      <a:pt x="271958" y="371285"/>
                      <a:pt x="467316" y="380143"/>
                    </a:cubicBezTo>
                    <a:cubicBezTo>
                      <a:pt x="474936" y="380525"/>
                      <a:pt x="481318" y="374238"/>
                      <a:pt x="481318" y="366618"/>
                    </a:cubicBezTo>
                    <a:lnTo>
                      <a:pt x="481318" y="184500"/>
                    </a:lnTo>
                    <a:cubicBezTo>
                      <a:pt x="481413" y="177356"/>
                      <a:pt x="475793" y="171641"/>
                      <a:pt x="468649" y="17116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5" name="Forma libre 64">
                <a:extLst>
                  <a:ext uri="{FF2B5EF4-FFF2-40B4-BE49-F238E27FC236}">
                    <a16:creationId xmlns:a16="http://schemas.microsoft.com/office/drawing/2014/main" id="{FBCEB61A-5DA2-E7B2-D558-4798BD49F06B}"/>
                  </a:ext>
                </a:extLst>
              </p:cNvPr>
              <p:cNvSpPr/>
              <p:nvPr/>
            </p:nvSpPr>
            <p:spPr>
              <a:xfrm>
                <a:off x="3955161" y="2251895"/>
                <a:ext cx="248408" cy="551508"/>
              </a:xfrm>
              <a:custGeom>
                <a:avLst/>
                <a:gdLst>
                  <a:gd name="connsiteX0" fmla="*/ 241744 w 248408"/>
                  <a:gd name="connsiteY0" fmla="*/ 458539 h 551508"/>
                  <a:gd name="connsiteX1" fmla="*/ 246983 w 248408"/>
                  <a:gd name="connsiteY1" fmla="*/ 440822 h 551508"/>
                  <a:gd name="connsiteX2" fmla="*/ 208788 w 248408"/>
                  <a:gd name="connsiteY2" fmla="*/ 275754 h 551508"/>
                  <a:gd name="connsiteX3" fmla="*/ 246983 w 248408"/>
                  <a:gd name="connsiteY3" fmla="*/ 110686 h 551508"/>
                  <a:gd name="connsiteX4" fmla="*/ 241744 w 248408"/>
                  <a:gd name="connsiteY4" fmla="*/ 92969 h 551508"/>
                  <a:gd name="connsiteX5" fmla="*/ 83915 w 248408"/>
                  <a:gd name="connsiteY5" fmla="*/ 1815 h 551508"/>
                  <a:gd name="connsiteX6" fmla="*/ 65246 w 248408"/>
                  <a:gd name="connsiteY6" fmla="*/ 7149 h 551508"/>
                  <a:gd name="connsiteX7" fmla="*/ 0 w 248408"/>
                  <a:gd name="connsiteY7" fmla="*/ 275754 h 551508"/>
                  <a:gd name="connsiteX8" fmla="*/ 65246 w 248408"/>
                  <a:gd name="connsiteY8" fmla="*/ 544359 h 551508"/>
                  <a:gd name="connsiteX9" fmla="*/ 83915 w 248408"/>
                  <a:gd name="connsiteY9" fmla="*/ 549693 h 551508"/>
                  <a:gd name="connsiteX10" fmla="*/ 241744 w 248408"/>
                  <a:gd name="connsiteY10" fmla="*/ 458539 h 551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8408" h="551508">
                    <a:moveTo>
                      <a:pt x="241744" y="458539"/>
                    </a:moveTo>
                    <a:cubicBezTo>
                      <a:pt x="247936" y="454919"/>
                      <a:pt x="250126" y="447204"/>
                      <a:pt x="246983" y="440822"/>
                    </a:cubicBezTo>
                    <a:cubicBezTo>
                      <a:pt x="222599" y="391007"/>
                      <a:pt x="208788" y="335000"/>
                      <a:pt x="208788" y="275754"/>
                    </a:cubicBezTo>
                    <a:cubicBezTo>
                      <a:pt x="208788" y="216509"/>
                      <a:pt x="222504" y="160502"/>
                      <a:pt x="246983" y="110686"/>
                    </a:cubicBezTo>
                    <a:cubicBezTo>
                      <a:pt x="250126" y="104304"/>
                      <a:pt x="247936" y="96494"/>
                      <a:pt x="241744" y="92969"/>
                    </a:cubicBezTo>
                    <a:lnTo>
                      <a:pt x="83915" y="1815"/>
                    </a:lnTo>
                    <a:cubicBezTo>
                      <a:pt x="77343" y="-1995"/>
                      <a:pt x="68771" y="386"/>
                      <a:pt x="65246" y="7149"/>
                    </a:cubicBezTo>
                    <a:cubicBezTo>
                      <a:pt x="23527" y="87540"/>
                      <a:pt x="0" y="178885"/>
                      <a:pt x="0" y="275754"/>
                    </a:cubicBezTo>
                    <a:cubicBezTo>
                      <a:pt x="0" y="372623"/>
                      <a:pt x="23622" y="463968"/>
                      <a:pt x="65246" y="544359"/>
                    </a:cubicBezTo>
                    <a:cubicBezTo>
                      <a:pt x="68771" y="551122"/>
                      <a:pt x="77343" y="553503"/>
                      <a:pt x="83915" y="549693"/>
                    </a:cubicBezTo>
                    <a:lnTo>
                      <a:pt x="241744" y="458539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45" name="Rectángulo 44">
              <a:extLst>
                <a:ext uri="{FF2B5EF4-FFF2-40B4-BE49-F238E27FC236}">
                  <a16:creationId xmlns:a16="http://schemas.microsoft.com/office/drawing/2014/main" id="{68A62106-416A-D758-81C9-C482FD2E3FA8}"/>
                </a:ext>
              </a:extLst>
            </p:cNvPr>
            <p:cNvSpPr/>
            <p:nvPr/>
          </p:nvSpPr>
          <p:spPr>
            <a:xfrm>
              <a:off x="1492873" y="701273"/>
              <a:ext cx="1568454" cy="30909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ts val="2800"/>
                </a:lnSpc>
              </a:pPr>
              <a:r>
                <a:rPr lang="en-US" sz="2500" b="0" i="0" spc="-60" noProof="1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  <a:t>Nuevos</a:t>
              </a:r>
              <a:br>
                <a:rPr lang="en-US" sz="2500" b="0" i="0" spc="-60" noProof="1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</a:br>
              <a:r>
                <a:rPr lang="en-US" sz="2500" b="0" i="0" spc="-60" noProof="1">
                  <a:solidFill>
                    <a:schemeClr val="bg2"/>
                  </a:solidFill>
                  <a:latin typeface="Pulso" pitchFamily="2" charset="0"/>
                  <a:ea typeface="Inter Light BETA" panose="020B0402030000000004" pitchFamily="34" charset="0"/>
                </a:rPr>
                <a:t>Negocios Digital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3328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CEB5DB-3512-BCCA-7048-95C7C5F0BB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Rectángulo: esquinas redondeadas 13">
            <a:extLst>
              <a:ext uri="{FF2B5EF4-FFF2-40B4-BE49-F238E27FC236}">
                <a16:creationId xmlns:a16="http://schemas.microsoft.com/office/drawing/2014/main" id="{117A1CB5-9E93-F23D-A309-9A6A0BFD37C3}"/>
              </a:ext>
            </a:extLst>
          </p:cNvPr>
          <p:cNvSpPr>
            <a:spLocks/>
          </p:cNvSpPr>
          <p:nvPr/>
        </p:nvSpPr>
        <p:spPr bwMode="auto">
          <a:xfrm>
            <a:off x="748468" y="903420"/>
            <a:ext cx="1733036" cy="3229080"/>
          </a:xfrm>
          <a:prstGeom prst="roundRect">
            <a:avLst>
              <a:gd name="adj" fmla="val 3864"/>
            </a:avLst>
          </a:prstGeom>
          <a:gradFill>
            <a:gsLst>
              <a:gs pos="45000">
                <a:srgbClr val="FFFFFF"/>
              </a:gs>
              <a:gs pos="99000">
                <a:schemeClr val="bg2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02"/>
            <a:endParaRPr lang="es-AR" sz="1187">
              <a:solidFill>
                <a:srgbClr val="F0F0F0"/>
              </a:solidFill>
              <a:latin typeface="Pulso" pitchFamily="2" charset="0"/>
              <a:ea typeface="Roboto" panose="02000000000000000000" pitchFamily="2" charset="0"/>
            </a:endParaRPr>
          </a:p>
        </p:txBody>
      </p:sp>
      <p:sp>
        <p:nvSpPr>
          <p:cNvPr id="114" name="Rectángulo: esquinas redondeadas 13">
            <a:extLst>
              <a:ext uri="{FF2B5EF4-FFF2-40B4-BE49-F238E27FC236}">
                <a16:creationId xmlns:a16="http://schemas.microsoft.com/office/drawing/2014/main" id="{158376C4-C52F-BEB0-9C3E-DDC2DB6E4C1F}"/>
              </a:ext>
            </a:extLst>
          </p:cNvPr>
          <p:cNvSpPr>
            <a:spLocks/>
          </p:cNvSpPr>
          <p:nvPr/>
        </p:nvSpPr>
        <p:spPr bwMode="auto">
          <a:xfrm>
            <a:off x="2719811" y="903420"/>
            <a:ext cx="1733036" cy="3229080"/>
          </a:xfrm>
          <a:prstGeom prst="roundRect">
            <a:avLst>
              <a:gd name="adj" fmla="val 3864"/>
            </a:avLst>
          </a:prstGeom>
          <a:gradFill>
            <a:gsLst>
              <a:gs pos="45000">
                <a:srgbClr val="FFFFFF"/>
              </a:gs>
              <a:gs pos="99000">
                <a:schemeClr val="bg2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02"/>
            <a:endParaRPr lang="es-AR" sz="1187">
              <a:solidFill>
                <a:srgbClr val="F0F0F0"/>
              </a:solidFill>
              <a:latin typeface="Pulso" pitchFamily="2" charset="0"/>
              <a:ea typeface="Roboto" panose="02000000000000000000" pitchFamily="2" charset="0"/>
            </a:endParaRPr>
          </a:p>
        </p:txBody>
      </p:sp>
      <p:sp>
        <p:nvSpPr>
          <p:cNvPr id="115" name="Rectángulo: esquinas redondeadas 13">
            <a:extLst>
              <a:ext uri="{FF2B5EF4-FFF2-40B4-BE49-F238E27FC236}">
                <a16:creationId xmlns:a16="http://schemas.microsoft.com/office/drawing/2014/main" id="{563BCB7F-CBFF-D148-F819-825F1E82F02E}"/>
              </a:ext>
            </a:extLst>
          </p:cNvPr>
          <p:cNvSpPr>
            <a:spLocks/>
          </p:cNvSpPr>
          <p:nvPr/>
        </p:nvSpPr>
        <p:spPr bwMode="auto">
          <a:xfrm>
            <a:off x="4691154" y="903420"/>
            <a:ext cx="1733036" cy="3229080"/>
          </a:xfrm>
          <a:prstGeom prst="roundRect">
            <a:avLst>
              <a:gd name="adj" fmla="val 3864"/>
            </a:avLst>
          </a:prstGeom>
          <a:gradFill>
            <a:gsLst>
              <a:gs pos="45000">
                <a:srgbClr val="FFFFFF"/>
              </a:gs>
              <a:gs pos="99000">
                <a:schemeClr val="bg2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02"/>
            <a:endParaRPr lang="es-AR" sz="1187">
              <a:solidFill>
                <a:srgbClr val="F0F0F0"/>
              </a:solidFill>
              <a:latin typeface="Pulso" pitchFamily="2" charset="0"/>
              <a:ea typeface="Roboto" panose="02000000000000000000" pitchFamily="2" charset="0"/>
            </a:endParaRPr>
          </a:p>
        </p:txBody>
      </p:sp>
      <p:sp>
        <p:nvSpPr>
          <p:cNvPr id="116" name="Rectángulo: esquinas redondeadas 13">
            <a:extLst>
              <a:ext uri="{FF2B5EF4-FFF2-40B4-BE49-F238E27FC236}">
                <a16:creationId xmlns:a16="http://schemas.microsoft.com/office/drawing/2014/main" id="{FF167A7C-0C56-6631-8255-792CD7463B6B}"/>
              </a:ext>
            </a:extLst>
          </p:cNvPr>
          <p:cNvSpPr>
            <a:spLocks/>
          </p:cNvSpPr>
          <p:nvPr/>
        </p:nvSpPr>
        <p:spPr bwMode="auto">
          <a:xfrm>
            <a:off x="6662497" y="903420"/>
            <a:ext cx="1733036" cy="3229080"/>
          </a:xfrm>
          <a:prstGeom prst="roundRect">
            <a:avLst>
              <a:gd name="adj" fmla="val 3864"/>
            </a:avLst>
          </a:prstGeom>
          <a:gradFill>
            <a:gsLst>
              <a:gs pos="45000">
                <a:srgbClr val="FFFFFF"/>
              </a:gs>
              <a:gs pos="99000">
                <a:schemeClr val="bg2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02"/>
            <a:endParaRPr lang="es-AR" sz="1187">
              <a:solidFill>
                <a:srgbClr val="F0F0F0"/>
              </a:solidFill>
              <a:latin typeface="Pulso" pitchFamily="2" charset="0"/>
              <a:ea typeface="Roboto" panose="02000000000000000000" pitchFamily="2" charset="0"/>
            </a:endParaRPr>
          </a:p>
        </p:txBody>
      </p:sp>
      <p:sp>
        <p:nvSpPr>
          <p:cNvPr id="35" name="Rectángulo redondeado 44">
            <a:extLst>
              <a:ext uri="{FF2B5EF4-FFF2-40B4-BE49-F238E27FC236}">
                <a16:creationId xmlns:a16="http://schemas.microsoft.com/office/drawing/2014/main" id="{83D0BA81-7661-2379-530E-FA695EB1BBBA}"/>
              </a:ext>
            </a:extLst>
          </p:cNvPr>
          <p:cNvSpPr/>
          <p:nvPr/>
        </p:nvSpPr>
        <p:spPr>
          <a:xfrm>
            <a:off x="1007486" y="3427606"/>
            <a:ext cx="1215000" cy="432516"/>
          </a:xfrm>
          <a:prstGeom prst="roundRect">
            <a:avLst>
              <a:gd name="adj" fmla="val 9073"/>
            </a:avLst>
          </a:prstGeom>
          <a:solidFill>
            <a:schemeClr val="tx2">
              <a:lumMod val="75000"/>
              <a:lumOff val="25000"/>
            </a:schemeClr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0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36" name="Marcador de texto 8">
            <a:extLst>
              <a:ext uri="{FF2B5EF4-FFF2-40B4-BE49-F238E27FC236}">
                <a16:creationId xmlns:a16="http://schemas.microsoft.com/office/drawing/2014/main" id="{11B4A805-A726-F0B7-1920-ADA00588124F}"/>
              </a:ext>
            </a:extLst>
          </p:cNvPr>
          <p:cNvSpPr txBox="1">
            <a:spLocks/>
          </p:cNvSpPr>
          <p:nvPr/>
        </p:nvSpPr>
        <p:spPr>
          <a:xfrm>
            <a:off x="1097053" y="3566920"/>
            <a:ext cx="1035867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AR" sz="1000" b="1">
                <a:solidFill>
                  <a:srgbClr val="FFFFFF"/>
                </a:solidFill>
                <a:latin typeface="Pulso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Escalar</a:t>
            </a:r>
          </a:p>
        </p:txBody>
      </p:sp>
      <p:sp>
        <p:nvSpPr>
          <p:cNvPr id="62" name="Marcador de texto 8">
            <a:extLst>
              <a:ext uri="{FF2B5EF4-FFF2-40B4-BE49-F238E27FC236}">
                <a16:creationId xmlns:a16="http://schemas.microsoft.com/office/drawing/2014/main" id="{1A4D74B3-7137-AE27-9DF3-AF12018354DB}"/>
              </a:ext>
            </a:extLst>
          </p:cNvPr>
          <p:cNvSpPr txBox="1">
            <a:spLocks/>
          </p:cNvSpPr>
          <p:nvPr/>
        </p:nvSpPr>
        <p:spPr>
          <a:xfrm>
            <a:off x="1169486" y="2583553"/>
            <a:ext cx="891000" cy="32316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</a:pPr>
            <a:r>
              <a:rPr lang="es-AR" sz="1050">
                <a:solidFill>
                  <a:schemeClr val="tx2">
                    <a:lumMod val="75000"/>
                    <a:lumOff val="25000"/>
                  </a:schemeClr>
                </a:solidFill>
                <a:latin typeface="Pulso Light" pitchFamily="2" charset="0"/>
                <a:ea typeface="Open Sans" pitchFamily="2" charset="0"/>
                <a:cs typeface="Open Sans" pitchFamily="2" charset="0"/>
              </a:rPr>
              <a:t>Grade de Madurez</a:t>
            </a:r>
          </a:p>
        </p:txBody>
      </p:sp>
      <p:cxnSp>
        <p:nvCxnSpPr>
          <p:cNvPr id="63" name="Conector recto 62">
            <a:extLst>
              <a:ext uri="{FF2B5EF4-FFF2-40B4-BE49-F238E27FC236}">
                <a16:creationId xmlns:a16="http://schemas.microsoft.com/office/drawing/2014/main" id="{4A517F53-F538-3393-D3CB-AE2CFC22F11A}"/>
              </a:ext>
            </a:extLst>
          </p:cNvPr>
          <p:cNvCxnSpPr>
            <a:cxnSpLocks/>
          </p:cNvCxnSpPr>
          <p:nvPr/>
        </p:nvCxnSpPr>
        <p:spPr>
          <a:xfrm>
            <a:off x="1614986" y="2984476"/>
            <a:ext cx="0" cy="324000"/>
          </a:xfrm>
          <a:prstGeom prst="line">
            <a:avLst/>
          </a:prstGeom>
          <a:ln w="15875" cap="rnd">
            <a:solidFill>
              <a:schemeClr val="tx2">
                <a:lumMod val="75000"/>
                <a:lumOff val="2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ángulo redondeado 50">
            <a:extLst>
              <a:ext uri="{FF2B5EF4-FFF2-40B4-BE49-F238E27FC236}">
                <a16:creationId xmlns:a16="http://schemas.microsoft.com/office/drawing/2014/main" id="{BDFC41F9-DF84-3AD6-D3AB-B1E04F6EBAF2}"/>
              </a:ext>
            </a:extLst>
          </p:cNvPr>
          <p:cNvSpPr/>
          <p:nvPr/>
        </p:nvSpPr>
        <p:spPr>
          <a:xfrm>
            <a:off x="2978829" y="3427606"/>
            <a:ext cx="1215000" cy="432516"/>
          </a:xfrm>
          <a:prstGeom prst="roundRect">
            <a:avLst>
              <a:gd name="adj" fmla="val 9073"/>
            </a:avLst>
          </a:prstGeom>
          <a:solidFill>
            <a:schemeClr val="tx2">
              <a:lumMod val="75000"/>
              <a:lumOff val="25000"/>
            </a:schemeClr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0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41" name="Marcador de texto 8">
            <a:extLst>
              <a:ext uri="{FF2B5EF4-FFF2-40B4-BE49-F238E27FC236}">
                <a16:creationId xmlns:a16="http://schemas.microsoft.com/office/drawing/2014/main" id="{9D40BB15-9947-F326-218F-DE153FBF00A8}"/>
              </a:ext>
            </a:extLst>
          </p:cNvPr>
          <p:cNvSpPr txBox="1">
            <a:spLocks/>
          </p:cNvSpPr>
          <p:nvPr/>
        </p:nvSpPr>
        <p:spPr>
          <a:xfrm>
            <a:off x="3068396" y="3566920"/>
            <a:ext cx="1035867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AR" sz="1000" b="1">
                <a:solidFill>
                  <a:srgbClr val="FFFFFF"/>
                </a:solidFill>
                <a:latin typeface="Pulso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cubar</a:t>
            </a:r>
          </a:p>
        </p:txBody>
      </p:sp>
      <p:sp>
        <p:nvSpPr>
          <p:cNvPr id="64" name="Marcador de texto 8">
            <a:extLst>
              <a:ext uri="{FF2B5EF4-FFF2-40B4-BE49-F238E27FC236}">
                <a16:creationId xmlns:a16="http://schemas.microsoft.com/office/drawing/2014/main" id="{E29C4C22-24EB-EF35-2698-B86DEE5A1B2D}"/>
              </a:ext>
            </a:extLst>
          </p:cNvPr>
          <p:cNvSpPr txBox="1">
            <a:spLocks/>
          </p:cNvSpPr>
          <p:nvPr/>
        </p:nvSpPr>
        <p:spPr>
          <a:xfrm>
            <a:off x="3140829" y="2583553"/>
            <a:ext cx="891000" cy="32316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</a:pPr>
            <a:r>
              <a:rPr lang="es-AR" sz="1050">
                <a:solidFill>
                  <a:schemeClr val="tx2">
                    <a:lumMod val="75000"/>
                    <a:lumOff val="25000"/>
                  </a:schemeClr>
                </a:solidFill>
                <a:latin typeface="Pulso Light" pitchFamily="2" charset="0"/>
                <a:ea typeface="Open Sans" pitchFamily="2" charset="0"/>
                <a:cs typeface="Open Sans" pitchFamily="2" charset="0"/>
              </a:rPr>
              <a:t>Grado de Madurez</a:t>
            </a:r>
          </a:p>
        </p:txBody>
      </p:sp>
      <p:cxnSp>
        <p:nvCxnSpPr>
          <p:cNvPr id="67" name="Conector recto 66">
            <a:extLst>
              <a:ext uri="{FF2B5EF4-FFF2-40B4-BE49-F238E27FC236}">
                <a16:creationId xmlns:a16="http://schemas.microsoft.com/office/drawing/2014/main" id="{A7AAC6A7-872D-8147-74A7-67E65B92B0DF}"/>
              </a:ext>
            </a:extLst>
          </p:cNvPr>
          <p:cNvCxnSpPr>
            <a:cxnSpLocks/>
          </p:cNvCxnSpPr>
          <p:nvPr/>
        </p:nvCxnSpPr>
        <p:spPr>
          <a:xfrm>
            <a:off x="3586329" y="2984476"/>
            <a:ext cx="0" cy="324000"/>
          </a:xfrm>
          <a:prstGeom prst="line">
            <a:avLst/>
          </a:prstGeom>
          <a:ln w="15875" cap="rnd">
            <a:solidFill>
              <a:schemeClr val="tx2">
                <a:lumMod val="75000"/>
                <a:lumOff val="2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ángulo redondeado 55">
            <a:extLst>
              <a:ext uri="{FF2B5EF4-FFF2-40B4-BE49-F238E27FC236}">
                <a16:creationId xmlns:a16="http://schemas.microsoft.com/office/drawing/2014/main" id="{B3D42D60-AE81-F999-91F5-B89F11759A40}"/>
              </a:ext>
            </a:extLst>
          </p:cNvPr>
          <p:cNvSpPr/>
          <p:nvPr/>
        </p:nvSpPr>
        <p:spPr>
          <a:xfrm>
            <a:off x="4950172" y="3427606"/>
            <a:ext cx="1215000" cy="432516"/>
          </a:xfrm>
          <a:prstGeom prst="roundRect">
            <a:avLst>
              <a:gd name="adj" fmla="val 9073"/>
            </a:avLst>
          </a:prstGeom>
          <a:solidFill>
            <a:schemeClr val="tx2">
              <a:lumMod val="75000"/>
              <a:lumOff val="25000"/>
            </a:schemeClr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0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45" name="Marcador de texto 8">
            <a:extLst>
              <a:ext uri="{FF2B5EF4-FFF2-40B4-BE49-F238E27FC236}">
                <a16:creationId xmlns:a16="http://schemas.microsoft.com/office/drawing/2014/main" id="{F33E0664-58AB-3445-32DC-F2EB6889908D}"/>
              </a:ext>
            </a:extLst>
          </p:cNvPr>
          <p:cNvSpPr txBox="1">
            <a:spLocks/>
          </p:cNvSpPr>
          <p:nvPr/>
        </p:nvSpPr>
        <p:spPr>
          <a:xfrm>
            <a:off x="5039739" y="3489976"/>
            <a:ext cx="1035867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AR" sz="1000" b="1">
                <a:solidFill>
                  <a:srgbClr val="FFFFFF"/>
                </a:solidFill>
                <a:latin typeface="Pulso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cubar /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AR" sz="1000" b="1">
                <a:solidFill>
                  <a:srgbClr val="FFFFFF"/>
                </a:solidFill>
                <a:latin typeface="Pulso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Escalar</a:t>
            </a:r>
          </a:p>
        </p:txBody>
      </p:sp>
      <p:sp>
        <p:nvSpPr>
          <p:cNvPr id="68" name="Marcador de texto 8">
            <a:extLst>
              <a:ext uri="{FF2B5EF4-FFF2-40B4-BE49-F238E27FC236}">
                <a16:creationId xmlns:a16="http://schemas.microsoft.com/office/drawing/2014/main" id="{80A25050-9218-8FB2-A488-1989BB3DF2BF}"/>
              </a:ext>
            </a:extLst>
          </p:cNvPr>
          <p:cNvSpPr txBox="1">
            <a:spLocks/>
          </p:cNvSpPr>
          <p:nvPr/>
        </p:nvSpPr>
        <p:spPr>
          <a:xfrm>
            <a:off x="5112172" y="2583553"/>
            <a:ext cx="891000" cy="32316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</a:pPr>
            <a:r>
              <a:rPr lang="es-AR" sz="1050">
                <a:solidFill>
                  <a:schemeClr val="tx2">
                    <a:lumMod val="75000"/>
                    <a:lumOff val="25000"/>
                  </a:schemeClr>
                </a:solidFill>
                <a:latin typeface="Pulso Light" pitchFamily="2" charset="0"/>
                <a:ea typeface="Open Sans" pitchFamily="2" charset="0"/>
                <a:cs typeface="Open Sans" pitchFamily="2" charset="0"/>
              </a:rPr>
              <a:t>Grado de Madurez</a:t>
            </a:r>
          </a:p>
        </p:txBody>
      </p:sp>
      <p:cxnSp>
        <p:nvCxnSpPr>
          <p:cNvPr id="100" name="Conector recto 99">
            <a:extLst>
              <a:ext uri="{FF2B5EF4-FFF2-40B4-BE49-F238E27FC236}">
                <a16:creationId xmlns:a16="http://schemas.microsoft.com/office/drawing/2014/main" id="{40273BAA-6D92-6E40-C4DC-7241E6E87E85}"/>
              </a:ext>
            </a:extLst>
          </p:cNvPr>
          <p:cNvCxnSpPr>
            <a:cxnSpLocks/>
          </p:cNvCxnSpPr>
          <p:nvPr/>
        </p:nvCxnSpPr>
        <p:spPr>
          <a:xfrm>
            <a:off x="5557672" y="2984476"/>
            <a:ext cx="0" cy="324000"/>
          </a:xfrm>
          <a:prstGeom prst="line">
            <a:avLst/>
          </a:prstGeom>
          <a:ln w="15875" cap="rnd">
            <a:solidFill>
              <a:schemeClr val="tx2">
                <a:lumMod val="75000"/>
                <a:lumOff val="2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ángulo redondeado 60">
            <a:extLst>
              <a:ext uri="{FF2B5EF4-FFF2-40B4-BE49-F238E27FC236}">
                <a16:creationId xmlns:a16="http://schemas.microsoft.com/office/drawing/2014/main" id="{91D524C5-2806-AD6D-2381-7B432F9AB704}"/>
              </a:ext>
            </a:extLst>
          </p:cNvPr>
          <p:cNvSpPr/>
          <p:nvPr/>
        </p:nvSpPr>
        <p:spPr>
          <a:xfrm>
            <a:off x="6921515" y="3427606"/>
            <a:ext cx="1215000" cy="432516"/>
          </a:xfrm>
          <a:prstGeom prst="roundRect">
            <a:avLst>
              <a:gd name="adj" fmla="val 9073"/>
            </a:avLst>
          </a:prstGeom>
          <a:solidFill>
            <a:schemeClr val="tx2">
              <a:lumMod val="75000"/>
              <a:lumOff val="25000"/>
            </a:schemeClr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0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49" name="Marcador de texto 8">
            <a:extLst>
              <a:ext uri="{FF2B5EF4-FFF2-40B4-BE49-F238E27FC236}">
                <a16:creationId xmlns:a16="http://schemas.microsoft.com/office/drawing/2014/main" id="{8E0017D8-9CB6-E609-6C0B-259250A89045}"/>
              </a:ext>
            </a:extLst>
          </p:cNvPr>
          <p:cNvSpPr txBox="1">
            <a:spLocks/>
          </p:cNvSpPr>
          <p:nvPr/>
        </p:nvSpPr>
        <p:spPr>
          <a:xfrm>
            <a:off x="7011082" y="3566920"/>
            <a:ext cx="1035867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AR" sz="1000" b="1">
                <a:solidFill>
                  <a:srgbClr val="FFFFFF"/>
                </a:solidFill>
                <a:latin typeface="Pulso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Explorar</a:t>
            </a:r>
          </a:p>
        </p:txBody>
      </p:sp>
      <p:sp>
        <p:nvSpPr>
          <p:cNvPr id="69" name="Marcador de texto 8">
            <a:extLst>
              <a:ext uri="{FF2B5EF4-FFF2-40B4-BE49-F238E27FC236}">
                <a16:creationId xmlns:a16="http://schemas.microsoft.com/office/drawing/2014/main" id="{3C59AC14-500D-F334-E1DB-B7B31488F38A}"/>
              </a:ext>
            </a:extLst>
          </p:cNvPr>
          <p:cNvSpPr txBox="1">
            <a:spLocks/>
          </p:cNvSpPr>
          <p:nvPr/>
        </p:nvSpPr>
        <p:spPr>
          <a:xfrm>
            <a:off x="7083515" y="2583553"/>
            <a:ext cx="891000" cy="32316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</a:pPr>
            <a:r>
              <a:rPr lang="es-AR" sz="1050">
                <a:solidFill>
                  <a:schemeClr val="tx2">
                    <a:lumMod val="75000"/>
                    <a:lumOff val="25000"/>
                  </a:schemeClr>
                </a:solidFill>
                <a:latin typeface="Pulso Light" pitchFamily="2" charset="0"/>
                <a:ea typeface="Open Sans" pitchFamily="2" charset="0"/>
                <a:cs typeface="Open Sans" pitchFamily="2" charset="0"/>
              </a:rPr>
              <a:t>Grado de Madurez</a:t>
            </a:r>
          </a:p>
        </p:txBody>
      </p:sp>
      <p:cxnSp>
        <p:nvCxnSpPr>
          <p:cNvPr id="104" name="Conector recto 103">
            <a:extLst>
              <a:ext uri="{FF2B5EF4-FFF2-40B4-BE49-F238E27FC236}">
                <a16:creationId xmlns:a16="http://schemas.microsoft.com/office/drawing/2014/main" id="{BF50487B-3129-3F0F-BC30-1471A62558E3}"/>
              </a:ext>
            </a:extLst>
          </p:cNvPr>
          <p:cNvCxnSpPr>
            <a:cxnSpLocks/>
          </p:cNvCxnSpPr>
          <p:nvPr/>
        </p:nvCxnSpPr>
        <p:spPr>
          <a:xfrm>
            <a:off x="7529015" y="2984476"/>
            <a:ext cx="0" cy="324000"/>
          </a:xfrm>
          <a:prstGeom prst="line">
            <a:avLst/>
          </a:prstGeom>
          <a:ln w="15875" cap="rnd">
            <a:solidFill>
              <a:schemeClr val="tx2">
                <a:lumMod val="75000"/>
                <a:lumOff val="2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0" name="Grupo 69">
            <a:extLst>
              <a:ext uri="{FF2B5EF4-FFF2-40B4-BE49-F238E27FC236}">
                <a16:creationId xmlns:a16="http://schemas.microsoft.com/office/drawing/2014/main" id="{D685F243-619C-7053-E875-B9F0637CA1A1}"/>
              </a:ext>
            </a:extLst>
          </p:cNvPr>
          <p:cNvGrpSpPr>
            <a:grpSpLocks noChangeAspect="1"/>
          </p:cNvGrpSpPr>
          <p:nvPr/>
        </p:nvGrpSpPr>
        <p:grpSpPr>
          <a:xfrm>
            <a:off x="4790720" y="1224645"/>
            <a:ext cx="1533895" cy="306858"/>
            <a:chOff x="5021556" y="714616"/>
            <a:chExt cx="1142947" cy="228648"/>
          </a:xfrm>
        </p:grpSpPr>
        <p:sp>
          <p:nvSpPr>
            <p:cNvPr id="42" name="Forma libre 41">
              <a:extLst>
                <a:ext uri="{FF2B5EF4-FFF2-40B4-BE49-F238E27FC236}">
                  <a16:creationId xmlns:a16="http://schemas.microsoft.com/office/drawing/2014/main" id="{C3806ACC-C00A-3F74-D899-46789C8D9AD9}"/>
                </a:ext>
              </a:extLst>
            </p:cNvPr>
            <p:cNvSpPr/>
            <p:nvPr/>
          </p:nvSpPr>
          <p:spPr>
            <a:xfrm>
              <a:off x="5529729" y="718561"/>
              <a:ext cx="630806" cy="220743"/>
            </a:xfrm>
            <a:custGeom>
              <a:avLst/>
              <a:gdLst>
                <a:gd name="connsiteX0" fmla="*/ 549253 w 630806"/>
                <a:gd name="connsiteY0" fmla="*/ 0 h 220743"/>
                <a:gd name="connsiteX1" fmla="*/ 630807 w 630806"/>
                <a:gd name="connsiteY1" fmla="*/ 81363 h 220743"/>
                <a:gd name="connsiteX2" fmla="*/ 630807 w 630806"/>
                <a:gd name="connsiteY2" fmla="*/ 139381 h 220743"/>
                <a:gd name="connsiteX3" fmla="*/ 549253 w 630806"/>
                <a:gd name="connsiteY3" fmla="*/ 220744 h 220743"/>
                <a:gd name="connsiteX4" fmla="*/ 81553 w 630806"/>
                <a:gd name="connsiteY4" fmla="*/ 220744 h 220743"/>
                <a:gd name="connsiteX5" fmla="*/ 0 w 630806"/>
                <a:gd name="connsiteY5" fmla="*/ 139381 h 220743"/>
                <a:gd name="connsiteX6" fmla="*/ 0 w 630806"/>
                <a:gd name="connsiteY6" fmla="*/ 81363 h 220743"/>
                <a:gd name="connsiteX7" fmla="*/ 81553 w 630806"/>
                <a:gd name="connsiteY7" fmla="*/ 0 h 220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0806" h="220743">
                  <a:moveTo>
                    <a:pt x="549253" y="0"/>
                  </a:moveTo>
                  <a:cubicBezTo>
                    <a:pt x="594294" y="0"/>
                    <a:pt x="630807" y="36428"/>
                    <a:pt x="630807" y="81363"/>
                  </a:cubicBezTo>
                  <a:lnTo>
                    <a:pt x="630807" y="139381"/>
                  </a:lnTo>
                  <a:cubicBezTo>
                    <a:pt x="630807" y="184316"/>
                    <a:pt x="594294" y="220744"/>
                    <a:pt x="549253" y="220744"/>
                  </a:cubicBezTo>
                  <a:lnTo>
                    <a:pt x="81553" y="220744"/>
                  </a:lnTo>
                  <a:cubicBezTo>
                    <a:pt x="36513" y="220744"/>
                    <a:pt x="0" y="184316"/>
                    <a:pt x="0" y="139381"/>
                  </a:cubicBezTo>
                  <a:lnTo>
                    <a:pt x="0" y="81363"/>
                  </a:lnTo>
                  <a:cubicBezTo>
                    <a:pt x="0" y="36428"/>
                    <a:pt x="36513" y="0"/>
                    <a:pt x="81553" y="0"/>
                  </a:cubicBezTo>
                  <a:close/>
                </a:path>
              </a:pathLst>
            </a:custGeom>
            <a:solidFill>
              <a:srgbClr val="03B7EB"/>
            </a:solidFill>
            <a:ln w="13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3" name="Forma libre 42">
              <a:extLst>
                <a:ext uri="{FF2B5EF4-FFF2-40B4-BE49-F238E27FC236}">
                  <a16:creationId xmlns:a16="http://schemas.microsoft.com/office/drawing/2014/main" id="{1D033EB7-BAF6-FE1F-6BC8-3F1E4672B8A9}"/>
                </a:ext>
              </a:extLst>
            </p:cNvPr>
            <p:cNvSpPr/>
            <p:nvPr/>
          </p:nvSpPr>
          <p:spPr>
            <a:xfrm>
              <a:off x="5021556" y="714616"/>
              <a:ext cx="1142947" cy="228648"/>
            </a:xfrm>
            <a:custGeom>
              <a:avLst/>
              <a:gdLst>
                <a:gd name="connsiteX0" fmla="*/ 1057413 w 1142947"/>
                <a:gd name="connsiteY0" fmla="*/ 228649 h 228648"/>
                <a:gd name="connsiteX1" fmla="*/ 85522 w 1142947"/>
                <a:gd name="connsiteY1" fmla="*/ 228649 h 228648"/>
                <a:gd name="connsiteX2" fmla="*/ 0 w 1142947"/>
                <a:gd name="connsiteY2" fmla="*/ 143326 h 228648"/>
                <a:gd name="connsiteX3" fmla="*/ 0 w 1142947"/>
                <a:gd name="connsiteY3" fmla="*/ 85322 h 228648"/>
                <a:gd name="connsiteX4" fmla="*/ 85522 w 1142947"/>
                <a:gd name="connsiteY4" fmla="*/ 0 h 228648"/>
                <a:gd name="connsiteX5" fmla="*/ 1057426 w 1142947"/>
                <a:gd name="connsiteY5" fmla="*/ 0 h 228648"/>
                <a:gd name="connsiteX6" fmla="*/ 1142948 w 1142947"/>
                <a:gd name="connsiteY6" fmla="*/ 85322 h 228648"/>
                <a:gd name="connsiteX7" fmla="*/ 1142948 w 1142947"/>
                <a:gd name="connsiteY7" fmla="*/ 143326 h 228648"/>
                <a:gd name="connsiteX8" fmla="*/ 1057426 w 1142947"/>
                <a:gd name="connsiteY8" fmla="*/ 228649 h 228648"/>
                <a:gd name="connsiteX9" fmla="*/ 85522 w 1142947"/>
                <a:gd name="connsiteY9" fmla="*/ 7892 h 228648"/>
                <a:gd name="connsiteX10" fmla="*/ 7910 w 1142947"/>
                <a:gd name="connsiteY10" fmla="*/ 85322 h 228648"/>
                <a:gd name="connsiteX11" fmla="*/ 7910 w 1142947"/>
                <a:gd name="connsiteY11" fmla="*/ 143326 h 228648"/>
                <a:gd name="connsiteX12" fmla="*/ 85522 w 1142947"/>
                <a:gd name="connsiteY12" fmla="*/ 220757 h 228648"/>
                <a:gd name="connsiteX13" fmla="*/ 1057426 w 1142947"/>
                <a:gd name="connsiteY13" fmla="*/ 220757 h 228648"/>
                <a:gd name="connsiteX14" fmla="*/ 1135038 w 1142947"/>
                <a:gd name="connsiteY14" fmla="*/ 143326 h 228648"/>
                <a:gd name="connsiteX15" fmla="*/ 1135038 w 1142947"/>
                <a:gd name="connsiteY15" fmla="*/ 85322 h 228648"/>
                <a:gd name="connsiteX16" fmla="*/ 1057426 w 1142947"/>
                <a:gd name="connsiteY16" fmla="*/ 7892 h 228648"/>
                <a:gd name="connsiteX17" fmla="*/ 85522 w 1142947"/>
                <a:gd name="connsiteY17" fmla="*/ 7892 h 22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42947" h="228648">
                  <a:moveTo>
                    <a:pt x="1057413" y="228649"/>
                  </a:moveTo>
                  <a:lnTo>
                    <a:pt x="85522" y="228649"/>
                  </a:lnTo>
                  <a:cubicBezTo>
                    <a:pt x="38364" y="228649"/>
                    <a:pt x="0" y="190374"/>
                    <a:pt x="0" y="143326"/>
                  </a:cubicBezTo>
                  <a:lnTo>
                    <a:pt x="0" y="85322"/>
                  </a:lnTo>
                  <a:cubicBezTo>
                    <a:pt x="0" y="38275"/>
                    <a:pt x="38364" y="0"/>
                    <a:pt x="85522" y="0"/>
                  </a:cubicBezTo>
                  <a:lnTo>
                    <a:pt x="1057426" y="0"/>
                  </a:lnTo>
                  <a:cubicBezTo>
                    <a:pt x="1104584" y="0"/>
                    <a:pt x="1142948" y="38275"/>
                    <a:pt x="1142948" y="85322"/>
                  </a:cubicBezTo>
                  <a:lnTo>
                    <a:pt x="1142948" y="143326"/>
                  </a:lnTo>
                  <a:cubicBezTo>
                    <a:pt x="1142948" y="190374"/>
                    <a:pt x="1104584" y="228649"/>
                    <a:pt x="1057426" y="228649"/>
                  </a:cubicBezTo>
                  <a:close/>
                  <a:moveTo>
                    <a:pt x="85522" y="7892"/>
                  </a:moveTo>
                  <a:cubicBezTo>
                    <a:pt x="42728" y="7892"/>
                    <a:pt x="7910" y="42628"/>
                    <a:pt x="7910" y="85322"/>
                  </a:cubicBezTo>
                  <a:lnTo>
                    <a:pt x="7910" y="143326"/>
                  </a:lnTo>
                  <a:cubicBezTo>
                    <a:pt x="7910" y="186021"/>
                    <a:pt x="42728" y="220757"/>
                    <a:pt x="85522" y="220757"/>
                  </a:cubicBezTo>
                  <a:lnTo>
                    <a:pt x="1057426" y="220757"/>
                  </a:lnTo>
                  <a:cubicBezTo>
                    <a:pt x="1100220" y="220757"/>
                    <a:pt x="1135038" y="186021"/>
                    <a:pt x="1135038" y="143326"/>
                  </a:cubicBezTo>
                  <a:lnTo>
                    <a:pt x="1135038" y="85322"/>
                  </a:lnTo>
                  <a:cubicBezTo>
                    <a:pt x="1135038" y="42628"/>
                    <a:pt x="1100220" y="7892"/>
                    <a:pt x="1057426" y="7892"/>
                  </a:cubicBezTo>
                  <a:lnTo>
                    <a:pt x="85522" y="7892"/>
                  </a:lnTo>
                  <a:close/>
                </a:path>
              </a:pathLst>
            </a:custGeom>
            <a:solidFill>
              <a:srgbClr val="231F20"/>
            </a:solidFill>
            <a:ln w="13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grpSp>
          <p:nvGrpSpPr>
            <p:cNvPr id="46" name="Gráfico 4">
              <a:extLst>
                <a:ext uri="{FF2B5EF4-FFF2-40B4-BE49-F238E27FC236}">
                  <a16:creationId xmlns:a16="http://schemas.microsoft.com/office/drawing/2014/main" id="{E00CFCB0-2343-3756-DB2C-0057CD7091B2}"/>
                </a:ext>
              </a:extLst>
            </p:cNvPr>
            <p:cNvGrpSpPr/>
            <p:nvPr/>
          </p:nvGrpSpPr>
          <p:grpSpPr>
            <a:xfrm>
              <a:off x="5587170" y="771212"/>
              <a:ext cx="514580" cy="117770"/>
              <a:chOff x="5587170" y="771212"/>
              <a:chExt cx="514580" cy="117770"/>
            </a:xfrm>
            <a:solidFill>
              <a:srgbClr val="FFFFFF"/>
            </a:solidFill>
          </p:grpSpPr>
          <p:sp>
            <p:nvSpPr>
              <p:cNvPr id="47" name="Forma libre 46">
                <a:extLst>
                  <a:ext uri="{FF2B5EF4-FFF2-40B4-BE49-F238E27FC236}">
                    <a16:creationId xmlns:a16="http://schemas.microsoft.com/office/drawing/2014/main" id="{285A6085-247C-7BE1-00D7-4F655FBF8E66}"/>
                  </a:ext>
                </a:extLst>
              </p:cNvPr>
              <p:cNvSpPr/>
              <p:nvPr/>
            </p:nvSpPr>
            <p:spPr>
              <a:xfrm>
                <a:off x="5662844" y="794361"/>
                <a:ext cx="65693" cy="72024"/>
              </a:xfrm>
              <a:custGeom>
                <a:avLst/>
                <a:gdLst>
                  <a:gd name="connsiteX0" fmla="*/ 34040 w 65693"/>
                  <a:gd name="connsiteY0" fmla="*/ 0 h 72024"/>
                  <a:gd name="connsiteX1" fmla="*/ 9861 w 65693"/>
                  <a:gd name="connsiteY1" fmla="*/ 10272 h 72024"/>
                  <a:gd name="connsiteX2" fmla="*/ 0 w 65693"/>
                  <a:gd name="connsiteY2" fmla="*/ 36118 h 72024"/>
                  <a:gd name="connsiteX3" fmla="*/ 9545 w 65693"/>
                  <a:gd name="connsiteY3" fmla="*/ 61858 h 72024"/>
                  <a:gd name="connsiteX4" fmla="*/ 35451 w 65693"/>
                  <a:gd name="connsiteY4" fmla="*/ 72025 h 72024"/>
                  <a:gd name="connsiteX5" fmla="*/ 51495 w 65693"/>
                  <a:gd name="connsiteY5" fmla="*/ 68566 h 72024"/>
                  <a:gd name="connsiteX6" fmla="*/ 64388 w 65693"/>
                  <a:gd name="connsiteY6" fmla="*/ 58504 h 72024"/>
                  <a:gd name="connsiteX7" fmla="*/ 64718 w 65693"/>
                  <a:gd name="connsiteY7" fmla="*/ 58070 h 72024"/>
                  <a:gd name="connsiteX8" fmla="*/ 56149 w 65693"/>
                  <a:gd name="connsiteY8" fmla="*/ 49415 h 72024"/>
                  <a:gd name="connsiteX9" fmla="*/ 55714 w 65693"/>
                  <a:gd name="connsiteY9" fmla="*/ 49954 h 72024"/>
                  <a:gd name="connsiteX10" fmla="*/ 36967 w 65693"/>
                  <a:gd name="connsiteY10" fmla="*/ 58385 h 72024"/>
                  <a:gd name="connsiteX11" fmla="*/ 15833 w 65693"/>
                  <a:gd name="connsiteY11" fmla="*/ 42168 h 72024"/>
                  <a:gd name="connsiteX12" fmla="*/ 65588 w 65693"/>
                  <a:gd name="connsiteY12" fmla="*/ 42168 h 72024"/>
                  <a:gd name="connsiteX13" fmla="*/ 65588 w 65693"/>
                  <a:gd name="connsiteY13" fmla="*/ 41629 h 72024"/>
                  <a:gd name="connsiteX14" fmla="*/ 65694 w 65693"/>
                  <a:gd name="connsiteY14" fmla="*/ 32658 h 72024"/>
                  <a:gd name="connsiteX15" fmla="*/ 57348 w 65693"/>
                  <a:gd name="connsiteY15" fmla="*/ 9733 h 72024"/>
                  <a:gd name="connsiteX16" fmla="*/ 34040 w 65693"/>
                  <a:gd name="connsiteY16" fmla="*/ 0 h 72024"/>
                  <a:gd name="connsiteX17" fmla="*/ 15609 w 65693"/>
                  <a:gd name="connsiteY17" fmla="*/ 30501 h 72024"/>
                  <a:gd name="connsiteX18" fmla="*/ 34251 w 65693"/>
                  <a:gd name="connsiteY18" fmla="*/ 14284 h 72024"/>
                  <a:gd name="connsiteX19" fmla="*/ 50836 w 65693"/>
                  <a:gd name="connsiteY19" fmla="*/ 30501 h 72024"/>
                  <a:gd name="connsiteX20" fmla="*/ 15609 w 65693"/>
                  <a:gd name="connsiteY20" fmla="*/ 30501 h 72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5693" h="72024">
                    <a:moveTo>
                      <a:pt x="34040" y="0"/>
                    </a:moveTo>
                    <a:cubicBezTo>
                      <a:pt x="24825" y="0"/>
                      <a:pt x="16268" y="3683"/>
                      <a:pt x="9861" y="10272"/>
                    </a:cubicBezTo>
                    <a:cubicBezTo>
                      <a:pt x="3467" y="16980"/>
                      <a:pt x="0" y="26174"/>
                      <a:pt x="0" y="36118"/>
                    </a:cubicBezTo>
                    <a:cubicBezTo>
                      <a:pt x="0" y="46061"/>
                      <a:pt x="3256" y="55373"/>
                      <a:pt x="9545" y="61858"/>
                    </a:cubicBezTo>
                    <a:cubicBezTo>
                      <a:pt x="15939" y="68566"/>
                      <a:pt x="24943" y="72025"/>
                      <a:pt x="35451" y="72025"/>
                    </a:cubicBezTo>
                    <a:cubicBezTo>
                      <a:pt x="40974" y="72025"/>
                      <a:pt x="46512" y="70841"/>
                      <a:pt x="51495" y="68566"/>
                    </a:cubicBezTo>
                    <a:cubicBezTo>
                      <a:pt x="56584" y="66185"/>
                      <a:pt x="60921" y="62831"/>
                      <a:pt x="64388" y="58504"/>
                    </a:cubicBezTo>
                    <a:lnTo>
                      <a:pt x="64718" y="58070"/>
                    </a:lnTo>
                    <a:lnTo>
                      <a:pt x="56149" y="49415"/>
                    </a:lnTo>
                    <a:lnTo>
                      <a:pt x="55714" y="49954"/>
                    </a:lnTo>
                    <a:cubicBezTo>
                      <a:pt x="51047" y="55360"/>
                      <a:pt x="44218" y="58385"/>
                      <a:pt x="36967" y="58385"/>
                    </a:cubicBezTo>
                    <a:cubicBezTo>
                      <a:pt x="24390" y="58385"/>
                      <a:pt x="17455" y="53085"/>
                      <a:pt x="15833" y="42168"/>
                    </a:cubicBezTo>
                    <a:lnTo>
                      <a:pt x="65588" y="42168"/>
                    </a:lnTo>
                    <a:lnTo>
                      <a:pt x="65588" y="41629"/>
                    </a:lnTo>
                    <a:cubicBezTo>
                      <a:pt x="65694" y="36867"/>
                      <a:pt x="65694" y="35144"/>
                      <a:pt x="65694" y="32658"/>
                    </a:cubicBezTo>
                    <a:cubicBezTo>
                      <a:pt x="65694" y="23899"/>
                      <a:pt x="62767" y="15783"/>
                      <a:pt x="57348" y="9733"/>
                    </a:cubicBezTo>
                    <a:cubicBezTo>
                      <a:pt x="51495" y="3354"/>
                      <a:pt x="43479" y="0"/>
                      <a:pt x="34040" y="0"/>
                    </a:cubicBezTo>
                    <a:close/>
                    <a:moveTo>
                      <a:pt x="15609" y="30501"/>
                    </a:moveTo>
                    <a:cubicBezTo>
                      <a:pt x="17125" y="19585"/>
                      <a:pt x="23309" y="14284"/>
                      <a:pt x="34251" y="14284"/>
                    </a:cubicBezTo>
                    <a:cubicBezTo>
                      <a:pt x="43677" y="14284"/>
                      <a:pt x="50295" y="20768"/>
                      <a:pt x="50836" y="30501"/>
                    </a:cubicBezTo>
                    <a:lnTo>
                      <a:pt x="15609" y="30501"/>
                    </a:lnTo>
                    <a:close/>
                  </a:path>
                </a:pathLst>
              </a:custGeom>
              <a:solidFill>
                <a:srgbClr val="FFFFFF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0" name="Forma libre 49">
                <a:extLst>
                  <a:ext uri="{FF2B5EF4-FFF2-40B4-BE49-F238E27FC236}">
                    <a16:creationId xmlns:a16="http://schemas.microsoft.com/office/drawing/2014/main" id="{667959D1-4C5B-7143-2826-9A96B56664C7}"/>
                  </a:ext>
                </a:extLst>
              </p:cNvPr>
              <p:cNvSpPr/>
              <p:nvPr/>
            </p:nvSpPr>
            <p:spPr>
              <a:xfrm>
                <a:off x="5846253" y="794361"/>
                <a:ext cx="72193" cy="72024"/>
              </a:xfrm>
              <a:custGeom>
                <a:avLst/>
                <a:gdLst>
                  <a:gd name="connsiteX0" fmla="*/ 36097 w 72193"/>
                  <a:gd name="connsiteY0" fmla="*/ 0 h 72024"/>
                  <a:gd name="connsiteX1" fmla="*/ 0 w 72193"/>
                  <a:gd name="connsiteY1" fmla="*/ 36012 h 72024"/>
                  <a:gd name="connsiteX2" fmla="*/ 36097 w 72193"/>
                  <a:gd name="connsiteY2" fmla="*/ 72025 h 72024"/>
                  <a:gd name="connsiteX3" fmla="*/ 72193 w 72193"/>
                  <a:gd name="connsiteY3" fmla="*/ 36012 h 72024"/>
                  <a:gd name="connsiteX4" fmla="*/ 36097 w 72193"/>
                  <a:gd name="connsiteY4" fmla="*/ 0 h 72024"/>
                  <a:gd name="connsiteX5" fmla="*/ 36097 w 72193"/>
                  <a:gd name="connsiteY5" fmla="*/ 57754 h 72024"/>
                  <a:gd name="connsiteX6" fmla="*/ 14304 w 72193"/>
                  <a:gd name="connsiteY6" fmla="*/ 36012 h 72024"/>
                  <a:gd name="connsiteX7" fmla="*/ 36097 w 72193"/>
                  <a:gd name="connsiteY7" fmla="*/ 14271 h 72024"/>
                  <a:gd name="connsiteX8" fmla="*/ 57889 w 72193"/>
                  <a:gd name="connsiteY8" fmla="*/ 36012 h 72024"/>
                  <a:gd name="connsiteX9" fmla="*/ 36097 w 72193"/>
                  <a:gd name="connsiteY9" fmla="*/ 57754 h 72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2193" h="72024">
                    <a:moveTo>
                      <a:pt x="36097" y="0"/>
                    </a:moveTo>
                    <a:cubicBezTo>
                      <a:pt x="16150" y="0"/>
                      <a:pt x="0" y="16217"/>
                      <a:pt x="0" y="36012"/>
                    </a:cubicBezTo>
                    <a:cubicBezTo>
                      <a:pt x="0" y="55807"/>
                      <a:pt x="16255" y="72025"/>
                      <a:pt x="36097" y="72025"/>
                    </a:cubicBezTo>
                    <a:cubicBezTo>
                      <a:pt x="55938" y="72025"/>
                      <a:pt x="72193" y="55807"/>
                      <a:pt x="72193" y="36012"/>
                    </a:cubicBezTo>
                    <a:cubicBezTo>
                      <a:pt x="72193" y="16217"/>
                      <a:pt x="56043" y="0"/>
                      <a:pt x="36097" y="0"/>
                    </a:cubicBezTo>
                    <a:close/>
                    <a:moveTo>
                      <a:pt x="36097" y="57754"/>
                    </a:moveTo>
                    <a:cubicBezTo>
                      <a:pt x="24060" y="57754"/>
                      <a:pt x="14304" y="48021"/>
                      <a:pt x="14304" y="36012"/>
                    </a:cubicBezTo>
                    <a:cubicBezTo>
                      <a:pt x="14304" y="24004"/>
                      <a:pt x="24060" y="14271"/>
                      <a:pt x="36097" y="14271"/>
                    </a:cubicBezTo>
                    <a:cubicBezTo>
                      <a:pt x="48133" y="14271"/>
                      <a:pt x="57889" y="24004"/>
                      <a:pt x="57889" y="36012"/>
                    </a:cubicBezTo>
                    <a:cubicBezTo>
                      <a:pt x="57889" y="48021"/>
                      <a:pt x="48133" y="57754"/>
                      <a:pt x="36097" y="57754"/>
                    </a:cubicBezTo>
                    <a:close/>
                  </a:path>
                </a:pathLst>
              </a:custGeom>
              <a:solidFill>
                <a:srgbClr val="FFFFFF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1" name="Forma libre 50">
                <a:extLst>
                  <a:ext uri="{FF2B5EF4-FFF2-40B4-BE49-F238E27FC236}">
                    <a16:creationId xmlns:a16="http://schemas.microsoft.com/office/drawing/2014/main" id="{216BB04F-6239-3DFF-4D25-C22C71FD31E7}"/>
                  </a:ext>
                </a:extLst>
              </p:cNvPr>
              <p:cNvSpPr/>
              <p:nvPr/>
            </p:nvSpPr>
            <p:spPr>
              <a:xfrm>
                <a:off x="5587170" y="794124"/>
                <a:ext cx="66563" cy="94858"/>
              </a:xfrm>
              <a:custGeom>
                <a:avLst/>
                <a:gdLst>
                  <a:gd name="connsiteX0" fmla="*/ 35780 w 66563"/>
                  <a:gd name="connsiteY0" fmla="*/ 26 h 94858"/>
                  <a:gd name="connsiteX1" fmla="*/ 13012 w 66563"/>
                  <a:gd name="connsiteY1" fmla="*/ 14836 h 94858"/>
                  <a:gd name="connsiteX2" fmla="*/ 12472 w 66563"/>
                  <a:gd name="connsiteY2" fmla="*/ 14836 h 94858"/>
                  <a:gd name="connsiteX3" fmla="*/ 12142 w 66563"/>
                  <a:gd name="connsiteY3" fmla="*/ 1855 h 94858"/>
                  <a:gd name="connsiteX4" fmla="*/ 0 w 66563"/>
                  <a:gd name="connsiteY4" fmla="*/ 1855 h 94858"/>
                  <a:gd name="connsiteX5" fmla="*/ 0 w 66563"/>
                  <a:gd name="connsiteY5" fmla="*/ 94858 h 94858"/>
                  <a:gd name="connsiteX6" fmla="*/ 14528 w 66563"/>
                  <a:gd name="connsiteY6" fmla="*/ 94858 h 94858"/>
                  <a:gd name="connsiteX7" fmla="*/ 14528 w 66563"/>
                  <a:gd name="connsiteY7" fmla="*/ 57872 h 94858"/>
                  <a:gd name="connsiteX8" fmla="*/ 14963 w 66563"/>
                  <a:gd name="connsiteY8" fmla="*/ 57872 h 94858"/>
                  <a:gd name="connsiteX9" fmla="*/ 22333 w 66563"/>
                  <a:gd name="connsiteY9" fmla="*/ 67711 h 94858"/>
                  <a:gd name="connsiteX10" fmla="*/ 36426 w 66563"/>
                  <a:gd name="connsiteY10" fmla="*/ 72249 h 94858"/>
                  <a:gd name="connsiteX11" fmla="*/ 57889 w 66563"/>
                  <a:gd name="connsiteY11" fmla="*/ 62187 h 94858"/>
                  <a:gd name="connsiteX12" fmla="*/ 66564 w 66563"/>
                  <a:gd name="connsiteY12" fmla="*/ 36012 h 94858"/>
                  <a:gd name="connsiteX13" fmla="*/ 57889 w 66563"/>
                  <a:gd name="connsiteY13" fmla="*/ 10062 h 94858"/>
                  <a:gd name="connsiteX14" fmla="*/ 35780 w 66563"/>
                  <a:gd name="connsiteY14" fmla="*/ 0 h 94858"/>
                  <a:gd name="connsiteX15" fmla="*/ 33183 w 66563"/>
                  <a:gd name="connsiteY15" fmla="*/ 58530 h 94858"/>
                  <a:gd name="connsiteX16" fmla="*/ 19630 w 66563"/>
                  <a:gd name="connsiteY16" fmla="*/ 51927 h 94858"/>
                  <a:gd name="connsiteX17" fmla="*/ 14858 w 66563"/>
                  <a:gd name="connsiteY17" fmla="*/ 36354 h 94858"/>
                  <a:gd name="connsiteX18" fmla="*/ 19841 w 66563"/>
                  <a:gd name="connsiteY18" fmla="*/ 20453 h 94858"/>
                  <a:gd name="connsiteX19" fmla="*/ 33605 w 66563"/>
                  <a:gd name="connsiteY19" fmla="*/ 13850 h 94858"/>
                  <a:gd name="connsiteX20" fmla="*/ 46617 w 66563"/>
                  <a:gd name="connsiteY20" fmla="*/ 20124 h 94858"/>
                  <a:gd name="connsiteX21" fmla="*/ 51600 w 66563"/>
                  <a:gd name="connsiteY21" fmla="*/ 36460 h 94858"/>
                  <a:gd name="connsiteX22" fmla="*/ 33170 w 66563"/>
                  <a:gd name="connsiteY22" fmla="*/ 58517 h 94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6563" h="94858">
                    <a:moveTo>
                      <a:pt x="35780" y="26"/>
                    </a:moveTo>
                    <a:cubicBezTo>
                      <a:pt x="25378" y="26"/>
                      <a:pt x="17679" y="4998"/>
                      <a:pt x="13012" y="14836"/>
                    </a:cubicBezTo>
                    <a:lnTo>
                      <a:pt x="12472" y="14836"/>
                    </a:lnTo>
                    <a:lnTo>
                      <a:pt x="12142" y="1855"/>
                    </a:lnTo>
                    <a:lnTo>
                      <a:pt x="0" y="1855"/>
                    </a:lnTo>
                    <a:lnTo>
                      <a:pt x="0" y="94858"/>
                    </a:lnTo>
                    <a:lnTo>
                      <a:pt x="14528" y="94858"/>
                    </a:lnTo>
                    <a:lnTo>
                      <a:pt x="14528" y="57872"/>
                    </a:lnTo>
                    <a:lnTo>
                      <a:pt x="14963" y="57872"/>
                    </a:lnTo>
                    <a:cubicBezTo>
                      <a:pt x="16809" y="61976"/>
                      <a:pt x="19301" y="65330"/>
                      <a:pt x="22333" y="67711"/>
                    </a:cubicBezTo>
                    <a:cubicBezTo>
                      <a:pt x="26235" y="70736"/>
                      <a:pt x="31008" y="72249"/>
                      <a:pt x="36426" y="72249"/>
                    </a:cubicBezTo>
                    <a:cubicBezTo>
                      <a:pt x="44771" y="72249"/>
                      <a:pt x="52365" y="68684"/>
                      <a:pt x="57889" y="62187"/>
                    </a:cubicBezTo>
                    <a:cubicBezTo>
                      <a:pt x="63532" y="55584"/>
                      <a:pt x="66564" y="46285"/>
                      <a:pt x="66564" y="36012"/>
                    </a:cubicBezTo>
                    <a:cubicBezTo>
                      <a:pt x="66564" y="25740"/>
                      <a:pt x="63426" y="16546"/>
                      <a:pt x="57889" y="10062"/>
                    </a:cubicBezTo>
                    <a:cubicBezTo>
                      <a:pt x="52365" y="3683"/>
                      <a:pt x="44442" y="0"/>
                      <a:pt x="35780" y="0"/>
                    </a:cubicBezTo>
                    <a:close/>
                    <a:moveTo>
                      <a:pt x="33183" y="58530"/>
                    </a:moveTo>
                    <a:cubicBezTo>
                      <a:pt x="27659" y="58530"/>
                      <a:pt x="22887" y="56255"/>
                      <a:pt x="19630" y="51927"/>
                    </a:cubicBezTo>
                    <a:cubicBezTo>
                      <a:pt x="16598" y="47929"/>
                      <a:pt x="14858" y="42405"/>
                      <a:pt x="14858" y="36354"/>
                    </a:cubicBezTo>
                    <a:cubicBezTo>
                      <a:pt x="14858" y="30304"/>
                      <a:pt x="16598" y="24570"/>
                      <a:pt x="19841" y="20453"/>
                    </a:cubicBezTo>
                    <a:cubicBezTo>
                      <a:pt x="23203" y="16125"/>
                      <a:pt x="27975" y="13850"/>
                      <a:pt x="33605" y="13850"/>
                    </a:cubicBezTo>
                    <a:cubicBezTo>
                      <a:pt x="38812" y="13850"/>
                      <a:pt x="43361" y="16007"/>
                      <a:pt x="46617" y="20124"/>
                    </a:cubicBezTo>
                    <a:cubicBezTo>
                      <a:pt x="49873" y="24241"/>
                      <a:pt x="51600" y="29857"/>
                      <a:pt x="51600" y="36460"/>
                    </a:cubicBezTo>
                    <a:cubicBezTo>
                      <a:pt x="51495" y="49652"/>
                      <a:pt x="44125" y="58517"/>
                      <a:pt x="33170" y="58517"/>
                    </a:cubicBezTo>
                    <a:close/>
                  </a:path>
                </a:pathLst>
              </a:custGeom>
              <a:solidFill>
                <a:srgbClr val="FFFFFF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2" name="Forma libre 51">
                <a:extLst>
                  <a:ext uri="{FF2B5EF4-FFF2-40B4-BE49-F238E27FC236}">
                    <a16:creationId xmlns:a16="http://schemas.microsoft.com/office/drawing/2014/main" id="{576F9597-C0F4-1187-68F7-1AEDFE845B8C}"/>
                  </a:ext>
                </a:extLst>
              </p:cNvPr>
              <p:cNvSpPr/>
              <p:nvPr/>
            </p:nvSpPr>
            <p:spPr>
              <a:xfrm>
                <a:off x="5740007" y="796111"/>
                <a:ext cx="36531" cy="68552"/>
              </a:xfrm>
              <a:custGeom>
                <a:avLst/>
                <a:gdLst>
                  <a:gd name="connsiteX0" fmla="*/ 13777 w 36531"/>
                  <a:gd name="connsiteY0" fmla="*/ 12416 h 68552"/>
                  <a:gd name="connsiteX1" fmla="*/ 13342 w 36531"/>
                  <a:gd name="connsiteY1" fmla="*/ 12416 h 68552"/>
                  <a:gd name="connsiteX2" fmla="*/ 12472 w 36531"/>
                  <a:gd name="connsiteY2" fmla="*/ 92 h 68552"/>
                  <a:gd name="connsiteX3" fmla="*/ 0 w 36531"/>
                  <a:gd name="connsiteY3" fmla="*/ 92 h 68552"/>
                  <a:gd name="connsiteX4" fmla="*/ 0 w 36531"/>
                  <a:gd name="connsiteY4" fmla="*/ 68553 h 68552"/>
                  <a:gd name="connsiteX5" fmla="*/ 14845 w 36531"/>
                  <a:gd name="connsiteY5" fmla="*/ 68553 h 68552"/>
                  <a:gd name="connsiteX6" fmla="*/ 14845 w 36531"/>
                  <a:gd name="connsiteY6" fmla="*/ 28976 h 68552"/>
                  <a:gd name="connsiteX7" fmla="*/ 26987 w 36531"/>
                  <a:gd name="connsiteY7" fmla="*/ 16112 h 68552"/>
                  <a:gd name="connsiteX8" fmla="*/ 36532 w 36531"/>
                  <a:gd name="connsiteY8" fmla="*/ 16112 h 68552"/>
                  <a:gd name="connsiteX9" fmla="*/ 36532 w 36531"/>
                  <a:gd name="connsiteY9" fmla="*/ 0 h 68552"/>
                  <a:gd name="connsiteX10" fmla="*/ 31759 w 36531"/>
                  <a:gd name="connsiteY10" fmla="*/ 0 h 68552"/>
                  <a:gd name="connsiteX11" fmla="*/ 13764 w 36531"/>
                  <a:gd name="connsiteY11" fmla="*/ 12443 h 68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531" h="68552">
                    <a:moveTo>
                      <a:pt x="13777" y="12416"/>
                    </a:moveTo>
                    <a:lnTo>
                      <a:pt x="13342" y="12416"/>
                    </a:lnTo>
                    <a:lnTo>
                      <a:pt x="12472" y="92"/>
                    </a:lnTo>
                    <a:lnTo>
                      <a:pt x="0" y="92"/>
                    </a:lnTo>
                    <a:lnTo>
                      <a:pt x="0" y="68553"/>
                    </a:lnTo>
                    <a:lnTo>
                      <a:pt x="14845" y="68553"/>
                    </a:lnTo>
                    <a:lnTo>
                      <a:pt x="14845" y="28976"/>
                    </a:lnTo>
                    <a:cubicBezTo>
                      <a:pt x="14845" y="20005"/>
                      <a:pt x="18536" y="16112"/>
                      <a:pt x="26987" y="16112"/>
                    </a:cubicBezTo>
                    <a:lnTo>
                      <a:pt x="36532" y="16112"/>
                    </a:lnTo>
                    <a:lnTo>
                      <a:pt x="36532" y="0"/>
                    </a:lnTo>
                    <a:lnTo>
                      <a:pt x="31759" y="0"/>
                    </a:lnTo>
                    <a:cubicBezTo>
                      <a:pt x="22214" y="0"/>
                      <a:pt x="16255" y="4104"/>
                      <a:pt x="13764" y="1244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3" name="Forma libre 52">
                <a:extLst>
                  <a:ext uri="{FF2B5EF4-FFF2-40B4-BE49-F238E27FC236}">
                    <a16:creationId xmlns:a16="http://schemas.microsoft.com/office/drawing/2014/main" id="{10DC05DA-23DD-6DE8-87F5-6034289C015D}"/>
                  </a:ext>
                </a:extLst>
              </p:cNvPr>
              <p:cNvSpPr/>
              <p:nvPr/>
            </p:nvSpPr>
            <p:spPr>
              <a:xfrm>
                <a:off x="5779795" y="794032"/>
                <a:ext cx="59075" cy="72143"/>
              </a:xfrm>
              <a:custGeom>
                <a:avLst/>
                <a:gdLst>
                  <a:gd name="connsiteX0" fmla="*/ 30032 w 59075"/>
                  <a:gd name="connsiteY0" fmla="*/ 11680 h 72143"/>
                  <a:gd name="connsiteX1" fmla="*/ 47263 w 59075"/>
                  <a:gd name="connsiteY1" fmla="*/ 23465 h 72143"/>
                  <a:gd name="connsiteX2" fmla="*/ 47474 w 59075"/>
                  <a:gd name="connsiteY2" fmla="*/ 24004 h 72143"/>
                  <a:gd name="connsiteX3" fmla="*/ 59075 w 59075"/>
                  <a:gd name="connsiteY3" fmla="*/ 19677 h 72143"/>
                  <a:gd name="connsiteX4" fmla="*/ 58865 w 59075"/>
                  <a:gd name="connsiteY4" fmla="*/ 19137 h 72143"/>
                  <a:gd name="connsiteX5" fmla="*/ 47922 w 59075"/>
                  <a:gd name="connsiteY5" fmla="*/ 4972 h 72143"/>
                  <a:gd name="connsiteX6" fmla="*/ 30362 w 59075"/>
                  <a:gd name="connsiteY6" fmla="*/ 0 h 72143"/>
                  <a:gd name="connsiteX7" fmla="*/ 13447 w 59075"/>
                  <a:gd name="connsiteY7" fmla="*/ 5629 h 72143"/>
                  <a:gd name="connsiteX8" fmla="*/ 5643 w 59075"/>
                  <a:gd name="connsiteY8" fmla="*/ 21202 h 72143"/>
                  <a:gd name="connsiteX9" fmla="*/ 11931 w 59075"/>
                  <a:gd name="connsiteY9" fmla="*/ 35592 h 72143"/>
                  <a:gd name="connsiteX10" fmla="*/ 27211 w 59075"/>
                  <a:gd name="connsiteY10" fmla="*/ 42839 h 72143"/>
                  <a:gd name="connsiteX11" fmla="*/ 28727 w 59075"/>
                  <a:gd name="connsiteY11" fmla="*/ 43168 h 72143"/>
                  <a:gd name="connsiteX12" fmla="*/ 39564 w 59075"/>
                  <a:gd name="connsiteY12" fmla="*/ 46298 h 72143"/>
                  <a:gd name="connsiteX13" fmla="*/ 43901 w 59075"/>
                  <a:gd name="connsiteY13" fmla="*/ 52348 h 72143"/>
                  <a:gd name="connsiteX14" fmla="*/ 31219 w 59075"/>
                  <a:gd name="connsiteY14" fmla="*/ 60030 h 72143"/>
                  <a:gd name="connsiteX15" fmla="*/ 11061 w 59075"/>
                  <a:gd name="connsiteY15" fmla="*/ 48455 h 72143"/>
                  <a:gd name="connsiteX16" fmla="*/ 10731 w 59075"/>
                  <a:gd name="connsiteY16" fmla="*/ 47916 h 72143"/>
                  <a:gd name="connsiteX17" fmla="*/ 0 w 59075"/>
                  <a:gd name="connsiteY17" fmla="*/ 53756 h 72143"/>
                  <a:gd name="connsiteX18" fmla="*/ 211 w 59075"/>
                  <a:gd name="connsiteY18" fmla="*/ 54295 h 72143"/>
                  <a:gd name="connsiteX19" fmla="*/ 12248 w 59075"/>
                  <a:gd name="connsiteY19" fmla="*/ 67382 h 72143"/>
                  <a:gd name="connsiteX20" fmla="*/ 31113 w 59075"/>
                  <a:gd name="connsiteY20" fmla="*/ 72143 h 72143"/>
                  <a:gd name="connsiteX21" fmla="*/ 50295 w 59075"/>
                  <a:gd name="connsiteY21" fmla="*/ 66948 h 72143"/>
                  <a:gd name="connsiteX22" fmla="*/ 58640 w 59075"/>
                  <a:gd name="connsiteY22" fmla="*/ 51914 h 72143"/>
                  <a:gd name="connsiteX23" fmla="*/ 51271 w 59075"/>
                  <a:gd name="connsiteY23" fmla="*/ 37959 h 72143"/>
                  <a:gd name="connsiteX24" fmla="*/ 35332 w 59075"/>
                  <a:gd name="connsiteY24" fmla="*/ 31580 h 72143"/>
                  <a:gd name="connsiteX25" fmla="*/ 18958 w 59075"/>
                  <a:gd name="connsiteY25" fmla="*/ 20334 h 72143"/>
                  <a:gd name="connsiteX26" fmla="*/ 30019 w 59075"/>
                  <a:gd name="connsiteY26" fmla="*/ 11680 h 72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9075" h="72143">
                    <a:moveTo>
                      <a:pt x="30032" y="11680"/>
                    </a:moveTo>
                    <a:cubicBezTo>
                      <a:pt x="38166" y="11680"/>
                      <a:pt x="44455" y="16007"/>
                      <a:pt x="47263" y="23465"/>
                    </a:cubicBezTo>
                    <a:lnTo>
                      <a:pt x="47474" y="24004"/>
                    </a:lnTo>
                    <a:lnTo>
                      <a:pt x="59075" y="19677"/>
                    </a:lnTo>
                    <a:lnTo>
                      <a:pt x="58865" y="19137"/>
                    </a:lnTo>
                    <a:cubicBezTo>
                      <a:pt x="56373" y="13087"/>
                      <a:pt x="52682" y="8326"/>
                      <a:pt x="47922" y="4972"/>
                    </a:cubicBezTo>
                    <a:cubicBezTo>
                      <a:pt x="43044" y="1618"/>
                      <a:pt x="37085" y="0"/>
                      <a:pt x="30362" y="0"/>
                    </a:cubicBezTo>
                    <a:cubicBezTo>
                      <a:pt x="24179" y="0"/>
                      <a:pt x="18009" y="2052"/>
                      <a:pt x="13447" y="5629"/>
                    </a:cubicBezTo>
                    <a:cubicBezTo>
                      <a:pt x="8464" y="9523"/>
                      <a:pt x="5643" y="15152"/>
                      <a:pt x="5643" y="21202"/>
                    </a:cubicBezTo>
                    <a:cubicBezTo>
                      <a:pt x="5643" y="27253"/>
                      <a:pt x="7805" y="31909"/>
                      <a:pt x="11931" y="35592"/>
                    </a:cubicBezTo>
                    <a:cubicBezTo>
                      <a:pt x="15504" y="38722"/>
                      <a:pt x="20500" y="41103"/>
                      <a:pt x="27211" y="42839"/>
                    </a:cubicBezTo>
                    <a:cubicBezTo>
                      <a:pt x="27751" y="42944"/>
                      <a:pt x="28186" y="43049"/>
                      <a:pt x="28727" y="43168"/>
                    </a:cubicBezTo>
                    <a:cubicBezTo>
                      <a:pt x="32840" y="44036"/>
                      <a:pt x="36743" y="44904"/>
                      <a:pt x="39564" y="46298"/>
                    </a:cubicBezTo>
                    <a:cubicBezTo>
                      <a:pt x="42491" y="47811"/>
                      <a:pt x="43901" y="49652"/>
                      <a:pt x="43901" y="52348"/>
                    </a:cubicBezTo>
                    <a:cubicBezTo>
                      <a:pt x="43901" y="57649"/>
                      <a:pt x="37507" y="60030"/>
                      <a:pt x="31219" y="60030"/>
                    </a:cubicBezTo>
                    <a:cubicBezTo>
                      <a:pt x="22874" y="60030"/>
                      <a:pt x="15174" y="55597"/>
                      <a:pt x="11061" y="48455"/>
                    </a:cubicBezTo>
                    <a:lnTo>
                      <a:pt x="10731" y="47916"/>
                    </a:lnTo>
                    <a:lnTo>
                      <a:pt x="0" y="53756"/>
                    </a:lnTo>
                    <a:lnTo>
                      <a:pt x="211" y="54295"/>
                    </a:lnTo>
                    <a:cubicBezTo>
                      <a:pt x="2703" y="59701"/>
                      <a:pt x="6935" y="64238"/>
                      <a:pt x="12248" y="67382"/>
                    </a:cubicBezTo>
                    <a:cubicBezTo>
                      <a:pt x="17666" y="70512"/>
                      <a:pt x="24165" y="72143"/>
                      <a:pt x="31113" y="72143"/>
                    </a:cubicBezTo>
                    <a:cubicBezTo>
                      <a:pt x="38588" y="72143"/>
                      <a:pt x="45312" y="70302"/>
                      <a:pt x="50295" y="66948"/>
                    </a:cubicBezTo>
                    <a:cubicBezTo>
                      <a:pt x="55714" y="63265"/>
                      <a:pt x="58640" y="58083"/>
                      <a:pt x="58640" y="51914"/>
                    </a:cubicBezTo>
                    <a:cubicBezTo>
                      <a:pt x="58746" y="46074"/>
                      <a:pt x="56254" y="41418"/>
                      <a:pt x="51271" y="37959"/>
                    </a:cubicBezTo>
                    <a:cubicBezTo>
                      <a:pt x="46604" y="34710"/>
                      <a:pt x="40329" y="32764"/>
                      <a:pt x="35332" y="31580"/>
                    </a:cubicBezTo>
                    <a:cubicBezTo>
                      <a:pt x="27633" y="29423"/>
                      <a:pt x="18958" y="27042"/>
                      <a:pt x="18958" y="20334"/>
                    </a:cubicBezTo>
                    <a:cubicBezTo>
                      <a:pt x="19169" y="16112"/>
                      <a:pt x="23190" y="11680"/>
                      <a:pt x="30019" y="1168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4" name="Forma libre 53">
                <a:extLst>
                  <a:ext uri="{FF2B5EF4-FFF2-40B4-BE49-F238E27FC236}">
                    <a16:creationId xmlns:a16="http://schemas.microsoft.com/office/drawing/2014/main" id="{9FA54A94-C4CC-2DFC-2181-F1217A2D80FC}"/>
                  </a:ext>
                </a:extLst>
              </p:cNvPr>
              <p:cNvSpPr/>
              <p:nvPr/>
            </p:nvSpPr>
            <p:spPr>
              <a:xfrm>
                <a:off x="5928097" y="794361"/>
                <a:ext cx="60156" cy="70393"/>
              </a:xfrm>
              <a:custGeom>
                <a:avLst/>
                <a:gdLst>
                  <a:gd name="connsiteX0" fmla="*/ 37072 w 60156"/>
                  <a:gd name="connsiteY0" fmla="*/ 0 h 70393"/>
                  <a:gd name="connsiteX1" fmla="*/ 22979 w 60156"/>
                  <a:gd name="connsiteY1" fmla="*/ 4433 h 70393"/>
                  <a:gd name="connsiteX2" fmla="*/ 14410 w 60156"/>
                  <a:gd name="connsiteY2" fmla="*/ 14810 h 70393"/>
                  <a:gd name="connsiteX3" fmla="*/ 13764 w 60156"/>
                  <a:gd name="connsiteY3" fmla="*/ 14810 h 70393"/>
                  <a:gd name="connsiteX4" fmla="*/ 13764 w 60156"/>
                  <a:gd name="connsiteY4" fmla="*/ 1828 h 70393"/>
                  <a:gd name="connsiteX5" fmla="*/ 0 w 60156"/>
                  <a:gd name="connsiteY5" fmla="*/ 1828 h 70393"/>
                  <a:gd name="connsiteX6" fmla="*/ 0 w 60156"/>
                  <a:gd name="connsiteY6" fmla="*/ 70289 h 70393"/>
                  <a:gd name="connsiteX7" fmla="*/ 14963 w 60156"/>
                  <a:gd name="connsiteY7" fmla="*/ 70289 h 70393"/>
                  <a:gd name="connsiteX8" fmla="*/ 14963 w 60156"/>
                  <a:gd name="connsiteY8" fmla="*/ 32119 h 70393"/>
                  <a:gd name="connsiteX9" fmla="*/ 18971 w 60156"/>
                  <a:gd name="connsiteY9" fmla="*/ 20334 h 70393"/>
                  <a:gd name="connsiteX10" fmla="*/ 32194 w 60156"/>
                  <a:gd name="connsiteY10" fmla="*/ 12982 h 70393"/>
                  <a:gd name="connsiteX11" fmla="*/ 42280 w 60156"/>
                  <a:gd name="connsiteY11" fmla="*/ 17086 h 70393"/>
                  <a:gd name="connsiteX12" fmla="*/ 45312 w 60156"/>
                  <a:gd name="connsiteY12" fmla="*/ 29305 h 70393"/>
                  <a:gd name="connsiteX13" fmla="*/ 45312 w 60156"/>
                  <a:gd name="connsiteY13" fmla="*/ 70394 h 70393"/>
                  <a:gd name="connsiteX14" fmla="*/ 60157 w 60156"/>
                  <a:gd name="connsiteY14" fmla="*/ 70394 h 70393"/>
                  <a:gd name="connsiteX15" fmla="*/ 60157 w 60156"/>
                  <a:gd name="connsiteY15" fmla="*/ 27358 h 70393"/>
                  <a:gd name="connsiteX16" fmla="*/ 54303 w 60156"/>
                  <a:gd name="connsiteY16" fmla="*/ 7352 h 70393"/>
                  <a:gd name="connsiteX17" fmla="*/ 37072 w 60156"/>
                  <a:gd name="connsiteY17" fmla="*/ 0 h 70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0156" h="70393">
                    <a:moveTo>
                      <a:pt x="37072" y="0"/>
                    </a:moveTo>
                    <a:cubicBezTo>
                      <a:pt x="31865" y="0"/>
                      <a:pt x="26987" y="1513"/>
                      <a:pt x="22979" y="4433"/>
                    </a:cubicBezTo>
                    <a:cubicBezTo>
                      <a:pt x="19288" y="7024"/>
                      <a:pt x="16361" y="10601"/>
                      <a:pt x="14410" y="14810"/>
                    </a:cubicBezTo>
                    <a:lnTo>
                      <a:pt x="13764" y="14810"/>
                    </a:lnTo>
                    <a:lnTo>
                      <a:pt x="13764" y="1828"/>
                    </a:lnTo>
                    <a:lnTo>
                      <a:pt x="0" y="1828"/>
                    </a:lnTo>
                    <a:lnTo>
                      <a:pt x="0" y="70289"/>
                    </a:lnTo>
                    <a:lnTo>
                      <a:pt x="14963" y="70289"/>
                    </a:lnTo>
                    <a:lnTo>
                      <a:pt x="14963" y="32119"/>
                    </a:lnTo>
                    <a:cubicBezTo>
                      <a:pt x="14963" y="29199"/>
                      <a:pt x="16150" y="24438"/>
                      <a:pt x="18971" y="20334"/>
                    </a:cubicBezTo>
                    <a:cubicBezTo>
                      <a:pt x="21252" y="16980"/>
                      <a:pt x="25365" y="12982"/>
                      <a:pt x="32194" y="12982"/>
                    </a:cubicBezTo>
                    <a:cubicBezTo>
                      <a:pt x="36861" y="12982"/>
                      <a:pt x="40104" y="14284"/>
                      <a:pt x="42280" y="17086"/>
                    </a:cubicBezTo>
                    <a:cubicBezTo>
                      <a:pt x="44336" y="19795"/>
                      <a:pt x="45312" y="23688"/>
                      <a:pt x="45312" y="29305"/>
                    </a:cubicBezTo>
                    <a:lnTo>
                      <a:pt x="45312" y="70394"/>
                    </a:lnTo>
                    <a:lnTo>
                      <a:pt x="60157" y="70394"/>
                    </a:lnTo>
                    <a:lnTo>
                      <a:pt x="60157" y="27358"/>
                    </a:lnTo>
                    <a:cubicBezTo>
                      <a:pt x="60157" y="18809"/>
                      <a:pt x="58205" y="12114"/>
                      <a:pt x="54303" y="7352"/>
                    </a:cubicBezTo>
                    <a:cubicBezTo>
                      <a:pt x="50401" y="2486"/>
                      <a:pt x="44547" y="0"/>
                      <a:pt x="3707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5" name="Forma libre 54">
                <a:extLst>
                  <a:ext uri="{FF2B5EF4-FFF2-40B4-BE49-F238E27FC236}">
                    <a16:creationId xmlns:a16="http://schemas.microsoft.com/office/drawing/2014/main" id="{A27ADBFC-C099-263E-5E93-E08E00DB6199}"/>
                  </a:ext>
                </a:extLst>
              </p:cNvPr>
              <p:cNvSpPr/>
              <p:nvPr/>
            </p:nvSpPr>
            <p:spPr>
              <a:xfrm>
                <a:off x="5999209" y="794269"/>
                <a:ext cx="66023" cy="72024"/>
              </a:xfrm>
              <a:custGeom>
                <a:avLst/>
                <a:gdLst>
                  <a:gd name="connsiteX0" fmla="*/ 59075 w 66023"/>
                  <a:gd name="connsiteY0" fmla="*/ 56873 h 72024"/>
                  <a:gd name="connsiteX1" fmla="*/ 59075 w 66023"/>
                  <a:gd name="connsiteY1" fmla="*/ 26056 h 72024"/>
                  <a:gd name="connsiteX2" fmla="*/ 52036 w 66023"/>
                  <a:gd name="connsiteY2" fmla="*/ 7352 h 72024"/>
                  <a:gd name="connsiteX3" fmla="*/ 32089 w 66023"/>
                  <a:gd name="connsiteY3" fmla="*/ 0 h 72024"/>
                  <a:gd name="connsiteX4" fmla="*/ 659 w 66023"/>
                  <a:gd name="connsiteY4" fmla="*/ 20545 h 72024"/>
                  <a:gd name="connsiteX5" fmla="*/ 448 w 66023"/>
                  <a:gd name="connsiteY5" fmla="*/ 21084 h 72024"/>
                  <a:gd name="connsiteX6" fmla="*/ 13342 w 66023"/>
                  <a:gd name="connsiteY6" fmla="*/ 27134 h 72024"/>
                  <a:gd name="connsiteX7" fmla="*/ 13553 w 66023"/>
                  <a:gd name="connsiteY7" fmla="*/ 26595 h 72024"/>
                  <a:gd name="connsiteX8" fmla="*/ 30784 w 66023"/>
                  <a:gd name="connsiteY8" fmla="*/ 13837 h 72024"/>
                  <a:gd name="connsiteX9" fmla="*/ 44112 w 66023"/>
                  <a:gd name="connsiteY9" fmla="*/ 25622 h 72024"/>
                  <a:gd name="connsiteX10" fmla="*/ 44112 w 66023"/>
                  <a:gd name="connsiteY10" fmla="*/ 30488 h 72024"/>
                  <a:gd name="connsiteX11" fmla="*/ 28397 w 66023"/>
                  <a:gd name="connsiteY11" fmla="*/ 30488 h 72024"/>
                  <a:gd name="connsiteX12" fmla="*/ 0 w 66023"/>
                  <a:gd name="connsiteY12" fmla="*/ 52440 h 72024"/>
                  <a:gd name="connsiteX13" fmla="*/ 6394 w 66023"/>
                  <a:gd name="connsiteY13" fmla="*/ 66830 h 72024"/>
                  <a:gd name="connsiteX14" fmla="*/ 21792 w 66023"/>
                  <a:gd name="connsiteY14" fmla="*/ 72025 h 72024"/>
                  <a:gd name="connsiteX15" fmla="*/ 36967 w 66023"/>
                  <a:gd name="connsiteY15" fmla="*/ 67369 h 72024"/>
                  <a:gd name="connsiteX16" fmla="*/ 46288 w 66023"/>
                  <a:gd name="connsiteY16" fmla="*/ 56228 h 72024"/>
                  <a:gd name="connsiteX17" fmla="*/ 46828 w 66023"/>
                  <a:gd name="connsiteY17" fmla="*/ 56228 h 72024"/>
                  <a:gd name="connsiteX18" fmla="*/ 46723 w 66023"/>
                  <a:gd name="connsiteY18" fmla="*/ 59911 h 72024"/>
                  <a:gd name="connsiteX19" fmla="*/ 56373 w 66023"/>
                  <a:gd name="connsiteY19" fmla="*/ 70289 h 72024"/>
                  <a:gd name="connsiteX20" fmla="*/ 66023 w 66023"/>
                  <a:gd name="connsiteY20" fmla="*/ 70289 h 72024"/>
                  <a:gd name="connsiteX21" fmla="*/ 66023 w 66023"/>
                  <a:gd name="connsiteY21" fmla="*/ 58609 h 72024"/>
                  <a:gd name="connsiteX22" fmla="*/ 60275 w 66023"/>
                  <a:gd name="connsiteY22" fmla="*/ 58609 h 72024"/>
                  <a:gd name="connsiteX23" fmla="*/ 59089 w 66023"/>
                  <a:gd name="connsiteY23" fmla="*/ 56873 h 72024"/>
                  <a:gd name="connsiteX24" fmla="*/ 37072 w 66023"/>
                  <a:gd name="connsiteY24" fmla="*/ 54058 h 72024"/>
                  <a:gd name="connsiteX25" fmla="*/ 25906 w 66023"/>
                  <a:gd name="connsiteY25" fmla="*/ 58714 h 72024"/>
                  <a:gd name="connsiteX26" fmla="*/ 18312 w 66023"/>
                  <a:gd name="connsiteY26" fmla="*/ 56768 h 72024"/>
                  <a:gd name="connsiteX27" fmla="*/ 15280 w 66023"/>
                  <a:gd name="connsiteY27" fmla="*/ 51467 h 72024"/>
                  <a:gd name="connsiteX28" fmla="*/ 20487 w 66023"/>
                  <a:gd name="connsiteY28" fmla="*/ 44864 h 72024"/>
                  <a:gd name="connsiteX29" fmla="*/ 33275 w 66023"/>
                  <a:gd name="connsiteY29" fmla="*/ 42812 h 72024"/>
                  <a:gd name="connsiteX30" fmla="*/ 44218 w 66023"/>
                  <a:gd name="connsiteY30" fmla="*/ 42812 h 72024"/>
                  <a:gd name="connsiteX31" fmla="*/ 37059 w 66023"/>
                  <a:gd name="connsiteY31" fmla="*/ 54058 h 72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66023" h="72024">
                    <a:moveTo>
                      <a:pt x="59075" y="56873"/>
                    </a:moveTo>
                    <a:lnTo>
                      <a:pt x="59075" y="26056"/>
                    </a:lnTo>
                    <a:cubicBezTo>
                      <a:pt x="59075" y="18480"/>
                      <a:pt x="56689" y="11995"/>
                      <a:pt x="52036" y="7352"/>
                    </a:cubicBezTo>
                    <a:cubicBezTo>
                      <a:pt x="47263" y="2591"/>
                      <a:pt x="40434" y="0"/>
                      <a:pt x="32089" y="0"/>
                    </a:cubicBezTo>
                    <a:cubicBezTo>
                      <a:pt x="17244" y="0"/>
                      <a:pt x="6935" y="6708"/>
                      <a:pt x="659" y="20545"/>
                    </a:cubicBezTo>
                    <a:lnTo>
                      <a:pt x="448" y="21084"/>
                    </a:lnTo>
                    <a:lnTo>
                      <a:pt x="13342" y="27134"/>
                    </a:lnTo>
                    <a:lnTo>
                      <a:pt x="13553" y="26595"/>
                    </a:lnTo>
                    <a:cubicBezTo>
                      <a:pt x="17126" y="19019"/>
                      <a:pt x="24073" y="13837"/>
                      <a:pt x="30784" y="13837"/>
                    </a:cubicBezTo>
                    <a:cubicBezTo>
                      <a:pt x="38377" y="13837"/>
                      <a:pt x="44112" y="18914"/>
                      <a:pt x="44112" y="25622"/>
                    </a:cubicBezTo>
                    <a:lnTo>
                      <a:pt x="44112" y="30488"/>
                    </a:lnTo>
                    <a:lnTo>
                      <a:pt x="28397" y="30488"/>
                    </a:lnTo>
                    <a:cubicBezTo>
                      <a:pt x="10837" y="30488"/>
                      <a:pt x="0" y="38919"/>
                      <a:pt x="0" y="52440"/>
                    </a:cubicBezTo>
                    <a:cubicBezTo>
                      <a:pt x="0" y="58280"/>
                      <a:pt x="2162" y="63357"/>
                      <a:pt x="6394" y="66830"/>
                    </a:cubicBezTo>
                    <a:cubicBezTo>
                      <a:pt x="10296" y="70184"/>
                      <a:pt x="15715" y="72025"/>
                      <a:pt x="21792" y="72025"/>
                    </a:cubicBezTo>
                    <a:cubicBezTo>
                      <a:pt x="27316" y="72025"/>
                      <a:pt x="32629" y="70407"/>
                      <a:pt x="36967" y="67369"/>
                    </a:cubicBezTo>
                    <a:cubicBezTo>
                      <a:pt x="40975" y="64659"/>
                      <a:pt x="44125" y="60766"/>
                      <a:pt x="46288" y="56228"/>
                    </a:cubicBezTo>
                    <a:lnTo>
                      <a:pt x="46828" y="56228"/>
                    </a:lnTo>
                    <a:lnTo>
                      <a:pt x="46723" y="59911"/>
                    </a:lnTo>
                    <a:cubicBezTo>
                      <a:pt x="46723" y="66724"/>
                      <a:pt x="50084" y="70289"/>
                      <a:pt x="56373" y="70289"/>
                    </a:cubicBezTo>
                    <a:lnTo>
                      <a:pt x="66023" y="70289"/>
                    </a:lnTo>
                    <a:lnTo>
                      <a:pt x="66023" y="58609"/>
                    </a:lnTo>
                    <a:lnTo>
                      <a:pt x="60275" y="58609"/>
                    </a:lnTo>
                    <a:cubicBezTo>
                      <a:pt x="59300" y="58714"/>
                      <a:pt x="59089" y="57741"/>
                      <a:pt x="59089" y="56873"/>
                    </a:cubicBezTo>
                    <a:close/>
                    <a:moveTo>
                      <a:pt x="37072" y="54058"/>
                    </a:moveTo>
                    <a:cubicBezTo>
                      <a:pt x="33499" y="56873"/>
                      <a:pt x="29057" y="58714"/>
                      <a:pt x="25906" y="58714"/>
                    </a:cubicBezTo>
                    <a:cubicBezTo>
                      <a:pt x="22979" y="58714"/>
                      <a:pt x="20263" y="58070"/>
                      <a:pt x="18312" y="56768"/>
                    </a:cubicBezTo>
                    <a:cubicBezTo>
                      <a:pt x="16255" y="55465"/>
                      <a:pt x="15280" y="53637"/>
                      <a:pt x="15280" y="51467"/>
                    </a:cubicBezTo>
                    <a:cubicBezTo>
                      <a:pt x="15280" y="48547"/>
                      <a:pt x="17020" y="46390"/>
                      <a:pt x="20487" y="44864"/>
                    </a:cubicBezTo>
                    <a:cubicBezTo>
                      <a:pt x="23625" y="43457"/>
                      <a:pt x="28081" y="42812"/>
                      <a:pt x="33275" y="42812"/>
                    </a:cubicBezTo>
                    <a:lnTo>
                      <a:pt x="44218" y="42812"/>
                    </a:lnTo>
                    <a:cubicBezTo>
                      <a:pt x="43572" y="46916"/>
                      <a:pt x="41080" y="50928"/>
                      <a:pt x="37059" y="54058"/>
                    </a:cubicBezTo>
                    <a:close/>
                  </a:path>
                </a:pathLst>
              </a:custGeom>
              <a:solidFill>
                <a:srgbClr val="FFFFFF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6" name="Forma libre 55">
                <a:extLst>
                  <a:ext uri="{FF2B5EF4-FFF2-40B4-BE49-F238E27FC236}">
                    <a16:creationId xmlns:a16="http://schemas.microsoft.com/office/drawing/2014/main" id="{44BE2D77-08E2-1879-A188-31DDACF33BF6}"/>
                  </a:ext>
                </a:extLst>
              </p:cNvPr>
              <p:cNvSpPr/>
              <p:nvPr/>
            </p:nvSpPr>
            <p:spPr>
              <a:xfrm>
                <a:off x="6075199" y="771212"/>
                <a:ext cx="26551" cy="93556"/>
              </a:xfrm>
              <a:custGeom>
                <a:avLst/>
                <a:gdLst>
                  <a:gd name="connsiteX0" fmla="*/ 16796 w 26551"/>
                  <a:gd name="connsiteY0" fmla="*/ 80140 h 93556"/>
                  <a:gd name="connsiteX1" fmla="*/ 15280 w 26551"/>
                  <a:gd name="connsiteY1" fmla="*/ 79706 h 93556"/>
                  <a:gd name="connsiteX2" fmla="*/ 14845 w 26551"/>
                  <a:gd name="connsiteY2" fmla="*/ 77431 h 93556"/>
                  <a:gd name="connsiteX3" fmla="*/ 14845 w 26551"/>
                  <a:gd name="connsiteY3" fmla="*/ 0 h 93556"/>
                  <a:gd name="connsiteX4" fmla="*/ 0 w 26551"/>
                  <a:gd name="connsiteY4" fmla="*/ 0 h 93556"/>
                  <a:gd name="connsiteX5" fmla="*/ 0 w 26551"/>
                  <a:gd name="connsiteY5" fmla="*/ 78194 h 93556"/>
                  <a:gd name="connsiteX6" fmla="*/ 3138 w 26551"/>
                  <a:gd name="connsiteY6" fmla="*/ 89663 h 93556"/>
                  <a:gd name="connsiteX7" fmla="*/ 12248 w 26551"/>
                  <a:gd name="connsiteY7" fmla="*/ 93556 h 93556"/>
                  <a:gd name="connsiteX8" fmla="*/ 26552 w 26551"/>
                  <a:gd name="connsiteY8" fmla="*/ 93556 h 93556"/>
                  <a:gd name="connsiteX9" fmla="*/ 26552 w 26551"/>
                  <a:gd name="connsiteY9" fmla="*/ 80140 h 93556"/>
                  <a:gd name="connsiteX10" fmla="*/ 16796 w 26551"/>
                  <a:gd name="connsiteY10" fmla="*/ 80140 h 93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551" h="93556">
                    <a:moveTo>
                      <a:pt x="16796" y="80140"/>
                    </a:moveTo>
                    <a:cubicBezTo>
                      <a:pt x="15715" y="80140"/>
                      <a:pt x="15385" y="79930"/>
                      <a:pt x="15280" y="79706"/>
                    </a:cubicBezTo>
                    <a:cubicBezTo>
                      <a:pt x="15069" y="79377"/>
                      <a:pt x="14845" y="78628"/>
                      <a:pt x="14845" y="77431"/>
                    </a:cubicBezTo>
                    <a:lnTo>
                      <a:pt x="14845" y="0"/>
                    </a:lnTo>
                    <a:lnTo>
                      <a:pt x="0" y="0"/>
                    </a:lnTo>
                    <a:lnTo>
                      <a:pt x="0" y="78194"/>
                    </a:lnTo>
                    <a:cubicBezTo>
                      <a:pt x="0" y="83271"/>
                      <a:pt x="1081" y="87059"/>
                      <a:pt x="3138" y="89663"/>
                    </a:cubicBezTo>
                    <a:cubicBezTo>
                      <a:pt x="5194" y="92267"/>
                      <a:pt x="8227" y="93556"/>
                      <a:pt x="12248" y="93556"/>
                    </a:cubicBezTo>
                    <a:lnTo>
                      <a:pt x="26552" y="93556"/>
                    </a:lnTo>
                    <a:lnTo>
                      <a:pt x="26552" y="80140"/>
                    </a:lnTo>
                    <a:lnTo>
                      <a:pt x="16796" y="80140"/>
                    </a:lnTo>
                    <a:close/>
                  </a:path>
                </a:pathLst>
              </a:custGeom>
              <a:solidFill>
                <a:srgbClr val="FFFFFF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grpSp>
          <p:nvGrpSpPr>
            <p:cNvPr id="57" name="Gráfico 4">
              <a:extLst>
                <a:ext uri="{FF2B5EF4-FFF2-40B4-BE49-F238E27FC236}">
                  <a16:creationId xmlns:a16="http://schemas.microsoft.com/office/drawing/2014/main" id="{8AE6A294-E433-A975-80C7-567A1A2A98D7}"/>
                </a:ext>
              </a:extLst>
            </p:cNvPr>
            <p:cNvGrpSpPr/>
            <p:nvPr/>
          </p:nvGrpSpPr>
          <p:grpSpPr>
            <a:xfrm>
              <a:off x="5094224" y="769042"/>
              <a:ext cx="396429" cy="104604"/>
              <a:chOff x="5094224" y="769042"/>
              <a:chExt cx="396429" cy="104604"/>
            </a:xfrm>
            <a:solidFill>
              <a:srgbClr val="231F20"/>
            </a:solidFill>
          </p:grpSpPr>
          <p:sp>
            <p:nvSpPr>
              <p:cNvPr id="58" name="Forma libre 57">
                <a:extLst>
                  <a:ext uri="{FF2B5EF4-FFF2-40B4-BE49-F238E27FC236}">
                    <a16:creationId xmlns:a16="http://schemas.microsoft.com/office/drawing/2014/main" id="{1C5AE6F1-1680-D060-3958-544DBB9F965A}"/>
                  </a:ext>
                </a:extLst>
              </p:cNvPr>
              <p:cNvSpPr/>
              <p:nvPr/>
            </p:nvSpPr>
            <p:spPr>
              <a:xfrm>
                <a:off x="5094224" y="782497"/>
                <a:ext cx="44151" cy="89097"/>
              </a:xfrm>
              <a:custGeom>
                <a:avLst/>
                <a:gdLst>
                  <a:gd name="connsiteX0" fmla="*/ 11443 w 44151"/>
                  <a:gd name="connsiteY0" fmla="*/ 73182 h 89097"/>
                  <a:gd name="connsiteX1" fmla="*/ 11311 w 44151"/>
                  <a:gd name="connsiteY1" fmla="*/ 28160 h 89097"/>
                  <a:gd name="connsiteX2" fmla="*/ 0 w 44151"/>
                  <a:gd name="connsiteY2" fmla="*/ 28160 h 89097"/>
                  <a:gd name="connsiteX3" fmla="*/ 0 w 44151"/>
                  <a:gd name="connsiteY3" fmla="*/ 16323 h 89097"/>
                  <a:gd name="connsiteX4" fmla="*/ 11311 w 44151"/>
                  <a:gd name="connsiteY4" fmla="*/ 16323 h 89097"/>
                  <a:gd name="connsiteX5" fmla="*/ 12261 w 44151"/>
                  <a:gd name="connsiteY5" fmla="*/ 0 h 89097"/>
                  <a:gd name="connsiteX6" fmla="*/ 26024 w 44151"/>
                  <a:gd name="connsiteY6" fmla="*/ 0 h 89097"/>
                  <a:gd name="connsiteX7" fmla="*/ 26024 w 44151"/>
                  <a:gd name="connsiteY7" fmla="*/ 16323 h 89097"/>
                  <a:gd name="connsiteX8" fmla="*/ 44152 w 44151"/>
                  <a:gd name="connsiteY8" fmla="*/ 16323 h 89097"/>
                  <a:gd name="connsiteX9" fmla="*/ 44152 w 44151"/>
                  <a:gd name="connsiteY9" fmla="*/ 28160 h 89097"/>
                  <a:gd name="connsiteX10" fmla="*/ 26156 w 44151"/>
                  <a:gd name="connsiteY10" fmla="*/ 28160 h 89097"/>
                  <a:gd name="connsiteX11" fmla="*/ 26156 w 44151"/>
                  <a:gd name="connsiteY11" fmla="*/ 72367 h 89097"/>
                  <a:gd name="connsiteX12" fmla="*/ 29017 w 44151"/>
                  <a:gd name="connsiteY12" fmla="*/ 75905 h 89097"/>
                  <a:gd name="connsiteX13" fmla="*/ 44152 w 44151"/>
                  <a:gd name="connsiteY13" fmla="*/ 75905 h 89097"/>
                  <a:gd name="connsiteX14" fmla="*/ 44152 w 44151"/>
                  <a:gd name="connsiteY14" fmla="*/ 89097 h 89097"/>
                  <a:gd name="connsiteX15" fmla="*/ 23836 w 44151"/>
                  <a:gd name="connsiteY15" fmla="*/ 89097 h 89097"/>
                  <a:gd name="connsiteX16" fmla="*/ 11430 w 44151"/>
                  <a:gd name="connsiteY16" fmla="*/ 73182 h 89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4151" h="89097">
                    <a:moveTo>
                      <a:pt x="11443" y="73182"/>
                    </a:moveTo>
                    <a:lnTo>
                      <a:pt x="11311" y="28160"/>
                    </a:lnTo>
                    <a:lnTo>
                      <a:pt x="0" y="28160"/>
                    </a:lnTo>
                    <a:lnTo>
                      <a:pt x="0" y="16323"/>
                    </a:lnTo>
                    <a:lnTo>
                      <a:pt x="11311" y="16323"/>
                    </a:lnTo>
                    <a:lnTo>
                      <a:pt x="12261" y="0"/>
                    </a:lnTo>
                    <a:lnTo>
                      <a:pt x="26024" y="0"/>
                    </a:lnTo>
                    <a:lnTo>
                      <a:pt x="26024" y="16323"/>
                    </a:lnTo>
                    <a:lnTo>
                      <a:pt x="44152" y="16323"/>
                    </a:lnTo>
                    <a:lnTo>
                      <a:pt x="44152" y="28160"/>
                    </a:lnTo>
                    <a:lnTo>
                      <a:pt x="26156" y="28160"/>
                    </a:lnTo>
                    <a:lnTo>
                      <a:pt x="26156" y="72367"/>
                    </a:lnTo>
                    <a:cubicBezTo>
                      <a:pt x="26156" y="75090"/>
                      <a:pt x="26842" y="75905"/>
                      <a:pt x="29017" y="75905"/>
                    </a:cubicBezTo>
                    <a:lnTo>
                      <a:pt x="44152" y="75905"/>
                    </a:lnTo>
                    <a:lnTo>
                      <a:pt x="44152" y="89097"/>
                    </a:lnTo>
                    <a:lnTo>
                      <a:pt x="23836" y="89097"/>
                    </a:lnTo>
                    <a:cubicBezTo>
                      <a:pt x="15662" y="89097"/>
                      <a:pt x="11430" y="83928"/>
                      <a:pt x="11430" y="73182"/>
                    </a:cubicBezTo>
                    <a:close/>
                  </a:path>
                </a:pathLst>
              </a:custGeom>
              <a:solidFill>
                <a:srgbClr val="231F20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9" name="Forma libre 58">
                <a:extLst>
                  <a:ext uri="{FF2B5EF4-FFF2-40B4-BE49-F238E27FC236}">
                    <a16:creationId xmlns:a16="http://schemas.microsoft.com/office/drawing/2014/main" id="{6EAA560E-4F5D-6640-0E11-7ED4295DD5C1}"/>
                  </a:ext>
                </a:extLst>
              </p:cNvPr>
              <p:cNvSpPr/>
              <p:nvPr/>
            </p:nvSpPr>
            <p:spPr>
              <a:xfrm>
                <a:off x="5148474" y="769042"/>
                <a:ext cx="19643" cy="102552"/>
              </a:xfrm>
              <a:custGeom>
                <a:avLst/>
                <a:gdLst>
                  <a:gd name="connsiteX0" fmla="*/ 0 w 19643"/>
                  <a:gd name="connsiteY0" fmla="*/ 9246 h 102552"/>
                  <a:gd name="connsiteX1" fmla="*/ 9822 w 19643"/>
                  <a:gd name="connsiteY1" fmla="*/ 0 h 102552"/>
                  <a:gd name="connsiteX2" fmla="*/ 19643 w 19643"/>
                  <a:gd name="connsiteY2" fmla="*/ 9246 h 102552"/>
                  <a:gd name="connsiteX3" fmla="*/ 9967 w 19643"/>
                  <a:gd name="connsiteY3" fmla="*/ 18769 h 102552"/>
                  <a:gd name="connsiteX4" fmla="*/ 13 w 19643"/>
                  <a:gd name="connsiteY4" fmla="*/ 9246 h 102552"/>
                  <a:gd name="connsiteX5" fmla="*/ 2452 w 19643"/>
                  <a:gd name="connsiteY5" fmla="*/ 29646 h 102552"/>
                  <a:gd name="connsiteX6" fmla="*/ 17178 w 19643"/>
                  <a:gd name="connsiteY6" fmla="*/ 29646 h 102552"/>
                  <a:gd name="connsiteX7" fmla="*/ 17178 w 19643"/>
                  <a:gd name="connsiteY7" fmla="*/ 102553 h 102552"/>
                  <a:gd name="connsiteX8" fmla="*/ 2452 w 19643"/>
                  <a:gd name="connsiteY8" fmla="*/ 102553 h 102552"/>
                  <a:gd name="connsiteX9" fmla="*/ 2452 w 19643"/>
                  <a:gd name="connsiteY9" fmla="*/ 29646 h 102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643" h="102552">
                    <a:moveTo>
                      <a:pt x="0" y="9246"/>
                    </a:moveTo>
                    <a:cubicBezTo>
                      <a:pt x="0" y="4077"/>
                      <a:pt x="4364" y="0"/>
                      <a:pt x="9822" y="0"/>
                    </a:cubicBezTo>
                    <a:cubicBezTo>
                      <a:pt x="15280" y="0"/>
                      <a:pt x="19643" y="4077"/>
                      <a:pt x="19643" y="9246"/>
                    </a:cubicBezTo>
                    <a:cubicBezTo>
                      <a:pt x="19643" y="14692"/>
                      <a:pt x="15280" y="18769"/>
                      <a:pt x="9967" y="18769"/>
                    </a:cubicBezTo>
                    <a:cubicBezTo>
                      <a:pt x="4654" y="18769"/>
                      <a:pt x="13" y="14692"/>
                      <a:pt x="13" y="9246"/>
                    </a:cubicBezTo>
                    <a:close/>
                    <a:moveTo>
                      <a:pt x="2452" y="29646"/>
                    </a:moveTo>
                    <a:lnTo>
                      <a:pt x="17178" y="29646"/>
                    </a:lnTo>
                    <a:lnTo>
                      <a:pt x="17178" y="102553"/>
                    </a:lnTo>
                    <a:lnTo>
                      <a:pt x="2452" y="102553"/>
                    </a:lnTo>
                    <a:lnTo>
                      <a:pt x="2452" y="29646"/>
                    </a:lnTo>
                    <a:close/>
                  </a:path>
                </a:pathLst>
              </a:custGeom>
              <a:solidFill>
                <a:srgbClr val="231F20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0" name="Forma libre 59">
                <a:extLst>
                  <a:ext uri="{FF2B5EF4-FFF2-40B4-BE49-F238E27FC236}">
                    <a16:creationId xmlns:a16="http://schemas.microsoft.com/office/drawing/2014/main" id="{DD872AAE-3F5C-437A-E96E-1774757892E2}"/>
                  </a:ext>
                </a:extLst>
              </p:cNvPr>
              <p:cNvSpPr/>
              <p:nvPr/>
            </p:nvSpPr>
            <p:spPr>
              <a:xfrm>
                <a:off x="5179284" y="796794"/>
                <a:ext cx="68027" cy="76825"/>
              </a:xfrm>
              <a:custGeom>
                <a:avLst/>
                <a:gdLst>
                  <a:gd name="connsiteX0" fmla="*/ 0 w 68027"/>
                  <a:gd name="connsiteY0" fmla="*/ 38485 h 76825"/>
                  <a:gd name="connsiteX1" fmla="*/ 35306 w 68027"/>
                  <a:gd name="connsiteY1" fmla="*/ 0 h 76825"/>
                  <a:gd name="connsiteX2" fmla="*/ 68027 w 68027"/>
                  <a:gd name="connsiteY2" fmla="*/ 34816 h 76825"/>
                  <a:gd name="connsiteX3" fmla="*/ 67895 w 68027"/>
                  <a:gd name="connsiteY3" fmla="*/ 44470 h 76825"/>
                  <a:gd name="connsiteX4" fmla="*/ 14594 w 68027"/>
                  <a:gd name="connsiteY4" fmla="*/ 44470 h 76825"/>
                  <a:gd name="connsiteX5" fmla="*/ 36822 w 68027"/>
                  <a:gd name="connsiteY5" fmla="*/ 64054 h 76825"/>
                  <a:gd name="connsiteX6" fmla="*/ 58640 w 68027"/>
                  <a:gd name="connsiteY6" fmla="*/ 53716 h 76825"/>
                  <a:gd name="connsiteX7" fmla="*/ 66814 w 68027"/>
                  <a:gd name="connsiteY7" fmla="*/ 62279 h 76825"/>
                  <a:gd name="connsiteX8" fmla="*/ 36690 w 68027"/>
                  <a:gd name="connsiteY8" fmla="*/ 76826 h 76825"/>
                  <a:gd name="connsiteX9" fmla="*/ 13 w 68027"/>
                  <a:gd name="connsiteY9" fmla="*/ 38472 h 76825"/>
                  <a:gd name="connsiteX10" fmla="*/ 53710 w 68027"/>
                  <a:gd name="connsiteY10" fmla="*/ 33040 h 76825"/>
                  <a:gd name="connsiteX11" fmla="*/ 34488 w 68027"/>
                  <a:gd name="connsiteY11" fmla="*/ 12771 h 76825"/>
                  <a:gd name="connsiteX12" fmla="*/ 14581 w 68027"/>
                  <a:gd name="connsiteY12" fmla="*/ 33040 h 76825"/>
                  <a:gd name="connsiteX13" fmla="*/ 53710 w 68027"/>
                  <a:gd name="connsiteY13" fmla="*/ 33040 h 76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8027" h="76825">
                    <a:moveTo>
                      <a:pt x="0" y="38485"/>
                    </a:moveTo>
                    <a:cubicBezTo>
                      <a:pt x="0" y="16310"/>
                      <a:pt x="14726" y="0"/>
                      <a:pt x="35306" y="0"/>
                    </a:cubicBezTo>
                    <a:cubicBezTo>
                      <a:pt x="55885" y="0"/>
                      <a:pt x="68027" y="16323"/>
                      <a:pt x="68027" y="34816"/>
                    </a:cubicBezTo>
                    <a:cubicBezTo>
                      <a:pt x="68027" y="37394"/>
                      <a:pt x="68027" y="39301"/>
                      <a:pt x="67895" y="44470"/>
                    </a:cubicBezTo>
                    <a:lnTo>
                      <a:pt x="14594" y="44470"/>
                    </a:lnTo>
                    <a:cubicBezTo>
                      <a:pt x="16769" y="57530"/>
                      <a:pt x="26459" y="64054"/>
                      <a:pt x="36822" y="64054"/>
                    </a:cubicBezTo>
                    <a:cubicBezTo>
                      <a:pt x="44455" y="64054"/>
                      <a:pt x="52497" y="60648"/>
                      <a:pt x="58640" y="53716"/>
                    </a:cubicBezTo>
                    <a:lnTo>
                      <a:pt x="66814" y="62279"/>
                    </a:lnTo>
                    <a:cubicBezTo>
                      <a:pt x="59313" y="71933"/>
                      <a:pt x="47869" y="76826"/>
                      <a:pt x="36690" y="76826"/>
                    </a:cubicBezTo>
                    <a:cubicBezTo>
                      <a:pt x="18154" y="76826"/>
                      <a:pt x="13" y="63910"/>
                      <a:pt x="13" y="38472"/>
                    </a:cubicBezTo>
                    <a:close/>
                    <a:moveTo>
                      <a:pt x="53710" y="33040"/>
                    </a:moveTo>
                    <a:cubicBezTo>
                      <a:pt x="53433" y="20124"/>
                      <a:pt x="44033" y="12771"/>
                      <a:pt x="34488" y="12771"/>
                    </a:cubicBezTo>
                    <a:cubicBezTo>
                      <a:pt x="25497" y="12771"/>
                      <a:pt x="16493" y="19164"/>
                      <a:pt x="14581" y="33040"/>
                    </a:cubicBezTo>
                    <a:lnTo>
                      <a:pt x="53710" y="33040"/>
                    </a:lnTo>
                    <a:close/>
                  </a:path>
                </a:pathLst>
              </a:custGeom>
              <a:solidFill>
                <a:srgbClr val="231F20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1" name="Forma libre 60">
                <a:extLst>
                  <a:ext uri="{FF2B5EF4-FFF2-40B4-BE49-F238E27FC236}">
                    <a16:creationId xmlns:a16="http://schemas.microsoft.com/office/drawing/2014/main" id="{C8E93D85-2E67-C883-0080-50774ECEB2F4}"/>
                  </a:ext>
                </a:extLst>
              </p:cNvPr>
              <p:cNvSpPr/>
              <p:nvPr/>
            </p:nvSpPr>
            <p:spPr>
              <a:xfrm>
                <a:off x="5261207" y="796794"/>
                <a:ext cx="63795" cy="74826"/>
              </a:xfrm>
              <a:custGeom>
                <a:avLst/>
                <a:gdLst>
                  <a:gd name="connsiteX0" fmla="*/ 0 w 63795"/>
                  <a:gd name="connsiteY0" fmla="*/ 2039 h 74826"/>
                  <a:gd name="connsiteX1" fmla="*/ 13632 w 63795"/>
                  <a:gd name="connsiteY1" fmla="*/ 2039 h 74826"/>
                  <a:gd name="connsiteX2" fmla="*/ 13632 w 63795"/>
                  <a:gd name="connsiteY2" fmla="*/ 16046 h 74826"/>
                  <a:gd name="connsiteX3" fmla="*/ 14581 w 63795"/>
                  <a:gd name="connsiteY3" fmla="*/ 16046 h 74826"/>
                  <a:gd name="connsiteX4" fmla="*/ 39392 w 63795"/>
                  <a:gd name="connsiteY4" fmla="*/ 0 h 74826"/>
                  <a:gd name="connsiteX5" fmla="*/ 63795 w 63795"/>
                  <a:gd name="connsiteY5" fmla="*/ 28976 h 74826"/>
                  <a:gd name="connsiteX6" fmla="*/ 63795 w 63795"/>
                  <a:gd name="connsiteY6" fmla="*/ 74813 h 74826"/>
                  <a:gd name="connsiteX7" fmla="*/ 48937 w 63795"/>
                  <a:gd name="connsiteY7" fmla="*/ 74813 h 74826"/>
                  <a:gd name="connsiteX8" fmla="*/ 48937 w 63795"/>
                  <a:gd name="connsiteY8" fmla="*/ 33737 h 74826"/>
                  <a:gd name="connsiteX9" fmla="*/ 34079 w 63795"/>
                  <a:gd name="connsiteY9" fmla="*/ 12798 h 74826"/>
                  <a:gd name="connsiteX10" fmla="*/ 14858 w 63795"/>
                  <a:gd name="connsiteY10" fmla="*/ 38235 h 74826"/>
                  <a:gd name="connsiteX11" fmla="*/ 14858 w 63795"/>
                  <a:gd name="connsiteY11" fmla="*/ 74826 h 74826"/>
                  <a:gd name="connsiteX12" fmla="*/ 0 w 63795"/>
                  <a:gd name="connsiteY12" fmla="*/ 74826 h 74826"/>
                  <a:gd name="connsiteX13" fmla="*/ 0 w 63795"/>
                  <a:gd name="connsiteY13" fmla="*/ 2065 h 74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3795" h="74826">
                    <a:moveTo>
                      <a:pt x="0" y="2039"/>
                    </a:moveTo>
                    <a:lnTo>
                      <a:pt x="13632" y="2039"/>
                    </a:lnTo>
                    <a:lnTo>
                      <a:pt x="13632" y="16046"/>
                    </a:lnTo>
                    <a:lnTo>
                      <a:pt x="14581" y="16046"/>
                    </a:lnTo>
                    <a:cubicBezTo>
                      <a:pt x="17165" y="7076"/>
                      <a:pt x="27804" y="0"/>
                      <a:pt x="39392" y="0"/>
                    </a:cubicBezTo>
                    <a:cubicBezTo>
                      <a:pt x="55476" y="0"/>
                      <a:pt x="63795" y="11022"/>
                      <a:pt x="63795" y="28976"/>
                    </a:cubicBezTo>
                    <a:lnTo>
                      <a:pt x="63795" y="74813"/>
                    </a:lnTo>
                    <a:lnTo>
                      <a:pt x="48937" y="74813"/>
                    </a:lnTo>
                    <a:lnTo>
                      <a:pt x="48937" y="33737"/>
                    </a:lnTo>
                    <a:cubicBezTo>
                      <a:pt x="48937" y="19190"/>
                      <a:pt x="43348" y="12798"/>
                      <a:pt x="34079" y="12798"/>
                    </a:cubicBezTo>
                    <a:cubicBezTo>
                      <a:pt x="23032" y="12798"/>
                      <a:pt x="14858" y="22320"/>
                      <a:pt x="14858" y="38235"/>
                    </a:cubicBezTo>
                    <a:lnTo>
                      <a:pt x="14858" y="74826"/>
                    </a:lnTo>
                    <a:lnTo>
                      <a:pt x="0" y="74826"/>
                    </a:lnTo>
                    <a:lnTo>
                      <a:pt x="0" y="2065"/>
                    </a:lnTo>
                    <a:close/>
                  </a:path>
                </a:pathLst>
              </a:custGeom>
              <a:solidFill>
                <a:srgbClr val="231F20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5" name="Forma libre 64">
                <a:extLst>
                  <a:ext uri="{FF2B5EF4-FFF2-40B4-BE49-F238E27FC236}">
                    <a16:creationId xmlns:a16="http://schemas.microsoft.com/office/drawing/2014/main" id="{2B936316-2329-A902-2822-F642B76B53C8}"/>
                  </a:ext>
                </a:extLst>
              </p:cNvPr>
              <p:cNvSpPr/>
              <p:nvPr/>
            </p:nvSpPr>
            <p:spPr>
              <a:xfrm>
                <a:off x="5338238" y="771633"/>
                <a:ext cx="70887" cy="102013"/>
              </a:xfrm>
              <a:custGeom>
                <a:avLst/>
                <a:gdLst>
                  <a:gd name="connsiteX0" fmla="*/ 0 w 70887"/>
                  <a:gd name="connsiteY0" fmla="*/ 63515 h 102013"/>
                  <a:gd name="connsiteX1" fmla="*/ 32445 w 70887"/>
                  <a:gd name="connsiteY1" fmla="*/ 25161 h 102013"/>
                  <a:gd name="connsiteX2" fmla="*/ 55490 w 70887"/>
                  <a:gd name="connsiteY2" fmla="*/ 40800 h 102013"/>
                  <a:gd name="connsiteX3" fmla="*/ 56439 w 70887"/>
                  <a:gd name="connsiteY3" fmla="*/ 40800 h 102013"/>
                  <a:gd name="connsiteX4" fmla="*/ 56439 w 70887"/>
                  <a:gd name="connsiteY4" fmla="*/ 0 h 102013"/>
                  <a:gd name="connsiteX5" fmla="*/ 70888 w 70887"/>
                  <a:gd name="connsiteY5" fmla="*/ 0 h 102013"/>
                  <a:gd name="connsiteX6" fmla="*/ 70888 w 70887"/>
                  <a:gd name="connsiteY6" fmla="*/ 99975 h 102013"/>
                  <a:gd name="connsiteX7" fmla="*/ 58482 w 70887"/>
                  <a:gd name="connsiteY7" fmla="*/ 99975 h 102013"/>
                  <a:gd name="connsiteX8" fmla="*/ 58482 w 70887"/>
                  <a:gd name="connsiteY8" fmla="*/ 85967 h 102013"/>
                  <a:gd name="connsiteX9" fmla="*/ 57665 w 70887"/>
                  <a:gd name="connsiteY9" fmla="*/ 85967 h 102013"/>
                  <a:gd name="connsiteX10" fmla="*/ 32985 w 70887"/>
                  <a:gd name="connsiteY10" fmla="*/ 102013 h 102013"/>
                  <a:gd name="connsiteX11" fmla="*/ 0 w 70887"/>
                  <a:gd name="connsiteY11" fmla="*/ 63528 h 102013"/>
                  <a:gd name="connsiteX12" fmla="*/ 35437 w 70887"/>
                  <a:gd name="connsiteY12" fmla="*/ 88269 h 102013"/>
                  <a:gd name="connsiteX13" fmla="*/ 56017 w 70887"/>
                  <a:gd name="connsiteY13" fmla="*/ 63383 h 102013"/>
                  <a:gd name="connsiteX14" fmla="*/ 35569 w 70887"/>
                  <a:gd name="connsiteY14" fmla="*/ 38906 h 102013"/>
                  <a:gd name="connsiteX15" fmla="*/ 15122 w 70887"/>
                  <a:gd name="connsiteY15" fmla="*/ 63383 h 102013"/>
                  <a:gd name="connsiteX16" fmla="*/ 35437 w 70887"/>
                  <a:gd name="connsiteY16" fmla="*/ 88269 h 102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0887" h="102013">
                    <a:moveTo>
                      <a:pt x="0" y="63515"/>
                    </a:moveTo>
                    <a:cubicBezTo>
                      <a:pt x="0" y="41208"/>
                      <a:pt x="13500" y="25161"/>
                      <a:pt x="32445" y="25161"/>
                    </a:cubicBezTo>
                    <a:cubicBezTo>
                      <a:pt x="44442" y="25161"/>
                      <a:pt x="52207" y="32501"/>
                      <a:pt x="55490" y="40800"/>
                    </a:cubicBezTo>
                    <a:lnTo>
                      <a:pt x="56439" y="40800"/>
                    </a:lnTo>
                    <a:lnTo>
                      <a:pt x="56439" y="0"/>
                    </a:lnTo>
                    <a:lnTo>
                      <a:pt x="70888" y="0"/>
                    </a:lnTo>
                    <a:lnTo>
                      <a:pt x="70888" y="99975"/>
                    </a:lnTo>
                    <a:lnTo>
                      <a:pt x="58482" y="99975"/>
                    </a:lnTo>
                    <a:lnTo>
                      <a:pt x="58482" y="85967"/>
                    </a:lnTo>
                    <a:lnTo>
                      <a:pt x="57665" y="85967"/>
                    </a:lnTo>
                    <a:cubicBezTo>
                      <a:pt x="53578" y="94950"/>
                      <a:pt x="45391" y="102013"/>
                      <a:pt x="32985" y="102013"/>
                    </a:cubicBezTo>
                    <a:cubicBezTo>
                      <a:pt x="14041" y="102013"/>
                      <a:pt x="0" y="86375"/>
                      <a:pt x="0" y="63528"/>
                    </a:cubicBezTo>
                    <a:close/>
                    <a:moveTo>
                      <a:pt x="35437" y="88269"/>
                    </a:moveTo>
                    <a:cubicBezTo>
                      <a:pt x="48252" y="88269"/>
                      <a:pt x="56017" y="76984"/>
                      <a:pt x="56017" y="63383"/>
                    </a:cubicBezTo>
                    <a:cubicBezTo>
                      <a:pt x="56017" y="49783"/>
                      <a:pt x="48792" y="38906"/>
                      <a:pt x="35569" y="38906"/>
                    </a:cubicBezTo>
                    <a:cubicBezTo>
                      <a:pt x="23704" y="38906"/>
                      <a:pt x="15122" y="48021"/>
                      <a:pt x="15122" y="63383"/>
                    </a:cubicBezTo>
                    <a:cubicBezTo>
                      <a:pt x="15122" y="78746"/>
                      <a:pt x="23032" y="88269"/>
                      <a:pt x="35437" y="88269"/>
                    </a:cubicBezTo>
                    <a:close/>
                  </a:path>
                </a:pathLst>
              </a:custGeom>
              <a:solidFill>
                <a:srgbClr val="231F20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6" name="Forma libre 65">
                <a:extLst>
                  <a:ext uri="{FF2B5EF4-FFF2-40B4-BE49-F238E27FC236}">
                    <a16:creationId xmlns:a16="http://schemas.microsoft.com/office/drawing/2014/main" id="{4B6649D3-A3AA-AC98-763C-31808C72C438}"/>
                  </a:ext>
                </a:extLst>
              </p:cNvPr>
              <p:cNvSpPr/>
              <p:nvPr/>
            </p:nvSpPr>
            <p:spPr>
              <a:xfrm>
                <a:off x="5421941" y="796794"/>
                <a:ext cx="68712" cy="76562"/>
              </a:xfrm>
              <a:custGeom>
                <a:avLst/>
                <a:gdLst>
                  <a:gd name="connsiteX0" fmla="*/ 0 w 68712"/>
                  <a:gd name="connsiteY0" fmla="*/ 56307 h 76562"/>
                  <a:gd name="connsiteX1" fmla="*/ 30124 w 68712"/>
                  <a:gd name="connsiteY1" fmla="*/ 33592 h 76562"/>
                  <a:gd name="connsiteX2" fmla="*/ 47303 w 68712"/>
                  <a:gd name="connsiteY2" fmla="*/ 33592 h 76562"/>
                  <a:gd name="connsiteX3" fmla="*/ 47303 w 68712"/>
                  <a:gd name="connsiteY3" fmla="*/ 29107 h 76562"/>
                  <a:gd name="connsiteX4" fmla="*/ 33130 w 68712"/>
                  <a:gd name="connsiteY4" fmla="*/ 12785 h 76562"/>
                  <a:gd name="connsiteX5" fmla="*/ 14185 w 68712"/>
                  <a:gd name="connsiteY5" fmla="*/ 28016 h 76562"/>
                  <a:gd name="connsiteX6" fmla="*/ 1912 w 68712"/>
                  <a:gd name="connsiteY6" fmla="*/ 22846 h 76562"/>
                  <a:gd name="connsiteX7" fmla="*/ 33130 w 68712"/>
                  <a:gd name="connsiteY7" fmla="*/ 0 h 76562"/>
                  <a:gd name="connsiteX8" fmla="*/ 61211 w 68712"/>
                  <a:gd name="connsiteY8" fmla="*/ 27476 h 76562"/>
                  <a:gd name="connsiteX9" fmla="*/ 61211 w 68712"/>
                  <a:gd name="connsiteY9" fmla="*/ 60529 h 76562"/>
                  <a:gd name="connsiteX10" fmla="*/ 63123 w 68712"/>
                  <a:gd name="connsiteY10" fmla="*/ 63107 h 76562"/>
                  <a:gd name="connsiteX11" fmla="*/ 68713 w 68712"/>
                  <a:gd name="connsiteY11" fmla="*/ 63107 h 76562"/>
                  <a:gd name="connsiteX12" fmla="*/ 68713 w 68712"/>
                  <a:gd name="connsiteY12" fmla="*/ 74800 h 76562"/>
                  <a:gd name="connsiteX13" fmla="*/ 60262 w 68712"/>
                  <a:gd name="connsiteY13" fmla="*/ 74800 h 76562"/>
                  <a:gd name="connsiteX14" fmla="*/ 50440 w 68712"/>
                  <a:gd name="connsiteY14" fmla="*/ 64186 h 76562"/>
                  <a:gd name="connsiteX15" fmla="*/ 50572 w 68712"/>
                  <a:gd name="connsiteY15" fmla="*/ 59556 h 76562"/>
                  <a:gd name="connsiteX16" fmla="*/ 49346 w 68712"/>
                  <a:gd name="connsiteY16" fmla="*/ 59556 h 76562"/>
                  <a:gd name="connsiteX17" fmla="*/ 22900 w 68712"/>
                  <a:gd name="connsiteY17" fmla="*/ 76563 h 76562"/>
                  <a:gd name="connsiteX18" fmla="*/ 0 w 68712"/>
                  <a:gd name="connsiteY18" fmla="*/ 56294 h 76562"/>
                  <a:gd name="connsiteX19" fmla="*/ 25761 w 68712"/>
                  <a:gd name="connsiteY19" fmla="*/ 63778 h 76562"/>
                  <a:gd name="connsiteX20" fmla="*/ 47303 w 68712"/>
                  <a:gd name="connsiteY20" fmla="*/ 44325 h 76562"/>
                  <a:gd name="connsiteX21" fmla="*/ 35174 w 68712"/>
                  <a:gd name="connsiteY21" fmla="*/ 44325 h 76562"/>
                  <a:gd name="connsiteX22" fmla="*/ 14185 w 68712"/>
                  <a:gd name="connsiteY22" fmla="*/ 55071 h 76562"/>
                  <a:gd name="connsiteX23" fmla="*/ 25774 w 68712"/>
                  <a:gd name="connsiteY23" fmla="*/ 63778 h 7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8712" h="76562">
                    <a:moveTo>
                      <a:pt x="0" y="56307"/>
                    </a:moveTo>
                    <a:cubicBezTo>
                      <a:pt x="0" y="41484"/>
                      <a:pt x="14317" y="33592"/>
                      <a:pt x="30124" y="33592"/>
                    </a:cubicBezTo>
                    <a:lnTo>
                      <a:pt x="47303" y="33592"/>
                    </a:lnTo>
                    <a:lnTo>
                      <a:pt x="47303" y="29107"/>
                    </a:lnTo>
                    <a:cubicBezTo>
                      <a:pt x="47303" y="18493"/>
                      <a:pt x="40764" y="12785"/>
                      <a:pt x="33130" y="12785"/>
                    </a:cubicBezTo>
                    <a:cubicBezTo>
                      <a:pt x="23730" y="12785"/>
                      <a:pt x="18549" y="17414"/>
                      <a:pt x="14185" y="28016"/>
                    </a:cubicBezTo>
                    <a:lnTo>
                      <a:pt x="1912" y="22846"/>
                    </a:lnTo>
                    <a:cubicBezTo>
                      <a:pt x="6684" y="8431"/>
                      <a:pt x="17996" y="0"/>
                      <a:pt x="33130" y="0"/>
                    </a:cubicBezTo>
                    <a:cubicBezTo>
                      <a:pt x="50032" y="0"/>
                      <a:pt x="61211" y="10062"/>
                      <a:pt x="61211" y="27476"/>
                    </a:cubicBezTo>
                    <a:lnTo>
                      <a:pt x="61211" y="60529"/>
                    </a:lnTo>
                    <a:cubicBezTo>
                      <a:pt x="61211" y="62160"/>
                      <a:pt x="61897" y="63107"/>
                      <a:pt x="63123" y="63107"/>
                    </a:cubicBezTo>
                    <a:lnTo>
                      <a:pt x="68713" y="63107"/>
                    </a:lnTo>
                    <a:lnTo>
                      <a:pt x="68713" y="74800"/>
                    </a:lnTo>
                    <a:lnTo>
                      <a:pt x="60262" y="74800"/>
                    </a:lnTo>
                    <a:cubicBezTo>
                      <a:pt x="53723" y="74800"/>
                      <a:pt x="50440" y="71131"/>
                      <a:pt x="50440" y="64186"/>
                    </a:cubicBezTo>
                    <a:lnTo>
                      <a:pt x="50572" y="59556"/>
                    </a:lnTo>
                    <a:lnTo>
                      <a:pt x="49346" y="59556"/>
                    </a:lnTo>
                    <a:cubicBezTo>
                      <a:pt x="44982" y="69210"/>
                      <a:pt x="35306" y="76563"/>
                      <a:pt x="22900" y="76563"/>
                    </a:cubicBezTo>
                    <a:cubicBezTo>
                      <a:pt x="10494" y="76563"/>
                      <a:pt x="0" y="68816"/>
                      <a:pt x="0" y="56294"/>
                    </a:cubicBezTo>
                    <a:close/>
                    <a:moveTo>
                      <a:pt x="25761" y="63778"/>
                    </a:moveTo>
                    <a:cubicBezTo>
                      <a:pt x="36123" y="63778"/>
                      <a:pt x="46208" y="53848"/>
                      <a:pt x="47303" y="44325"/>
                    </a:cubicBezTo>
                    <a:lnTo>
                      <a:pt x="35174" y="44325"/>
                    </a:lnTo>
                    <a:cubicBezTo>
                      <a:pt x="23454" y="44325"/>
                      <a:pt x="14185" y="47863"/>
                      <a:pt x="14185" y="55071"/>
                    </a:cubicBezTo>
                    <a:cubicBezTo>
                      <a:pt x="14185" y="60779"/>
                      <a:pt x="20052" y="63778"/>
                      <a:pt x="25774" y="63778"/>
                    </a:cubicBezTo>
                    <a:close/>
                  </a:path>
                </a:pathLst>
              </a:custGeom>
              <a:solidFill>
                <a:srgbClr val="231F20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</p:grpSp>
      <p:grpSp>
        <p:nvGrpSpPr>
          <p:cNvPr id="38" name="Grupo 37">
            <a:extLst>
              <a:ext uri="{FF2B5EF4-FFF2-40B4-BE49-F238E27FC236}">
                <a16:creationId xmlns:a16="http://schemas.microsoft.com/office/drawing/2014/main" id="{AF5AA0F8-EAA0-2AE6-C02A-02674DF5B7D9}"/>
              </a:ext>
            </a:extLst>
          </p:cNvPr>
          <p:cNvGrpSpPr>
            <a:grpSpLocks noChangeAspect="1"/>
          </p:cNvGrpSpPr>
          <p:nvPr/>
        </p:nvGrpSpPr>
        <p:grpSpPr>
          <a:xfrm>
            <a:off x="2933368" y="1263197"/>
            <a:ext cx="1305918" cy="159008"/>
            <a:chOff x="2343481" y="2242423"/>
            <a:chExt cx="4457037" cy="542686"/>
          </a:xfrm>
          <a:solidFill>
            <a:schemeClr val="bg2"/>
          </a:solidFill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20E167EA-3074-03C3-AB88-C34B287FEA8C}"/>
                </a:ext>
              </a:extLst>
            </p:cNvPr>
            <p:cNvSpPr/>
            <p:nvPr/>
          </p:nvSpPr>
          <p:spPr>
            <a:xfrm>
              <a:off x="2343481" y="2242423"/>
              <a:ext cx="529285" cy="542686"/>
            </a:xfrm>
            <a:custGeom>
              <a:avLst/>
              <a:gdLst>
                <a:gd name="connsiteX0" fmla="*/ 214189 w 529285"/>
                <a:gd name="connsiteY0" fmla="*/ 20717 h 542686"/>
                <a:gd name="connsiteX1" fmla="*/ 27607 w 529285"/>
                <a:gd name="connsiteY1" fmla="*/ 203597 h 542686"/>
                <a:gd name="connsiteX2" fmla="*/ 0 w 529285"/>
                <a:gd name="connsiteY2" fmla="*/ 269319 h 542686"/>
                <a:gd name="connsiteX3" fmla="*/ 0 w 529285"/>
                <a:gd name="connsiteY3" fmla="*/ 542687 h 542686"/>
                <a:gd name="connsiteX4" fmla="*/ 307480 w 529285"/>
                <a:gd name="connsiteY4" fmla="*/ 542687 h 542686"/>
                <a:gd name="connsiteX5" fmla="*/ 307480 w 529285"/>
                <a:gd name="connsiteY5" fmla="*/ 541734 h 542686"/>
                <a:gd name="connsiteX6" fmla="*/ 527381 w 529285"/>
                <a:gd name="connsiteY6" fmla="*/ 321707 h 542686"/>
                <a:gd name="connsiteX7" fmla="*/ 529285 w 529285"/>
                <a:gd name="connsiteY7" fmla="*/ 321707 h 542686"/>
                <a:gd name="connsiteX8" fmla="*/ 529285 w 529285"/>
                <a:gd name="connsiteY8" fmla="*/ 231219 h 542686"/>
                <a:gd name="connsiteX9" fmla="*/ 315096 w 529285"/>
                <a:gd name="connsiteY9" fmla="*/ 20717 h 542686"/>
                <a:gd name="connsiteX10" fmla="*/ 214189 w 529285"/>
                <a:gd name="connsiteY10" fmla="*/ 20717 h 542686"/>
                <a:gd name="connsiteX11" fmla="*/ 493111 w 529285"/>
                <a:gd name="connsiteY11" fmla="*/ 288369 h 542686"/>
                <a:gd name="connsiteX12" fmla="*/ 274162 w 529285"/>
                <a:gd name="connsiteY12" fmla="*/ 507444 h 542686"/>
                <a:gd name="connsiteX13" fmla="*/ 36174 w 529285"/>
                <a:gd name="connsiteY13" fmla="*/ 507444 h 542686"/>
                <a:gd name="connsiteX14" fmla="*/ 36174 w 529285"/>
                <a:gd name="connsiteY14" fmla="*/ 269319 h 542686"/>
                <a:gd name="connsiteX15" fmla="*/ 53309 w 529285"/>
                <a:gd name="connsiteY15" fmla="*/ 229314 h 542686"/>
                <a:gd name="connsiteX16" fmla="*/ 239892 w 529285"/>
                <a:gd name="connsiteY16" fmla="*/ 46434 h 542686"/>
                <a:gd name="connsiteX17" fmla="*/ 290345 w 529285"/>
                <a:gd name="connsiteY17" fmla="*/ 46434 h 542686"/>
                <a:gd name="connsiteX18" fmla="*/ 493111 w 529285"/>
                <a:gd name="connsiteY18" fmla="*/ 246459 h 542686"/>
                <a:gd name="connsiteX19" fmla="*/ 493111 w 529285"/>
                <a:gd name="connsiteY19" fmla="*/ 289322 h 54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29285" h="542686">
                  <a:moveTo>
                    <a:pt x="214189" y="20717"/>
                  </a:moveTo>
                  <a:lnTo>
                    <a:pt x="27607" y="203597"/>
                  </a:lnTo>
                  <a:cubicBezTo>
                    <a:pt x="10471" y="220742"/>
                    <a:pt x="0" y="244554"/>
                    <a:pt x="0" y="269319"/>
                  </a:cubicBezTo>
                  <a:lnTo>
                    <a:pt x="0" y="542687"/>
                  </a:lnTo>
                  <a:lnTo>
                    <a:pt x="307480" y="542687"/>
                  </a:lnTo>
                  <a:cubicBezTo>
                    <a:pt x="307480" y="542687"/>
                    <a:pt x="307480" y="541734"/>
                    <a:pt x="307480" y="541734"/>
                  </a:cubicBezTo>
                  <a:cubicBezTo>
                    <a:pt x="307480" y="420767"/>
                    <a:pt x="406483" y="321707"/>
                    <a:pt x="527381" y="321707"/>
                  </a:cubicBezTo>
                  <a:lnTo>
                    <a:pt x="529285" y="321707"/>
                  </a:lnTo>
                  <a:lnTo>
                    <a:pt x="529285" y="231219"/>
                  </a:lnTo>
                  <a:lnTo>
                    <a:pt x="315096" y="20717"/>
                  </a:lnTo>
                  <a:cubicBezTo>
                    <a:pt x="287489" y="-6906"/>
                    <a:pt x="241796" y="-6906"/>
                    <a:pt x="214189" y="20717"/>
                  </a:cubicBezTo>
                  <a:close/>
                  <a:moveTo>
                    <a:pt x="493111" y="288369"/>
                  </a:moveTo>
                  <a:cubicBezTo>
                    <a:pt x="379829" y="303609"/>
                    <a:pt x="289393" y="394097"/>
                    <a:pt x="274162" y="507444"/>
                  </a:cubicBezTo>
                  <a:lnTo>
                    <a:pt x="36174" y="507444"/>
                  </a:lnTo>
                  <a:cubicBezTo>
                    <a:pt x="36174" y="507444"/>
                    <a:pt x="36174" y="269319"/>
                    <a:pt x="36174" y="269319"/>
                  </a:cubicBezTo>
                  <a:cubicBezTo>
                    <a:pt x="36174" y="254079"/>
                    <a:pt x="41886" y="239792"/>
                    <a:pt x="53309" y="229314"/>
                  </a:cubicBezTo>
                  <a:lnTo>
                    <a:pt x="239892" y="46434"/>
                  </a:lnTo>
                  <a:cubicBezTo>
                    <a:pt x="254171" y="33099"/>
                    <a:pt x="277018" y="33099"/>
                    <a:pt x="290345" y="46434"/>
                  </a:cubicBezTo>
                  <a:lnTo>
                    <a:pt x="493111" y="246459"/>
                  </a:lnTo>
                  <a:lnTo>
                    <a:pt x="493111" y="289322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A2F848C3-3882-8077-A24D-4127D243FBEF}"/>
                </a:ext>
              </a:extLst>
            </p:cNvPr>
            <p:cNvSpPr/>
            <p:nvPr/>
          </p:nvSpPr>
          <p:spPr>
            <a:xfrm>
              <a:off x="2735685" y="2648902"/>
              <a:ext cx="135177" cy="135255"/>
            </a:xfrm>
            <a:custGeom>
              <a:avLst/>
              <a:gdLst>
                <a:gd name="connsiteX0" fmla="*/ 0 w 135177"/>
                <a:gd name="connsiteY0" fmla="*/ 135255 h 135255"/>
                <a:gd name="connsiteX1" fmla="*/ 35222 w 135177"/>
                <a:gd name="connsiteY1" fmla="*/ 135255 h 135255"/>
                <a:gd name="connsiteX2" fmla="*/ 135177 w 135177"/>
                <a:gd name="connsiteY2" fmla="*/ 35243 h 135255"/>
                <a:gd name="connsiteX3" fmla="*/ 135177 w 135177"/>
                <a:gd name="connsiteY3" fmla="*/ 0 h 135255"/>
                <a:gd name="connsiteX4" fmla="*/ 0 w 135177"/>
                <a:gd name="connsiteY4" fmla="*/ 135255 h 135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177" h="135255">
                  <a:moveTo>
                    <a:pt x="0" y="135255"/>
                  </a:moveTo>
                  <a:lnTo>
                    <a:pt x="35222" y="135255"/>
                  </a:lnTo>
                  <a:cubicBezTo>
                    <a:pt x="35222" y="80010"/>
                    <a:pt x="79964" y="35243"/>
                    <a:pt x="135177" y="35243"/>
                  </a:cubicBezTo>
                  <a:lnTo>
                    <a:pt x="135177" y="0"/>
                  </a:lnTo>
                  <a:cubicBezTo>
                    <a:pt x="60925" y="0"/>
                    <a:pt x="0" y="60960"/>
                    <a:pt x="0" y="13525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23CB3210-9B48-BEDB-FEA5-5D9E224050CB}"/>
                </a:ext>
              </a:extLst>
            </p:cNvPr>
            <p:cNvSpPr/>
            <p:nvPr/>
          </p:nvSpPr>
          <p:spPr>
            <a:xfrm>
              <a:off x="3099330" y="2380297"/>
              <a:ext cx="300816" cy="388619"/>
            </a:xfrm>
            <a:custGeom>
              <a:avLst/>
              <a:gdLst>
                <a:gd name="connsiteX0" fmla="*/ 179919 w 300816"/>
                <a:gd name="connsiteY0" fmla="*/ 168592 h 388619"/>
                <a:gd name="connsiteX1" fmla="*/ 91387 w 300816"/>
                <a:gd name="connsiteY1" fmla="*/ 107632 h 388619"/>
                <a:gd name="connsiteX2" fmla="*/ 148504 w 300816"/>
                <a:gd name="connsiteY2" fmla="*/ 64770 h 388619"/>
                <a:gd name="connsiteX3" fmla="*/ 238940 w 300816"/>
                <a:gd name="connsiteY3" fmla="*/ 122873 h 388619"/>
                <a:gd name="connsiteX4" fmla="*/ 297009 w 300816"/>
                <a:gd name="connsiteY4" fmla="*/ 93345 h 388619"/>
                <a:gd name="connsiteX5" fmla="*/ 148504 w 300816"/>
                <a:gd name="connsiteY5" fmla="*/ 0 h 388619"/>
                <a:gd name="connsiteX6" fmla="*/ 20943 w 300816"/>
                <a:gd name="connsiteY6" fmla="*/ 108585 h 388619"/>
                <a:gd name="connsiteX7" fmla="*/ 151360 w 300816"/>
                <a:gd name="connsiteY7" fmla="*/ 228600 h 388619"/>
                <a:gd name="connsiteX8" fmla="*/ 233228 w 300816"/>
                <a:gd name="connsiteY8" fmla="*/ 282892 h 388619"/>
                <a:gd name="connsiteX9" fmla="*/ 163736 w 300816"/>
                <a:gd name="connsiteY9" fmla="*/ 323850 h 388619"/>
                <a:gd name="connsiteX10" fmla="*/ 53309 w 300816"/>
                <a:gd name="connsiteY10" fmla="*/ 260032 h 388619"/>
                <a:gd name="connsiteX11" fmla="*/ 0 w 300816"/>
                <a:gd name="connsiteY11" fmla="*/ 295275 h 388619"/>
                <a:gd name="connsiteX12" fmla="*/ 160880 w 300816"/>
                <a:gd name="connsiteY12" fmla="*/ 388620 h 388619"/>
                <a:gd name="connsiteX13" fmla="*/ 300817 w 300816"/>
                <a:gd name="connsiteY13" fmla="*/ 285750 h 388619"/>
                <a:gd name="connsiteX14" fmla="*/ 179919 w 300816"/>
                <a:gd name="connsiteY14" fmla="*/ 170498 h 388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00816" h="388619">
                  <a:moveTo>
                    <a:pt x="179919" y="168592"/>
                  </a:moveTo>
                  <a:cubicBezTo>
                    <a:pt x="130417" y="152400"/>
                    <a:pt x="91387" y="140017"/>
                    <a:pt x="91387" y="107632"/>
                  </a:cubicBezTo>
                  <a:cubicBezTo>
                    <a:pt x="91387" y="75247"/>
                    <a:pt x="112330" y="64770"/>
                    <a:pt x="148504" y="64770"/>
                  </a:cubicBezTo>
                  <a:cubicBezTo>
                    <a:pt x="184679" y="64770"/>
                    <a:pt x="220853" y="83820"/>
                    <a:pt x="238940" y="122873"/>
                  </a:cubicBezTo>
                  <a:lnTo>
                    <a:pt x="297009" y="93345"/>
                  </a:lnTo>
                  <a:cubicBezTo>
                    <a:pt x="276066" y="40957"/>
                    <a:pt x="221805" y="0"/>
                    <a:pt x="148504" y="0"/>
                  </a:cubicBezTo>
                  <a:cubicBezTo>
                    <a:pt x="75204" y="0"/>
                    <a:pt x="20943" y="45720"/>
                    <a:pt x="20943" y="108585"/>
                  </a:cubicBezTo>
                  <a:cubicBezTo>
                    <a:pt x="20943" y="171450"/>
                    <a:pt x="95195" y="210502"/>
                    <a:pt x="151360" y="228600"/>
                  </a:cubicBezTo>
                  <a:cubicBezTo>
                    <a:pt x="195150" y="242888"/>
                    <a:pt x="233228" y="257175"/>
                    <a:pt x="233228" y="282892"/>
                  </a:cubicBezTo>
                  <a:cubicBezTo>
                    <a:pt x="233228" y="308610"/>
                    <a:pt x="208477" y="323850"/>
                    <a:pt x="163736" y="323850"/>
                  </a:cubicBezTo>
                  <a:cubicBezTo>
                    <a:pt x="118994" y="323850"/>
                    <a:pt x="79012" y="305753"/>
                    <a:pt x="53309" y="260032"/>
                  </a:cubicBezTo>
                  <a:lnTo>
                    <a:pt x="0" y="295275"/>
                  </a:lnTo>
                  <a:cubicBezTo>
                    <a:pt x="31414" y="360998"/>
                    <a:pt x="98051" y="387667"/>
                    <a:pt x="160880" y="388620"/>
                  </a:cubicBezTo>
                  <a:cubicBezTo>
                    <a:pt x="234180" y="388620"/>
                    <a:pt x="300817" y="352425"/>
                    <a:pt x="300817" y="285750"/>
                  </a:cubicBezTo>
                  <a:cubicBezTo>
                    <a:pt x="300817" y="219075"/>
                    <a:pt x="228468" y="186690"/>
                    <a:pt x="179919" y="170498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2" name="Forma libre 11">
              <a:extLst>
                <a:ext uri="{FF2B5EF4-FFF2-40B4-BE49-F238E27FC236}">
                  <a16:creationId xmlns:a16="http://schemas.microsoft.com/office/drawing/2014/main" id="{5459C339-3C6A-6AF5-1EA5-114869AB1350}"/>
                </a:ext>
              </a:extLst>
            </p:cNvPr>
            <p:cNvSpPr/>
            <p:nvPr/>
          </p:nvSpPr>
          <p:spPr>
            <a:xfrm>
              <a:off x="3479159" y="2379344"/>
              <a:ext cx="560699" cy="379094"/>
            </a:xfrm>
            <a:custGeom>
              <a:avLst/>
              <a:gdLst>
                <a:gd name="connsiteX0" fmla="*/ 436946 w 560699"/>
                <a:gd name="connsiteY0" fmla="*/ 0 h 379094"/>
                <a:gd name="connsiteX1" fmla="*/ 311288 w 560699"/>
                <a:gd name="connsiteY1" fmla="*/ 90488 h 379094"/>
                <a:gd name="connsiteX2" fmla="*/ 306528 w 560699"/>
                <a:gd name="connsiteY2" fmla="*/ 90488 h 379094"/>
                <a:gd name="connsiteX3" fmla="*/ 195150 w 560699"/>
                <a:gd name="connsiteY3" fmla="*/ 0 h 379094"/>
                <a:gd name="connsiteX4" fmla="*/ 73300 w 560699"/>
                <a:gd name="connsiteY4" fmla="*/ 80963 h 379094"/>
                <a:gd name="connsiteX5" fmla="*/ 68540 w 560699"/>
                <a:gd name="connsiteY5" fmla="*/ 80963 h 379094"/>
                <a:gd name="connsiteX6" fmla="*/ 68540 w 560699"/>
                <a:gd name="connsiteY6" fmla="*/ 10478 h 379094"/>
                <a:gd name="connsiteX7" fmla="*/ 0 w 560699"/>
                <a:gd name="connsiteY7" fmla="*/ 10478 h 379094"/>
                <a:gd name="connsiteX8" fmla="*/ 0 w 560699"/>
                <a:gd name="connsiteY8" fmla="*/ 379095 h 379094"/>
                <a:gd name="connsiteX9" fmla="*/ 75204 w 560699"/>
                <a:gd name="connsiteY9" fmla="*/ 379095 h 379094"/>
                <a:gd name="connsiteX10" fmla="*/ 75204 w 560699"/>
                <a:gd name="connsiteY10" fmla="*/ 186690 h 379094"/>
                <a:gd name="connsiteX11" fmla="*/ 166592 w 560699"/>
                <a:gd name="connsiteY11" fmla="*/ 63818 h 379094"/>
                <a:gd name="connsiteX12" fmla="*/ 242748 w 560699"/>
                <a:gd name="connsiteY12" fmla="*/ 157163 h 379094"/>
                <a:gd name="connsiteX13" fmla="*/ 242748 w 560699"/>
                <a:gd name="connsiteY13" fmla="*/ 379095 h 379094"/>
                <a:gd name="connsiteX14" fmla="*/ 317952 w 560699"/>
                <a:gd name="connsiteY14" fmla="*/ 379095 h 379094"/>
                <a:gd name="connsiteX15" fmla="*/ 317952 w 560699"/>
                <a:gd name="connsiteY15" fmla="*/ 180975 h 379094"/>
                <a:gd name="connsiteX16" fmla="*/ 414099 w 560699"/>
                <a:gd name="connsiteY16" fmla="*/ 63818 h 379094"/>
                <a:gd name="connsiteX17" fmla="*/ 485495 w 560699"/>
                <a:gd name="connsiteY17" fmla="*/ 157163 h 379094"/>
                <a:gd name="connsiteX18" fmla="*/ 485495 w 560699"/>
                <a:gd name="connsiteY18" fmla="*/ 379095 h 379094"/>
                <a:gd name="connsiteX19" fmla="*/ 560700 w 560699"/>
                <a:gd name="connsiteY19" fmla="*/ 379095 h 379094"/>
                <a:gd name="connsiteX20" fmla="*/ 560700 w 560699"/>
                <a:gd name="connsiteY20" fmla="*/ 146685 h 379094"/>
                <a:gd name="connsiteX21" fmla="*/ 437898 w 560699"/>
                <a:gd name="connsiteY21" fmla="*/ 0 h 379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60699" h="379094">
                  <a:moveTo>
                    <a:pt x="436946" y="0"/>
                  </a:moveTo>
                  <a:cubicBezTo>
                    <a:pt x="373165" y="0"/>
                    <a:pt x="329375" y="38100"/>
                    <a:pt x="311288" y="90488"/>
                  </a:cubicBezTo>
                  <a:lnTo>
                    <a:pt x="306528" y="90488"/>
                  </a:lnTo>
                  <a:cubicBezTo>
                    <a:pt x="293201" y="37148"/>
                    <a:pt x="256075" y="0"/>
                    <a:pt x="195150" y="0"/>
                  </a:cubicBezTo>
                  <a:cubicBezTo>
                    <a:pt x="134225" y="0"/>
                    <a:pt x="88532" y="36195"/>
                    <a:pt x="73300" y="80963"/>
                  </a:cubicBezTo>
                  <a:lnTo>
                    <a:pt x="68540" y="80963"/>
                  </a:lnTo>
                  <a:lnTo>
                    <a:pt x="68540" y="10478"/>
                  </a:lnTo>
                  <a:lnTo>
                    <a:pt x="0" y="10478"/>
                  </a:lnTo>
                  <a:lnTo>
                    <a:pt x="0" y="379095"/>
                  </a:lnTo>
                  <a:lnTo>
                    <a:pt x="75204" y="379095"/>
                  </a:lnTo>
                  <a:lnTo>
                    <a:pt x="75204" y="186690"/>
                  </a:lnTo>
                  <a:cubicBezTo>
                    <a:pt x="75204" y="134303"/>
                    <a:pt x="103763" y="63818"/>
                    <a:pt x="166592" y="63818"/>
                  </a:cubicBezTo>
                  <a:cubicBezTo>
                    <a:pt x="229420" y="63818"/>
                    <a:pt x="242748" y="92393"/>
                    <a:pt x="242748" y="157163"/>
                  </a:cubicBezTo>
                  <a:lnTo>
                    <a:pt x="242748" y="379095"/>
                  </a:lnTo>
                  <a:lnTo>
                    <a:pt x="317952" y="379095"/>
                  </a:lnTo>
                  <a:lnTo>
                    <a:pt x="317952" y="180975"/>
                  </a:lnTo>
                  <a:cubicBezTo>
                    <a:pt x="317952" y="131445"/>
                    <a:pt x="349366" y="63818"/>
                    <a:pt x="414099" y="63818"/>
                  </a:cubicBezTo>
                  <a:cubicBezTo>
                    <a:pt x="478832" y="63818"/>
                    <a:pt x="485495" y="103822"/>
                    <a:pt x="485495" y="157163"/>
                  </a:cubicBezTo>
                  <a:lnTo>
                    <a:pt x="485495" y="379095"/>
                  </a:lnTo>
                  <a:lnTo>
                    <a:pt x="560700" y="379095"/>
                  </a:lnTo>
                  <a:lnTo>
                    <a:pt x="560700" y="146685"/>
                  </a:lnTo>
                  <a:cubicBezTo>
                    <a:pt x="560700" y="56198"/>
                    <a:pt x="516910" y="0"/>
                    <a:pt x="437898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6DDA4D86-DCB9-38EC-3474-FB04834691C1}"/>
                </a:ext>
              </a:extLst>
            </p:cNvPr>
            <p:cNvSpPr/>
            <p:nvPr/>
          </p:nvSpPr>
          <p:spPr>
            <a:xfrm>
              <a:off x="4102687" y="2379344"/>
              <a:ext cx="346510" cy="387667"/>
            </a:xfrm>
            <a:custGeom>
              <a:avLst/>
              <a:gdLst>
                <a:gd name="connsiteX0" fmla="*/ 309384 w 346510"/>
                <a:gd name="connsiteY0" fmla="*/ 306705 h 387667"/>
                <a:gd name="connsiteX1" fmla="*/ 309384 w 346510"/>
                <a:gd name="connsiteY1" fmla="*/ 139065 h 387667"/>
                <a:gd name="connsiteX2" fmla="*/ 167543 w 346510"/>
                <a:gd name="connsiteY2" fmla="*/ 0 h 387667"/>
                <a:gd name="connsiteX3" fmla="*/ 9520 w 346510"/>
                <a:gd name="connsiteY3" fmla="*/ 115253 h 387667"/>
                <a:gd name="connsiteX4" fmla="*/ 71396 w 346510"/>
                <a:gd name="connsiteY4" fmla="*/ 140970 h 387667"/>
                <a:gd name="connsiteX5" fmla="*/ 167543 w 346510"/>
                <a:gd name="connsiteY5" fmla="*/ 63818 h 387667"/>
                <a:gd name="connsiteX6" fmla="*/ 238940 w 346510"/>
                <a:gd name="connsiteY6" fmla="*/ 146685 h 387667"/>
                <a:gd name="connsiteX7" fmla="*/ 238940 w 346510"/>
                <a:gd name="connsiteY7" fmla="*/ 169545 h 387667"/>
                <a:gd name="connsiteX8" fmla="*/ 152312 w 346510"/>
                <a:gd name="connsiteY8" fmla="*/ 169545 h 387667"/>
                <a:gd name="connsiteX9" fmla="*/ 0 w 346510"/>
                <a:gd name="connsiteY9" fmla="*/ 284797 h 387667"/>
                <a:gd name="connsiteX10" fmla="*/ 115186 w 346510"/>
                <a:gd name="connsiteY10" fmla="*/ 387668 h 387667"/>
                <a:gd name="connsiteX11" fmla="*/ 248459 w 346510"/>
                <a:gd name="connsiteY11" fmla="*/ 301943 h 387667"/>
                <a:gd name="connsiteX12" fmla="*/ 255123 w 346510"/>
                <a:gd name="connsiteY12" fmla="*/ 301943 h 387667"/>
                <a:gd name="connsiteX13" fmla="*/ 255123 w 346510"/>
                <a:gd name="connsiteY13" fmla="*/ 325755 h 387667"/>
                <a:gd name="connsiteX14" fmla="*/ 303673 w 346510"/>
                <a:gd name="connsiteY14" fmla="*/ 379095 h 387667"/>
                <a:gd name="connsiteX15" fmla="*/ 346511 w 346510"/>
                <a:gd name="connsiteY15" fmla="*/ 379095 h 387667"/>
                <a:gd name="connsiteX16" fmla="*/ 346511 w 346510"/>
                <a:gd name="connsiteY16" fmla="*/ 320040 h 387667"/>
                <a:gd name="connsiteX17" fmla="*/ 317952 w 346510"/>
                <a:gd name="connsiteY17" fmla="*/ 320040 h 387667"/>
                <a:gd name="connsiteX18" fmla="*/ 308432 w 346510"/>
                <a:gd name="connsiteY18" fmla="*/ 306705 h 387667"/>
                <a:gd name="connsiteX19" fmla="*/ 130417 w 346510"/>
                <a:gd name="connsiteY19" fmla="*/ 322897 h 387667"/>
                <a:gd name="connsiteX20" fmla="*/ 72348 w 346510"/>
                <a:gd name="connsiteY20" fmla="*/ 279083 h 387667"/>
                <a:gd name="connsiteX21" fmla="*/ 178015 w 346510"/>
                <a:gd name="connsiteY21" fmla="*/ 224790 h 387667"/>
                <a:gd name="connsiteX22" fmla="*/ 238940 w 346510"/>
                <a:gd name="connsiteY22" fmla="*/ 224790 h 387667"/>
                <a:gd name="connsiteX23" fmla="*/ 130417 w 346510"/>
                <a:gd name="connsiteY23" fmla="*/ 322897 h 387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46510" h="387667">
                  <a:moveTo>
                    <a:pt x="309384" y="306705"/>
                  </a:moveTo>
                  <a:lnTo>
                    <a:pt x="309384" y="139065"/>
                  </a:lnTo>
                  <a:cubicBezTo>
                    <a:pt x="309384" y="50482"/>
                    <a:pt x="253219" y="0"/>
                    <a:pt x="167543" y="0"/>
                  </a:cubicBezTo>
                  <a:cubicBezTo>
                    <a:pt x="81868" y="0"/>
                    <a:pt x="34270" y="42863"/>
                    <a:pt x="9520" y="115253"/>
                  </a:cubicBezTo>
                  <a:lnTo>
                    <a:pt x="71396" y="140970"/>
                  </a:lnTo>
                  <a:cubicBezTo>
                    <a:pt x="93291" y="87630"/>
                    <a:pt x="119946" y="63818"/>
                    <a:pt x="167543" y="63818"/>
                  </a:cubicBezTo>
                  <a:cubicBezTo>
                    <a:pt x="215141" y="63818"/>
                    <a:pt x="238940" y="92393"/>
                    <a:pt x="238940" y="146685"/>
                  </a:cubicBezTo>
                  <a:lnTo>
                    <a:pt x="238940" y="169545"/>
                  </a:lnTo>
                  <a:lnTo>
                    <a:pt x="152312" y="169545"/>
                  </a:lnTo>
                  <a:cubicBezTo>
                    <a:pt x="72348" y="169545"/>
                    <a:pt x="0" y="209550"/>
                    <a:pt x="0" y="284797"/>
                  </a:cubicBezTo>
                  <a:cubicBezTo>
                    <a:pt x="0" y="360045"/>
                    <a:pt x="51405" y="387668"/>
                    <a:pt x="115186" y="387668"/>
                  </a:cubicBezTo>
                  <a:cubicBezTo>
                    <a:pt x="178967" y="387668"/>
                    <a:pt x="226565" y="350520"/>
                    <a:pt x="248459" y="301943"/>
                  </a:cubicBezTo>
                  <a:lnTo>
                    <a:pt x="255123" y="301943"/>
                  </a:lnTo>
                  <a:lnTo>
                    <a:pt x="255123" y="325755"/>
                  </a:lnTo>
                  <a:cubicBezTo>
                    <a:pt x="255123" y="360997"/>
                    <a:pt x="271306" y="379095"/>
                    <a:pt x="303673" y="379095"/>
                  </a:cubicBezTo>
                  <a:lnTo>
                    <a:pt x="346511" y="379095"/>
                  </a:lnTo>
                  <a:lnTo>
                    <a:pt x="346511" y="320040"/>
                  </a:lnTo>
                  <a:lnTo>
                    <a:pt x="317952" y="320040"/>
                  </a:lnTo>
                  <a:cubicBezTo>
                    <a:pt x="311288" y="320040"/>
                    <a:pt x="308432" y="315278"/>
                    <a:pt x="308432" y="306705"/>
                  </a:cubicBezTo>
                  <a:close/>
                  <a:moveTo>
                    <a:pt x="130417" y="322897"/>
                  </a:moveTo>
                  <a:cubicBezTo>
                    <a:pt x="101859" y="322897"/>
                    <a:pt x="72348" y="307658"/>
                    <a:pt x="72348" y="279083"/>
                  </a:cubicBezTo>
                  <a:cubicBezTo>
                    <a:pt x="72348" y="250508"/>
                    <a:pt x="118994" y="224790"/>
                    <a:pt x="178015" y="224790"/>
                  </a:cubicBezTo>
                  <a:lnTo>
                    <a:pt x="238940" y="224790"/>
                  </a:lnTo>
                  <a:cubicBezTo>
                    <a:pt x="233228" y="273368"/>
                    <a:pt x="182775" y="322897"/>
                    <a:pt x="130417" y="32289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AEB1E160-8210-1722-2E6C-72FE6D80F078}"/>
                </a:ext>
              </a:extLst>
            </p:cNvPr>
            <p:cNvSpPr/>
            <p:nvPr/>
          </p:nvSpPr>
          <p:spPr>
            <a:xfrm>
              <a:off x="4511075" y="2389822"/>
              <a:ext cx="193246" cy="368617"/>
            </a:xfrm>
            <a:custGeom>
              <a:avLst/>
              <a:gdLst>
                <a:gd name="connsiteX0" fmla="*/ 71396 w 193246"/>
                <a:gd name="connsiteY0" fmla="*/ 67627 h 368617"/>
                <a:gd name="connsiteX1" fmla="*/ 66637 w 193246"/>
                <a:gd name="connsiteY1" fmla="*/ 67627 h 368617"/>
                <a:gd name="connsiteX2" fmla="*/ 66637 w 193246"/>
                <a:gd name="connsiteY2" fmla="*/ 0 h 368617"/>
                <a:gd name="connsiteX3" fmla="*/ 0 w 193246"/>
                <a:gd name="connsiteY3" fmla="*/ 0 h 368617"/>
                <a:gd name="connsiteX4" fmla="*/ 0 w 193246"/>
                <a:gd name="connsiteY4" fmla="*/ 368617 h 368617"/>
                <a:gd name="connsiteX5" fmla="*/ 75204 w 193246"/>
                <a:gd name="connsiteY5" fmla="*/ 368617 h 368617"/>
                <a:gd name="connsiteX6" fmla="*/ 75204 w 193246"/>
                <a:gd name="connsiteY6" fmla="*/ 155257 h 368617"/>
                <a:gd name="connsiteX7" fmla="*/ 144696 w 193246"/>
                <a:gd name="connsiteY7" fmla="*/ 81915 h 368617"/>
                <a:gd name="connsiteX8" fmla="*/ 193246 w 193246"/>
                <a:gd name="connsiteY8" fmla="*/ 81915 h 368617"/>
                <a:gd name="connsiteX9" fmla="*/ 193246 w 193246"/>
                <a:gd name="connsiteY9" fmla="*/ 0 h 368617"/>
                <a:gd name="connsiteX10" fmla="*/ 169447 w 193246"/>
                <a:gd name="connsiteY10" fmla="*/ 0 h 368617"/>
                <a:gd name="connsiteX11" fmla="*/ 71396 w 193246"/>
                <a:gd name="connsiteY11" fmla="*/ 68580 h 368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3246" h="368617">
                  <a:moveTo>
                    <a:pt x="71396" y="67627"/>
                  </a:moveTo>
                  <a:lnTo>
                    <a:pt x="66637" y="67627"/>
                  </a:lnTo>
                  <a:lnTo>
                    <a:pt x="66637" y="0"/>
                  </a:lnTo>
                  <a:lnTo>
                    <a:pt x="0" y="0"/>
                  </a:lnTo>
                  <a:lnTo>
                    <a:pt x="0" y="368617"/>
                  </a:lnTo>
                  <a:lnTo>
                    <a:pt x="75204" y="368617"/>
                  </a:lnTo>
                  <a:lnTo>
                    <a:pt x="75204" y="155257"/>
                  </a:lnTo>
                  <a:cubicBezTo>
                    <a:pt x="75204" y="107632"/>
                    <a:pt x="93291" y="81915"/>
                    <a:pt x="144696" y="81915"/>
                  </a:cubicBezTo>
                  <a:lnTo>
                    <a:pt x="193246" y="81915"/>
                  </a:lnTo>
                  <a:lnTo>
                    <a:pt x="193246" y="0"/>
                  </a:lnTo>
                  <a:lnTo>
                    <a:pt x="169447" y="0"/>
                  </a:lnTo>
                  <a:cubicBezTo>
                    <a:pt x="126609" y="0"/>
                    <a:pt x="86628" y="14288"/>
                    <a:pt x="71396" y="6858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B2BD74C3-C20A-FFCC-C14C-B384768F8E94}"/>
                </a:ext>
              </a:extLst>
            </p:cNvPr>
            <p:cNvSpPr/>
            <p:nvPr/>
          </p:nvSpPr>
          <p:spPr>
            <a:xfrm>
              <a:off x="4713840" y="2306955"/>
              <a:ext cx="223708" cy="451484"/>
            </a:xfrm>
            <a:custGeom>
              <a:avLst/>
              <a:gdLst>
                <a:gd name="connsiteX0" fmla="*/ 131370 w 223708"/>
                <a:gd name="connsiteY0" fmla="*/ 0 h 451484"/>
                <a:gd name="connsiteX1" fmla="*/ 61877 w 223708"/>
                <a:gd name="connsiteY1" fmla="*/ 0 h 451484"/>
                <a:gd name="connsiteX2" fmla="*/ 57117 w 223708"/>
                <a:gd name="connsiteY2" fmla="*/ 82868 h 451484"/>
                <a:gd name="connsiteX3" fmla="*/ 0 w 223708"/>
                <a:gd name="connsiteY3" fmla="*/ 82868 h 451484"/>
                <a:gd name="connsiteX4" fmla="*/ 0 w 223708"/>
                <a:gd name="connsiteY4" fmla="*/ 142875 h 451484"/>
                <a:gd name="connsiteX5" fmla="*/ 57117 w 223708"/>
                <a:gd name="connsiteY5" fmla="*/ 142875 h 451484"/>
                <a:gd name="connsiteX6" fmla="*/ 57117 w 223708"/>
                <a:gd name="connsiteY6" fmla="*/ 370522 h 451484"/>
                <a:gd name="connsiteX7" fmla="*/ 120898 w 223708"/>
                <a:gd name="connsiteY7" fmla="*/ 451485 h 451484"/>
                <a:gd name="connsiteX8" fmla="*/ 223709 w 223708"/>
                <a:gd name="connsiteY8" fmla="*/ 451485 h 451484"/>
                <a:gd name="connsiteX9" fmla="*/ 223709 w 223708"/>
                <a:gd name="connsiteY9" fmla="*/ 384810 h 451484"/>
                <a:gd name="connsiteX10" fmla="*/ 147553 w 223708"/>
                <a:gd name="connsiteY10" fmla="*/ 384810 h 451484"/>
                <a:gd name="connsiteX11" fmla="*/ 133273 w 223708"/>
                <a:gd name="connsiteY11" fmla="*/ 366712 h 451484"/>
                <a:gd name="connsiteX12" fmla="*/ 133273 w 223708"/>
                <a:gd name="connsiteY12" fmla="*/ 142875 h 451484"/>
                <a:gd name="connsiteX13" fmla="*/ 223709 w 223708"/>
                <a:gd name="connsiteY13" fmla="*/ 142875 h 451484"/>
                <a:gd name="connsiteX14" fmla="*/ 223709 w 223708"/>
                <a:gd name="connsiteY14" fmla="*/ 82868 h 451484"/>
                <a:gd name="connsiteX15" fmla="*/ 132321 w 223708"/>
                <a:gd name="connsiteY15" fmla="*/ 82868 h 451484"/>
                <a:gd name="connsiteX16" fmla="*/ 132321 w 223708"/>
                <a:gd name="connsiteY16" fmla="*/ 0 h 451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3708" h="451484">
                  <a:moveTo>
                    <a:pt x="131370" y="0"/>
                  </a:moveTo>
                  <a:lnTo>
                    <a:pt x="61877" y="0"/>
                  </a:lnTo>
                  <a:lnTo>
                    <a:pt x="57117" y="82868"/>
                  </a:lnTo>
                  <a:lnTo>
                    <a:pt x="0" y="82868"/>
                  </a:lnTo>
                  <a:lnTo>
                    <a:pt x="0" y="142875"/>
                  </a:lnTo>
                  <a:lnTo>
                    <a:pt x="57117" y="142875"/>
                  </a:lnTo>
                  <a:lnTo>
                    <a:pt x="57117" y="370522"/>
                  </a:lnTo>
                  <a:cubicBezTo>
                    <a:pt x="57117" y="424815"/>
                    <a:pt x="79012" y="451485"/>
                    <a:pt x="120898" y="451485"/>
                  </a:cubicBezTo>
                  <a:lnTo>
                    <a:pt x="223709" y="451485"/>
                  </a:lnTo>
                  <a:lnTo>
                    <a:pt x="223709" y="384810"/>
                  </a:lnTo>
                  <a:lnTo>
                    <a:pt x="147553" y="384810"/>
                  </a:lnTo>
                  <a:cubicBezTo>
                    <a:pt x="136129" y="384810"/>
                    <a:pt x="133273" y="381000"/>
                    <a:pt x="133273" y="366712"/>
                  </a:cubicBezTo>
                  <a:lnTo>
                    <a:pt x="133273" y="142875"/>
                  </a:lnTo>
                  <a:lnTo>
                    <a:pt x="223709" y="142875"/>
                  </a:lnTo>
                  <a:lnTo>
                    <a:pt x="223709" y="82868"/>
                  </a:lnTo>
                  <a:lnTo>
                    <a:pt x="132321" y="82868"/>
                  </a:lnTo>
                  <a:lnTo>
                    <a:pt x="132321" y="0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EA503E33-D13B-3114-C848-DE8ADDC2D374}"/>
                </a:ext>
              </a:extLst>
            </p:cNvPr>
            <p:cNvSpPr/>
            <p:nvPr/>
          </p:nvSpPr>
          <p:spPr>
            <a:xfrm>
              <a:off x="5014657" y="2251710"/>
              <a:ext cx="321759" cy="505777"/>
            </a:xfrm>
            <a:custGeom>
              <a:avLst/>
              <a:gdLst>
                <a:gd name="connsiteX0" fmla="*/ 198958 w 321759"/>
                <a:gd name="connsiteY0" fmla="*/ 126682 h 505777"/>
                <a:gd name="connsiteX1" fmla="*/ 75204 w 321759"/>
                <a:gd name="connsiteY1" fmla="*/ 207645 h 505777"/>
                <a:gd name="connsiteX2" fmla="*/ 70444 w 321759"/>
                <a:gd name="connsiteY2" fmla="*/ 207645 h 505777"/>
                <a:gd name="connsiteX3" fmla="*/ 70444 w 321759"/>
                <a:gd name="connsiteY3" fmla="*/ 0 h 505777"/>
                <a:gd name="connsiteX4" fmla="*/ 0 w 321759"/>
                <a:gd name="connsiteY4" fmla="*/ 0 h 505777"/>
                <a:gd name="connsiteX5" fmla="*/ 0 w 321759"/>
                <a:gd name="connsiteY5" fmla="*/ 505778 h 505777"/>
                <a:gd name="connsiteX6" fmla="*/ 75204 w 321759"/>
                <a:gd name="connsiteY6" fmla="*/ 505778 h 505777"/>
                <a:gd name="connsiteX7" fmla="*/ 75204 w 321759"/>
                <a:gd name="connsiteY7" fmla="*/ 315278 h 505777"/>
                <a:gd name="connsiteX8" fmla="*/ 173255 w 321759"/>
                <a:gd name="connsiteY8" fmla="*/ 189547 h 505777"/>
                <a:gd name="connsiteX9" fmla="*/ 246555 w 321759"/>
                <a:gd name="connsiteY9" fmla="*/ 284798 h 505777"/>
                <a:gd name="connsiteX10" fmla="*/ 246555 w 321759"/>
                <a:gd name="connsiteY10" fmla="*/ 504825 h 505777"/>
                <a:gd name="connsiteX11" fmla="*/ 321760 w 321759"/>
                <a:gd name="connsiteY11" fmla="*/ 504825 h 505777"/>
                <a:gd name="connsiteX12" fmla="*/ 321760 w 321759"/>
                <a:gd name="connsiteY12" fmla="*/ 272415 h 505777"/>
                <a:gd name="connsiteX13" fmla="*/ 198958 w 321759"/>
                <a:gd name="connsiteY13" fmla="*/ 125730 h 505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1759" h="505777">
                  <a:moveTo>
                    <a:pt x="198958" y="126682"/>
                  </a:moveTo>
                  <a:cubicBezTo>
                    <a:pt x="135177" y="126682"/>
                    <a:pt x="97099" y="162877"/>
                    <a:pt x="75204" y="207645"/>
                  </a:cubicBezTo>
                  <a:lnTo>
                    <a:pt x="70444" y="207645"/>
                  </a:lnTo>
                  <a:lnTo>
                    <a:pt x="70444" y="0"/>
                  </a:lnTo>
                  <a:lnTo>
                    <a:pt x="0" y="0"/>
                  </a:lnTo>
                  <a:lnTo>
                    <a:pt x="0" y="505778"/>
                  </a:lnTo>
                  <a:lnTo>
                    <a:pt x="75204" y="505778"/>
                  </a:lnTo>
                  <a:lnTo>
                    <a:pt x="75204" y="315278"/>
                  </a:lnTo>
                  <a:cubicBezTo>
                    <a:pt x="75204" y="260985"/>
                    <a:pt x="105667" y="189547"/>
                    <a:pt x="173255" y="189547"/>
                  </a:cubicBezTo>
                  <a:cubicBezTo>
                    <a:pt x="240844" y="189547"/>
                    <a:pt x="246555" y="215265"/>
                    <a:pt x="246555" y="284798"/>
                  </a:cubicBezTo>
                  <a:lnTo>
                    <a:pt x="246555" y="504825"/>
                  </a:lnTo>
                  <a:lnTo>
                    <a:pt x="321760" y="504825"/>
                  </a:lnTo>
                  <a:lnTo>
                    <a:pt x="321760" y="272415"/>
                  </a:lnTo>
                  <a:cubicBezTo>
                    <a:pt x="321760" y="186690"/>
                    <a:pt x="282730" y="125730"/>
                    <a:pt x="198958" y="12573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3" name="Forma libre 32">
              <a:extLst>
                <a:ext uri="{FF2B5EF4-FFF2-40B4-BE49-F238E27FC236}">
                  <a16:creationId xmlns:a16="http://schemas.microsoft.com/office/drawing/2014/main" id="{34C06F23-E3B5-7C2B-D679-F1070CC6BB16}"/>
                </a:ext>
              </a:extLst>
            </p:cNvPr>
            <p:cNvSpPr/>
            <p:nvPr/>
          </p:nvSpPr>
          <p:spPr>
            <a:xfrm>
              <a:off x="5403053" y="2379344"/>
              <a:ext cx="355078" cy="388619"/>
            </a:xfrm>
            <a:custGeom>
              <a:avLst/>
              <a:gdLst>
                <a:gd name="connsiteX0" fmla="*/ 179919 w 355078"/>
                <a:gd name="connsiteY0" fmla="*/ 0 h 388619"/>
                <a:gd name="connsiteX1" fmla="*/ 0 w 355078"/>
                <a:gd name="connsiteY1" fmla="*/ 194310 h 388619"/>
                <a:gd name="connsiteX2" fmla="*/ 177063 w 355078"/>
                <a:gd name="connsiteY2" fmla="*/ 388620 h 388619"/>
                <a:gd name="connsiteX3" fmla="*/ 355078 w 355078"/>
                <a:gd name="connsiteY3" fmla="*/ 193358 h 388619"/>
                <a:gd name="connsiteX4" fmla="*/ 179919 w 355078"/>
                <a:gd name="connsiteY4" fmla="*/ 0 h 388619"/>
                <a:gd name="connsiteX5" fmla="*/ 178015 w 355078"/>
                <a:gd name="connsiteY5" fmla="*/ 323850 h 388619"/>
                <a:gd name="connsiteX6" fmla="*/ 72348 w 355078"/>
                <a:gd name="connsiteY6" fmla="*/ 194310 h 388619"/>
                <a:gd name="connsiteX7" fmla="*/ 179919 w 355078"/>
                <a:gd name="connsiteY7" fmla="*/ 64770 h 388619"/>
                <a:gd name="connsiteX8" fmla="*/ 284634 w 355078"/>
                <a:gd name="connsiteY8" fmla="*/ 194310 h 388619"/>
                <a:gd name="connsiteX9" fmla="*/ 178967 w 355078"/>
                <a:gd name="connsiteY9" fmla="*/ 323850 h 388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078" h="388619">
                  <a:moveTo>
                    <a:pt x="179919" y="0"/>
                  </a:moveTo>
                  <a:cubicBezTo>
                    <a:pt x="74252" y="0"/>
                    <a:pt x="0" y="80963"/>
                    <a:pt x="0" y="194310"/>
                  </a:cubicBezTo>
                  <a:cubicBezTo>
                    <a:pt x="0" y="307658"/>
                    <a:pt x="71396" y="388620"/>
                    <a:pt x="177063" y="388620"/>
                  </a:cubicBezTo>
                  <a:cubicBezTo>
                    <a:pt x="282730" y="388620"/>
                    <a:pt x="355078" y="302895"/>
                    <a:pt x="355078" y="193358"/>
                  </a:cubicBezTo>
                  <a:cubicBezTo>
                    <a:pt x="355078" y="83820"/>
                    <a:pt x="285586" y="0"/>
                    <a:pt x="179919" y="0"/>
                  </a:cubicBezTo>
                  <a:close/>
                  <a:moveTo>
                    <a:pt x="178015" y="323850"/>
                  </a:moveTo>
                  <a:cubicBezTo>
                    <a:pt x="109474" y="323850"/>
                    <a:pt x="72348" y="265747"/>
                    <a:pt x="72348" y="194310"/>
                  </a:cubicBezTo>
                  <a:cubicBezTo>
                    <a:pt x="72348" y="122872"/>
                    <a:pt x="110426" y="64770"/>
                    <a:pt x="179919" y="64770"/>
                  </a:cubicBezTo>
                  <a:cubicBezTo>
                    <a:pt x="249411" y="64770"/>
                    <a:pt x="284634" y="122872"/>
                    <a:pt x="284634" y="194310"/>
                  </a:cubicBezTo>
                  <a:cubicBezTo>
                    <a:pt x="284634" y="265747"/>
                    <a:pt x="246556" y="323850"/>
                    <a:pt x="178967" y="32385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4" name="Forma libre 33">
              <a:extLst>
                <a:ext uri="{FF2B5EF4-FFF2-40B4-BE49-F238E27FC236}">
                  <a16:creationId xmlns:a16="http://schemas.microsoft.com/office/drawing/2014/main" id="{82570FBD-D89B-3D83-3AB8-DA56398A61FE}"/>
                </a:ext>
              </a:extLst>
            </p:cNvPr>
            <p:cNvSpPr/>
            <p:nvPr/>
          </p:nvSpPr>
          <p:spPr>
            <a:xfrm>
              <a:off x="5829528" y="2379344"/>
              <a:ext cx="560699" cy="379094"/>
            </a:xfrm>
            <a:custGeom>
              <a:avLst/>
              <a:gdLst>
                <a:gd name="connsiteX0" fmla="*/ 436946 w 560699"/>
                <a:gd name="connsiteY0" fmla="*/ 0 h 379094"/>
                <a:gd name="connsiteX1" fmla="*/ 311288 w 560699"/>
                <a:gd name="connsiteY1" fmla="*/ 90488 h 379094"/>
                <a:gd name="connsiteX2" fmla="*/ 306528 w 560699"/>
                <a:gd name="connsiteY2" fmla="*/ 90488 h 379094"/>
                <a:gd name="connsiteX3" fmla="*/ 195150 w 560699"/>
                <a:gd name="connsiteY3" fmla="*/ 0 h 379094"/>
                <a:gd name="connsiteX4" fmla="*/ 73300 w 560699"/>
                <a:gd name="connsiteY4" fmla="*/ 80963 h 379094"/>
                <a:gd name="connsiteX5" fmla="*/ 68540 w 560699"/>
                <a:gd name="connsiteY5" fmla="*/ 80963 h 379094"/>
                <a:gd name="connsiteX6" fmla="*/ 68540 w 560699"/>
                <a:gd name="connsiteY6" fmla="*/ 10478 h 379094"/>
                <a:gd name="connsiteX7" fmla="*/ 0 w 560699"/>
                <a:gd name="connsiteY7" fmla="*/ 10478 h 379094"/>
                <a:gd name="connsiteX8" fmla="*/ 0 w 560699"/>
                <a:gd name="connsiteY8" fmla="*/ 379095 h 379094"/>
                <a:gd name="connsiteX9" fmla="*/ 75204 w 560699"/>
                <a:gd name="connsiteY9" fmla="*/ 379095 h 379094"/>
                <a:gd name="connsiteX10" fmla="*/ 75204 w 560699"/>
                <a:gd name="connsiteY10" fmla="*/ 186690 h 379094"/>
                <a:gd name="connsiteX11" fmla="*/ 166592 w 560699"/>
                <a:gd name="connsiteY11" fmla="*/ 63818 h 379094"/>
                <a:gd name="connsiteX12" fmla="*/ 242748 w 560699"/>
                <a:gd name="connsiteY12" fmla="*/ 157163 h 379094"/>
                <a:gd name="connsiteX13" fmla="*/ 242748 w 560699"/>
                <a:gd name="connsiteY13" fmla="*/ 379095 h 379094"/>
                <a:gd name="connsiteX14" fmla="*/ 317952 w 560699"/>
                <a:gd name="connsiteY14" fmla="*/ 379095 h 379094"/>
                <a:gd name="connsiteX15" fmla="*/ 317952 w 560699"/>
                <a:gd name="connsiteY15" fmla="*/ 180975 h 379094"/>
                <a:gd name="connsiteX16" fmla="*/ 414099 w 560699"/>
                <a:gd name="connsiteY16" fmla="*/ 63818 h 379094"/>
                <a:gd name="connsiteX17" fmla="*/ 485495 w 560699"/>
                <a:gd name="connsiteY17" fmla="*/ 157163 h 379094"/>
                <a:gd name="connsiteX18" fmla="*/ 485495 w 560699"/>
                <a:gd name="connsiteY18" fmla="*/ 379095 h 379094"/>
                <a:gd name="connsiteX19" fmla="*/ 560699 w 560699"/>
                <a:gd name="connsiteY19" fmla="*/ 379095 h 379094"/>
                <a:gd name="connsiteX20" fmla="*/ 560699 w 560699"/>
                <a:gd name="connsiteY20" fmla="*/ 146685 h 379094"/>
                <a:gd name="connsiteX21" fmla="*/ 437898 w 560699"/>
                <a:gd name="connsiteY21" fmla="*/ 0 h 379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60699" h="379094">
                  <a:moveTo>
                    <a:pt x="436946" y="0"/>
                  </a:moveTo>
                  <a:cubicBezTo>
                    <a:pt x="373165" y="0"/>
                    <a:pt x="329375" y="38100"/>
                    <a:pt x="311288" y="90488"/>
                  </a:cubicBezTo>
                  <a:lnTo>
                    <a:pt x="306528" y="90488"/>
                  </a:lnTo>
                  <a:cubicBezTo>
                    <a:pt x="293201" y="37148"/>
                    <a:pt x="256075" y="0"/>
                    <a:pt x="195150" y="0"/>
                  </a:cubicBezTo>
                  <a:cubicBezTo>
                    <a:pt x="134225" y="0"/>
                    <a:pt x="88531" y="36195"/>
                    <a:pt x="73300" y="80963"/>
                  </a:cubicBezTo>
                  <a:lnTo>
                    <a:pt x="68540" y="80963"/>
                  </a:lnTo>
                  <a:lnTo>
                    <a:pt x="68540" y="10478"/>
                  </a:lnTo>
                  <a:lnTo>
                    <a:pt x="0" y="10478"/>
                  </a:lnTo>
                  <a:lnTo>
                    <a:pt x="0" y="379095"/>
                  </a:lnTo>
                  <a:lnTo>
                    <a:pt x="75204" y="379095"/>
                  </a:lnTo>
                  <a:lnTo>
                    <a:pt x="75204" y="186690"/>
                  </a:lnTo>
                  <a:cubicBezTo>
                    <a:pt x="75204" y="134303"/>
                    <a:pt x="103763" y="63818"/>
                    <a:pt x="166592" y="63818"/>
                  </a:cubicBezTo>
                  <a:cubicBezTo>
                    <a:pt x="229420" y="63818"/>
                    <a:pt x="242748" y="92393"/>
                    <a:pt x="242748" y="157163"/>
                  </a:cubicBezTo>
                  <a:lnTo>
                    <a:pt x="242748" y="379095"/>
                  </a:lnTo>
                  <a:lnTo>
                    <a:pt x="317952" y="379095"/>
                  </a:lnTo>
                  <a:lnTo>
                    <a:pt x="317952" y="180975"/>
                  </a:lnTo>
                  <a:cubicBezTo>
                    <a:pt x="317952" y="131445"/>
                    <a:pt x="349366" y="63818"/>
                    <a:pt x="414099" y="63818"/>
                  </a:cubicBezTo>
                  <a:cubicBezTo>
                    <a:pt x="478832" y="63818"/>
                    <a:pt x="485495" y="103822"/>
                    <a:pt x="485495" y="157163"/>
                  </a:cubicBezTo>
                  <a:lnTo>
                    <a:pt x="485495" y="379095"/>
                  </a:lnTo>
                  <a:lnTo>
                    <a:pt x="560699" y="379095"/>
                  </a:lnTo>
                  <a:lnTo>
                    <a:pt x="560699" y="146685"/>
                  </a:lnTo>
                  <a:cubicBezTo>
                    <a:pt x="560699" y="56198"/>
                    <a:pt x="516910" y="0"/>
                    <a:pt x="437898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7" name="Forma libre 36">
              <a:extLst>
                <a:ext uri="{FF2B5EF4-FFF2-40B4-BE49-F238E27FC236}">
                  <a16:creationId xmlns:a16="http://schemas.microsoft.com/office/drawing/2014/main" id="{2827A059-39C3-A464-263A-B37FC75EAEC8}"/>
                </a:ext>
              </a:extLst>
            </p:cNvPr>
            <p:cNvSpPr/>
            <p:nvPr/>
          </p:nvSpPr>
          <p:spPr>
            <a:xfrm>
              <a:off x="6456864" y="2379344"/>
              <a:ext cx="343654" cy="389572"/>
            </a:xfrm>
            <a:custGeom>
              <a:avLst/>
              <a:gdLst>
                <a:gd name="connsiteX0" fmla="*/ 343654 w 343654"/>
                <a:gd name="connsiteY0" fmla="*/ 176213 h 389572"/>
                <a:gd name="connsiteX1" fmla="*/ 178015 w 343654"/>
                <a:gd name="connsiteY1" fmla="*/ 0 h 389572"/>
                <a:gd name="connsiteX2" fmla="*/ 0 w 343654"/>
                <a:gd name="connsiteY2" fmla="*/ 195263 h 389572"/>
                <a:gd name="connsiteX3" fmla="*/ 185631 w 343654"/>
                <a:gd name="connsiteY3" fmla="*/ 389572 h 389572"/>
                <a:gd name="connsiteX4" fmla="*/ 337943 w 343654"/>
                <a:gd name="connsiteY4" fmla="*/ 316230 h 389572"/>
                <a:gd name="connsiteX5" fmla="*/ 297009 w 343654"/>
                <a:gd name="connsiteY5" fmla="*/ 272415 h 389572"/>
                <a:gd name="connsiteX6" fmla="*/ 186583 w 343654"/>
                <a:gd name="connsiteY6" fmla="*/ 324803 h 389572"/>
                <a:gd name="connsiteX7" fmla="*/ 74252 w 343654"/>
                <a:gd name="connsiteY7" fmla="*/ 225743 h 389572"/>
                <a:gd name="connsiteX8" fmla="*/ 343654 w 343654"/>
                <a:gd name="connsiteY8" fmla="*/ 225743 h 389572"/>
                <a:gd name="connsiteX9" fmla="*/ 343654 w 343654"/>
                <a:gd name="connsiteY9" fmla="*/ 177165 h 389572"/>
                <a:gd name="connsiteX10" fmla="*/ 73300 w 343654"/>
                <a:gd name="connsiteY10" fmla="*/ 167640 h 389572"/>
                <a:gd name="connsiteX11" fmla="*/ 174207 w 343654"/>
                <a:gd name="connsiteY11" fmla="*/ 64770 h 389572"/>
                <a:gd name="connsiteX12" fmla="*/ 271306 w 343654"/>
                <a:gd name="connsiteY12" fmla="*/ 167640 h 389572"/>
                <a:gd name="connsiteX13" fmla="*/ 73300 w 343654"/>
                <a:gd name="connsiteY13" fmla="*/ 167640 h 38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3654" h="389572">
                  <a:moveTo>
                    <a:pt x="343654" y="176213"/>
                  </a:moveTo>
                  <a:cubicBezTo>
                    <a:pt x="343654" y="82868"/>
                    <a:pt x="282730" y="0"/>
                    <a:pt x="178015" y="0"/>
                  </a:cubicBezTo>
                  <a:cubicBezTo>
                    <a:pt x="73300" y="0"/>
                    <a:pt x="0" y="82868"/>
                    <a:pt x="0" y="195263"/>
                  </a:cubicBezTo>
                  <a:cubicBezTo>
                    <a:pt x="0" y="307658"/>
                    <a:pt x="91387" y="389572"/>
                    <a:pt x="185631" y="389572"/>
                  </a:cubicBezTo>
                  <a:cubicBezTo>
                    <a:pt x="279874" y="389572"/>
                    <a:pt x="299865" y="364808"/>
                    <a:pt x="337943" y="316230"/>
                  </a:cubicBezTo>
                  <a:lnTo>
                    <a:pt x="297009" y="272415"/>
                  </a:lnTo>
                  <a:cubicBezTo>
                    <a:pt x="265595" y="307658"/>
                    <a:pt x="225613" y="324803"/>
                    <a:pt x="186583" y="324803"/>
                  </a:cubicBezTo>
                  <a:cubicBezTo>
                    <a:pt x="147553" y="324803"/>
                    <a:pt x="85676" y="291465"/>
                    <a:pt x="74252" y="225743"/>
                  </a:cubicBezTo>
                  <a:lnTo>
                    <a:pt x="343654" y="225743"/>
                  </a:lnTo>
                  <a:cubicBezTo>
                    <a:pt x="343654" y="200025"/>
                    <a:pt x="343654" y="189547"/>
                    <a:pt x="343654" y="177165"/>
                  </a:cubicBezTo>
                  <a:close/>
                  <a:moveTo>
                    <a:pt x="73300" y="167640"/>
                  </a:moveTo>
                  <a:cubicBezTo>
                    <a:pt x="82820" y="97155"/>
                    <a:pt x="128513" y="64770"/>
                    <a:pt x="174207" y="64770"/>
                  </a:cubicBezTo>
                  <a:cubicBezTo>
                    <a:pt x="219901" y="64770"/>
                    <a:pt x="270355" y="101918"/>
                    <a:pt x="271306" y="167640"/>
                  </a:cubicBezTo>
                  <a:lnTo>
                    <a:pt x="73300" y="167640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grpSp>
        <p:nvGrpSpPr>
          <p:cNvPr id="74" name="Gráfico 8">
            <a:extLst>
              <a:ext uri="{FF2B5EF4-FFF2-40B4-BE49-F238E27FC236}">
                <a16:creationId xmlns:a16="http://schemas.microsoft.com/office/drawing/2014/main" id="{812DF19E-9B90-BD62-D201-9B081F75A2BC}"/>
              </a:ext>
            </a:extLst>
          </p:cNvPr>
          <p:cNvGrpSpPr/>
          <p:nvPr/>
        </p:nvGrpSpPr>
        <p:grpSpPr>
          <a:xfrm>
            <a:off x="1066604" y="1272318"/>
            <a:ext cx="1096764" cy="190367"/>
            <a:chOff x="1384935" y="2029473"/>
            <a:chExt cx="6367462" cy="1086455"/>
          </a:xfrm>
          <a:solidFill>
            <a:schemeClr val="bg2"/>
          </a:solidFill>
        </p:grpSpPr>
        <p:sp>
          <p:nvSpPr>
            <p:cNvPr id="75" name="Forma libre 79">
              <a:extLst>
                <a:ext uri="{FF2B5EF4-FFF2-40B4-BE49-F238E27FC236}">
                  <a16:creationId xmlns:a16="http://schemas.microsoft.com/office/drawing/2014/main" id="{D7BB9CDD-2762-8FBE-864B-E81FB0D0C553}"/>
                </a:ext>
              </a:extLst>
            </p:cNvPr>
            <p:cNvSpPr/>
            <p:nvPr/>
          </p:nvSpPr>
          <p:spPr>
            <a:xfrm>
              <a:off x="6443662" y="2244481"/>
              <a:ext cx="561153" cy="643120"/>
            </a:xfrm>
            <a:custGeom>
              <a:avLst/>
              <a:gdLst>
                <a:gd name="connsiteX0" fmla="*/ 353377 w 561153"/>
                <a:gd name="connsiteY0" fmla="*/ 0 h 643120"/>
                <a:gd name="connsiteX1" fmla="*/ 198120 w 561153"/>
                <a:gd name="connsiteY1" fmla="*/ 42811 h 643120"/>
                <a:gd name="connsiteX2" fmla="*/ 129540 w 561153"/>
                <a:gd name="connsiteY2" fmla="*/ 135093 h 643120"/>
                <a:gd name="connsiteX3" fmla="*/ 124777 w 561153"/>
                <a:gd name="connsiteY3" fmla="*/ 135093 h 643120"/>
                <a:gd name="connsiteX4" fmla="*/ 116205 w 561153"/>
                <a:gd name="connsiteY4" fmla="*/ 16173 h 643120"/>
                <a:gd name="connsiteX5" fmla="*/ 0 w 561153"/>
                <a:gd name="connsiteY5" fmla="*/ 16173 h 643120"/>
                <a:gd name="connsiteX6" fmla="*/ 0 w 561153"/>
                <a:gd name="connsiteY6" fmla="*/ 642169 h 643120"/>
                <a:gd name="connsiteX7" fmla="*/ 135255 w 561153"/>
                <a:gd name="connsiteY7" fmla="*/ 642169 h 643120"/>
                <a:gd name="connsiteX8" fmla="*/ 135255 w 561153"/>
                <a:gd name="connsiteY8" fmla="*/ 293019 h 643120"/>
                <a:gd name="connsiteX9" fmla="*/ 169545 w 561153"/>
                <a:gd name="connsiteY9" fmla="*/ 178856 h 643120"/>
                <a:gd name="connsiteX10" fmla="*/ 311468 w 561153"/>
                <a:gd name="connsiteY10" fmla="*/ 116066 h 643120"/>
                <a:gd name="connsiteX11" fmla="*/ 395288 w 561153"/>
                <a:gd name="connsiteY11" fmla="*/ 151267 h 643120"/>
                <a:gd name="connsiteX12" fmla="*/ 425768 w 561153"/>
                <a:gd name="connsiteY12" fmla="*/ 267333 h 643120"/>
                <a:gd name="connsiteX13" fmla="*/ 425768 w 561153"/>
                <a:gd name="connsiteY13" fmla="*/ 643121 h 643120"/>
                <a:gd name="connsiteX14" fmla="*/ 561023 w 561153"/>
                <a:gd name="connsiteY14" fmla="*/ 643121 h 643120"/>
                <a:gd name="connsiteX15" fmla="*/ 561023 w 561153"/>
                <a:gd name="connsiteY15" fmla="*/ 251160 h 643120"/>
                <a:gd name="connsiteX16" fmla="*/ 508635 w 561153"/>
                <a:gd name="connsiteY16" fmla="*/ 68498 h 643120"/>
                <a:gd name="connsiteX17" fmla="*/ 352425 w 561153"/>
                <a:gd name="connsiteY17" fmla="*/ 951 h 643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61153" h="643120">
                  <a:moveTo>
                    <a:pt x="353377" y="0"/>
                  </a:moveTo>
                  <a:cubicBezTo>
                    <a:pt x="301943" y="0"/>
                    <a:pt x="234315" y="14270"/>
                    <a:pt x="198120" y="42811"/>
                  </a:cubicBezTo>
                  <a:cubicBezTo>
                    <a:pt x="170498" y="64693"/>
                    <a:pt x="148590" y="90379"/>
                    <a:pt x="129540" y="135093"/>
                  </a:cubicBezTo>
                  <a:lnTo>
                    <a:pt x="124777" y="135093"/>
                  </a:lnTo>
                  <a:lnTo>
                    <a:pt x="116205" y="16173"/>
                  </a:lnTo>
                  <a:lnTo>
                    <a:pt x="0" y="16173"/>
                  </a:lnTo>
                  <a:lnTo>
                    <a:pt x="0" y="642169"/>
                  </a:lnTo>
                  <a:cubicBezTo>
                    <a:pt x="0" y="642169"/>
                    <a:pt x="135255" y="642169"/>
                    <a:pt x="135255" y="642169"/>
                  </a:cubicBezTo>
                  <a:lnTo>
                    <a:pt x="135255" y="293019"/>
                  </a:lnTo>
                  <a:cubicBezTo>
                    <a:pt x="135255" y="253062"/>
                    <a:pt x="148590" y="210251"/>
                    <a:pt x="169545" y="178856"/>
                  </a:cubicBezTo>
                  <a:cubicBezTo>
                    <a:pt x="189548" y="150315"/>
                    <a:pt x="249555" y="116066"/>
                    <a:pt x="311468" y="116066"/>
                  </a:cubicBezTo>
                  <a:cubicBezTo>
                    <a:pt x="373380" y="116066"/>
                    <a:pt x="377190" y="127483"/>
                    <a:pt x="395288" y="151267"/>
                  </a:cubicBezTo>
                  <a:cubicBezTo>
                    <a:pt x="416243" y="176002"/>
                    <a:pt x="425768" y="215959"/>
                    <a:pt x="425768" y="267333"/>
                  </a:cubicBezTo>
                  <a:lnTo>
                    <a:pt x="425768" y="643121"/>
                  </a:lnTo>
                  <a:lnTo>
                    <a:pt x="561023" y="643121"/>
                  </a:lnTo>
                  <a:lnTo>
                    <a:pt x="561023" y="251160"/>
                  </a:lnTo>
                  <a:cubicBezTo>
                    <a:pt x="562927" y="174099"/>
                    <a:pt x="543877" y="112261"/>
                    <a:pt x="508635" y="68498"/>
                  </a:cubicBezTo>
                  <a:cubicBezTo>
                    <a:pt x="472440" y="23784"/>
                    <a:pt x="418148" y="951"/>
                    <a:pt x="352425" y="9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24272A"/>
                </a:solidFill>
                <a:latin typeface="Open Sans"/>
                <a:cs typeface="+mn-cs"/>
              </a:endParaRPr>
            </a:p>
          </p:txBody>
        </p:sp>
        <p:sp>
          <p:nvSpPr>
            <p:cNvPr id="76" name="Forma libre 81">
              <a:extLst>
                <a:ext uri="{FF2B5EF4-FFF2-40B4-BE49-F238E27FC236}">
                  <a16:creationId xmlns:a16="http://schemas.microsoft.com/office/drawing/2014/main" id="{F740E106-9337-D3AE-F4F8-41E6AFEAB02E}"/>
                </a:ext>
              </a:extLst>
            </p:cNvPr>
            <p:cNvSpPr/>
            <p:nvPr/>
          </p:nvSpPr>
          <p:spPr>
            <a:xfrm>
              <a:off x="3646169" y="2244481"/>
              <a:ext cx="561153" cy="643120"/>
            </a:xfrm>
            <a:custGeom>
              <a:avLst/>
              <a:gdLst>
                <a:gd name="connsiteX0" fmla="*/ 353378 w 561153"/>
                <a:gd name="connsiteY0" fmla="*/ 0 h 643120"/>
                <a:gd name="connsiteX1" fmla="*/ 198120 w 561153"/>
                <a:gd name="connsiteY1" fmla="*/ 42811 h 643120"/>
                <a:gd name="connsiteX2" fmla="*/ 129540 w 561153"/>
                <a:gd name="connsiteY2" fmla="*/ 135093 h 643120"/>
                <a:gd name="connsiteX3" fmla="*/ 124778 w 561153"/>
                <a:gd name="connsiteY3" fmla="*/ 135093 h 643120"/>
                <a:gd name="connsiteX4" fmla="*/ 116205 w 561153"/>
                <a:gd name="connsiteY4" fmla="*/ 16173 h 643120"/>
                <a:gd name="connsiteX5" fmla="*/ 0 w 561153"/>
                <a:gd name="connsiteY5" fmla="*/ 16173 h 643120"/>
                <a:gd name="connsiteX6" fmla="*/ 0 w 561153"/>
                <a:gd name="connsiteY6" fmla="*/ 642169 h 643120"/>
                <a:gd name="connsiteX7" fmla="*/ 135255 w 561153"/>
                <a:gd name="connsiteY7" fmla="*/ 642169 h 643120"/>
                <a:gd name="connsiteX8" fmla="*/ 135255 w 561153"/>
                <a:gd name="connsiteY8" fmla="*/ 293019 h 643120"/>
                <a:gd name="connsiteX9" fmla="*/ 169545 w 561153"/>
                <a:gd name="connsiteY9" fmla="*/ 178856 h 643120"/>
                <a:gd name="connsiteX10" fmla="*/ 311468 w 561153"/>
                <a:gd name="connsiteY10" fmla="*/ 116066 h 643120"/>
                <a:gd name="connsiteX11" fmla="*/ 395288 w 561153"/>
                <a:gd name="connsiteY11" fmla="*/ 151267 h 643120"/>
                <a:gd name="connsiteX12" fmla="*/ 425768 w 561153"/>
                <a:gd name="connsiteY12" fmla="*/ 267333 h 643120"/>
                <a:gd name="connsiteX13" fmla="*/ 425768 w 561153"/>
                <a:gd name="connsiteY13" fmla="*/ 643121 h 643120"/>
                <a:gd name="connsiteX14" fmla="*/ 561023 w 561153"/>
                <a:gd name="connsiteY14" fmla="*/ 643121 h 643120"/>
                <a:gd name="connsiteX15" fmla="*/ 561023 w 561153"/>
                <a:gd name="connsiteY15" fmla="*/ 251160 h 643120"/>
                <a:gd name="connsiteX16" fmla="*/ 508635 w 561153"/>
                <a:gd name="connsiteY16" fmla="*/ 68498 h 643120"/>
                <a:gd name="connsiteX17" fmla="*/ 352425 w 561153"/>
                <a:gd name="connsiteY17" fmla="*/ 951 h 643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61153" h="643120">
                  <a:moveTo>
                    <a:pt x="353378" y="0"/>
                  </a:moveTo>
                  <a:cubicBezTo>
                    <a:pt x="301943" y="0"/>
                    <a:pt x="234315" y="14270"/>
                    <a:pt x="198120" y="42811"/>
                  </a:cubicBezTo>
                  <a:cubicBezTo>
                    <a:pt x="170498" y="64693"/>
                    <a:pt x="148590" y="90379"/>
                    <a:pt x="129540" y="135093"/>
                  </a:cubicBezTo>
                  <a:lnTo>
                    <a:pt x="124778" y="135093"/>
                  </a:lnTo>
                  <a:lnTo>
                    <a:pt x="116205" y="16173"/>
                  </a:lnTo>
                  <a:lnTo>
                    <a:pt x="0" y="16173"/>
                  </a:lnTo>
                  <a:lnTo>
                    <a:pt x="0" y="642169"/>
                  </a:lnTo>
                  <a:lnTo>
                    <a:pt x="135255" y="642169"/>
                  </a:lnTo>
                  <a:lnTo>
                    <a:pt x="135255" y="293019"/>
                  </a:lnTo>
                  <a:cubicBezTo>
                    <a:pt x="135255" y="253062"/>
                    <a:pt x="148590" y="210251"/>
                    <a:pt x="169545" y="178856"/>
                  </a:cubicBezTo>
                  <a:cubicBezTo>
                    <a:pt x="189548" y="150315"/>
                    <a:pt x="249555" y="116066"/>
                    <a:pt x="311468" y="116066"/>
                  </a:cubicBezTo>
                  <a:cubicBezTo>
                    <a:pt x="373380" y="116066"/>
                    <a:pt x="377190" y="127483"/>
                    <a:pt x="395288" y="151267"/>
                  </a:cubicBezTo>
                  <a:cubicBezTo>
                    <a:pt x="416243" y="176002"/>
                    <a:pt x="425768" y="215959"/>
                    <a:pt x="425768" y="267333"/>
                  </a:cubicBezTo>
                  <a:lnTo>
                    <a:pt x="425768" y="643121"/>
                  </a:lnTo>
                  <a:lnTo>
                    <a:pt x="561023" y="643121"/>
                  </a:lnTo>
                  <a:lnTo>
                    <a:pt x="561023" y="251160"/>
                  </a:lnTo>
                  <a:cubicBezTo>
                    <a:pt x="562928" y="174099"/>
                    <a:pt x="543878" y="112261"/>
                    <a:pt x="508635" y="68498"/>
                  </a:cubicBezTo>
                  <a:cubicBezTo>
                    <a:pt x="472440" y="23784"/>
                    <a:pt x="418148" y="951"/>
                    <a:pt x="352425" y="9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24272A"/>
                </a:solidFill>
                <a:latin typeface="Open Sans"/>
                <a:cs typeface="+mn-cs"/>
              </a:endParaRPr>
            </a:p>
          </p:txBody>
        </p:sp>
        <p:sp>
          <p:nvSpPr>
            <p:cNvPr id="77" name="Forma libre 83">
              <a:extLst>
                <a:ext uri="{FF2B5EF4-FFF2-40B4-BE49-F238E27FC236}">
                  <a16:creationId xmlns:a16="http://schemas.microsoft.com/office/drawing/2014/main" id="{272ACBD6-C874-7464-F7B8-6D0917E3B4A1}"/>
                </a:ext>
              </a:extLst>
            </p:cNvPr>
            <p:cNvSpPr/>
            <p:nvPr/>
          </p:nvSpPr>
          <p:spPr>
            <a:xfrm>
              <a:off x="2921317" y="2238773"/>
              <a:ext cx="599122" cy="663099"/>
            </a:xfrm>
            <a:custGeom>
              <a:avLst/>
              <a:gdLst>
                <a:gd name="connsiteX0" fmla="*/ 311467 w 599122"/>
                <a:gd name="connsiteY0" fmla="*/ 951 h 663099"/>
                <a:gd name="connsiteX1" fmla="*/ 90488 w 599122"/>
                <a:gd name="connsiteY1" fmla="*/ 95136 h 663099"/>
                <a:gd name="connsiteX2" fmla="*/ 0 w 599122"/>
                <a:gd name="connsiteY2" fmla="*/ 332977 h 663099"/>
                <a:gd name="connsiteX3" fmla="*/ 86678 w 599122"/>
                <a:gd name="connsiteY3" fmla="*/ 569866 h 663099"/>
                <a:gd name="connsiteX4" fmla="*/ 323850 w 599122"/>
                <a:gd name="connsiteY4" fmla="*/ 663099 h 663099"/>
                <a:gd name="connsiteX5" fmla="*/ 470535 w 599122"/>
                <a:gd name="connsiteY5" fmla="*/ 630753 h 663099"/>
                <a:gd name="connsiteX6" fmla="*/ 588645 w 599122"/>
                <a:gd name="connsiteY6" fmla="*/ 538471 h 663099"/>
                <a:gd name="connsiteX7" fmla="*/ 591502 w 599122"/>
                <a:gd name="connsiteY7" fmla="*/ 534665 h 663099"/>
                <a:gd name="connsiteX8" fmla="*/ 512445 w 599122"/>
                <a:gd name="connsiteY8" fmla="*/ 454751 h 663099"/>
                <a:gd name="connsiteX9" fmla="*/ 508635 w 599122"/>
                <a:gd name="connsiteY9" fmla="*/ 459508 h 663099"/>
                <a:gd name="connsiteX10" fmla="*/ 336233 w 599122"/>
                <a:gd name="connsiteY10" fmla="*/ 537520 h 663099"/>
                <a:gd name="connsiteX11" fmla="*/ 142875 w 599122"/>
                <a:gd name="connsiteY11" fmla="*/ 388156 h 663099"/>
                <a:gd name="connsiteX12" fmla="*/ 598170 w 599122"/>
                <a:gd name="connsiteY12" fmla="*/ 388156 h 663099"/>
                <a:gd name="connsiteX13" fmla="*/ 598170 w 599122"/>
                <a:gd name="connsiteY13" fmla="*/ 383399 h 663099"/>
                <a:gd name="connsiteX14" fmla="*/ 599123 w 599122"/>
                <a:gd name="connsiteY14" fmla="*/ 300630 h 663099"/>
                <a:gd name="connsiteX15" fmla="*/ 521970 w 599122"/>
                <a:gd name="connsiteY15" fmla="*/ 89428 h 663099"/>
                <a:gd name="connsiteX16" fmla="*/ 311467 w 599122"/>
                <a:gd name="connsiteY16" fmla="*/ 0 h 663099"/>
                <a:gd name="connsiteX17" fmla="*/ 142875 w 599122"/>
                <a:gd name="connsiteY17" fmla="*/ 281603 h 663099"/>
                <a:gd name="connsiteX18" fmla="*/ 314325 w 599122"/>
                <a:gd name="connsiteY18" fmla="*/ 132239 h 663099"/>
                <a:gd name="connsiteX19" fmla="*/ 465773 w 599122"/>
                <a:gd name="connsiteY19" fmla="*/ 281603 h 663099"/>
                <a:gd name="connsiteX20" fmla="*/ 142875 w 599122"/>
                <a:gd name="connsiteY20" fmla="*/ 281603 h 663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99122" h="663099">
                  <a:moveTo>
                    <a:pt x="311467" y="951"/>
                  </a:moveTo>
                  <a:cubicBezTo>
                    <a:pt x="226695" y="951"/>
                    <a:pt x="147638" y="35200"/>
                    <a:pt x="90488" y="95136"/>
                  </a:cubicBezTo>
                  <a:cubicBezTo>
                    <a:pt x="31433" y="156975"/>
                    <a:pt x="0" y="241646"/>
                    <a:pt x="0" y="332977"/>
                  </a:cubicBezTo>
                  <a:cubicBezTo>
                    <a:pt x="0" y="424308"/>
                    <a:pt x="29528" y="509930"/>
                    <a:pt x="86678" y="569866"/>
                  </a:cubicBezTo>
                  <a:cubicBezTo>
                    <a:pt x="145733" y="631704"/>
                    <a:pt x="227648" y="663099"/>
                    <a:pt x="323850" y="663099"/>
                  </a:cubicBezTo>
                  <a:cubicBezTo>
                    <a:pt x="420052" y="663099"/>
                    <a:pt x="425767" y="651683"/>
                    <a:pt x="470535" y="630753"/>
                  </a:cubicBezTo>
                  <a:cubicBezTo>
                    <a:pt x="517208" y="608872"/>
                    <a:pt x="557213" y="578428"/>
                    <a:pt x="588645" y="538471"/>
                  </a:cubicBezTo>
                  <a:lnTo>
                    <a:pt x="591502" y="534665"/>
                  </a:lnTo>
                  <a:lnTo>
                    <a:pt x="512445" y="454751"/>
                  </a:lnTo>
                  <a:lnTo>
                    <a:pt x="508635" y="459508"/>
                  </a:lnTo>
                  <a:cubicBezTo>
                    <a:pt x="465773" y="508979"/>
                    <a:pt x="402908" y="537520"/>
                    <a:pt x="336233" y="537520"/>
                  </a:cubicBezTo>
                  <a:cubicBezTo>
                    <a:pt x="221933" y="537520"/>
                    <a:pt x="158115" y="489000"/>
                    <a:pt x="142875" y="388156"/>
                  </a:cubicBezTo>
                  <a:lnTo>
                    <a:pt x="598170" y="388156"/>
                  </a:lnTo>
                  <a:lnTo>
                    <a:pt x="598170" y="383399"/>
                  </a:lnTo>
                  <a:cubicBezTo>
                    <a:pt x="599123" y="339636"/>
                    <a:pt x="599123" y="323463"/>
                    <a:pt x="599123" y="300630"/>
                  </a:cubicBezTo>
                  <a:cubicBezTo>
                    <a:pt x="599123" y="219765"/>
                    <a:pt x="572452" y="145558"/>
                    <a:pt x="521970" y="89428"/>
                  </a:cubicBezTo>
                  <a:cubicBezTo>
                    <a:pt x="471488" y="30444"/>
                    <a:pt x="398145" y="0"/>
                    <a:pt x="311467" y="0"/>
                  </a:cubicBezTo>
                  <a:close/>
                  <a:moveTo>
                    <a:pt x="142875" y="281603"/>
                  </a:moveTo>
                  <a:cubicBezTo>
                    <a:pt x="157163" y="180759"/>
                    <a:pt x="212408" y="132239"/>
                    <a:pt x="314325" y="132239"/>
                  </a:cubicBezTo>
                  <a:cubicBezTo>
                    <a:pt x="416242" y="132239"/>
                    <a:pt x="461963" y="192175"/>
                    <a:pt x="465773" y="281603"/>
                  </a:cubicBezTo>
                  <a:lnTo>
                    <a:pt x="142875" y="2816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24272A"/>
                </a:solidFill>
                <a:latin typeface="Open Sans"/>
                <a:cs typeface="+mn-cs"/>
              </a:endParaRPr>
            </a:p>
          </p:txBody>
        </p:sp>
        <p:sp>
          <p:nvSpPr>
            <p:cNvPr id="78" name="Forma libre 93">
              <a:extLst>
                <a:ext uri="{FF2B5EF4-FFF2-40B4-BE49-F238E27FC236}">
                  <a16:creationId xmlns:a16="http://schemas.microsoft.com/office/drawing/2014/main" id="{B1E88806-88CA-9292-C33B-A16E6B9321C8}"/>
                </a:ext>
              </a:extLst>
            </p:cNvPr>
            <p:cNvSpPr/>
            <p:nvPr/>
          </p:nvSpPr>
          <p:spPr>
            <a:xfrm>
              <a:off x="1400175" y="2243530"/>
              <a:ext cx="666750" cy="249256"/>
            </a:xfrm>
            <a:custGeom>
              <a:avLst/>
              <a:gdLst>
                <a:gd name="connsiteX0" fmla="*/ 333375 w 666750"/>
                <a:gd name="connsiteY0" fmla="*/ 137947 h 249256"/>
                <a:gd name="connsiteX1" fmla="*/ 519113 w 666750"/>
                <a:gd name="connsiteY1" fmla="*/ 249257 h 249256"/>
                <a:gd name="connsiteX2" fmla="*/ 666750 w 666750"/>
                <a:gd name="connsiteY2" fmla="*/ 249257 h 249256"/>
                <a:gd name="connsiteX3" fmla="*/ 333375 w 666750"/>
                <a:gd name="connsiteY3" fmla="*/ 0 h 249256"/>
                <a:gd name="connsiteX4" fmla="*/ 0 w 666750"/>
                <a:gd name="connsiteY4" fmla="*/ 249257 h 249256"/>
                <a:gd name="connsiteX5" fmla="*/ 148590 w 666750"/>
                <a:gd name="connsiteY5" fmla="*/ 249257 h 249256"/>
                <a:gd name="connsiteX6" fmla="*/ 333375 w 666750"/>
                <a:gd name="connsiteY6" fmla="*/ 137947 h 249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750" h="249256">
                  <a:moveTo>
                    <a:pt x="333375" y="137947"/>
                  </a:moveTo>
                  <a:cubicBezTo>
                    <a:pt x="413385" y="137947"/>
                    <a:pt x="482917" y="182661"/>
                    <a:pt x="519113" y="249257"/>
                  </a:cubicBezTo>
                  <a:lnTo>
                    <a:pt x="666750" y="249257"/>
                  </a:lnTo>
                  <a:cubicBezTo>
                    <a:pt x="623888" y="104650"/>
                    <a:pt x="490538" y="0"/>
                    <a:pt x="333375" y="0"/>
                  </a:cubicBezTo>
                  <a:cubicBezTo>
                    <a:pt x="176213" y="0"/>
                    <a:pt x="42863" y="105601"/>
                    <a:pt x="0" y="249257"/>
                  </a:cubicBezTo>
                  <a:lnTo>
                    <a:pt x="148590" y="249257"/>
                  </a:lnTo>
                  <a:cubicBezTo>
                    <a:pt x="182880" y="183613"/>
                    <a:pt x="253365" y="137947"/>
                    <a:pt x="333375" y="1379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24272A"/>
                </a:solidFill>
                <a:latin typeface="Open Sans"/>
                <a:cs typeface="+mn-cs"/>
              </a:endParaRPr>
            </a:p>
          </p:txBody>
        </p:sp>
        <p:sp>
          <p:nvSpPr>
            <p:cNvPr id="79" name="Forma libre 94">
              <a:extLst>
                <a:ext uri="{FF2B5EF4-FFF2-40B4-BE49-F238E27FC236}">
                  <a16:creationId xmlns:a16="http://schemas.microsoft.com/office/drawing/2014/main" id="{E1D2A402-C617-CF19-EB82-BC101571D031}"/>
                </a:ext>
              </a:extLst>
            </p:cNvPr>
            <p:cNvSpPr/>
            <p:nvPr/>
          </p:nvSpPr>
          <p:spPr>
            <a:xfrm>
              <a:off x="1384935" y="2500457"/>
              <a:ext cx="695324" cy="439469"/>
            </a:xfrm>
            <a:custGeom>
              <a:avLst/>
              <a:gdLst>
                <a:gd name="connsiteX0" fmla="*/ 556260 w 695324"/>
                <a:gd name="connsiteY0" fmla="*/ 59876 h 439469"/>
                <a:gd name="connsiteX1" fmla="*/ 558165 w 695324"/>
                <a:gd name="connsiteY1" fmla="*/ 91271 h 439469"/>
                <a:gd name="connsiteX2" fmla="*/ 347663 w 695324"/>
                <a:gd name="connsiteY2" fmla="*/ 301522 h 439469"/>
                <a:gd name="connsiteX3" fmla="*/ 137160 w 695324"/>
                <a:gd name="connsiteY3" fmla="*/ 91271 h 439469"/>
                <a:gd name="connsiteX4" fmla="*/ 139065 w 695324"/>
                <a:gd name="connsiteY4" fmla="*/ 59876 h 439469"/>
                <a:gd name="connsiteX5" fmla="*/ 952 w 695324"/>
                <a:gd name="connsiteY5" fmla="*/ 59876 h 439469"/>
                <a:gd name="connsiteX6" fmla="*/ 0 w 695324"/>
                <a:gd name="connsiteY6" fmla="*/ 91271 h 439469"/>
                <a:gd name="connsiteX7" fmla="*/ 347663 w 695324"/>
                <a:gd name="connsiteY7" fmla="*/ 439469 h 439469"/>
                <a:gd name="connsiteX8" fmla="*/ 695325 w 695324"/>
                <a:gd name="connsiteY8" fmla="*/ 91271 h 439469"/>
                <a:gd name="connsiteX9" fmla="*/ 694373 w 695324"/>
                <a:gd name="connsiteY9" fmla="*/ 59876 h 439469"/>
                <a:gd name="connsiteX10" fmla="*/ 556260 w 695324"/>
                <a:gd name="connsiteY10" fmla="*/ 59876 h 43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95324" h="439469">
                  <a:moveTo>
                    <a:pt x="556260" y="59876"/>
                  </a:moveTo>
                  <a:cubicBezTo>
                    <a:pt x="557213" y="70341"/>
                    <a:pt x="558165" y="80806"/>
                    <a:pt x="558165" y="91271"/>
                  </a:cubicBezTo>
                  <a:cubicBezTo>
                    <a:pt x="558165" y="207337"/>
                    <a:pt x="463867" y="301522"/>
                    <a:pt x="347663" y="301522"/>
                  </a:cubicBezTo>
                  <a:cubicBezTo>
                    <a:pt x="231457" y="301522"/>
                    <a:pt x="137160" y="207337"/>
                    <a:pt x="137160" y="91271"/>
                  </a:cubicBezTo>
                  <a:cubicBezTo>
                    <a:pt x="137160" y="-24796"/>
                    <a:pt x="138113" y="70341"/>
                    <a:pt x="139065" y="59876"/>
                  </a:cubicBezTo>
                  <a:lnTo>
                    <a:pt x="952" y="59876"/>
                  </a:lnTo>
                  <a:cubicBezTo>
                    <a:pt x="0" y="70341"/>
                    <a:pt x="0" y="80806"/>
                    <a:pt x="0" y="91271"/>
                  </a:cubicBezTo>
                  <a:cubicBezTo>
                    <a:pt x="0" y="283446"/>
                    <a:pt x="156210" y="439469"/>
                    <a:pt x="347663" y="439469"/>
                  </a:cubicBezTo>
                  <a:cubicBezTo>
                    <a:pt x="539115" y="439469"/>
                    <a:pt x="695325" y="282494"/>
                    <a:pt x="695325" y="91271"/>
                  </a:cubicBezTo>
                  <a:cubicBezTo>
                    <a:pt x="695325" y="-99953"/>
                    <a:pt x="695325" y="70341"/>
                    <a:pt x="694373" y="59876"/>
                  </a:cubicBezTo>
                  <a:lnTo>
                    <a:pt x="556260" y="5987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24272A"/>
                </a:solidFill>
                <a:latin typeface="Open Sans"/>
                <a:cs typeface="+mn-cs"/>
              </a:endParaRPr>
            </a:p>
          </p:txBody>
        </p:sp>
        <p:sp>
          <p:nvSpPr>
            <p:cNvPr id="80" name="Forma libre 95">
              <a:extLst>
                <a:ext uri="{FF2B5EF4-FFF2-40B4-BE49-F238E27FC236}">
                  <a16:creationId xmlns:a16="http://schemas.microsoft.com/office/drawing/2014/main" id="{1952270B-5625-B73B-A3B7-E57FBA538727}"/>
                </a:ext>
              </a:extLst>
            </p:cNvPr>
            <p:cNvSpPr/>
            <p:nvPr/>
          </p:nvSpPr>
          <p:spPr>
            <a:xfrm>
              <a:off x="7127557" y="2029473"/>
              <a:ext cx="624840" cy="874301"/>
            </a:xfrm>
            <a:custGeom>
              <a:avLst/>
              <a:gdLst>
                <a:gd name="connsiteX0" fmla="*/ 494348 w 624840"/>
                <a:gd name="connsiteY0" fmla="*/ 951 h 874301"/>
                <a:gd name="connsiteX1" fmla="*/ 490538 w 624840"/>
                <a:gd name="connsiteY1" fmla="*/ 350101 h 874301"/>
                <a:gd name="connsiteX2" fmla="*/ 275273 w 624840"/>
                <a:gd name="connsiteY2" fmla="*/ 215959 h 874301"/>
                <a:gd name="connsiteX3" fmla="*/ 0 w 624840"/>
                <a:gd name="connsiteY3" fmla="*/ 544179 h 874301"/>
                <a:gd name="connsiteX4" fmla="*/ 279082 w 624840"/>
                <a:gd name="connsiteY4" fmla="*/ 874302 h 874301"/>
                <a:gd name="connsiteX5" fmla="*/ 508635 w 624840"/>
                <a:gd name="connsiteY5" fmla="*/ 736354 h 874301"/>
                <a:gd name="connsiteX6" fmla="*/ 510540 w 624840"/>
                <a:gd name="connsiteY6" fmla="*/ 856226 h 874301"/>
                <a:gd name="connsiteX7" fmla="*/ 624840 w 624840"/>
                <a:gd name="connsiteY7" fmla="*/ 856226 h 874301"/>
                <a:gd name="connsiteX8" fmla="*/ 624840 w 624840"/>
                <a:gd name="connsiteY8" fmla="*/ 0 h 874301"/>
                <a:gd name="connsiteX9" fmla="*/ 493395 w 624840"/>
                <a:gd name="connsiteY9" fmla="*/ 0 h 874301"/>
                <a:gd name="connsiteX10" fmla="*/ 315278 w 624840"/>
                <a:gd name="connsiteY10" fmla="*/ 753479 h 874301"/>
                <a:gd name="connsiteX11" fmla="*/ 135255 w 624840"/>
                <a:gd name="connsiteY11" fmla="*/ 544179 h 874301"/>
                <a:gd name="connsiteX12" fmla="*/ 316230 w 624840"/>
                <a:gd name="connsiteY12" fmla="*/ 334879 h 874301"/>
                <a:gd name="connsiteX13" fmla="*/ 490538 w 624840"/>
                <a:gd name="connsiteY13" fmla="*/ 544179 h 874301"/>
                <a:gd name="connsiteX14" fmla="*/ 314325 w 624840"/>
                <a:gd name="connsiteY14" fmla="*/ 753479 h 87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4840" h="874301">
                  <a:moveTo>
                    <a:pt x="494348" y="951"/>
                  </a:moveTo>
                  <a:lnTo>
                    <a:pt x="490538" y="350101"/>
                  </a:lnTo>
                  <a:cubicBezTo>
                    <a:pt x="453390" y="254014"/>
                    <a:pt x="378143" y="215959"/>
                    <a:pt x="275273" y="215959"/>
                  </a:cubicBezTo>
                  <a:cubicBezTo>
                    <a:pt x="113348" y="215959"/>
                    <a:pt x="0" y="353907"/>
                    <a:pt x="0" y="544179"/>
                  </a:cubicBezTo>
                  <a:cubicBezTo>
                    <a:pt x="0" y="734451"/>
                    <a:pt x="117157" y="874302"/>
                    <a:pt x="279082" y="874302"/>
                  </a:cubicBezTo>
                  <a:cubicBezTo>
                    <a:pt x="441007" y="874302"/>
                    <a:pt x="472440" y="827685"/>
                    <a:pt x="508635" y="736354"/>
                  </a:cubicBezTo>
                  <a:lnTo>
                    <a:pt x="510540" y="856226"/>
                  </a:lnTo>
                  <a:lnTo>
                    <a:pt x="624840" y="856226"/>
                  </a:lnTo>
                  <a:lnTo>
                    <a:pt x="624840" y="0"/>
                  </a:lnTo>
                  <a:lnTo>
                    <a:pt x="493395" y="0"/>
                  </a:lnTo>
                  <a:close/>
                  <a:moveTo>
                    <a:pt x="315278" y="753479"/>
                  </a:moveTo>
                  <a:cubicBezTo>
                    <a:pt x="209550" y="753479"/>
                    <a:pt x="135255" y="669759"/>
                    <a:pt x="135255" y="544179"/>
                  </a:cubicBezTo>
                  <a:cubicBezTo>
                    <a:pt x="135255" y="418599"/>
                    <a:pt x="214313" y="334879"/>
                    <a:pt x="316230" y="334879"/>
                  </a:cubicBezTo>
                  <a:cubicBezTo>
                    <a:pt x="418148" y="334879"/>
                    <a:pt x="490538" y="430967"/>
                    <a:pt x="490538" y="544179"/>
                  </a:cubicBezTo>
                  <a:cubicBezTo>
                    <a:pt x="490538" y="657391"/>
                    <a:pt x="423863" y="753479"/>
                    <a:pt x="314325" y="75347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24272A"/>
                </a:solidFill>
                <a:latin typeface="Open Sans"/>
                <a:cs typeface="+mn-cs"/>
              </a:endParaRPr>
            </a:p>
          </p:txBody>
        </p:sp>
        <p:sp>
          <p:nvSpPr>
            <p:cNvPr id="81" name="Forma libre 96">
              <a:extLst>
                <a:ext uri="{FF2B5EF4-FFF2-40B4-BE49-F238E27FC236}">
                  <a16:creationId xmlns:a16="http://schemas.microsoft.com/office/drawing/2014/main" id="{C694CC06-99D1-0147-8199-B43476D0D9D7}"/>
                </a:ext>
              </a:extLst>
            </p:cNvPr>
            <p:cNvSpPr/>
            <p:nvPr/>
          </p:nvSpPr>
          <p:spPr>
            <a:xfrm>
              <a:off x="2202179" y="2241627"/>
              <a:ext cx="625792" cy="874301"/>
            </a:xfrm>
            <a:custGeom>
              <a:avLst/>
              <a:gdLst>
                <a:gd name="connsiteX0" fmla="*/ 345758 w 625792"/>
                <a:gd name="connsiteY0" fmla="*/ 0 h 874301"/>
                <a:gd name="connsiteX1" fmla="*/ 116205 w 625792"/>
                <a:gd name="connsiteY1" fmla="*/ 137947 h 874301"/>
                <a:gd name="connsiteX2" fmla="*/ 114300 w 625792"/>
                <a:gd name="connsiteY2" fmla="*/ 18076 h 874301"/>
                <a:gd name="connsiteX3" fmla="*/ 0 w 625792"/>
                <a:gd name="connsiteY3" fmla="*/ 18076 h 874301"/>
                <a:gd name="connsiteX4" fmla="*/ 0 w 625792"/>
                <a:gd name="connsiteY4" fmla="*/ 874302 h 874301"/>
                <a:gd name="connsiteX5" fmla="*/ 131445 w 625792"/>
                <a:gd name="connsiteY5" fmla="*/ 874302 h 874301"/>
                <a:gd name="connsiteX6" fmla="*/ 135255 w 625792"/>
                <a:gd name="connsiteY6" fmla="*/ 525152 h 874301"/>
                <a:gd name="connsiteX7" fmla="*/ 350520 w 625792"/>
                <a:gd name="connsiteY7" fmla="*/ 659294 h 874301"/>
                <a:gd name="connsiteX8" fmla="*/ 625793 w 625792"/>
                <a:gd name="connsiteY8" fmla="*/ 331074 h 874301"/>
                <a:gd name="connsiteX9" fmla="*/ 346710 w 625792"/>
                <a:gd name="connsiteY9" fmla="*/ 951 h 874301"/>
                <a:gd name="connsiteX10" fmla="*/ 309563 w 625792"/>
                <a:gd name="connsiteY10" fmla="*/ 539422 h 874301"/>
                <a:gd name="connsiteX11" fmla="*/ 135255 w 625792"/>
                <a:gd name="connsiteY11" fmla="*/ 330123 h 874301"/>
                <a:gd name="connsiteX12" fmla="*/ 311467 w 625792"/>
                <a:gd name="connsiteY12" fmla="*/ 120823 h 874301"/>
                <a:gd name="connsiteX13" fmla="*/ 491490 w 625792"/>
                <a:gd name="connsiteY13" fmla="*/ 330123 h 874301"/>
                <a:gd name="connsiteX14" fmla="*/ 310515 w 625792"/>
                <a:gd name="connsiteY14" fmla="*/ 539422 h 87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5792" h="874301">
                  <a:moveTo>
                    <a:pt x="345758" y="0"/>
                  </a:moveTo>
                  <a:cubicBezTo>
                    <a:pt x="240030" y="0"/>
                    <a:pt x="152400" y="46617"/>
                    <a:pt x="116205" y="137947"/>
                  </a:cubicBezTo>
                  <a:lnTo>
                    <a:pt x="114300" y="18076"/>
                  </a:lnTo>
                  <a:lnTo>
                    <a:pt x="0" y="18076"/>
                  </a:lnTo>
                  <a:lnTo>
                    <a:pt x="0" y="874302"/>
                  </a:lnTo>
                  <a:lnTo>
                    <a:pt x="131445" y="874302"/>
                  </a:lnTo>
                  <a:lnTo>
                    <a:pt x="135255" y="525152"/>
                  </a:lnTo>
                  <a:cubicBezTo>
                    <a:pt x="172403" y="621239"/>
                    <a:pt x="247650" y="659294"/>
                    <a:pt x="350520" y="659294"/>
                  </a:cubicBezTo>
                  <a:cubicBezTo>
                    <a:pt x="512445" y="659294"/>
                    <a:pt x="625793" y="521346"/>
                    <a:pt x="625793" y="331074"/>
                  </a:cubicBezTo>
                  <a:cubicBezTo>
                    <a:pt x="625793" y="140802"/>
                    <a:pt x="508635" y="951"/>
                    <a:pt x="346710" y="951"/>
                  </a:cubicBezTo>
                  <a:close/>
                  <a:moveTo>
                    <a:pt x="309563" y="539422"/>
                  </a:moveTo>
                  <a:cubicBezTo>
                    <a:pt x="196215" y="539422"/>
                    <a:pt x="135255" y="443335"/>
                    <a:pt x="135255" y="330123"/>
                  </a:cubicBezTo>
                  <a:cubicBezTo>
                    <a:pt x="135255" y="216911"/>
                    <a:pt x="201930" y="120823"/>
                    <a:pt x="311467" y="120823"/>
                  </a:cubicBezTo>
                  <a:cubicBezTo>
                    <a:pt x="421005" y="120823"/>
                    <a:pt x="491490" y="204543"/>
                    <a:pt x="491490" y="330123"/>
                  </a:cubicBezTo>
                  <a:cubicBezTo>
                    <a:pt x="491490" y="455702"/>
                    <a:pt x="412433" y="539422"/>
                    <a:pt x="310515" y="53942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24272A"/>
                </a:solidFill>
                <a:latin typeface="Open Sans"/>
                <a:cs typeface="+mn-cs"/>
              </a:endParaRPr>
            </a:p>
          </p:txBody>
        </p:sp>
        <p:sp>
          <p:nvSpPr>
            <p:cNvPr id="82" name="Forma libre 98">
              <a:extLst>
                <a:ext uri="{FF2B5EF4-FFF2-40B4-BE49-F238E27FC236}">
                  <a16:creationId xmlns:a16="http://schemas.microsoft.com/office/drawing/2014/main" id="{FA72B056-B98A-225C-C617-B72428CD1DF5}"/>
                </a:ext>
              </a:extLst>
            </p:cNvPr>
            <p:cNvSpPr/>
            <p:nvPr/>
          </p:nvSpPr>
          <p:spPr>
            <a:xfrm>
              <a:off x="5015865" y="2241627"/>
              <a:ext cx="625792" cy="874301"/>
            </a:xfrm>
            <a:custGeom>
              <a:avLst/>
              <a:gdLst>
                <a:gd name="connsiteX0" fmla="*/ 345757 w 625792"/>
                <a:gd name="connsiteY0" fmla="*/ 0 h 874301"/>
                <a:gd name="connsiteX1" fmla="*/ 116205 w 625792"/>
                <a:gd name="connsiteY1" fmla="*/ 137947 h 874301"/>
                <a:gd name="connsiteX2" fmla="*/ 114300 w 625792"/>
                <a:gd name="connsiteY2" fmla="*/ 18076 h 874301"/>
                <a:gd name="connsiteX3" fmla="*/ 0 w 625792"/>
                <a:gd name="connsiteY3" fmla="*/ 18076 h 874301"/>
                <a:gd name="connsiteX4" fmla="*/ 0 w 625792"/>
                <a:gd name="connsiteY4" fmla="*/ 874302 h 874301"/>
                <a:gd name="connsiteX5" fmla="*/ 131445 w 625792"/>
                <a:gd name="connsiteY5" fmla="*/ 874302 h 874301"/>
                <a:gd name="connsiteX6" fmla="*/ 135255 w 625792"/>
                <a:gd name="connsiteY6" fmla="*/ 525152 h 874301"/>
                <a:gd name="connsiteX7" fmla="*/ 350520 w 625792"/>
                <a:gd name="connsiteY7" fmla="*/ 659294 h 874301"/>
                <a:gd name="connsiteX8" fmla="*/ 625792 w 625792"/>
                <a:gd name="connsiteY8" fmla="*/ 331074 h 874301"/>
                <a:gd name="connsiteX9" fmla="*/ 346710 w 625792"/>
                <a:gd name="connsiteY9" fmla="*/ 951 h 874301"/>
                <a:gd name="connsiteX10" fmla="*/ 309563 w 625792"/>
                <a:gd name="connsiteY10" fmla="*/ 539422 h 874301"/>
                <a:gd name="connsiteX11" fmla="*/ 135255 w 625792"/>
                <a:gd name="connsiteY11" fmla="*/ 330123 h 874301"/>
                <a:gd name="connsiteX12" fmla="*/ 311467 w 625792"/>
                <a:gd name="connsiteY12" fmla="*/ 120823 h 874301"/>
                <a:gd name="connsiteX13" fmla="*/ 491490 w 625792"/>
                <a:gd name="connsiteY13" fmla="*/ 330123 h 874301"/>
                <a:gd name="connsiteX14" fmla="*/ 310515 w 625792"/>
                <a:gd name="connsiteY14" fmla="*/ 539422 h 87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5792" h="874301">
                  <a:moveTo>
                    <a:pt x="345757" y="0"/>
                  </a:moveTo>
                  <a:cubicBezTo>
                    <a:pt x="240030" y="0"/>
                    <a:pt x="152400" y="46617"/>
                    <a:pt x="116205" y="137947"/>
                  </a:cubicBezTo>
                  <a:lnTo>
                    <a:pt x="114300" y="18076"/>
                  </a:lnTo>
                  <a:lnTo>
                    <a:pt x="0" y="18076"/>
                  </a:lnTo>
                  <a:lnTo>
                    <a:pt x="0" y="874302"/>
                  </a:lnTo>
                  <a:lnTo>
                    <a:pt x="131445" y="874302"/>
                  </a:lnTo>
                  <a:lnTo>
                    <a:pt x="135255" y="525152"/>
                  </a:lnTo>
                  <a:cubicBezTo>
                    <a:pt x="172403" y="621239"/>
                    <a:pt x="247650" y="659294"/>
                    <a:pt x="350520" y="659294"/>
                  </a:cubicBezTo>
                  <a:cubicBezTo>
                    <a:pt x="512445" y="659294"/>
                    <a:pt x="625792" y="521346"/>
                    <a:pt x="625792" y="331074"/>
                  </a:cubicBezTo>
                  <a:cubicBezTo>
                    <a:pt x="625792" y="140802"/>
                    <a:pt x="508635" y="951"/>
                    <a:pt x="346710" y="951"/>
                  </a:cubicBezTo>
                  <a:close/>
                  <a:moveTo>
                    <a:pt x="309563" y="539422"/>
                  </a:moveTo>
                  <a:cubicBezTo>
                    <a:pt x="196215" y="539422"/>
                    <a:pt x="135255" y="443335"/>
                    <a:pt x="135255" y="330123"/>
                  </a:cubicBezTo>
                  <a:cubicBezTo>
                    <a:pt x="135255" y="216911"/>
                    <a:pt x="201930" y="120823"/>
                    <a:pt x="311467" y="120823"/>
                  </a:cubicBezTo>
                  <a:cubicBezTo>
                    <a:pt x="421005" y="120823"/>
                    <a:pt x="491490" y="204543"/>
                    <a:pt x="491490" y="330123"/>
                  </a:cubicBezTo>
                  <a:cubicBezTo>
                    <a:pt x="491490" y="455702"/>
                    <a:pt x="412432" y="539422"/>
                    <a:pt x="310515" y="53942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24272A"/>
                </a:solidFill>
                <a:latin typeface="Open Sans"/>
                <a:cs typeface="+mn-cs"/>
              </a:endParaRPr>
            </a:p>
          </p:txBody>
        </p:sp>
        <p:sp>
          <p:nvSpPr>
            <p:cNvPr id="83" name="Forma libre 100">
              <a:extLst>
                <a:ext uri="{FF2B5EF4-FFF2-40B4-BE49-F238E27FC236}">
                  <a16:creationId xmlns:a16="http://schemas.microsoft.com/office/drawing/2014/main" id="{D374C744-C692-AA0E-87AF-F9DE1AF7A745}"/>
                </a:ext>
              </a:extLst>
            </p:cNvPr>
            <p:cNvSpPr/>
            <p:nvPr/>
          </p:nvSpPr>
          <p:spPr>
            <a:xfrm>
              <a:off x="4304347" y="2263508"/>
              <a:ext cx="609600" cy="623142"/>
            </a:xfrm>
            <a:custGeom>
              <a:avLst/>
              <a:gdLst>
                <a:gd name="connsiteX0" fmla="*/ 597218 w 609600"/>
                <a:gd name="connsiteY0" fmla="*/ 0 h 623142"/>
                <a:gd name="connsiteX1" fmla="*/ 454343 w 609600"/>
                <a:gd name="connsiteY1" fmla="*/ 0 h 623142"/>
                <a:gd name="connsiteX2" fmla="*/ 311468 w 609600"/>
                <a:gd name="connsiteY2" fmla="*/ 217862 h 623142"/>
                <a:gd name="connsiteX3" fmla="*/ 304800 w 609600"/>
                <a:gd name="connsiteY3" fmla="*/ 217862 h 623142"/>
                <a:gd name="connsiteX4" fmla="*/ 150495 w 609600"/>
                <a:gd name="connsiteY4" fmla="*/ 0 h 623142"/>
                <a:gd name="connsiteX5" fmla="*/ 0 w 609600"/>
                <a:gd name="connsiteY5" fmla="*/ 0 h 623142"/>
                <a:gd name="connsiteX6" fmla="*/ 220028 w 609600"/>
                <a:gd name="connsiteY6" fmla="*/ 307290 h 623142"/>
                <a:gd name="connsiteX7" fmla="*/ 0 w 609600"/>
                <a:gd name="connsiteY7" fmla="*/ 623142 h 623142"/>
                <a:gd name="connsiteX8" fmla="*/ 142875 w 609600"/>
                <a:gd name="connsiteY8" fmla="*/ 623142 h 623142"/>
                <a:gd name="connsiteX9" fmla="*/ 291465 w 609600"/>
                <a:gd name="connsiteY9" fmla="*/ 395767 h 623142"/>
                <a:gd name="connsiteX10" fmla="*/ 299085 w 609600"/>
                <a:gd name="connsiteY10" fmla="*/ 395767 h 623142"/>
                <a:gd name="connsiteX11" fmla="*/ 458153 w 609600"/>
                <a:gd name="connsiteY11" fmla="*/ 623142 h 623142"/>
                <a:gd name="connsiteX12" fmla="*/ 609600 w 609600"/>
                <a:gd name="connsiteY12" fmla="*/ 623142 h 623142"/>
                <a:gd name="connsiteX13" fmla="*/ 385763 w 609600"/>
                <a:gd name="connsiteY13" fmla="*/ 307290 h 623142"/>
                <a:gd name="connsiteX14" fmla="*/ 597218 w 609600"/>
                <a:gd name="connsiteY14" fmla="*/ 0 h 623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09600" h="623142">
                  <a:moveTo>
                    <a:pt x="597218" y="0"/>
                  </a:moveTo>
                  <a:lnTo>
                    <a:pt x="454343" y="0"/>
                  </a:lnTo>
                  <a:lnTo>
                    <a:pt x="311468" y="217862"/>
                  </a:lnTo>
                  <a:lnTo>
                    <a:pt x="304800" y="217862"/>
                  </a:lnTo>
                  <a:lnTo>
                    <a:pt x="150495" y="0"/>
                  </a:lnTo>
                  <a:lnTo>
                    <a:pt x="0" y="0"/>
                  </a:lnTo>
                  <a:lnTo>
                    <a:pt x="220028" y="307290"/>
                  </a:lnTo>
                  <a:lnTo>
                    <a:pt x="0" y="623142"/>
                  </a:lnTo>
                  <a:lnTo>
                    <a:pt x="142875" y="623142"/>
                  </a:lnTo>
                  <a:lnTo>
                    <a:pt x="291465" y="395767"/>
                  </a:lnTo>
                  <a:lnTo>
                    <a:pt x="299085" y="395767"/>
                  </a:lnTo>
                  <a:lnTo>
                    <a:pt x="458153" y="623142"/>
                  </a:lnTo>
                  <a:lnTo>
                    <a:pt x="609600" y="623142"/>
                  </a:lnTo>
                  <a:lnTo>
                    <a:pt x="385763" y="307290"/>
                  </a:lnTo>
                  <a:lnTo>
                    <a:pt x="59721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24272A"/>
                </a:solidFill>
                <a:latin typeface="Open Sans"/>
                <a:cs typeface="+mn-cs"/>
              </a:endParaRPr>
            </a:p>
          </p:txBody>
        </p:sp>
        <p:sp>
          <p:nvSpPr>
            <p:cNvPr id="84" name="Forma libre 103">
              <a:extLst>
                <a:ext uri="{FF2B5EF4-FFF2-40B4-BE49-F238E27FC236}">
                  <a16:creationId xmlns:a16="http://schemas.microsoft.com/office/drawing/2014/main" id="{8365C8BC-333C-6D2D-3E9F-10CFB8130C9E}"/>
                </a:ext>
              </a:extLst>
            </p:cNvPr>
            <p:cNvSpPr/>
            <p:nvPr/>
          </p:nvSpPr>
          <p:spPr>
            <a:xfrm>
              <a:off x="5723572" y="2245432"/>
              <a:ext cx="607694" cy="656439"/>
            </a:xfrm>
            <a:custGeom>
              <a:avLst/>
              <a:gdLst>
                <a:gd name="connsiteX0" fmla="*/ 541972 w 607694"/>
                <a:gd name="connsiteY0" fmla="*/ 514687 h 656439"/>
                <a:gd name="connsiteX1" fmla="*/ 541972 w 607694"/>
                <a:gd name="connsiteY1" fmla="*/ 234986 h 656439"/>
                <a:gd name="connsiteX2" fmla="*/ 298132 w 607694"/>
                <a:gd name="connsiteY2" fmla="*/ 0 h 656439"/>
                <a:gd name="connsiteX3" fmla="*/ 18097 w 607694"/>
                <a:gd name="connsiteY3" fmla="*/ 195981 h 656439"/>
                <a:gd name="connsiteX4" fmla="*/ 122872 w 607694"/>
                <a:gd name="connsiteY4" fmla="*/ 240695 h 656439"/>
                <a:gd name="connsiteX5" fmla="*/ 298132 w 607694"/>
                <a:gd name="connsiteY5" fmla="*/ 110358 h 656439"/>
                <a:gd name="connsiteX6" fmla="*/ 415290 w 607694"/>
                <a:gd name="connsiteY6" fmla="*/ 250208 h 656439"/>
                <a:gd name="connsiteX7" fmla="*/ 415290 w 607694"/>
                <a:gd name="connsiteY7" fmla="*/ 288263 h 656439"/>
                <a:gd name="connsiteX8" fmla="*/ 247650 w 607694"/>
                <a:gd name="connsiteY8" fmla="*/ 288263 h 656439"/>
                <a:gd name="connsiteX9" fmla="*/ 0 w 607694"/>
                <a:gd name="connsiteY9" fmla="*/ 483292 h 656439"/>
                <a:gd name="connsiteX10" fmla="*/ 199072 w 607694"/>
                <a:gd name="connsiteY10" fmla="*/ 656440 h 656439"/>
                <a:gd name="connsiteX11" fmla="*/ 438150 w 607694"/>
                <a:gd name="connsiteY11" fmla="*/ 510881 h 656439"/>
                <a:gd name="connsiteX12" fmla="*/ 443865 w 607694"/>
                <a:gd name="connsiteY12" fmla="*/ 510881 h 656439"/>
                <a:gd name="connsiteX13" fmla="*/ 443865 w 607694"/>
                <a:gd name="connsiteY13" fmla="*/ 550839 h 656439"/>
                <a:gd name="connsiteX14" fmla="*/ 526732 w 607694"/>
                <a:gd name="connsiteY14" fmla="*/ 642169 h 656439"/>
                <a:gd name="connsiteX15" fmla="*/ 607695 w 607694"/>
                <a:gd name="connsiteY15" fmla="*/ 642169 h 656439"/>
                <a:gd name="connsiteX16" fmla="*/ 607695 w 607694"/>
                <a:gd name="connsiteY16" fmla="*/ 538471 h 656439"/>
                <a:gd name="connsiteX17" fmla="*/ 560070 w 607694"/>
                <a:gd name="connsiteY17" fmla="*/ 538471 h 656439"/>
                <a:gd name="connsiteX18" fmla="*/ 543877 w 607694"/>
                <a:gd name="connsiteY18" fmla="*/ 516590 h 656439"/>
                <a:gd name="connsiteX19" fmla="*/ 228600 w 607694"/>
                <a:gd name="connsiteY19" fmla="*/ 542276 h 656439"/>
                <a:gd name="connsiteX20" fmla="*/ 135255 w 607694"/>
                <a:gd name="connsiteY20" fmla="*/ 471876 h 656439"/>
                <a:gd name="connsiteX21" fmla="*/ 315277 w 607694"/>
                <a:gd name="connsiteY21" fmla="*/ 379594 h 656439"/>
                <a:gd name="connsiteX22" fmla="*/ 410527 w 607694"/>
                <a:gd name="connsiteY22" fmla="*/ 379594 h 656439"/>
                <a:gd name="connsiteX23" fmla="*/ 229552 w 607694"/>
                <a:gd name="connsiteY23" fmla="*/ 541325 h 656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07694" h="656439">
                  <a:moveTo>
                    <a:pt x="541972" y="514687"/>
                  </a:moveTo>
                  <a:lnTo>
                    <a:pt x="541972" y="234986"/>
                  </a:lnTo>
                  <a:cubicBezTo>
                    <a:pt x="541972" y="85623"/>
                    <a:pt x="448627" y="0"/>
                    <a:pt x="298132" y="0"/>
                  </a:cubicBezTo>
                  <a:cubicBezTo>
                    <a:pt x="147638" y="0"/>
                    <a:pt x="59055" y="72304"/>
                    <a:pt x="18097" y="195981"/>
                  </a:cubicBezTo>
                  <a:lnTo>
                    <a:pt x="122872" y="240695"/>
                  </a:lnTo>
                  <a:cubicBezTo>
                    <a:pt x="160020" y="149364"/>
                    <a:pt x="217170" y="110358"/>
                    <a:pt x="298132" y="110358"/>
                  </a:cubicBezTo>
                  <a:cubicBezTo>
                    <a:pt x="379095" y="110358"/>
                    <a:pt x="415290" y="158878"/>
                    <a:pt x="415290" y="250208"/>
                  </a:cubicBezTo>
                  <a:lnTo>
                    <a:pt x="415290" y="288263"/>
                  </a:lnTo>
                  <a:lnTo>
                    <a:pt x="247650" y="288263"/>
                  </a:lnTo>
                  <a:cubicBezTo>
                    <a:pt x="112395" y="288263"/>
                    <a:pt x="0" y="355809"/>
                    <a:pt x="0" y="483292"/>
                  </a:cubicBezTo>
                  <a:cubicBezTo>
                    <a:pt x="0" y="610774"/>
                    <a:pt x="89535" y="656440"/>
                    <a:pt x="199072" y="656440"/>
                  </a:cubicBezTo>
                  <a:cubicBezTo>
                    <a:pt x="308610" y="656440"/>
                    <a:pt x="400050" y="593650"/>
                    <a:pt x="438150" y="510881"/>
                  </a:cubicBezTo>
                  <a:lnTo>
                    <a:pt x="443865" y="510881"/>
                  </a:lnTo>
                  <a:lnTo>
                    <a:pt x="443865" y="550839"/>
                  </a:lnTo>
                  <a:cubicBezTo>
                    <a:pt x="442913" y="609823"/>
                    <a:pt x="470535" y="642169"/>
                    <a:pt x="526732" y="642169"/>
                  </a:cubicBezTo>
                  <a:lnTo>
                    <a:pt x="607695" y="642169"/>
                  </a:lnTo>
                  <a:lnTo>
                    <a:pt x="607695" y="538471"/>
                  </a:lnTo>
                  <a:lnTo>
                    <a:pt x="560070" y="538471"/>
                  </a:lnTo>
                  <a:cubicBezTo>
                    <a:pt x="549592" y="538471"/>
                    <a:pt x="543877" y="529909"/>
                    <a:pt x="543877" y="516590"/>
                  </a:cubicBezTo>
                  <a:close/>
                  <a:moveTo>
                    <a:pt x="228600" y="542276"/>
                  </a:moveTo>
                  <a:cubicBezTo>
                    <a:pt x="180022" y="542276"/>
                    <a:pt x="135255" y="521346"/>
                    <a:pt x="135255" y="471876"/>
                  </a:cubicBezTo>
                  <a:cubicBezTo>
                    <a:pt x="135255" y="422405"/>
                    <a:pt x="214313" y="379594"/>
                    <a:pt x="315277" y="379594"/>
                  </a:cubicBezTo>
                  <a:lnTo>
                    <a:pt x="410527" y="379594"/>
                  </a:lnTo>
                  <a:cubicBezTo>
                    <a:pt x="401002" y="461411"/>
                    <a:pt x="318135" y="541325"/>
                    <a:pt x="229552" y="5413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24272A"/>
                </a:solidFill>
                <a:latin typeface="Open Sans"/>
                <a:cs typeface="+mn-cs"/>
              </a:endParaRPr>
            </a:p>
          </p:txBody>
        </p:sp>
      </p:grpSp>
      <p:grpSp>
        <p:nvGrpSpPr>
          <p:cNvPr id="112" name="Grupo 111">
            <a:extLst>
              <a:ext uri="{FF2B5EF4-FFF2-40B4-BE49-F238E27FC236}">
                <a16:creationId xmlns:a16="http://schemas.microsoft.com/office/drawing/2014/main" id="{5FD20C95-35AF-C46A-2F29-B67FC2156726}"/>
              </a:ext>
            </a:extLst>
          </p:cNvPr>
          <p:cNvGrpSpPr>
            <a:grpSpLocks noChangeAspect="1"/>
          </p:cNvGrpSpPr>
          <p:nvPr/>
        </p:nvGrpSpPr>
        <p:grpSpPr>
          <a:xfrm>
            <a:off x="6761904" y="1277462"/>
            <a:ext cx="1534295" cy="180623"/>
            <a:chOff x="3315557" y="2085022"/>
            <a:chExt cx="929639" cy="109441"/>
          </a:xfrm>
          <a:solidFill>
            <a:schemeClr val="bg2"/>
          </a:solidFill>
        </p:grpSpPr>
        <p:sp>
          <p:nvSpPr>
            <p:cNvPr id="90" name="Forma libre 89">
              <a:extLst>
                <a:ext uri="{FF2B5EF4-FFF2-40B4-BE49-F238E27FC236}">
                  <a16:creationId xmlns:a16="http://schemas.microsoft.com/office/drawing/2014/main" id="{00466EC3-0AD1-DE57-2A14-0760D5BF97C5}"/>
                </a:ext>
              </a:extLst>
            </p:cNvPr>
            <p:cNvSpPr/>
            <p:nvPr/>
          </p:nvSpPr>
          <p:spPr>
            <a:xfrm>
              <a:off x="3315557" y="2108739"/>
              <a:ext cx="57054" cy="64579"/>
            </a:xfrm>
            <a:custGeom>
              <a:avLst/>
              <a:gdLst>
                <a:gd name="connsiteX0" fmla="*/ 0 w 57054"/>
                <a:gd name="connsiteY0" fmla="*/ 32290 h 64579"/>
                <a:gd name="connsiteX1" fmla="*/ 29623 w 57054"/>
                <a:gd name="connsiteY1" fmla="*/ 0 h 64579"/>
                <a:gd name="connsiteX2" fmla="*/ 57055 w 57054"/>
                <a:gd name="connsiteY2" fmla="*/ 29242 h 64579"/>
                <a:gd name="connsiteX3" fmla="*/ 56960 w 57054"/>
                <a:gd name="connsiteY3" fmla="*/ 37338 h 64579"/>
                <a:gd name="connsiteX4" fmla="*/ 12287 w 57054"/>
                <a:gd name="connsiteY4" fmla="*/ 37338 h 64579"/>
                <a:gd name="connsiteX5" fmla="*/ 30861 w 57054"/>
                <a:gd name="connsiteY5" fmla="*/ 53816 h 64579"/>
                <a:gd name="connsiteX6" fmla="*/ 49149 w 57054"/>
                <a:gd name="connsiteY6" fmla="*/ 45149 h 64579"/>
                <a:gd name="connsiteX7" fmla="*/ 56007 w 57054"/>
                <a:gd name="connsiteY7" fmla="*/ 52388 h 64579"/>
                <a:gd name="connsiteX8" fmla="*/ 30766 w 57054"/>
                <a:gd name="connsiteY8" fmla="*/ 64579 h 64579"/>
                <a:gd name="connsiteX9" fmla="*/ 0 w 57054"/>
                <a:gd name="connsiteY9" fmla="*/ 32385 h 64579"/>
                <a:gd name="connsiteX10" fmla="*/ 45053 w 57054"/>
                <a:gd name="connsiteY10" fmla="*/ 27718 h 64579"/>
                <a:gd name="connsiteX11" fmla="*/ 28956 w 57054"/>
                <a:gd name="connsiteY11" fmla="*/ 10668 h 64579"/>
                <a:gd name="connsiteX12" fmla="*/ 12287 w 57054"/>
                <a:gd name="connsiteY12" fmla="*/ 27718 h 64579"/>
                <a:gd name="connsiteX13" fmla="*/ 45053 w 57054"/>
                <a:gd name="connsiteY13" fmla="*/ 27718 h 64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054" h="64579">
                  <a:moveTo>
                    <a:pt x="0" y="32290"/>
                  </a:moveTo>
                  <a:cubicBezTo>
                    <a:pt x="0" y="13621"/>
                    <a:pt x="12287" y="0"/>
                    <a:pt x="29623" y="0"/>
                  </a:cubicBezTo>
                  <a:cubicBezTo>
                    <a:pt x="46958" y="0"/>
                    <a:pt x="57055" y="13716"/>
                    <a:pt x="57055" y="29242"/>
                  </a:cubicBezTo>
                  <a:cubicBezTo>
                    <a:pt x="57055" y="31433"/>
                    <a:pt x="57055" y="33052"/>
                    <a:pt x="56960" y="37338"/>
                  </a:cubicBezTo>
                  <a:lnTo>
                    <a:pt x="12287" y="37338"/>
                  </a:lnTo>
                  <a:cubicBezTo>
                    <a:pt x="14097" y="48292"/>
                    <a:pt x="22193" y="53816"/>
                    <a:pt x="30861" y="53816"/>
                  </a:cubicBezTo>
                  <a:cubicBezTo>
                    <a:pt x="37243" y="53816"/>
                    <a:pt x="44006" y="50959"/>
                    <a:pt x="49149" y="45149"/>
                  </a:cubicBezTo>
                  <a:lnTo>
                    <a:pt x="56007" y="52388"/>
                  </a:lnTo>
                  <a:cubicBezTo>
                    <a:pt x="49721" y="60484"/>
                    <a:pt x="40100" y="64579"/>
                    <a:pt x="30766" y="64579"/>
                  </a:cubicBezTo>
                  <a:cubicBezTo>
                    <a:pt x="15240" y="64579"/>
                    <a:pt x="0" y="53721"/>
                    <a:pt x="0" y="32385"/>
                  </a:cubicBezTo>
                  <a:close/>
                  <a:moveTo>
                    <a:pt x="45053" y="27718"/>
                  </a:moveTo>
                  <a:cubicBezTo>
                    <a:pt x="44863" y="16859"/>
                    <a:pt x="36957" y="10668"/>
                    <a:pt x="28956" y="10668"/>
                  </a:cubicBezTo>
                  <a:cubicBezTo>
                    <a:pt x="21431" y="10668"/>
                    <a:pt x="13907" y="16002"/>
                    <a:pt x="12287" y="27718"/>
                  </a:cubicBezTo>
                  <a:lnTo>
                    <a:pt x="45053" y="2771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1" name="Forma libre 90">
              <a:extLst>
                <a:ext uri="{FF2B5EF4-FFF2-40B4-BE49-F238E27FC236}">
                  <a16:creationId xmlns:a16="http://schemas.microsoft.com/office/drawing/2014/main" id="{CFDBCDFD-495D-3604-916D-7171D070B32C}"/>
                </a:ext>
              </a:extLst>
            </p:cNvPr>
            <p:cNvSpPr/>
            <p:nvPr/>
          </p:nvSpPr>
          <p:spPr>
            <a:xfrm>
              <a:off x="3383851" y="2108739"/>
              <a:ext cx="53530" cy="62769"/>
            </a:xfrm>
            <a:custGeom>
              <a:avLst/>
              <a:gdLst>
                <a:gd name="connsiteX0" fmla="*/ 95 w 53530"/>
                <a:gd name="connsiteY0" fmla="*/ 1715 h 62769"/>
                <a:gd name="connsiteX1" fmla="*/ 11525 w 53530"/>
                <a:gd name="connsiteY1" fmla="*/ 1715 h 62769"/>
                <a:gd name="connsiteX2" fmla="*/ 11525 w 53530"/>
                <a:gd name="connsiteY2" fmla="*/ 13525 h 62769"/>
                <a:gd name="connsiteX3" fmla="*/ 12287 w 53530"/>
                <a:gd name="connsiteY3" fmla="*/ 13525 h 62769"/>
                <a:gd name="connsiteX4" fmla="*/ 33052 w 53530"/>
                <a:gd name="connsiteY4" fmla="*/ 0 h 62769"/>
                <a:gd name="connsiteX5" fmla="*/ 53531 w 53530"/>
                <a:gd name="connsiteY5" fmla="*/ 24289 h 62769"/>
                <a:gd name="connsiteX6" fmla="*/ 53531 w 53530"/>
                <a:gd name="connsiteY6" fmla="*/ 62770 h 62769"/>
                <a:gd name="connsiteX7" fmla="*/ 41053 w 53530"/>
                <a:gd name="connsiteY7" fmla="*/ 62770 h 62769"/>
                <a:gd name="connsiteX8" fmla="*/ 41053 w 53530"/>
                <a:gd name="connsiteY8" fmla="*/ 28289 h 62769"/>
                <a:gd name="connsiteX9" fmla="*/ 28575 w 53530"/>
                <a:gd name="connsiteY9" fmla="*/ 10668 h 62769"/>
                <a:gd name="connsiteX10" fmla="*/ 12478 w 53530"/>
                <a:gd name="connsiteY10" fmla="*/ 32004 h 62769"/>
                <a:gd name="connsiteX11" fmla="*/ 12478 w 53530"/>
                <a:gd name="connsiteY11" fmla="*/ 62770 h 62769"/>
                <a:gd name="connsiteX12" fmla="*/ 0 w 53530"/>
                <a:gd name="connsiteY12" fmla="*/ 62770 h 62769"/>
                <a:gd name="connsiteX13" fmla="*/ 0 w 53530"/>
                <a:gd name="connsiteY13" fmla="*/ 1619 h 62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3530" h="62769">
                  <a:moveTo>
                    <a:pt x="95" y="1715"/>
                  </a:moveTo>
                  <a:lnTo>
                    <a:pt x="11525" y="1715"/>
                  </a:lnTo>
                  <a:lnTo>
                    <a:pt x="11525" y="13525"/>
                  </a:lnTo>
                  <a:lnTo>
                    <a:pt x="12287" y="13525"/>
                  </a:lnTo>
                  <a:cubicBezTo>
                    <a:pt x="14478" y="6001"/>
                    <a:pt x="23336" y="0"/>
                    <a:pt x="33052" y="0"/>
                  </a:cubicBezTo>
                  <a:cubicBezTo>
                    <a:pt x="46577" y="0"/>
                    <a:pt x="53531" y="9239"/>
                    <a:pt x="53531" y="24289"/>
                  </a:cubicBezTo>
                  <a:lnTo>
                    <a:pt x="53531" y="62770"/>
                  </a:lnTo>
                  <a:lnTo>
                    <a:pt x="41053" y="62770"/>
                  </a:lnTo>
                  <a:lnTo>
                    <a:pt x="41053" y="28289"/>
                  </a:lnTo>
                  <a:cubicBezTo>
                    <a:pt x="41053" y="16097"/>
                    <a:pt x="36385" y="10668"/>
                    <a:pt x="28575" y="10668"/>
                  </a:cubicBezTo>
                  <a:cubicBezTo>
                    <a:pt x="19336" y="10668"/>
                    <a:pt x="12478" y="18669"/>
                    <a:pt x="12478" y="32004"/>
                  </a:cubicBezTo>
                  <a:lnTo>
                    <a:pt x="12478" y="62770"/>
                  </a:lnTo>
                  <a:lnTo>
                    <a:pt x="0" y="62770"/>
                  </a:lnTo>
                  <a:lnTo>
                    <a:pt x="0" y="161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2" name="Forma libre 91">
              <a:extLst>
                <a:ext uri="{FF2B5EF4-FFF2-40B4-BE49-F238E27FC236}">
                  <a16:creationId xmlns:a16="http://schemas.microsoft.com/office/drawing/2014/main" id="{6F3F3FAB-2767-A9E3-1B6C-54ED53CF69B5}"/>
                </a:ext>
              </a:extLst>
            </p:cNvPr>
            <p:cNvSpPr/>
            <p:nvPr/>
          </p:nvSpPr>
          <p:spPr>
            <a:xfrm>
              <a:off x="3447954" y="2108739"/>
              <a:ext cx="57054" cy="64579"/>
            </a:xfrm>
            <a:custGeom>
              <a:avLst/>
              <a:gdLst>
                <a:gd name="connsiteX0" fmla="*/ 0 w 57054"/>
                <a:gd name="connsiteY0" fmla="*/ 32290 h 64579"/>
                <a:gd name="connsiteX1" fmla="*/ 29623 w 57054"/>
                <a:gd name="connsiteY1" fmla="*/ 0 h 64579"/>
                <a:gd name="connsiteX2" fmla="*/ 57055 w 57054"/>
                <a:gd name="connsiteY2" fmla="*/ 29242 h 64579"/>
                <a:gd name="connsiteX3" fmla="*/ 56959 w 57054"/>
                <a:gd name="connsiteY3" fmla="*/ 37338 h 64579"/>
                <a:gd name="connsiteX4" fmla="*/ 12287 w 57054"/>
                <a:gd name="connsiteY4" fmla="*/ 37338 h 64579"/>
                <a:gd name="connsiteX5" fmla="*/ 30861 w 57054"/>
                <a:gd name="connsiteY5" fmla="*/ 53816 h 64579"/>
                <a:gd name="connsiteX6" fmla="*/ 49149 w 57054"/>
                <a:gd name="connsiteY6" fmla="*/ 45149 h 64579"/>
                <a:gd name="connsiteX7" fmla="*/ 56007 w 57054"/>
                <a:gd name="connsiteY7" fmla="*/ 52388 h 64579"/>
                <a:gd name="connsiteX8" fmla="*/ 30766 w 57054"/>
                <a:gd name="connsiteY8" fmla="*/ 64579 h 64579"/>
                <a:gd name="connsiteX9" fmla="*/ 0 w 57054"/>
                <a:gd name="connsiteY9" fmla="*/ 32385 h 64579"/>
                <a:gd name="connsiteX10" fmla="*/ 44958 w 57054"/>
                <a:gd name="connsiteY10" fmla="*/ 27718 h 64579"/>
                <a:gd name="connsiteX11" fmla="*/ 28861 w 57054"/>
                <a:gd name="connsiteY11" fmla="*/ 10668 h 64579"/>
                <a:gd name="connsiteX12" fmla="*/ 12192 w 57054"/>
                <a:gd name="connsiteY12" fmla="*/ 27718 h 64579"/>
                <a:gd name="connsiteX13" fmla="*/ 44958 w 57054"/>
                <a:gd name="connsiteY13" fmla="*/ 27718 h 64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054" h="64579">
                  <a:moveTo>
                    <a:pt x="0" y="32290"/>
                  </a:moveTo>
                  <a:cubicBezTo>
                    <a:pt x="0" y="13621"/>
                    <a:pt x="12287" y="0"/>
                    <a:pt x="29623" y="0"/>
                  </a:cubicBezTo>
                  <a:cubicBezTo>
                    <a:pt x="46958" y="0"/>
                    <a:pt x="57055" y="13716"/>
                    <a:pt x="57055" y="29242"/>
                  </a:cubicBezTo>
                  <a:cubicBezTo>
                    <a:pt x="57055" y="31433"/>
                    <a:pt x="57055" y="33052"/>
                    <a:pt x="56959" y="37338"/>
                  </a:cubicBezTo>
                  <a:lnTo>
                    <a:pt x="12287" y="37338"/>
                  </a:lnTo>
                  <a:cubicBezTo>
                    <a:pt x="14097" y="48292"/>
                    <a:pt x="22193" y="53816"/>
                    <a:pt x="30861" y="53816"/>
                  </a:cubicBezTo>
                  <a:cubicBezTo>
                    <a:pt x="37243" y="53816"/>
                    <a:pt x="44005" y="50959"/>
                    <a:pt x="49149" y="45149"/>
                  </a:cubicBezTo>
                  <a:lnTo>
                    <a:pt x="56007" y="52388"/>
                  </a:lnTo>
                  <a:cubicBezTo>
                    <a:pt x="49721" y="60484"/>
                    <a:pt x="40100" y="64579"/>
                    <a:pt x="30766" y="64579"/>
                  </a:cubicBezTo>
                  <a:cubicBezTo>
                    <a:pt x="15240" y="64579"/>
                    <a:pt x="0" y="53721"/>
                    <a:pt x="0" y="32385"/>
                  </a:cubicBezTo>
                  <a:close/>
                  <a:moveTo>
                    <a:pt x="44958" y="27718"/>
                  </a:moveTo>
                  <a:cubicBezTo>
                    <a:pt x="44767" y="16859"/>
                    <a:pt x="36862" y="10668"/>
                    <a:pt x="28861" y="10668"/>
                  </a:cubicBezTo>
                  <a:cubicBezTo>
                    <a:pt x="21336" y="10668"/>
                    <a:pt x="13811" y="16002"/>
                    <a:pt x="12192" y="27718"/>
                  </a:cubicBezTo>
                  <a:lnTo>
                    <a:pt x="44958" y="2771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3" name="Forma libre 92">
              <a:extLst>
                <a:ext uri="{FF2B5EF4-FFF2-40B4-BE49-F238E27FC236}">
                  <a16:creationId xmlns:a16="http://schemas.microsoft.com/office/drawing/2014/main" id="{CDCD603A-5428-0DED-DD9D-7E61B0FE4AA0}"/>
                </a:ext>
              </a:extLst>
            </p:cNvPr>
            <p:cNvSpPr/>
            <p:nvPr/>
          </p:nvSpPr>
          <p:spPr>
            <a:xfrm>
              <a:off x="3516249" y="2110358"/>
              <a:ext cx="32099" cy="61245"/>
            </a:xfrm>
            <a:custGeom>
              <a:avLst/>
              <a:gdLst>
                <a:gd name="connsiteX0" fmla="*/ 0 w 32099"/>
                <a:gd name="connsiteY0" fmla="*/ 95 h 61245"/>
                <a:gd name="connsiteX1" fmla="*/ 11049 w 32099"/>
                <a:gd name="connsiteY1" fmla="*/ 95 h 61245"/>
                <a:gd name="connsiteX2" fmla="*/ 11049 w 32099"/>
                <a:gd name="connsiteY2" fmla="*/ 11335 h 61245"/>
                <a:gd name="connsiteX3" fmla="*/ 11811 w 32099"/>
                <a:gd name="connsiteY3" fmla="*/ 11335 h 61245"/>
                <a:gd name="connsiteX4" fmla="*/ 28194 w 32099"/>
                <a:gd name="connsiteY4" fmla="*/ 0 h 61245"/>
                <a:gd name="connsiteX5" fmla="*/ 32099 w 32099"/>
                <a:gd name="connsiteY5" fmla="*/ 0 h 61245"/>
                <a:gd name="connsiteX6" fmla="*/ 32099 w 32099"/>
                <a:gd name="connsiteY6" fmla="*/ 13621 h 61245"/>
                <a:gd name="connsiteX7" fmla="*/ 24003 w 32099"/>
                <a:gd name="connsiteY7" fmla="*/ 13621 h 61245"/>
                <a:gd name="connsiteX8" fmla="*/ 12478 w 32099"/>
                <a:gd name="connsiteY8" fmla="*/ 25813 h 61245"/>
                <a:gd name="connsiteX9" fmla="*/ 12478 w 32099"/>
                <a:gd name="connsiteY9" fmla="*/ 61246 h 61245"/>
                <a:gd name="connsiteX10" fmla="*/ 0 w 32099"/>
                <a:gd name="connsiteY10" fmla="*/ 61246 h 61245"/>
                <a:gd name="connsiteX11" fmla="*/ 0 w 32099"/>
                <a:gd name="connsiteY11" fmla="*/ 95 h 61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" h="61245">
                  <a:moveTo>
                    <a:pt x="0" y="95"/>
                  </a:moveTo>
                  <a:lnTo>
                    <a:pt x="11049" y="95"/>
                  </a:lnTo>
                  <a:lnTo>
                    <a:pt x="11049" y="11335"/>
                  </a:lnTo>
                  <a:lnTo>
                    <a:pt x="11811" y="11335"/>
                  </a:lnTo>
                  <a:cubicBezTo>
                    <a:pt x="14288" y="2381"/>
                    <a:pt x="21050" y="0"/>
                    <a:pt x="28194" y="0"/>
                  </a:cubicBezTo>
                  <a:lnTo>
                    <a:pt x="32099" y="0"/>
                  </a:lnTo>
                  <a:lnTo>
                    <a:pt x="32099" y="13621"/>
                  </a:lnTo>
                  <a:lnTo>
                    <a:pt x="24003" y="13621"/>
                  </a:lnTo>
                  <a:cubicBezTo>
                    <a:pt x="15430" y="13621"/>
                    <a:pt x="12478" y="18002"/>
                    <a:pt x="12478" y="25813"/>
                  </a:cubicBezTo>
                  <a:lnTo>
                    <a:pt x="12478" y="61246"/>
                  </a:lnTo>
                  <a:lnTo>
                    <a:pt x="0" y="61246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4" name="Forma libre 93">
              <a:extLst>
                <a:ext uri="{FF2B5EF4-FFF2-40B4-BE49-F238E27FC236}">
                  <a16:creationId xmlns:a16="http://schemas.microsoft.com/office/drawing/2014/main" id="{9971A1F1-8AC9-7794-2F61-9EA0ACE2D307}"/>
                </a:ext>
              </a:extLst>
            </p:cNvPr>
            <p:cNvSpPr/>
            <p:nvPr/>
          </p:nvSpPr>
          <p:spPr>
            <a:xfrm>
              <a:off x="3551300" y="2109596"/>
              <a:ext cx="60864" cy="84867"/>
            </a:xfrm>
            <a:custGeom>
              <a:avLst/>
              <a:gdLst>
                <a:gd name="connsiteX0" fmla="*/ 27908 w 60864"/>
                <a:gd name="connsiteY0" fmla="*/ 41910 h 84867"/>
                <a:gd name="connsiteX1" fmla="*/ 27908 w 60864"/>
                <a:gd name="connsiteY1" fmla="*/ 50292 h 84867"/>
                <a:gd name="connsiteX2" fmla="*/ 30290 w 60864"/>
                <a:gd name="connsiteY2" fmla="*/ 50292 h 84867"/>
                <a:gd name="connsiteX3" fmla="*/ 60865 w 60864"/>
                <a:gd name="connsiteY3" fmla="*/ 67723 h 84867"/>
                <a:gd name="connsiteX4" fmla="*/ 29813 w 60864"/>
                <a:gd name="connsiteY4" fmla="*/ 84868 h 84867"/>
                <a:gd name="connsiteX5" fmla="*/ 0 w 60864"/>
                <a:gd name="connsiteY5" fmla="*/ 67723 h 84867"/>
                <a:gd name="connsiteX6" fmla="*/ 17621 w 60864"/>
                <a:gd name="connsiteY6" fmla="*/ 51625 h 84867"/>
                <a:gd name="connsiteX7" fmla="*/ 17621 w 60864"/>
                <a:gd name="connsiteY7" fmla="*/ 40100 h 84867"/>
                <a:gd name="connsiteX8" fmla="*/ 3715 w 60864"/>
                <a:gd name="connsiteY8" fmla="*/ 21431 h 84867"/>
                <a:gd name="connsiteX9" fmla="*/ 30290 w 60864"/>
                <a:gd name="connsiteY9" fmla="*/ 0 h 84867"/>
                <a:gd name="connsiteX10" fmla="*/ 59341 w 60864"/>
                <a:gd name="connsiteY10" fmla="*/ 0 h 84867"/>
                <a:gd name="connsiteX11" fmla="*/ 59341 w 60864"/>
                <a:gd name="connsiteY11" fmla="*/ 8668 h 84867"/>
                <a:gd name="connsiteX12" fmla="*/ 46006 w 60864"/>
                <a:gd name="connsiteY12" fmla="*/ 8668 h 84867"/>
                <a:gd name="connsiteX13" fmla="*/ 46006 w 60864"/>
                <a:gd name="connsiteY13" fmla="*/ 9716 h 84867"/>
                <a:gd name="connsiteX14" fmla="*/ 54769 w 60864"/>
                <a:gd name="connsiteY14" fmla="*/ 23622 h 84867"/>
                <a:gd name="connsiteX15" fmla="*/ 28956 w 60864"/>
                <a:gd name="connsiteY15" fmla="*/ 41910 h 84867"/>
                <a:gd name="connsiteX16" fmla="*/ 27908 w 60864"/>
                <a:gd name="connsiteY16" fmla="*/ 41910 h 84867"/>
                <a:gd name="connsiteX17" fmla="*/ 30099 w 60864"/>
                <a:gd name="connsiteY17" fmla="*/ 73724 h 84867"/>
                <a:gd name="connsiteX18" fmla="*/ 49054 w 60864"/>
                <a:gd name="connsiteY18" fmla="*/ 67437 h 84867"/>
                <a:gd name="connsiteX19" fmla="*/ 30575 w 60864"/>
                <a:gd name="connsiteY19" fmla="*/ 60484 h 84867"/>
                <a:gd name="connsiteX20" fmla="*/ 11906 w 60864"/>
                <a:gd name="connsiteY20" fmla="*/ 67437 h 84867"/>
                <a:gd name="connsiteX21" fmla="*/ 30099 w 60864"/>
                <a:gd name="connsiteY21" fmla="*/ 73724 h 84867"/>
                <a:gd name="connsiteX22" fmla="*/ 29528 w 60864"/>
                <a:gd name="connsiteY22" fmla="*/ 31909 h 84867"/>
                <a:gd name="connsiteX23" fmla="*/ 42767 w 60864"/>
                <a:gd name="connsiteY23" fmla="*/ 21812 h 84867"/>
                <a:gd name="connsiteX24" fmla="*/ 29718 w 60864"/>
                <a:gd name="connsiteY24" fmla="*/ 10954 h 84867"/>
                <a:gd name="connsiteX25" fmla="*/ 16002 w 60864"/>
                <a:gd name="connsiteY25" fmla="*/ 21717 h 84867"/>
                <a:gd name="connsiteX26" fmla="*/ 29528 w 60864"/>
                <a:gd name="connsiteY26" fmla="*/ 31909 h 8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0864" h="84867">
                  <a:moveTo>
                    <a:pt x="27908" y="41910"/>
                  </a:moveTo>
                  <a:lnTo>
                    <a:pt x="27908" y="50292"/>
                  </a:lnTo>
                  <a:lnTo>
                    <a:pt x="30290" y="50292"/>
                  </a:lnTo>
                  <a:cubicBezTo>
                    <a:pt x="42100" y="50292"/>
                    <a:pt x="60865" y="53912"/>
                    <a:pt x="60865" y="67723"/>
                  </a:cubicBezTo>
                  <a:cubicBezTo>
                    <a:pt x="60865" y="78486"/>
                    <a:pt x="49911" y="84868"/>
                    <a:pt x="29813" y="84868"/>
                  </a:cubicBezTo>
                  <a:cubicBezTo>
                    <a:pt x="10954" y="84868"/>
                    <a:pt x="0" y="78486"/>
                    <a:pt x="0" y="67723"/>
                  </a:cubicBezTo>
                  <a:cubicBezTo>
                    <a:pt x="0" y="58483"/>
                    <a:pt x="8477" y="53816"/>
                    <a:pt x="17621" y="51625"/>
                  </a:cubicBezTo>
                  <a:lnTo>
                    <a:pt x="17621" y="40100"/>
                  </a:lnTo>
                  <a:cubicBezTo>
                    <a:pt x="8954" y="36862"/>
                    <a:pt x="3715" y="30004"/>
                    <a:pt x="3715" y="21431"/>
                  </a:cubicBezTo>
                  <a:cubicBezTo>
                    <a:pt x="3715" y="9144"/>
                    <a:pt x="14478" y="0"/>
                    <a:pt x="30290" y="0"/>
                  </a:cubicBezTo>
                  <a:lnTo>
                    <a:pt x="59341" y="0"/>
                  </a:lnTo>
                  <a:lnTo>
                    <a:pt x="59341" y="8668"/>
                  </a:lnTo>
                  <a:lnTo>
                    <a:pt x="46006" y="8668"/>
                  </a:lnTo>
                  <a:lnTo>
                    <a:pt x="46006" y="9716"/>
                  </a:lnTo>
                  <a:cubicBezTo>
                    <a:pt x="50387" y="12002"/>
                    <a:pt x="54769" y="16097"/>
                    <a:pt x="54769" y="23622"/>
                  </a:cubicBezTo>
                  <a:cubicBezTo>
                    <a:pt x="54769" y="34100"/>
                    <a:pt x="43815" y="41910"/>
                    <a:pt x="28956" y="41910"/>
                  </a:cubicBezTo>
                  <a:lnTo>
                    <a:pt x="27908" y="41910"/>
                  </a:lnTo>
                  <a:close/>
                  <a:moveTo>
                    <a:pt x="30099" y="73724"/>
                  </a:moveTo>
                  <a:cubicBezTo>
                    <a:pt x="41338" y="73724"/>
                    <a:pt x="49054" y="71819"/>
                    <a:pt x="49054" y="67437"/>
                  </a:cubicBezTo>
                  <a:cubicBezTo>
                    <a:pt x="49054" y="62484"/>
                    <a:pt x="41053" y="60484"/>
                    <a:pt x="30575" y="60484"/>
                  </a:cubicBezTo>
                  <a:cubicBezTo>
                    <a:pt x="20098" y="60484"/>
                    <a:pt x="11906" y="62579"/>
                    <a:pt x="11906" y="67437"/>
                  </a:cubicBezTo>
                  <a:cubicBezTo>
                    <a:pt x="11906" y="71819"/>
                    <a:pt x="19717" y="73724"/>
                    <a:pt x="30099" y="73724"/>
                  </a:cubicBezTo>
                  <a:close/>
                  <a:moveTo>
                    <a:pt x="29528" y="31909"/>
                  </a:moveTo>
                  <a:cubicBezTo>
                    <a:pt x="37529" y="31909"/>
                    <a:pt x="42767" y="27337"/>
                    <a:pt x="42767" y="21812"/>
                  </a:cubicBezTo>
                  <a:cubicBezTo>
                    <a:pt x="42767" y="16288"/>
                    <a:pt x="38100" y="10954"/>
                    <a:pt x="29718" y="10954"/>
                  </a:cubicBezTo>
                  <a:cubicBezTo>
                    <a:pt x="20955" y="10954"/>
                    <a:pt x="16002" y="16288"/>
                    <a:pt x="16002" y="21717"/>
                  </a:cubicBezTo>
                  <a:cubicBezTo>
                    <a:pt x="16002" y="27146"/>
                    <a:pt x="21050" y="31909"/>
                    <a:pt x="29528" y="319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5" name="Forma libre 94">
              <a:extLst>
                <a:ext uri="{FF2B5EF4-FFF2-40B4-BE49-F238E27FC236}">
                  <a16:creationId xmlns:a16="http://schemas.microsoft.com/office/drawing/2014/main" id="{5D3BE9CA-5B65-3ED4-142B-6D71D74073CA}"/>
                </a:ext>
              </a:extLst>
            </p:cNvPr>
            <p:cNvSpPr/>
            <p:nvPr/>
          </p:nvSpPr>
          <p:spPr>
            <a:xfrm>
              <a:off x="3619976" y="2085022"/>
              <a:ext cx="25812" cy="86582"/>
            </a:xfrm>
            <a:custGeom>
              <a:avLst/>
              <a:gdLst>
                <a:gd name="connsiteX0" fmla="*/ 0 w 25812"/>
                <a:gd name="connsiteY0" fmla="*/ 25337 h 86582"/>
                <a:gd name="connsiteX1" fmla="*/ 12383 w 25812"/>
                <a:gd name="connsiteY1" fmla="*/ 25337 h 86582"/>
                <a:gd name="connsiteX2" fmla="*/ 12383 w 25812"/>
                <a:gd name="connsiteY2" fmla="*/ 86582 h 86582"/>
                <a:gd name="connsiteX3" fmla="*/ 0 w 25812"/>
                <a:gd name="connsiteY3" fmla="*/ 86582 h 86582"/>
                <a:gd name="connsiteX4" fmla="*/ 0 w 25812"/>
                <a:gd name="connsiteY4" fmla="*/ 25337 h 86582"/>
                <a:gd name="connsiteX5" fmla="*/ 12763 w 25812"/>
                <a:gd name="connsiteY5" fmla="*/ 0 h 86582"/>
                <a:gd name="connsiteX6" fmla="*/ 25813 w 25812"/>
                <a:gd name="connsiteY6" fmla="*/ 0 h 86582"/>
                <a:gd name="connsiteX7" fmla="*/ 25813 w 25812"/>
                <a:gd name="connsiteY7" fmla="*/ 1619 h 86582"/>
                <a:gd name="connsiteX8" fmla="*/ 11716 w 25812"/>
                <a:gd name="connsiteY8" fmla="*/ 16954 h 86582"/>
                <a:gd name="connsiteX9" fmla="*/ 1619 w 25812"/>
                <a:gd name="connsiteY9" fmla="*/ 16954 h 86582"/>
                <a:gd name="connsiteX10" fmla="*/ 12668 w 25812"/>
                <a:gd name="connsiteY10" fmla="*/ 95 h 86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812" h="86582">
                  <a:moveTo>
                    <a:pt x="0" y="25337"/>
                  </a:moveTo>
                  <a:lnTo>
                    <a:pt x="12383" y="25337"/>
                  </a:lnTo>
                  <a:lnTo>
                    <a:pt x="12383" y="86582"/>
                  </a:lnTo>
                  <a:lnTo>
                    <a:pt x="0" y="86582"/>
                  </a:lnTo>
                  <a:lnTo>
                    <a:pt x="0" y="25337"/>
                  </a:lnTo>
                  <a:close/>
                  <a:moveTo>
                    <a:pt x="12763" y="0"/>
                  </a:moveTo>
                  <a:lnTo>
                    <a:pt x="25813" y="0"/>
                  </a:lnTo>
                  <a:lnTo>
                    <a:pt x="25813" y="1619"/>
                  </a:lnTo>
                  <a:lnTo>
                    <a:pt x="11716" y="16954"/>
                  </a:lnTo>
                  <a:lnTo>
                    <a:pt x="1619" y="16954"/>
                  </a:lnTo>
                  <a:lnTo>
                    <a:pt x="12668" y="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6" name="Forma libre 95">
              <a:extLst>
                <a:ext uri="{FF2B5EF4-FFF2-40B4-BE49-F238E27FC236}">
                  <a16:creationId xmlns:a16="http://schemas.microsoft.com/office/drawing/2014/main" id="{0FC957EF-6296-8F62-4D1A-54D965DDC5BE}"/>
                </a:ext>
              </a:extLst>
            </p:cNvPr>
            <p:cNvSpPr/>
            <p:nvPr/>
          </p:nvSpPr>
          <p:spPr>
            <a:xfrm>
              <a:off x="3642455" y="2108644"/>
              <a:ext cx="57626" cy="64198"/>
            </a:xfrm>
            <a:custGeom>
              <a:avLst/>
              <a:gdLst>
                <a:gd name="connsiteX0" fmla="*/ 95 w 57626"/>
                <a:gd name="connsiteY0" fmla="*/ 47339 h 64198"/>
                <a:gd name="connsiteX1" fmla="*/ 25337 w 57626"/>
                <a:gd name="connsiteY1" fmla="*/ 28289 h 64198"/>
                <a:gd name="connsiteX2" fmla="*/ 39719 w 57626"/>
                <a:gd name="connsiteY2" fmla="*/ 28289 h 64198"/>
                <a:gd name="connsiteX3" fmla="*/ 39719 w 57626"/>
                <a:gd name="connsiteY3" fmla="*/ 24479 h 64198"/>
                <a:gd name="connsiteX4" fmla="*/ 27813 w 57626"/>
                <a:gd name="connsiteY4" fmla="*/ 10763 h 64198"/>
                <a:gd name="connsiteX5" fmla="*/ 11906 w 57626"/>
                <a:gd name="connsiteY5" fmla="*/ 23527 h 64198"/>
                <a:gd name="connsiteX6" fmla="*/ 1619 w 57626"/>
                <a:gd name="connsiteY6" fmla="*/ 19145 h 64198"/>
                <a:gd name="connsiteX7" fmla="*/ 27813 w 57626"/>
                <a:gd name="connsiteY7" fmla="*/ 0 h 64198"/>
                <a:gd name="connsiteX8" fmla="*/ 51340 w 57626"/>
                <a:gd name="connsiteY8" fmla="*/ 23050 h 64198"/>
                <a:gd name="connsiteX9" fmla="*/ 51340 w 57626"/>
                <a:gd name="connsiteY9" fmla="*/ 50768 h 64198"/>
                <a:gd name="connsiteX10" fmla="*/ 52959 w 57626"/>
                <a:gd name="connsiteY10" fmla="*/ 52959 h 64198"/>
                <a:gd name="connsiteX11" fmla="*/ 57626 w 57626"/>
                <a:gd name="connsiteY11" fmla="*/ 52959 h 64198"/>
                <a:gd name="connsiteX12" fmla="*/ 57626 w 57626"/>
                <a:gd name="connsiteY12" fmla="*/ 62770 h 64198"/>
                <a:gd name="connsiteX13" fmla="*/ 50578 w 57626"/>
                <a:gd name="connsiteY13" fmla="*/ 62770 h 64198"/>
                <a:gd name="connsiteX14" fmla="*/ 42386 w 57626"/>
                <a:gd name="connsiteY14" fmla="*/ 53816 h 64198"/>
                <a:gd name="connsiteX15" fmla="*/ 42386 w 57626"/>
                <a:gd name="connsiteY15" fmla="*/ 49911 h 64198"/>
                <a:gd name="connsiteX16" fmla="*/ 41434 w 57626"/>
                <a:gd name="connsiteY16" fmla="*/ 49911 h 64198"/>
                <a:gd name="connsiteX17" fmla="*/ 19240 w 57626"/>
                <a:gd name="connsiteY17" fmla="*/ 64198 h 64198"/>
                <a:gd name="connsiteX18" fmla="*/ 0 w 57626"/>
                <a:gd name="connsiteY18" fmla="*/ 47149 h 64198"/>
                <a:gd name="connsiteX19" fmla="*/ 21717 w 57626"/>
                <a:gd name="connsiteY19" fmla="*/ 53626 h 64198"/>
                <a:gd name="connsiteX20" fmla="*/ 39814 w 57626"/>
                <a:gd name="connsiteY20" fmla="*/ 37338 h 64198"/>
                <a:gd name="connsiteX21" fmla="*/ 29623 w 57626"/>
                <a:gd name="connsiteY21" fmla="*/ 37338 h 64198"/>
                <a:gd name="connsiteX22" fmla="*/ 12001 w 57626"/>
                <a:gd name="connsiteY22" fmla="*/ 46387 h 64198"/>
                <a:gd name="connsiteX23" fmla="*/ 21717 w 57626"/>
                <a:gd name="connsiteY23" fmla="*/ 53721 h 64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626" h="64198">
                  <a:moveTo>
                    <a:pt x="95" y="47339"/>
                  </a:moveTo>
                  <a:cubicBezTo>
                    <a:pt x="95" y="34861"/>
                    <a:pt x="12097" y="28289"/>
                    <a:pt x="25337" y="28289"/>
                  </a:cubicBezTo>
                  <a:lnTo>
                    <a:pt x="39719" y="28289"/>
                  </a:lnTo>
                  <a:lnTo>
                    <a:pt x="39719" y="24479"/>
                  </a:lnTo>
                  <a:cubicBezTo>
                    <a:pt x="39719" y="15526"/>
                    <a:pt x="34195" y="10763"/>
                    <a:pt x="27813" y="10763"/>
                  </a:cubicBezTo>
                  <a:cubicBezTo>
                    <a:pt x="19907" y="10763"/>
                    <a:pt x="15621" y="14668"/>
                    <a:pt x="11906" y="23527"/>
                  </a:cubicBezTo>
                  <a:lnTo>
                    <a:pt x="1619" y="19145"/>
                  </a:lnTo>
                  <a:cubicBezTo>
                    <a:pt x="5620" y="7048"/>
                    <a:pt x="15145" y="0"/>
                    <a:pt x="27813" y="0"/>
                  </a:cubicBezTo>
                  <a:cubicBezTo>
                    <a:pt x="42005" y="0"/>
                    <a:pt x="51340" y="8477"/>
                    <a:pt x="51340" y="23050"/>
                  </a:cubicBezTo>
                  <a:lnTo>
                    <a:pt x="51340" y="50768"/>
                  </a:lnTo>
                  <a:cubicBezTo>
                    <a:pt x="51340" y="52102"/>
                    <a:pt x="51911" y="52959"/>
                    <a:pt x="52959" y="52959"/>
                  </a:cubicBezTo>
                  <a:lnTo>
                    <a:pt x="57626" y="52959"/>
                  </a:lnTo>
                  <a:lnTo>
                    <a:pt x="57626" y="62770"/>
                  </a:lnTo>
                  <a:lnTo>
                    <a:pt x="50578" y="62770"/>
                  </a:lnTo>
                  <a:cubicBezTo>
                    <a:pt x="45053" y="62770"/>
                    <a:pt x="42386" y="59722"/>
                    <a:pt x="42386" y="53816"/>
                  </a:cubicBezTo>
                  <a:lnTo>
                    <a:pt x="42386" y="49911"/>
                  </a:lnTo>
                  <a:cubicBezTo>
                    <a:pt x="42386" y="49911"/>
                    <a:pt x="41434" y="49911"/>
                    <a:pt x="41434" y="49911"/>
                  </a:cubicBezTo>
                  <a:cubicBezTo>
                    <a:pt x="37814" y="58007"/>
                    <a:pt x="29623" y="64198"/>
                    <a:pt x="19240" y="64198"/>
                  </a:cubicBezTo>
                  <a:cubicBezTo>
                    <a:pt x="8858" y="64198"/>
                    <a:pt x="0" y="57721"/>
                    <a:pt x="0" y="47149"/>
                  </a:cubicBezTo>
                  <a:close/>
                  <a:moveTo>
                    <a:pt x="21717" y="53626"/>
                  </a:moveTo>
                  <a:cubicBezTo>
                    <a:pt x="30385" y="53626"/>
                    <a:pt x="38862" y="45244"/>
                    <a:pt x="39814" y="37338"/>
                  </a:cubicBezTo>
                  <a:lnTo>
                    <a:pt x="29623" y="37338"/>
                  </a:lnTo>
                  <a:cubicBezTo>
                    <a:pt x="19812" y="37338"/>
                    <a:pt x="12001" y="40291"/>
                    <a:pt x="12001" y="46387"/>
                  </a:cubicBezTo>
                  <a:cubicBezTo>
                    <a:pt x="12001" y="51149"/>
                    <a:pt x="16954" y="53721"/>
                    <a:pt x="21717" y="537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7" name="Forma libre 96">
              <a:extLst>
                <a:ext uri="{FF2B5EF4-FFF2-40B4-BE49-F238E27FC236}">
                  <a16:creationId xmlns:a16="http://schemas.microsoft.com/office/drawing/2014/main" id="{CED87FFD-00E1-1BD1-DEDC-0EED261DC771}"/>
                </a:ext>
              </a:extLst>
            </p:cNvPr>
            <p:cNvSpPr/>
            <p:nvPr/>
          </p:nvSpPr>
          <p:spPr>
            <a:xfrm>
              <a:off x="3733419" y="2110358"/>
              <a:ext cx="32099" cy="61245"/>
            </a:xfrm>
            <a:custGeom>
              <a:avLst/>
              <a:gdLst>
                <a:gd name="connsiteX0" fmla="*/ 0 w 32099"/>
                <a:gd name="connsiteY0" fmla="*/ 95 h 61245"/>
                <a:gd name="connsiteX1" fmla="*/ 11049 w 32099"/>
                <a:gd name="connsiteY1" fmla="*/ 95 h 61245"/>
                <a:gd name="connsiteX2" fmla="*/ 11049 w 32099"/>
                <a:gd name="connsiteY2" fmla="*/ 11335 h 61245"/>
                <a:gd name="connsiteX3" fmla="*/ 11811 w 32099"/>
                <a:gd name="connsiteY3" fmla="*/ 11335 h 61245"/>
                <a:gd name="connsiteX4" fmla="*/ 28194 w 32099"/>
                <a:gd name="connsiteY4" fmla="*/ 0 h 61245"/>
                <a:gd name="connsiteX5" fmla="*/ 32099 w 32099"/>
                <a:gd name="connsiteY5" fmla="*/ 0 h 61245"/>
                <a:gd name="connsiteX6" fmla="*/ 32099 w 32099"/>
                <a:gd name="connsiteY6" fmla="*/ 13621 h 61245"/>
                <a:gd name="connsiteX7" fmla="*/ 24003 w 32099"/>
                <a:gd name="connsiteY7" fmla="*/ 13621 h 61245"/>
                <a:gd name="connsiteX8" fmla="*/ 12478 w 32099"/>
                <a:gd name="connsiteY8" fmla="*/ 25813 h 61245"/>
                <a:gd name="connsiteX9" fmla="*/ 12478 w 32099"/>
                <a:gd name="connsiteY9" fmla="*/ 61246 h 61245"/>
                <a:gd name="connsiteX10" fmla="*/ 0 w 32099"/>
                <a:gd name="connsiteY10" fmla="*/ 61246 h 61245"/>
                <a:gd name="connsiteX11" fmla="*/ 0 w 32099"/>
                <a:gd name="connsiteY11" fmla="*/ 95 h 61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" h="61245">
                  <a:moveTo>
                    <a:pt x="0" y="95"/>
                  </a:moveTo>
                  <a:lnTo>
                    <a:pt x="11049" y="95"/>
                  </a:lnTo>
                  <a:lnTo>
                    <a:pt x="11049" y="11335"/>
                  </a:lnTo>
                  <a:lnTo>
                    <a:pt x="11811" y="11335"/>
                  </a:lnTo>
                  <a:cubicBezTo>
                    <a:pt x="14288" y="2381"/>
                    <a:pt x="21050" y="0"/>
                    <a:pt x="28194" y="0"/>
                  </a:cubicBezTo>
                  <a:lnTo>
                    <a:pt x="32099" y="0"/>
                  </a:lnTo>
                  <a:lnTo>
                    <a:pt x="32099" y="13621"/>
                  </a:lnTo>
                  <a:lnTo>
                    <a:pt x="24003" y="13621"/>
                  </a:lnTo>
                  <a:cubicBezTo>
                    <a:pt x="15430" y="13621"/>
                    <a:pt x="12478" y="18002"/>
                    <a:pt x="12478" y="25813"/>
                  </a:cubicBezTo>
                  <a:lnTo>
                    <a:pt x="12478" y="61246"/>
                  </a:lnTo>
                  <a:lnTo>
                    <a:pt x="0" y="61246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8" name="Forma libre 97">
              <a:extLst>
                <a:ext uri="{FF2B5EF4-FFF2-40B4-BE49-F238E27FC236}">
                  <a16:creationId xmlns:a16="http://schemas.microsoft.com/office/drawing/2014/main" id="{65CC83B7-F725-9304-1485-C0EBB533010F}"/>
                </a:ext>
              </a:extLst>
            </p:cNvPr>
            <p:cNvSpPr/>
            <p:nvPr/>
          </p:nvSpPr>
          <p:spPr>
            <a:xfrm>
              <a:off x="3769613" y="2108739"/>
              <a:ext cx="57054" cy="64579"/>
            </a:xfrm>
            <a:custGeom>
              <a:avLst/>
              <a:gdLst>
                <a:gd name="connsiteX0" fmla="*/ 0 w 57054"/>
                <a:gd name="connsiteY0" fmla="*/ 32290 h 64579"/>
                <a:gd name="connsiteX1" fmla="*/ 29623 w 57054"/>
                <a:gd name="connsiteY1" fmla="*/ 0 h 64579"/>
                <a:gd name="connsiteX2" fmla="*/ 57055 w 57054"/>
                <a:gd name="connsiteY2" fmla="*/ 29242 h 64579"/>
                <a:gd name="connsiteX3" fmla="*/ 56960 w 57054"/>
                <a:gd name="connsiteY3" fmla="*/ 37338 h 64579"/>
                <a:gd name="connsiteX4" fmla="*/ 12287 w 57054"/>
                <a:gd name="connsiteY4" fmla="*/ 37338 h 64579"/>
                <a:gd name="connsiteX5" fmla="*/ 30861 w 57054"/>
                <a:gd name="connsiteY5" fmla="*/ 53816 h 64579"/>
                <a:gd name="connsiteX6" fmla="*/ 49149 w 57054"/>
                <a:gd name="connsiteY6" fmla="*/ 45149 h 64579"/>
                <a:gd name="connsiteX7" fmla="*/ 56007 w 57054"/>
                <a:gd name="connsiteY7" fmla="*/ 52388 h 64579"/>
                <a:gd name="connsiteX8" fmla="*/ 30766 w 57054"/>
                <a:gd name="connsiteY8" fmla="*/ 64579 h 64579"/>
                <a:gd name="connsiteX9" fmla="*/ 0 w 57054"/>
                <a:gd name="connsiteY9" fmla="*/ 32385 h 64579"/>
                <a:gd name="connsiteX10" fmla="*/ 45053 w 57054"/>
                <a:gd name="connsiteY10" fmla="*/ 27718 h 64579"/>
                <a:gd name="connsiteX11" fmla="*/ 28956 w 57054"/>
                <a:gd name="connsiteY11" fmla="*/ 10668 h 64579"/>
                <a:gd name="connsiteX12" fmla="*/ 12287 w 57054"/>
                <a:gd name="connsiteY12" fmla="*/ 27718 h 64579"/>
                <a:gd name="connsiteX13" fmla="*/ 45053 w 57054"/>
                <a:gd name="connsiteY13" fmla="*/ 27718 h 64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054" h="64579">
                  <a:moveTo>
                    <a:pt x="0" y="32290"/>
                  </a:moveTo>
                  <a:cubicBezTo>
                    <a:pt x="0" y="13621"/>
                    <a:pt x="12287" y="0"/>
                    <a:pt x="29623" y="0"/>
                  </a:cubicBezTo>
                  <a:cubicBezTo>
                    <a:pt x="46958" y="0"/>
                    <a:pt x="57055" y="13716"/>
                    <a:pt x="57055" y="29242"/>
                  </a:cubicBezTo>
                  <a:cubicBezTo>
                    <a:pt x="57055" y="31433"/>
                    <a:pt x="57055" y="33052"/>
                    <a:pt x="56960" y="37338"/>
                  </a:cubicBezTo>
                  <a:lnTo>
                    <a:pt x="12287" y="37338"/>
                  </a:lnTo>
                  <a:cubicBezTo>
                    <a:pt x="14097" y="48292"/>
                    <a:pt x="22193" y="53816"/>
                    <a:pt x="30861" y="53816"/>
                  </a:cubicBezTo>
                  <a:cubicBezTo>
                    <a:pt x="37243" y="53816"/>
                    <a:pt x="44006" y="50959"/>
                    <a:pt x="49149" y="45149"/>
                  </a:cubicBezTo>
                  <a:lnTo>
                    <a:pt x="56007" y="52388"/>
                  </a:lnTo>
                  <a:cubicBezTo>
                    <a:pt x="49721" y="60484"/>
                    <a:pt x="40100" y="64579"/>
                    <a:pt x="30766" y="64579"/>
                  </a:cubicBezTo>
                  <a:cubicBezTo>
                    <a:pt x="15240" y="64579"/>
                    <a:pt x="0" y="53721"/>
                    <a:pt x="0" y="32385"/>
                  </a:cubicBezTo>
                  <a:close/>
                  <a:moveTo>
                    <a:pt x="45053" y="27718"/>
                  </a:moveTo>
                  <a:cubicBezTo>
                    <a:pt x="44863" y="16859"/>
                    <a:pt x="36957" y="10668"/>
                    <a:pt x="28956" y="10668"/>
                  </a:cubicBezTo>
                  <a:cubicBezTo>
                    <a:pt x="21431" y="10668"/>
                    <a:pt x="13907" y="16002"/>
                    <a:pt x="12287" y="27718"/>
                  </a:cubicBezTo>
                  <a:lnTo>
                    <a:pt x="45053" y="2771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9" name="Forma libre 98">
              <a:extLst>
                <a:ext uri="{FF2B5EF4-FFF2-40B4-BE49-F238E27FC236}">
                  <a16:creationId xmlns:a16="http://schemas.microsoft.com/office/drawing/2014/main" id="{C54310D1-8F18-1A31-0D77-B12AF6F2C68B}"/>
                </a:ext>
              </a:extLst>
            </p:cNvPr>
            <p:cNvSpPr/>
            <p:nvPr/>
          </p:nvSpPr>
          <p:spPr>
            <a:xfrm>
              <a:off x="3837908" y="2108739"/>
              <a:ext cx="53530" cy="62769"/>
            </a:xfrm>
            <a:custGeom>
              <a:avLst/>
              <a:gdLst>
                <a:gd name="connsiteX0" fmla="*/ 95 w 53530"/>
                <a:gd name="connsiteY0" fmla="*/ 1715 h 62769"/>
                <a:gd name="connsiteX1" fmla="*/ 11525 w 53530"/>
                <a:gd name="connsiteY1" fmla="*/ 1715 h 62769"/>
                <a:gd name="connsiteX2" fmla="*/ 11525 w 53530"/>
                <a:gd name="connsiteY2" fmla="*/ 13525 h 62769"/>
                <a:gd name="connsiteX3" fmla="*/ 12287 w 53530"/>
                <a:gd name="connsiteY3" fmla="*/ 13525 h 62769"/>
                <a:gd name="connsiteX4" fmla="*/ 33052 w 53530"/>
                <a:gd name="connsiteY4" fmla="*/ 0 h 62769"/>
                <a:gd name="connsiteX5" fmla="*/ 53531 w 53530"/>
                <a:gd name="connsiteY5" fmla="*/ 24289 h 62769"/>
                <a:gd name="connsiteX6" fmla="*/ 53531 w 53530"/>
                <a:gd name="connsiteY6" fmla="*/ 62770 h 62769"/>
                <a:gd name="connsiteX7" fmla="*/ 41053 w 53530"/>
                <a:gd name="connsiteY7" fmla="*/ 62770 h 62769"/>
                <a:gd name="connsiteX8" fmla="*/ 41053 w 53530"/>
                <a:gd name="connsiteY8" fmla="*/ 28289 h 62769"/>
                <a:gd name="connsiteX9" fmla="*/ 28575 w 53530"/>
                <a:gd name="connsiteY9" fmla="*/ 10668 h 62769"/>
                <a:gd name="connsiteX10" fmla="*/ 12478 w 53530"/>
                <a:gd name="connsiteY10" fmla="*/ 32004 h 62769"/>
                <a:gd name="connsiteX11" fmla="*/ 12478 w 53530"/>
                <a:gd name="connsiteY11" fmla="*/ 62770 h 62769"/>
                <a:gd name="connsiteX12" fmla="*/ 0 w 53530"/>
                <a:gd name="connsiteY12" fmla="*/ 62770 h 62769"/>
                <a:gd name="connsiteX13" fmla="*/ 0 w 53530"/>
                <a:gd name="connsiteY13" fmla="*/ 1619 h 62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3530" h="62769">
                  <a:moveTo>
                    <a:pt x="95" y="1715"/>
                  </a:moveTo>
                  <a:lnTo>
                    <a:pt x="11525" y="1715"/>
                  </a:lnTo>
                  <a:lnTo>
                    <a:pt x="11525" y="13525"/>
                  </a:lnTo>
                  <a:lnTo>
                    <a:pt x="12287" y="13525"/>
                  </a:lnTo>
                  <a:cubicBezTo>
                    <a:pt x="14478" y="6001"/>
                    <a:pt x="23336" y="0"/>
                    <a:pt x="33052" y="0"/>
                  </a:cubicBezTo>
                  <a:cubicBezTo>
                    <a:pt x="46577" y="0"/>
                    <a:pt x="53531" y="9239"/>
                    <a:pt x="53531" y="24289"/>
                  </a:cubicBezTo>
                  <a:lnTo>
                    <a:pt x="53531" y="62770"/>
                  </a:lnTo>
                  <a:lnTo>
                    <a:pt x="41053" y="62770"/>
                  </a:lnTo>
                  <a:lnTo>
                    <a:pt x="41053" y="28289"/>
                  </a:lnTo>
                  <a:cubicBezTo>
                    <a:pt x="41053" y="16097"/>
                    <a:pt x="36386" y="10668"/>
                    <a:pt x="28575" y="10668"/>
                  </a:cubicBezTo>
                  <a:cubicBezTo>
                    <a:pt x="19336" y="10668"/>
                    <a:pt x="12478" y="18669"/>
                    <a:pt x="12478" y="32004"/>
                  </a:cubicBezTo>
                  <a:lnTo>
                    <a:pt x="12478" y="62770"/>
                  </a:lnTo>
                  <a:lnTo>
                    <a:pt x="0" y="62770"/>
                  </a:lnTo>
                  <a:lnTo>
                    <a:pt x="0" y="161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1" name="Forma libre 100">
              <a:extLst>
                <a:ext uri="{FF2B5EF4-FFF2-40B4-BE49-F238E27FC236}">
                  <a16:creationId xmlns:a16="http://schemas.microsoft.com/office/drawing/2014/main" id="{C3587752-BB23-2E80-F8E1-ABCA80314016}"/>
                </a:ext>
              </a:extLst>
            </p:cNvPr>
            <p:cNvSpPr/>
            <p:nvPr/>
          </p:nvSpPr>
          <p:spPr>
            <a:xfrm>
              <a:off x="3902011" y="2108739"/>
              <a:ext cx="58959" cy="64388"/>
            </a:xfrm>
            <a:custGeom>
              <a:avLst/>
              <a:gdLst>
                <a:gd name="connsiteX0" fmla="*/ 0 w 58959"/>
                <a:gd name="connsiteY0" fmla="*/ 32195 h 64388"/>
                <a:gd name="connsiteX1" fmla="*/ 29813 w 58959"/>
                <a:gd name="connsiteY1" fmla="*/ 0 h 64388"/>
                <a:gd name="connsiteX2" fmla="*/ 58960 w 58959"/>
                <a:gd name="connsiteY2" fmla="*/ 32099 h 64388"/>
                <a:gd name="connsiteX3" fmla="*/ 29337 w 58959"/>
                <a:gd name="connsiteY3" fmla="*/ 64389 h 64388"/>
                <a:gd name="connsiteX4" fmla="*/ 0 w 58959"/>
                <a:gd name="connsiteY4" fmla="*/ 32195 h 64388"/>
                <a:gd name="connsiteX5" fmla="*/ 29432 w 58959"/>
                <a:gd name="connsiteY5" fmla="*/ 53721 h 64388"/>
                <a:gd name="connsiteX6" fmla="*/ 47054 w 58959"/>
                <a:gd name="connsiteY6" fmla="*/ 32290 h 64388"/>
                <a:gd name="connsiteX7" fmla="*/ 29718 w 58959"/>
                <a:gd name="connsiteY7" fmla="*/ 10858 h 64388"/>
                <a:gd name="connsiteX8" fmla="*/ 11906 w 58959"/>
                <a:gd name="connsiteY8" fmla="*/ 32290 h 64388"/>
                <a:gd name="connsiteX9" fmla="*/ 29527 w 58959"/>
                <a:gd name="connsiteY9" fmla="*/ 53721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8959" h="64388">
                  <a:moveTo>
                    <a:pt x="0" y="32195"/>
                  </a:moveTo>
                  <a:cubicBezTo>
                    <a:pt x="0" y="13335"/>
                    <a:pt x="12192" y="0"/>
                    <a:pt x="29813" y="0"/>
                  </a:cubicBezTo>
                  <a:cubicBezTo>
                    <a:pt x="47434" y="0"/>
                    <a:pt x="58960" y="13811"/>
                    <a:pt x="58960" y="32099"/>
                  </a:cubicBezTo>
                  <a:cubicBezTo>
                    <a:pt x="58960" y="50387"/>
                    <a:pt x="46863" y="64389"/>
                    <a:pt x="29337" y="64389"/>
                  </a:cubicBezTo>
                  <a:cubicBezTo>
                    <a:pt x="11811" y="64389"/>
                    <a:pt x="0" y="50863"/>
                    <a:pt x="0" y="32195"/>
                  </a:cubicBezTo>
                  <a:close/>
                  <a:moveTo>
                    <a:pt x="29432" y="53721"/>
                  </a:moveTo>
                  <a:cubicBezTo>
                    <a:pt x="40672" y="53721"/>
                    <a:pt x="47054" y="44101"/>
                    <a:pt x="47054" y="32290"/>
                  </a:cubicBezTo>
                  <a:cubicBezTo>
                    <a:pt x="47054" y="20479"/>
                    <a:pt x="41148" y="10858"/>
                    <a:pt x="29718" y="10858"/>
                  </a:cubicBezTo>
                  <a:cubicBezTo>
                    <a:pt x="18288" y="10858"/>
                    <a:pt x="11906" y="20574"/>
                    <a:pt x="11906" y="32290"/>
                  </a:cubicBezTo>
                  <a:cubicBezTo>
                    <a:pt x="11906" y="44005"/>
                    <a:pt x="18097" y="53721"/>
                    <a:pt x="29527" y="537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2" name="Forma libre 101">
              <a:extLst>
                <a:ext uri="{FF2B5EF4-FFF2-40B4-BE49-F238E27FC236}">
                  <a16:creationId xmlns:a16="http://schemas.microsoft.com/office/drawing/2014/main" id="{74523327-DCF1-2D4A-CAED-51AB1AB47286}"/>
                </a:ext>
              </a:extLst>
            </p:cNvPr>
            <p:cNvSpPr/>
            <p:nvPr/>
          </p:nvSpPr>
          <p:spPr>
            <a:xfrm>
              <a:off x="3963066" y="2110454"/>
              <a:ext cx="57530" cy="61150"/>
            </a:xfrm>
            <a:custGeom>
              <a:avLst/>
              <a:gdLst>
                <a:gd name="connsiteX0" fmla="*/ 0 w 57530"/>
                <a:gd name="connsiteY0" fmla="*/ 0 h 61150"/>
                <a:gd name="connsiteX1" fmla="*/ 12382 w 57530"/>
                <a:gd name="connsiteY1" fmla="*/ 0 h 61150"/>
                <a:gd name="connsiteX2" fmla="*/ 28670 w 57530"/>
                <a:gd name="connsiteY2" fmla="*/ 50578 h 61150"/>
                <a:gd name="connsiteX3" fmla="*/ 29623 w 57530"/>
                <a:gd name="connsiteY3" fmla="*/ 50578 h 61150"/>
                <a:gd name="connsiteX4" fmla="*/ 45625 w 57530"/>
                <a:gd name="connsiteY4" fmla="*/ 0 h 61150"/>
                <a:gd name="connsiteX5" fmla="*/ 57531 w 57530"/>
                <a:gd name="connsiteY5" fmla="*/ 0 h 61150"/>
                <a:gd name="connsiteX6" fmla="*/ 37338 w 57530"/>
                <a:gd name="connsiteY6" fmla="*/ 61150 h 61150"/>
                <a:gd name="connsiteX7" fmla="*/ 20193 w 57530"/>
                <a:gd name="connsiteY7" fmla="*/ 61150 h 61150"/>
                <a:gd name="connsiteX8" fmla="*/ 95 w 57530"/>
                <a:gd name="connsiteY8" fmla="*/ 0 h 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530" h="61150">
                  <a:moveTo>
                    <a:pt x="0" y="0"/>
                  </a:moveTo>
                  <a:lnTo>
                    <a:pt x="12382" y="0"/>
                  </a:lnTo>
                  <a:lnTo>
                    <a:pt x="28670" y="50578"/>
                  </a:lnTo>
                  <a:lnTo>
                    <a:pt x="29623" y="50578"/>
                  </a:lnTo>
                  <a:lnTo>
                    <a:pt x="45625" y="0"/>
                  </a:lnTo>
                  <a:lnTo>
                    <a:pt x="57531" y="0"/>
                  </a:lnTo>
                  <a:lnTo>
                    <a:pt x="37338" y="61150"/>
                  </a:lnTo>
                  <a:lnTo>
                    <a:pt x="20193" y="61150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3" name="Forma libre 102">
              <a:extLst>
                <a:ext uri="{FF2B5EF4-FFF2-40B4-BE49-F238E27FC236}">
                  <a16:creationId xmlns:a16="http://schemas.microsoft.com/office/drawing/2014/main" id="{5A0C5C94-98F8-CA73-BEBF-0E6863F892BB}"/>
                </a:ext>
              </a:extLst>
            </p:cNvPr>
            <p:cNvSpPr/>
            <p:nvPr/>
          </p:nvSpPr>
          <p:spPr>
            <a:xfrm>
              <a:off x="4022598" y="2108644"/>
              <a:ext cx="57626" cy="64198"/>
            </a:xfrm>
            <a:custGeom>
              <a:avLst/>
              <a:gdLst>
                <a:gd name="connsiteX0" fmla="*/ 95 w 57626"/>
                <a:gd name="connsiteY0" fmla="*/ 47339 h 64198"/>
                <a:gd name="connsiteX1" fmla="*/ 25336 w 57626"/>
                <a:gd name="connsiteY1" fmla="*/ 28289 h 64198"/>
                <a:gd name="connsiteX2" fmla="*/ 39719 w 57626"/>
                <a:gd name="connsiteY2" fmla="*/ 28289 h 64198"/>
                <a:gd name="connsiteX3" fmla="*/ 39719 w 57626"/>
                <a:gd name="connsiteY3" fmla="*/ 24479 h 64198"/>
                <a:gd name="connsiteX4" fmla="*/ 27813 w 57626"/>
                <a:gd name="connsiteY4" fmla="*/ 10763 h 64198"/>
                <a:gd name="connsiteX5" fmla="*/ 11906 w 57626"/>
                <a:gd name="connsiteY5" fmla="*/ 23527 h 64198"/>
                <a:gd name="connsiteX6" fmla="*/ 1619 w 57626"/>
                <a:gd name="connsiteY6" fmla="*/ 19145 h 64198"/>
                <a:gd name="connsiteX7" fmla="*/ 27813 w 57626"/>
                <a:gd name="connsiteY7" fmla="*/ 0 h 64198"/>
                <a:gd name="connsiteX8" fmla="*/ 51340 w 57626"/>
                <a:gd name="connsiteY8" fmla="*/ 23050 h 64198"/>
                <a:gd name="connsiteX9" fmla="*/ 51340 w 57626"/>
                <a:gd name="connsiteY9" fmla="*/ 50768 h 64198"/>
                <a:gd name="connsiteX10" fmla="*/ 52959 w 57626"/>
                <a:gd name="connsiteY10" fmla="*/ 52959 h 64198"/>
                <a:gd name="connsiteX11" fmla="*/ 57626 w 57626"/>
                <a:gd name="connsiteY11" fmla="*/ 52959 h 64198"/>
                <a:gd name="connsiteX12" fmla="*/ 57626 w 57626"/>
                <a:gd name="connsiteY12" fmla="*/ 62770 h 64198"/>
                <a:gd name="connsiteX13" fmla="*/ 50578 w 57626"/>
                <a:gd name="connsiteY13" fmla="*/ 62770 h 64198"/>
                <a:gd name="connsiteX14" fmla="*/ 42386 w 57626"/>
                <a:gd name="connsiteY14" fmla="*/ 53816 h 64198"/>
                <a:gd name="connsiteX15" fmla="*/ 42386 w 57626"/>
                <a:gd name="connsiteY15" fmla="*/ 49911 h 64198"/>
                <a:gd name="connsiteX16" fmla="*/ 41434 w 57626"/>
                <a:gd name="connsiteY16" fmla="*/ 49911 h 64198"/>
                <a:gd name="connsiteX17" fmla="*/ 19240 w 57626"/>
                <a:gd name="connsiteY17" fmla="*/ 64198 h 64198"/>
                <a:gd name="connsiteX18" fmla="*/ 0 w 57626"/>
                <a:gd name="connsiteY18" fmla="*/ 47149 h 64198"/>
                <a:gd name="connsiteX19" fmla="*/ 21717 w 57626"/>
                <a:gd name="connsiteY19" fmla="*/ 53626 h 64198"/>
                <a:gd name="connsiteX20" fmla="*/ 39814 w 57626"/>
                <a:gd name="connsiteY20" fmla="*/ 37338 h 64198"/>
                <a:gd name="connsiteX21" fmla="*/ 29623 w 57626"/>
                <a:gd name="connsiteY21" fmla="*/ 37338 h 64198"/>
                <a:gd name="connsiteX22" fmla="*/ 12001 w 57626"/>
                <a:gd name="connsiteY22" fmla="*/ 46387 h 64198"/>
                <a:gd name="connsiteX23" fmla="*/ 21717 w 57626"/>
                <a:gd name="connsiteY23" fmla="*/ 53721 h 64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626" h="64198">
                  <a:moveTo>
                    <a:pt x="95" y="47339"/>
                  </a:moveTo>
                  <a:cubicBezTo>
                    <a:pt x="95" y="34861"/>
                    <a:pt x="12097" y="28289"/>
                    <a:pt x="25336" y="28289"/>
                  </a:cubicBezTo>
                  <a:lnTo>
                    <a:pt x="39719" y="28289"/>
                  </a:lnTo>
                  <a:lnTo>
                    <a:pt x="39719" y="24479"/>
                  </a:lnTo>
                  <a:cubicBezTo>
                    <a:pt x="39719" y="15526"/>
                    <a:pt x="34195" y="10763"/>
                    <a:pt x="27813" y="10763"/>
                  </a:cubicBezTo>
                  <a:cubicBezTo>
                    <a:pt x="19907" y="10763"/>
                    <a:pt x="15621" y="14668"/>
                    <a:pt x="11906" y="23527"/>
                  </a:cubicBezTo>
                  <a:lnTo>
                    <a:pt x="1619" y="19145"/>
                  </a:lnTo>
                  <a:cubicBezTo>
                    <a:pt x="5620" y="7048"/>
                    <a:pt x="15145" y="0"/>
                    <a:pt x="27813" y="0"/>
                  </a:cubicBezTo>
                  <a:cubicBezTo>
                    <a:pt x="42005" y="0"/>
                    <a:pt x="51340" y="8477"/>
                    <a:pt x="51340" y="23050"/>
                  </a:cubicBezTo>
                  <a:lnTo>
                    <a:pt x="51340" y="50768"/>
                  </a:lnTo>
                  <a:cubicBezTo>
                    <a:pt x="51340" y="52102"/>
                    <a:pt x="51911" y="52959"/>
                    <a:pt x="52959" y="52959"/>
                  </a:cubicBezTo>
                  <a:lnTo>
                    <a:pt x="57626" y="52959"/>
                  </a:lnTo>
                  <a:lnTo>
                    <a:pt x="57626" y="62770"/>
                  </a:lnTo>
                  <a:lnTo>
                    <a:pt x="50578" y="62770"/>
                  </a:lnTo>
                  <a:cubicBezTo>
                    <a:pt x="45053" y="62770"/>
                    <a:pt x="42386" y="59722"/>
                    <a:pt x="42386" y="53816"/>
                  </a:cubicBezTo>
                  <a:lnTo>
                    <a:pt x="42386" y="49911"/>
                  </a:lnTo>
                  <a:cubicBezTo>
                    <a:pt x="42386" y="49911"/>
                    <a:pt x="41434" y="49911"/>
                    <a:pt x="41434" y="49911"/>
                  </a:cubicBezTo>
                  <a:cubicBezTo>
                    <a:pt x="37814" y="58007"/>
                    <a:pt x="29623" y="64198"/>
                    <a:pt x="19240" y="64198"/>
                  </a:cubicBezTo>
                  <a:cubicBezTo>
                    <a:pt x="8858" y="64198"/>
                    <a:pt x="0" y="57721"/>
                    <a:pt x="0" y="47149"/>
                  </a:cubicBezTo>
                  <a:close/>
                  <a:moveTo>
                    <a:pt x="21717" y="53626"/>
                  </a:moveTo>
                  <a:cubicBezTo>
                    <a:pt x="30385" y="53626"/>
                    <a:pt x="38862" y="45244"/>
                    <a:pt x="39814" y="37338"/>
                  </a:cubicBezTo>
                  <a:lnTo>
                    <a:pt x="29623" y="37338"/>
                  </a:lnTo>
                  <a:cubicBezTo>
                    <a:pt x="19812" y="37338"/>
                    <a:pt x="12001" y="40291"/>
                    <a:pt x="12001" y="46387"/>
                  </a:cubicBezTo>
                  <a:cubicBezTo>
                    <a:pt x="12001" y="51149"/>
                    <a:pt x="16954" y="53721"/>
                    <a:pt x="21717" y="537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5" name="Forma libre 104">
              <a:extLst>
                <a:ext uri="{FF2B5EF4-FFF2-40B4-BE49-F238E27FC236}">
                  <a16:creationId xmlns:a16="http://schemas.microsoft.com/office/drawing/2014/main" id="{854CF106-773F-2DEA-1D93-7C0B4FAA4FF5}"/>
                </a:ext>
              </a:extLst>
            </p:cNvPr>
            <p:cNvSpPr/>
            <p:nvPr/>
          </p:nvSpPr>
          <p:spPr>
            <a:xfrm>
              <a:off x="4089749" y="2087689"/>
              <a:ext cx="59340" cy="85725"/>
            </a:xfrm>
            <a:custGeom>
              <a:avLst/>
              <a:gdLst>
                <a:gd name="connsiteX0" fmla="*/ 11049 w 59340"/>
                <a:gd name="connsiteY0" fmla="*/ 72104 h 85725"/>
                <a:gd name="connsiteX1" fmla="*/ 10382 w 59340"/>
                <a:gd name="connsiteY1" fmla="*/ 72104 h 85725"/>
                <a:gd name="connsiteX2" fmla="*/ 10382 w 59340"/>
                <a:gd name="connsiteY2" fmla="*/ 83915 h 85725"/>
                <a:gd name="connsiteX3" fmla="*/ 0 w 59340"/>
                <a:gd name="connsiteY3" fmla="*/ 83915 h 85725"/>
                <a:gd name="connsiteX4" fmla="*/ 0 w 59340"/>
                <a:gd name="connsiteY4" fmla="*/ 0 h 85725"/>
                <a:gd name="connsiteX5" fmla="*/ 12097 w 59340"/>
                <a:gd name="connsiteY5" fmla="*/ 0 h 85725"/>
                <a:gd name="connsiteX6" fmla="*/ 12097 w 59340"/>
                <a:gd name="connsiteY6" fmla="*/ 34290 h 85725"/>
                <a:gd name="connsiteX7" fmla="*/ 12764 w 59340"/>
                <a:gd name="connsiteY7" fmla="*/ 34290 h 85725"/>
                <a:gd name="connsiteX8" fmla="*/ 33909 w 59340"/>
                <a:gd name="connsiteY8" fmla="*/ 21146 h 85725"/>
                <a:gd name="connsiteX9" fmla="*/ 59341 w 59340"/>
                <a:gd name="connsiteY9" fmla="*/ 52673 h 85725"/>
                <a:gd name="connsiteX10" fmla="*/ 32195 w 59340"/>
                <a:gd name="connsiteY10" fmla="*/ 85725 h 85725"/>
                <a:gd name="connsiteX11" fmla="*/ 11049 w 59340"/>
                <a:gd name="connsiteY11" fmla="*/ 72200 h 85725"/>
                <a:gd name="connsiteX12" fmla="*/ 30194 w 59340"/>
                <a:gd name="connsiteY12" fmla="*/ 74009 h 85725"/>
                <a:gd name="connsiteX13" fmla="*/ 46673 w 59340"/>
                <a:gd name="connsiteY13" fmla="*/ 52864 h 85725"/>
                <a:gd name="connsiteX14" fmla="*/ 30290 w 59340"/>
                <a:gd name="connsiteY14" fmla="*/ 32480 h 85725"/>
                <a:gd name="connsiteX15" fmla="*/ 12383 w 59340"/>
                <a:gd name="connsiteY15" fmla="*/ 53150 h 85725"/>
                <a:gd name="connsiteX16" fmla="*/ 30194 w 59340"/>
                <a:gd name="connsiteY16" fmla="*/ 73914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9340" h="85725">
                  <a:moveTo>
                    <a:pt x="11049" y="72104"/>
                  </a:moveTo>
                  <a:lnTo>
                    <a:pt x="10382" y="72104"/>
                  </a:lnTo>
                  <a:lnTo>
                    <a:pt x="10382" y="83915"/>
                  </a:lnTo>
                  <a:lnTo>
                    <a:pt x="0" y="83915"/>
                  </a:lnTo>
                  <a:lnTo>
                    <a:pt x="0" y="0"/>
                  </a:lnTo>
                  <a:lnTo>
                    <a:pt x="12097" y="0"/>
                  </a:lnTo>
                  <a:lnTo>
                    <a:pt x="12097" y="34290"/>
                  </a:lnTo>
                  <a:lnTo>
                    <a:pt x="12764" y="34290"/>
                  </a:lnTo>
                  <a:cubicBezTo>
                    <a:pt x="16383" y="27337"/>
                    <a:pt x="22955" y="21146"/>
                    <a:pt x="33909" y="21146"/>
                  </a:cubicBezTo>
                  <a:cubicBezTo>
                    <a:pt x="49149" y="21146"/>
                    <a:pt x="59341" y="34862"/>
                    <a:pt x="59341" y="52673"/>
                  </a:cubicBezTo>
                  <a:cubicBezTo>
                    <a:pt x="59341" y="73152"/>
                    <a:pt x="46768" y="85725"/>
                    <a:pt x="32195" y="85725"/>
                  </a:cubicBezTo>
                  <a:cubicBezTo>
                    <a:pt x="21717" y="85725"/>
                    <a:pt x="14288" y="80105"/>
                    <a:pt x="11049" y="72200"/>
                  </a:cubicBezTo>
                  <a:close/>
                  <a:moveTo>
                    <a:pt x="30194" y="74009"/>
                  </a:moveTo>
                  <a:cubicBezTo>
                    <a:pt x="39529" y="74009"/>
                    <a:pt x="46673" y="65913"/>
                    <a:pt x="46673" y="52864"/>
                  </a:cubicBezTo>
                  <a:cubicBezTo>
                    <a:pt x="46673" y="39815"/>
                    <a:pt x="40196" y="32480"/>
                    <a:pt x="30290" y="32480"/>
                  </a:cubicBezTo>
                  <a:cubicBezTo>
                    <a:pt x="19050" y="32480"/>
                    <a:pt x="12383" y="42005"/>
                    <a:pt x="12383" y="53150"/>
                  </a:cubicBezTo>
                  <a:cubicBezTo>
                    <a:pt x="12383" y="64294"/>
                    <a:pt x="18669" y="73914"/>
                    <a:pt x="30194" y="739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0" name="Forma libre 109">
              <a:extLst>
                <a:ext uri="{FF2B5EF4-FFF2-40B4-BE49-F238E27FC236}">
                  <a16:creationId xmlns:a16="http://schemas.microsoft.com/office/drawing/2014/main" id="{AD111472-A27B-F552-4A99-91735CF0BB96}"/>
                </a:ext>
              </a:extLst>
            </p:cNvPr>
            <p:cNvSpPr/>
            <p:nvPr/>
          </p:nvSpPr>
          <p:spPr>
            <a:xfrm>
              <a:off x="4160329" y="2087689"/>
              <a:ext cx="22955" cy="83820"/>
            </a:xfrm>
            <a:custGeom>
              <a:avLst/>
              <a:gdLst>
                <a:gd name="connsiteX0" fmla="*/ 0 w 22955"/>
                <a:gd name="connsiteY0" fmla="*/ 70485 h 83820"/>
                <a:gd name="connsiteX1" fmla="*/ 0 w 22955"/>
                <a:gd name="connsiteY1" fmla="*/ 0 h 83820"/>
                <a:gd name="connsiteX2" fmla="*/ 12478 w 22955"/>
                <a:gd name="connsiteY2" fmla="*/ 0 h 83820"/>
                <a:gd name="connsiteX3" fmla="*/ 12478 w 22955"/>
                <a:gd name="connsiteY3" fmla="*/ 69818 h 83820"/>
                <a:gd name="connsiteX4" fmla="*/ 14764 w 22955"/>
                <a:gd name="connsiteY4" fmla="*/ 72771 h 83820"/>
                <a:gd name="connsiteX5" fmla="*/ 22955 w 22955"/>
                <a:gd name="connsiteY5" fmla="*/ 72771 h 83820"/>
                <a:gd name="connsiteX6" fmla="*/ 22955 w 22955"/>
                <a:gd name="connsiteY6" fmla="*/ 83820 h 83820"/>
                <a:gd name="connsiteX7" fmla="*/ 10478 w 22955"/>
                <a:gd name="connsiteY7" fmla="*/ 83820 h 83820"/>
                <a:gd name="connsiteX8" fmla="*/ 0 w 22955"/>
                <a:gd name="connsiteY8" fmla="*/ 70485 h 83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955" h="83820">
                  <a:moveTo>
                    <a:pt x="0" y="70485"/>
                  </a:moveTo>
                  <a:lnTo>
                    <a:pt x="0" y="0"/>
                  </a:lnTo>
                  <a:lnTo>
                    <a:pt x="12478" y="0"/>
                  </a:lnTo>
                  <a:lnTo>
                    <a:pt x="12478" y="69818"/>
                  </a:lnTo>
                  <a:cubicBezTo>
                    <a:pt x="12478" y="72104"/>
                    <a:pt x="12954" y="72771"/>
                    <a:pt x="14764" y="72771"/>
                  </a:cubicBezTo>
                  <a:lnTo>
                    <a:pt x="22955" y="72771"/>
                  </a:lnTo>
                  <a:lnTo>
                    <a:pt x="22955" y="83820"/>
                  </a:lnTo>
                  <a:lnTo>
                    <a:pt x="10478" y="83820"/>
                  </a:lnTo>
                  <a:cubicBezTo>
                    <a:pt x="3620" y="83820"/>
                    <a:pt x="0" y="79439"/>
                    <a:pt x="0" y="7048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1" name="Forma libre 110">
              <a:extLst>
                <a:ext uri="{FF2B5EF4-FFF2-40B4-BE49-F238E27FC236}">
                  <a16:creationId xmlns:a16="http://schemas.microsoft.com/office/drawing/2014/main" id="{CCA1EC46-0113-DC9B-BDF8-2D862CFF7C90}"/>
                </a:ext>
              </a:extLst>
            </p:cNvPr>
            <p:cNvSpPr/>
            <p:nvPr/>
          </p:nvSpPr>
          <p:spPr>
            <a:xfrm>
              <a:off x="4188142" y="2108739"/>
              <a:ext cx="57054" cy="64579"/>
            </a:xfrm>
            <a:custGeom>
              <a:avLst/>
              <a:gdLst>
                <a:gd name="connsiteX0" fmla="*/ 0 w 57054"/>
                <a:gd name="connsiteY0" fmla="*/ 32290 h 64579"/>
                <a:gd name="connsiteX1" fmla="*/ 29623 w 57054"/>
                <a:gd name="connsiteY1" fmla="*/ 0 h 64579"/>
                <a:gd name="connsiteX2" fmla="*/ 57055 w 57054"/>
                <a:gd name="connsiteY2" fmla="*/ 29242 h 64579"/>
                <a:gd name="connsiteX3" fmla="*/ 56959 w 57054"/>
                <a:gd name="connsiteY3" fmla="*/ 37338 h 64579"/>
                <a:gd name="connsiteX4" fmla="*/ 12287 w 57054"/>
                <a:gd name="connsiteY4" fmla="*/ 37338 h 64579"/>
                <a:gd name="connsiteX5" fmla="*/ 30861 w 57054"/>
                <a:gd name="connsiteY5" fmla="*/ 53816 h 64579"/>
                <a:gd name="connsiteX6" fmla="*/ 49149 w 57054"/>
                <a:gd name="connsiteY6" fmla="*/ 45149 h 64579"/>
                <a:gd name="connsiteX7" fmla="*/ 56007 w 57054"/>
                <a:gd name="connsiteY7" fmla="*/ 52388 h 64579"/>
                <a:gd name="connsiteX8" fmla="*/ 30766 w 57054"/>
                <a:gd name="connsiteY8" fmla="*/ 64579 h 64579"/>
                <a:gd name="connsiteX9" fmla="*/ 0 w 57054"/>
                <a:gd name="connsiteY9" fmla="*/ 32385 h 64579"/>
                <a:gd name="connsiteX10" fmla="*/ 45053 w 57054"/>
                <a:gd name="connsiteY10" fmla="*/ 27718 h 64579"/>
                <a:gd name="connsiteX11" fmla="*/ 28956 w 57054"/>
                <a:gd name="connsiteY11" fmla="*/ 10668 h 64579"/>
                <a:gd name="connsiteX12" fmla="*/ 12287 w 57054"/>
                <a:gd name="connsiteY12" fmla="*/ 27718 h 64579"/>
                <a:gd name="connsiteX13" fmla="*/ 45053 w 57054"/>
                <a:gd name="connsiteY13" fmla="*/ 27718 h 64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054" h="64579">
                  <a:moveTo>
                    <a:pt x="0" y="32290"/>
                  </a:moveTo>
                  <a:cubicBezTo>
                    <a:pt x="0" y="13621"/>
                    <a:pt x="12287" y="0"/>
                    <a:pt x="29623" y="0"/>
                  </a:cubicBezTo>
                  <a:cubicBezTo>
                    <a:pt x="46958" y="0"/>
                    <a:pt x="57055" y="13716"/>
                    <a:pt x="57055" y="29242"/>
                  </a:cubicBezTo>
                  <a:cubicBezTo>
                    <a:pt x="57055" y="31433"/>
                    <a:pt x="57055" y="33052"/>
                    <a:pt x="56959" y="37338"/>
                  </a:cubicBezTo>
                  <a:lnTo>
                    <a:pt x="12287" y="37338"/>
                  </a:lnTo>
                  <a:cubicBezTo>
                    <a:pt x="14097" y="48292"/>
                    <a:pt x="22193" y="53816"/>
                    <a:pt x="30861" y="53816"/>
                  </a:cubicBezTo>
                  <a:cubicBezTo>
                    <a:pt x="37243" y="53816"/>
                    <a:pt x="44006" y="50959"/>
                    <a:pt x="49149" y="45149"/>
                  </a:cubicBezTo>
                  <a:lnTo>
                    <a:pt x="56007" y="52388"/>
                  </a:lnTo>
                  <a:cubicBezTo>
                    <a:pt x="49721" y="60484"/>
                    <a:pt x="40100" y="64579"/>
                    <a:pt x="30766" y="64579"/>
                  </a:cubicBezTo>
                  <a:cubicBezTo>
                    <a:pt x="15240" y="64579"/>
                    <a:pt x="0" y="53721"/>
                    <a:pt x="0" y="32385"/>
                  </a:cubicBezTo>
                  <a:close/>
                  <a:moveTo>
                    <a:pt x="45053" y="27718"/>
                  </a:moveTo>
                  <a:cubicBezTo>
                    <a:pt x="44863" y="16859"/>
                    <a:pt x="36957" y="10668"/>
                    <a:pt x="28956" y="10668"/>
                  </a:cubicBezTo>
                  <a:cubicBezTo>
                    <a:pt x="21431" y="10668"/>
                    <a:pt x="13907" y="16002"/>
                    <a:pt x="12287" y="27718"/>
                  </a:cubicBezTo>
                  <a:lnTo>
                    <a:pt x="45053" y="2771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1972994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08CB92-11F8-72BE-BDC2-ECAEB55F4F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1" name="Grupo 690">
            <a:extLst>
              <a:ext uri="{FF2B5EF4-FFF2-40B4-BE49-F238E27FC236}">
                <a16:creationId xmlns:a16="http://schemas.microsoft.com/office/drawing/2014/main" id="{6B6034FA-1840-B359-2809-9D0DF6B8F57F}"/>
              </a:ext>
            </a:extLst>
          </p:cNvPr>
          <p:cNvGrpSpPr/>
          <p:nvPr/>
        </p:nvGrpSpPr>
        <p:grpSpPr>
          <a:xfrm>
            <a:off x="5491190" y="757787"/>
            <a:ext cx="3212131" cy="440686"/>
            <a:chOff x="5515907" y="869557"/>
            <a:chExt cx="3212131" cy="440686"/>
          </a:xfrm>
        </p:grpSpPr>
        <p:sp>
          <p:nvSpPr>
            <p:cNvPr id="921" name="Rectángulo redondeado 7">
              <a:extLst>
                <a:ext uri="{FF2B5EF4-FFF2-40B4-BE49-F238E27FC236}">
                  <a16:creationId xmlns:a16="http://schemas.microsoft.com/office/drawing/2014/main" id="{F9E8969B-3DC2-4A3A-1ACF-6E3EBE644D6E}"/>
                </a:ext>
              </a:extLst>
            </p:cNvPr>
            <p:cNvSpPr/>
            <p:nvPr/>
          </p:nvSpPr>
          <p:spPr>
            <a:xfrm>
              <a:off x="5515907" y="869557"/>
              <a:ext cx="3212131" cy="440686"/>
            </a:xfrm>
            <a:prstGeom prst="roundRect">
              <a:avLst>
                <a:gd name="adj" fmla="val 13604"/>
              </a:avLst>
            </a:prstGeom>
            <a:solidFill>
              <a:srgbClr val="FFFFFF"/>
            </a:solidFill>
            <a:ln w="25400" cap="rnd" cmpd="sng">
              <a:noFill/>
              <a:prstDash val="solid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0" rIns="0" bIns="0" rtlCol="0" anchor="ctr" anchorCtr="0">
              <a:noAutofit/>
            </a:bodyPr>
            <a:lstStyle/>
            <a:p>
              <a:pPr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r>
                <a:rPr lang="es-ES_tradnl" sz="850">
                  <a:solidFill>
                    <a:schemeClr val="tx2">
                      <a:lumMod val="75000"/>
                      <a:lumOff val="25000"/>
                    </a:schemeClr>
                  </a:solidFill>
                  <a:latin typeface="Pulso" pitchFamily="2" charset="0"/>
                  <a:ea typeface="Roboto Medium" panose="02000000000000000000" pitchFamily="2" charset="0"/>
                  <a:cs typeface="Roboto" panose="02000000000000000000" pitchFamily="2" charset="0"/>
                </a:rPr>
                <a:t>SIMSWAP</a:t>
              </a:r>
            </a:p>
          </p:txBody>
        </p:sp>
        <p:grpSp>
          <p:nvGrpSpPr>
            <p:cNvPr id="684" name="Grupo 683">
              <a:extLst>
                <a:ext uri="{FF2B5EF4-FFF2-40B4-BE49-F238E27FC236}">
                  <a16:creationId xmlns:a16="http://schemas.microsoft.com/office/drawing/2014/main" id="{2E581E1A-A13C-52A5-4648-1C29A7576276}"/>
                </a:ext>
              </a:extLst>
            </p:cNvPr>
            <p:cNvGrpSpPr/>
            <p:nvPr/>
          </p:nvGrpSpPr>
          <p:grpSpPr>
            <a:xfrm>
              <a:off x="7514823" y="899371"/>
              <a:ext cx="1115901" cy="389837"/>
              <a:chOff x="7514823" y="899371"/>
              <a:chExt cx="1115901" cy="389837"/>
            </a:xfrm>
          </p:grpSpPr>
          <p:pic>
            <p:nvPicPr>
              <p:cNvPr id="957" name="Imagen 956">
                <a:extLst>
                  <a:ext uri="{FF2B5EF4-FFF2-40B4-BE49-F238E27FC236}">
                    <a16:creationId xmlns:a16="http://schemas.microsoft.com/office/drawing/2014/main" id="{8C7E1A4D-4B53-A7BD-B664-7998062ACC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937641" y="937689"/>
                <a:ext cx="313200" cy="313200"/>
              </a:xfrm>
              <a:prstGeom prst="rect">
                <a:avLst/>
              </a:prstGeom>
            </p:spPr>
          </p:pic>
          <p:pic>
            <p:nvPicPr>
              <p:cNvPr id="641" name="Imagen 640">
                <a:extLst>
                  <a:ext uri="{FF2B5EF4-FFF2-40B4-BE49-F238E27FC236}">
                    <a16:creationId xmlns:a16="http://schemas.microsoft.com/office/drawing/2014/main" id="{1BB134C8-3C85-E277-BBAA-714EB0C2D7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317524" y="937689"/>
                <a:ext cx="313200" cy="313200"/>
              </a:xfrm>
              <a:prstGeom prst="rect">
                <a:avLst/>
              </a:prstGeom>
            </p:spPr>
          </p:pic>
          <p:pic>
            <p:nvPicPr>
              <p:cNvPr id="642" name="Imagen 641" descr="Forma&#10;&#10;El contenido generado por IA puede ser incorrecto.">
                <a:extLst>
                  <a:ext uri="{FF2B5EF4-FFF2-40B4-BE49-F238E27FC236}">
                    <a16:creationId xmlns:a16="http://schemas.microsoft.com/office/drawing/2014/main" id="{FA46A957-69D2-7630-5B9D-C7CB856331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514823" y="899371"/>
                <a:ext cx="391884" cy="389837"/>
              </a:xfrm>
              <a:prstGeom prst="rect">
                <a:avLst/>
              </a:prstGeom>
            </p:spPr>
          </p:pic>
        </p:grpSp>
      </p:grpSp>
      <p:grpSp>
        <p:nvGrpSpPr>
          <p:cNvPr id="700" name="Grupo 699">
            <a:extLst>
              <a:ext uri="{FF2B5EF4-FFF2-40B4-BE49-F238E27FC236}">
                <a16:creationId xmlns:a16="http://schemas.microsoft.com/office/drawing/2014/main" id="{6E8CE090-DD1D-0AF4-CBDD-195E7B2F3B72}"/>
              </a:ext>
            </a:extLst>
          </p:cNvPr>
          <p:cNvGrpSpPr/>
          <p:nvPr/>
        </p:nvGrpSpPr>
        <p:grpSpPr>
          <a:xfrm>
            <a:off x="5491190" y="1296444"/>
            <a:ext cx="3212131" cy="440686"/>
            <a:chOff x="5515907" y="1382936"/>
            <a:chExt cx="3212131" cy="440686"/>
          </a:xfrm>
        </p:grpSpPr>
        <p:sp>
          <p:nvSpPr>
            <p:cNvPr id="645" name="Rectángulo redondeado 7">
              <a:extLst>
                <a:ext uri="{FF2B5EF4-FFF2-40B4-BE49-F238E27FC236}">
                  <a16:creationId xmlns:a16="http://schemas.microsoft.com/office/drawing/2014/main" id="{A8802C42-8A3A-8268-AD68-5B7188F8B72C}"/>
                </a:ext>
              </a:extLst>
            </p:cNvPr>
            <p:cNvSpPr/>
            <p:nvPr/>
          </p:nvSpPr>
          <p:spPr>
            <a:xfrm>
              <a:off x="5515907" y="1382936"/>
              <a:ext cx="3212131" cy="440686"/>
            </a:xfrm>
            <a:prstGeom prst="roundRect">
              <a:avLst>
                <a:gd name="adj" fmla="val 13604"/>
              </a:avLst>
            </a:prstGeom>
            <a:solidFill>
              <a:srgbClr val="FFFFFF"/>
            </a:solidFill>
            <a:ln w="25400" cap="rnd" cmpd="sng">
              <a:noFill/>
              <a:prstDash val="solid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0" rIns="0" bIns="0" rtlCol="0" anchor="ctr" anchorCtr="0">
              <a:noAutofit/>
            </a:bodyPr>
            <a:lstStyle/>
            <a:p>
              <a:pPr defTabSz="685748" fontAlgn="auto">
                <a:spcBef>
                  <a:spcPts val="1000"/>
                </a:spcBef>
                <a:spcAft>
                  <a:spcPts val="0"/>
                </a:spcAft>
              </a:pPr>
              <a:r>
                <a:rPr lang="es-ES_tradnl" sz="850">
                  <a:solidFill>
                    <a:schemeClr val="tx2">
                      <a:lumMod val="75000"/>
                      <a:lumOff val="25000"/>
                    </a:schemeClr>
                  </a:solidFill>
                  <a:latin typeface="Pulso" pitchFamily="2" charset="0"/>
                  <a:ea typeface="Roboto Medium" panose="02000000000000000000" pitchFamily="2" charset="0"/>
                </a:rPr>
                <a:t>NUMBER VERIFICATION</a:t>
              </a:r>
            </a:p>
          </p:txBody>
        </p:sp>
        <p:grpSp>
          <p:nvGrpSpPr>
            <p:cNvPr id="685" name="Grupo 684">
              <a:extLst>
                <a:ext uri="{FF2B5EF4-FFF2-40B4-BE49-F238E27FC236}">
                  <a16:creationId xmlns:a16="http://schemas.microsoft.com/office/drawing/2014/main" id="{48D988CC-4612-FA0C-2552-6AB48A002593}"/>
                </a:ext>
              </a:extLst>
            </p:cNvPr>
            <p:cNvGrpSpPr/>
            <p:nvPr/>
          </p:nvGrpSpPr>
          <p:grpSpPr>
            <a:xfrm>
              <a:off x="7514823" y="1412750"/>
              <a:ext cx="1115901" cy="389837"/>
              <a:chOff x="7514823" y="1412750"/>
              <a:chExt cx="1115901" cy="389837"/>
            </a:xfrm>
          </p:grpSpPr>
          <p:pic>
            <p:nvPicPr>
              <p:cNvPr id="646" name="Imagen 645">
                <a:extLst>
                  <a:ext uri="{FF2B5EF4-FFF2-40B4-BE49-F238E27FC236}">
                    <a16:creationId xmlns:a16="http://schemas.microsoft.com/office/drawing/2014/main" id="{3B9FF245-065B-490E-13E1-CF6E001E19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937641" y="1451068"/>
                <a:ext cx="313200" cy="313200"/>
              </a:xfrm>
              <a:prstGeom prst="rect">
                <a:avLst/>
              </a:prstGeom>
            </p:spPr>
          </p:pic>
          <p:pic>
            <p:nvPicPr>
              <p:cNvPr id="647" name="Imagen 646">
                <a:extLst>
                  <a:ext uri="{FF2B5EF4-FFF2-40B4-BE49-F238E27FC236}">
                    <a16:creationId xmlns:a16="http://schemas.microsoft.com/office/drawing/2014/main" id="{E31B4C45-973F-A68B-C564-FCC33DC7C0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317524" y="1451068"/>
                <a:ext cx="313200" cy="313200"/>
              </a:xfrm>
              <a:prstGeom prst="rect">
                <a:avLst/>
              </a:prstGeom>
            </p:spPr>
          </p:pic>
          <p:pic>
            <p:nvPicPr>
              <p:cNvPr id="648" name="Imagen 647" descr="Forma&#10;&#10;El contenido generado por IA puede ser incorrecto.">
                <a:extLst>
                  <a:ext uri="{FF2B5EF4-FFF2-40B4-BE49-F238E27FC236}">
                    <a16:creationId xmlns:a16="http://schemas.microsoft.com/office/drawing/2014/main" id="{4C2617A3-2E0C-385B-531A-3CD3AFB483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514823" y="1412750"/>
                <a:ext cx="391884" cy="389837"/>
              </a:xfrm>
              <a:prstGeom prst="rect">
                <a:avLst/>
              </a:prstGeom>
            </p:spPr>
          </p:pic>
        </p:grpSp>
      </p:grpSp>
      <p:grpSp>
        <p:nvGrpSpPr>
          <p:cNvPr id="699" name="Grupo 698">
            <a:extLst>
              <a:ext uri="{FF2B5EF4-FFF2-40B4-BE49-F238E27FC236}">
                <a16:creationId xmlns:a16="http://schemas.microsoft.com/office/drawing/2014/main" id="{2FA46A8F-E1CA-0DFF-002C-E6469C0AED02}"/>
              </a:ext>
            </a:extLst>
          </p:cNvPr>
          <p:cNvGrpSpPr/>
          <p:nvPr/>
        </p:nvGrpSpPr>
        <p:grpSpPr>
          <a:xfrm>
            <a:off x="5491190" y="1835101"/>
            <a:ext cx="3212131" cy="440686"/>
            <a:chOff x="5515907" y="1896315"/>
            <a:chExt cx="3212131" cy="440686"/>
          </a:xfrm>
        </p:grpSpPr>
        <p:sp>
          <p:nvSpPr>
            <p:cNvPr id="651" name="Rectángulo redondeado 7">
              <a:extLst>
                <a:ext uri="{FF2B5EF4-FFF2-40B4-BE49-F238E27FC236}">
                  <a16:creationId xmlns:a16="http://schemas.microsoft.com/office/drawing/2014/main" id="{4273C0AF-BDF8-742D-68ED-360D8B33DCBF}"/>
                </a:ext>
              </a:extLst>
            </p:cNvPr>
            <p:cNvSpPr/>
            <p:nvPr/>
          </p:nvSpPr>
          <p:spPr>
            <a:xfrm>
              <a:off x="5515907" y="1896315"/>
              <a:ext cx="3212131" cy="440686"/>
            </a:xfrm>
            <a:prstGeom prst="roundRect">
              <a:avLst>
                <a:gd name="adj" fmla="val 13604"/>
              </a:avLst>
            </a:prstGeom>
            <a:solidFill>
              <a:srgbClr val="FFFFFF"/>
            </a:solidFill>
            <a:ln w="25400" cap="rnd" cmpd="sng">
              <a:noFill/>
              <a:prstDash val="solid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0" rIns="0" bIns="0" rtlCol="0" anchor="ctr" anchorCtr="0">
              <a:noAutofit/>
            </a:bodyPr>
            <a:lstStyle/>
            <a:p>
              <a:pPr defTabSz="685748" fontAlgn="auto">
                <a:spcBef>
                  <a:spcPts val="1000"/>
                </a:spcBef>
                <a:spcAft>
                  <a:spcPts val="0"/>
                </a:spcAft>
              </a:pPr>
              <a:r>
                <a:rPr lang="es-ES_tradnl" sz="850">
                  <a:solidFill>
                    <a:schemeClr val="tx2">
                      <a:lumMod val="75000"/>
                      <a:lumOff val="25000"/>
                    </a:schemeClr>
                  </a:solidFill>
                  <a:latin typeface="Pulso" pitchFamily="2" charset="0"/>
                  <a:ea typeface="Roboto Medium" panose="02000000000000000000" pitchFamily="2" charset="0"/>
                </a:rPr>
                <a:t>DEVICE STATUS</a:t>
              </a:r>
            </a:p>
          </p:txBody>
        </p:sp>
        <p:grpSp>
          <p:nvGrpSpPr>
            <p:cNvPr id="686" name="Grupo 685">
              <a:extLst>
                <a:ext uri="{FF2B5EF4-FFF2-40B4-BE49-F238E27FC236}">
                  <a16:creationId xmlns:a16="http://schemas.microsoft.com/office/drawing/2014/main" id="{26D5CA57-C212-81C0-0112-BB1178EB3104}"/>
                </a:ext>
              </a:extLst>
            </p:cNvPr>
            <p:cNvGrpSpPr/>
            <p:nvPr/>
          </p:nvGrpSpPr>
          <p:grpSpPr>
            <a:xfrm>
              <a:off x="7514823" y="1926129"/>
              <a:ext cx="736018" cy="389837"/>
              <a:chOff x="7514823" y="1926129"/>
              <a:chExt cx="736018" cy="389837"/>
            </a:xfrm>
          </p:grpSpPr>
          <p:pic>
            <p:nvPicPr>
              <p:cNvPr id="652" name="Imagen 651">
                <a:extLst>
                  <a:ext uri="{FF2B5EF4-FFF2-40B4-BE49-F238E27FC236}">
                    <a16:creationId xmlns:a16="http://schemas.microsoft.com/office/drawing/2014/main" id="{AACC9F39-17E6-49C0-A9B0-F35A718B6F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937641" y="1964447"/>
                <a:ext cx="313200" cy="313200"/>
              </a:xfrm>
              <a:prstGeom prst="rect">
                <a:avLst/>
              </a:prstGeom>
            </p:spPr>
          </p:pic>
          <p:pic>
            <p:nvPicPr>
              <p:cNvPr id="655" name="Imagen 654" descr="Forma&#10;&#10;El contenido generado por IA puede ser incorrecto.">
                <a:extLst>
                  <a:ext uri="{FF2B5EF4-FFF2-40B4-BE49-F238E27FC236}">
                    <a16:creationId xmlns:a16="http://schemas.microsoft.com/office/drawing/2014/main" id="{7E43E157-B188-EB3C-518B-735A82EEAB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514823" y="1926129"/>
                <a:ext cx="391884" cy="389837"/>
              </a:xfrm>
              <a:prstGeom prst="rect">
                <a:avLst/>
              </a:prstGeom>
            </p:spPr>
          </p:pic>
        </p:grpSp>
      </p:grpSp>
      <p:grpSp>
        <p:nvGrpSpPr>
          <p:cNvPr id="698" name="Grupo 697">
            <a:extLst>
              <a:ext uri="{FF2B5EF4-FFF2-40B4-BE49-F238E27FC236}">
                <a16:creationId xmlns:a16="http://schemas.microsoft.com/office/drawing/2014/main" id="{5E5AB1FF-9A31-1ABC-7D59-6AC6657EE786}"/>
              </a:ext>
            </a:extLst>
          </p:cNvPr>
          <p:cNvGrpSpPr/>
          <p:nvPr/>
        </p:nvGrpSpPr>
        <p:grpSpPr>
          <a:xfrm>
            <a:off x="5491190" y="2373758"/>
            <a:ext cx="3212131" cy="440686"/>
            <a:chOff x="5515907" y="2409694"/>
            <a:chExt cx="3212131" cy="440686"/>
          </a:xfrm>
        </p:grpSpPr>
        <p:sp>
          <p:nvSpPr>
            <p:cNvPr id="657" name="Rectángulo redondeado 7">
              <a:extLst>
                <a:ext uri="{FF2B5EF4-FFF2-40B4-BE49-F238E27FC236}">
                  <a16:creationId xmlns:a16="http://schemas.microsoft.com/office/drawing/2014/main" id="{FCE574B2-863D-B80A-1D39-7476C82FDC43}"/>
                </a:ext>
              </a:extLst>
            </p:cNvPr>
            <p:cNvSpPr/>
            <p:nvPr/>
          </p:nvSpPr>
          <p:spPr>
            <a:xfrm>
              <a:off x="5515907" y="2409694"/>
              <a:ext cx="3212131" cy="440686"/>
            </a:xfrm>
            <a:prstGeom prst="roundRect">
              <a:avLst>
                <a:gd name="adj" fmla="val 13604"/>
              </a:avLst>
            </a:prstGeom>
            <a:solidFill>
              <a:srgbClr val="FFFFFF"/>
            </a:solidFill>
            <a:ln w="25400" cap="rnd" cmpd="sng">
              <a:noFill/>
              <a:prstDash val="solid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0" rIns="0" bIns="0" rtlCol="0" anchor="ctr" anchorCtr="0">
              <a:noAutofit/>
            </a:bodyPr>
            <a:lstStyle/>
            <a:p>
              <a:pPr defTabSz="685748" fontAlgn="auto">
                <a:spcBef>
                  <a:spcPts val="0"/>
                </a:spcBef>
                <a:spcAft>
                  <a:spcPts val="200"/>
                </a:spcAft>
              </a:pPr>
              <a:r>
                <a:rPr lang="es-ES_tradnl" sz="850">
                  <a:solidFill>
                    <a:schemeClr val="tx2">
                      <a:lumMod val="75000"/>
                      <a:lumOff val="25000"/>
                    </a:schemeClr>
                  </a:solidFill>
                  <a:latin typeface="Pulso" pitchFamily="2" charset="0"/>
                  <a:ea typeface="Roboto Medium" panose="02000000000000000000" pitchFamily="2" charset="0"/>
                </a:rPr>
                <a:t>DEVICE LOCATION VERIFICATION </a:t>
              </a:r>
            </a:p>
            <a:p>
              <a:pPr defTabSz="685748" fontAlgn="auto">
                <a:spcBef>
                  <a:spcPts val="0"/>
                </a:spcBef>
                <a:spcAft>
                  <a:spcPts val="200"/>
                </a:spcAft>
              </a:pPr>
              <a:r>
                <a:rPr lang="es-ES_tradnl" sz="850">
                  <a:solidFill>
                    <a:schemeClr val="tx2">
                      <a:lumMod val="75000"/>
                      <a:lumOff val="25000"/>
                    </a:schemeClr>
                  </a:solidFill>
                  <a:latin typeface="Pulso" pitchFamily="2" charset="0"/>
                  <a:ea typeface="Roboto Medium" panose="02000000000000000000" pitchFamily="2" charset="0"/>
                </a:rPr>
                <a:t>DEVICE LOCATION RETRIEVAL</a:t>
              </a:r>
            </a:p>
          </p:txBody>
        </p:sp>
        <p:grpSp>
          <p:nvGrpSpPr>
            <p:cNvPr id="687" name="Grupo 686">
              <a:extLst>
                <a:ext uri="{FF2B5EF4-FFF2-40B4-BE49-F238E27FC236}">
                  <a16:creationId xmlns:a16="http://schemas.microsoft.com/office/drawing/2014/main" id="{1092559B-141F-F7F8-9FFB-C4901A14A9B0}"/>
                </a:ext>
              </a:extLst>
            </p:cNvPr>
            <p:cNvGrpSpPr/>
            <p:nvPr/>
          </p:nvGrpSpPr>
          <p:grpSpPr>
            <a:xfrm>
              <a:off x="7514823" y="2439508"/>
              <a:ext cx="736018" cy="389837"/>
              <a:chOff x="7514823" y="2439508"/>
              <a:chExt cx="736018" cy="389837"/>
            </a:xfrm>
          </p:grpSpPr>
          <p:pic>
            <p:nvPicPr>
              <p:cNvPr id="658" name="Imagen 657">
                <a:extLst>
                  <a:ext uri="{FF2B5EF4-FFF2-40B4-BE49-F238E27FC236}">
                    <a16:creationId xmlns:a16="http://schemas.microsoft.com/office/drawing/2014/main" id="{64C03451-CE32-3068-A8C9-58C6A97DB3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937641" y="2477826"/>
                <a:ext cx="313200" cy="313200"/>
              </a:xfrm>
              <a:prstGeom prst="rect">
                <a:avLst/>
              </a:prstGeom>
            </p:spPr>
          </p:pic>
          <p:pic>
            <p:nvPicPr>
              <p:cNvPr id="660" name="Imagen 659" descr="Forma&#10;&#10;El contenido generado por IA puede ser incorrecto.">
                <a:extLst>
                  <a:ext uri="{FF2B5EF4-FFF2-40B4-BE49-F238E27FC236}">
                    <a16:creationId xmlns:a16="http://schemas.microsoft.com/office/drawing/2014/main" id="{8B1F9FEC-7216-E9E2-1C7A-54E69663C1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514823" y="2439508"/>
                <a:ext cx="391884" cy="389837"/>
              </a:xfrm>
              <a:prstGeom prst="rect">
                <a:avLst/>
              </a:prstGeom>
            </p:spPr>
          </p:pic>
        </p:grpSp>
      </p:grpSp>
      <p:sp>
        <p:nvSpPr>
          <p:cNvPr id="851" name="Redondear rectángulo de esquina del mismo lado 53">
            <a:extLst>
              <a:ext uri="{FF2B5EF4-FFF2-40B4-BE49-F238E27FC236}">
                <a16:creationId xmlns:a16="http://schemas.microsoft.com/office/drawing/2014/main" id="{476D8474-0798-D9B8-BCFB-EBAD48AF8D14}"/>
              </a:ext>
            </a:extLst>
          </p:cNvPr>
          <p:cNvSpPr/>
          <p:nvPr/>
        </p:nvSpPr>
        <p:spPr>
          <a:xfrm rot="5400000">
            <a:off x="3893695" y="709349"/>
            <a:ext cx="700842" cy="1863199"/>
          </a:xfrm>
          <a:prstGeom prst="round2SameRect">
            <a:avLst>
              <a:gd name="adj1" fmla="val 10015"/>
              <a:gd name="adj2" fmla="val 0"/>
            </a:avLst>
          </a:prstGeom>
          <a:gradFill>
            <a:gsLst>
              <a:gs pos="0">
                <a:srgbClr val="FFFFFF"/>
              </a:gs>
              <a:gs pos="99000">
                <a:srgbClr val="F0F0F0">
                  <a:alpha val="0"/>
                </a:srgbClr>
              </a:gs>
            </a:gsLst>
            <a:lin ang="5400000" scaled="0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750"/>
              </a:spcBef>
              <a:spcAft>
                <a:spcPts val="0"/>
              </a:spcAft>
              <a:defRPr/>
            </a:pPr>
            <a:endParaRPr lang="es-AR" sz="11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D2594A3-71BF-F6AC-B232-B25575BF20C6}"/>
              </a:ext>
            </a:extLst>
          </p:cNvPr>
          <p:cNvSpPr txBox="1">
            <a:spLocks/>
          </p:cNvSpPr>
          <p:nvPr/>
        </p:nvSpPr>
        <p:spPr>
          <a:xfrm>
            <a:off x="3387350" y="1363119"/>
            <a:ext cx="1419429" cy="530915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lvl1pPr algn="l" defTabSz="91431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spc="-100" baseline="0">
                <a:solidFill>
                  <a:schemeClr val="tx1"/>
                </a:solidFill>
                <a:latin typeface="+mj-lt"/>
                <a:ea typeface="Montserrat" charset="0"/>
                <a:cs typeface="Montserrat" charset="0"/>
              </a:defRPr>
            </a:lvl1pPr>
          </a:lstStyle>
          <a:p>
            <a:pPr defTabSz="685739" fontAlgn="auto">
              <a:lnSpc>
                <a:spcPct val="100000"/>
              </a:lnSpc>
              <a:spcAft>
                <a:spcPts val="300"/>
              </a:spcAft>
              <a:defRPr/>
            </a:pPr>
            <a:r>
              <a:rPr lang="es-ES_tradnl" sz="800" b="0" spc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 Medium" panose="02000000000000000000" pitchFamily="2" charset="0"/>
              </a:rPr>
              <a:t>Market </a:t>
            </a:r>
            <a:r>
              <a:rPr lang="es-ES_tradnl" sz="800" b="0" spc="0" err="1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 Medium" panose="02000000000000000000" pitchFamily="2" charset="0"/>
              </a:rPr>
              <a:t>Champion</a:t>
            </a:r>
            <a:r>
              <a:rPr lang="es-ES_tradnl" sz="800" b="0" spc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 Medium" panose="02000000000000000000" pitchFamily="2" charset="0"/>
              </a:rPr>
              <a:t> en Argentina y Paraguay</a:t>
            </a:r>
          </a:p>
          <a:p>
            <a:pPr defTabSz="685739" fontAlgn="auto">
              <a:lnSpc>
                <a:spcPct val="100000"/>
              </a:lnSpc>
              <a:spcAft>
                <a:spcPts val="225"/>
              </a:spcAft>
              <a:defRPr/>
            </a:pPr>
            <a:r>
              <a:rPr lang="es-ES" sz="800" b="0" spc="0">
                <a:solidFill>
                  <a:srgbClr val="24272A">
                    <a:lumMod val="75000"/>
                    <a:lumOff val="25000"/>
                  </a:srgbClr>
                </a:solidFill>
                <a:latin typeface="Pulso Light" pitchFamily="2" charset="0"/>
                <a:ea typeface="Roboto Light" panose="02000000000000000000" pitchFamily="2" charset="0"/>
                <a:cs typeface="Open Sans" pitchFamily="2" charset="0"/>
                <a:sym typeface="Arial"/>
              </a:rPr>
              <a:t>Primer despliegue y liderazgo en Argentina y Paraguay.</a:t>
            </a:r>
          </a:p>
        </p:txBody>
      </p:sp>
      <p:sp>
        <p:nvSpPr>
          <p:cNvPr id="934" name="Redondear rectángulo de esquina del mismo lado 53">
            <a:extLst>
              <a:ext uri="{FF2B5EF4-FFF2-40B4-BE49-F238E27FC236}">
                <a16:creationId xmlns:a16="http://schemas.microsoft.com/office/drawing/2014/main" id="{9947CBEC-6C00-29E2-BDBF-F1BBECB88C8E}"/>
              </a:ext>
            </a:extLst>
          </p:cNvPr>
          <p:cNvSpPr/>
          <p:nvPr/>
        </p:nvSpPr>
        <p:spPr>
          <a:xfrm rot="5400000">
            <a:off x="3052358" y="2310590"/>
            <a:ext cx="2383516" cy="1863199"/>
          </a:xfrm>
          <a:prstGeom prst="round2SameRect">
            <a:avLst>
              <a:gd name="adj1" fmla="val 3591"/>
              <a:gd name="adj2" fmla="val 0"/>
            </a:avLst>
          </a:prstGeom>
          <a:gradFill>
            <a:gsLst>
              <a:gs pos="0">
                <a:srgbClr val="FFFFFF"/>
              </a:gs>
              <a:gs pos="99000">
                <a:srgbClr val="F0F0F0">
                  <a:alpha val="0"/>
                </a:srgbClr>
              </a:gs>
            </a:gsLst>
            <a:lin ang="5400000" scaled="0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750"/>
              </a:spcBef>
              <a:spcAft>
                <a:spcPts val="0"/>
              </a:spcAft>
              <a:defRPr/>
            </a:pPr>
            <a:endParaRPr lang="es-AR" sz="11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935" name="Title 1">
            <a:extLst>
              <a:ext uri="{FF2B5EF4-FFF2-40B4-BE49-F238E27FC236}">
                <a16:creationId xmlns:a16="http://schemas.microsoft.com/office/drawing/2014/main" id="{D5D5E610-36D4-5074-6FF9-902419A22C8B}"/>
              </a:ext>
            </a:extLst>
          </p:cNvPr>
          <p:cNvSpPr txBox="1">
            <a:spLocks/>
          </p:cNvSpPr>
          <p:nvPr/>
        </p:nvSpPr>
        <p:spPr>
          <a:xfrm>
            <a:off x="3387007" y="2134393"/>
            <a:ext cx="1367558" cy="654025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lvl1pPr algn="l" defTabSz="91431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spc="-100" baseline="0">
                <a:solidFill>
                  <a:schemeClr val="tx1"/>
                </a:solidFill>
                <a:latin typeface="+mj-lt"/>
                <a:ea typeface="Montserrat" charset="0"/>
                <a:cs typeface="Montserrat" charset="0"/>
              </a:defRPr>
            </a:lvl1pPr>
          </a:lstStyle>
          <a:p>
            <a:pPr defTabSz="685739" fontAlgn="auto">
              <a:lnSpc>
                <a:spcPct val="100000"/>
              </a:lnSpc>
              <a:spcAft>
                <a:spcPts val="300"/>
              </a:spcAft>
              <a:defRPr/>
            </a:pPr>
            <a:r>
              <a:rPr lang="es-ES_tradnl" sz="800" b="0" spc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 Medium" panose="02000000000000000000" pitchFamily="2" charset="0"/>
              </a:rPr>
              <a:t>Segundo caso de Latam en Monetización</a:t>
            </a:r>
          </a:p>
          <a:p>
            <a:pPr defTabSz="685739" fontAlgn="auto">
              <a:lnSpc>
                <a:spcPct val="100000"/>
              </a:lnSpc>
              <a:spcAft>
                <a:spcPts val="300"/>
              </a:spcAft>
              <a:defRPr/>
            </a:pPr>
            <a:r>
              <a:rPr lang="es-ES" sz="800" b="0" spc="0">
                <a:solidFill>
                  <a:srgbClr val="24272A">
                    <a:lumMod val="75000"/>
                    <a:lumOff val="25000"/>
                  </a:srgbClr>
                </a:solidFill>
                <a:latin typeface="Pulso Light" pitchFamily="2" charset="0"/>
                <a:ea typeface="Roboto Light" panose="02000000000000000000" pitchFamily="2" charset="0"/>
                <a:cs typeface="Open Sans" pitchFamily="2" charset="0"/>
                <a:sym typeface="Arial"/>
              </a:rPr>
              <a:t>Luego de Brasil, somos el segundo Mercado con monetización.</a:t>
            </a:r>
          </a:p>
        </p:txBody>
      </p:sp>
      <p:sp>
        <p:nvSpPr>
          <p:cNvPr id="951" name="Redondear rectángulo de esquina del mismo lado 37">
            <a:extLst>
              <a:ext uri="{FF2B5EF4-FFF2-40B4-BE49-F238E27FC236}">
                <a16:creationId xmlns:a16="http://schemas.microsoft.com/office/drawing/2014/main" id="{4C81B761-08C3-AC0D-6D71-98B0F59CA0F5}"/>
              </a:ext>
            </a:extLst>
          </p:cNvPr>
          <p:cNvSpPr/>
          <p:nvPr/>
        </p:nvSpPr>
        <p:spPr>
          <a:xfrm rot="5400000">
            <a:off x="1540350" y="2415436"/>
            <a:ext cx="617126" cy="2638390"/>
          </a:xfrm>
          <a:prstGeom prst="round2SameRect">
            <a:avLst>
              <a:gd name="adj1" fmla="val 7267"/>
              <a:gd name="adj2" fmla="val 0"/>
            </a:avLst>
          </a:prstGeom>
          <a:gradFill>
            <a:gsLst>
              <a:gs pos="0">
                <a:srgbClr val="FFFFFF"/>
              </a:gs>
              <a:gs pos="99000">
                <a:srgbClr val="F0F0F0">
                  <a:alpha val="0"/>
                </a:srgbClr>
              </a:gs>
            </a:gsLst>
            <a:lin ang="5400000" scaled="0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750"/>
              </a:spcBef>
              <a:spcAft>
                <a:spcPts val="0"/>
              </a:spcAft>
              <a:defRPr/>
            </a:pPr>
            <a:endParaRPr lang="es-AR" sz="11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952" name="Title 1">
            <a:extLst>
              <a:ext uri="{FF2B5EF4-FFF2-40B4-BE49-F238E27FC236}">
                <a16:creationId xmlns:a16="http://schemas.microsoft.com/office/drawing/2014/main" id="{CA904F50-6E0F-954B-2BE6-67A9E9FBEAE2}"/>
              </a:ext>
            </a:extLst>
          </p:cNvPr>
          <p:cNvSpPr txBox="1">
            <a:spLocks/>
          </p:cNvSpPr>
          <p:nvPr/>
        </p:nvSpPr>
        <p:spPr>
          <a:xfrm>
            <a:off x="590660" y="3526475"/>
            <a:ext cx="1867538" cy="407804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lvl1pPr algn="l" defTabSz="91431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spc="-100" baseline="0">
                <a:solidFill>
                  <a:schemeClr val="tx1"/>
                </a:solidFill>
                <a:latin typeface="+mj-lt"/>
                <a:ea typeface="Montserrat" charset="0"/>
                <a:cs typeface="Montserrat" charset="0"/>
              </a:defRPr>
            </a:lvl1pPr>
          </a:lstStyle>
          <a:p>
            <a:pPr defTabSz="685739" fontAlgn="auto">
              <a:lnSpc>
                <a:spcPct val="100000"/>
              </a:lnSpc>
              <a:spcAft>
                <a:spcPts val="300"/>
              </a:spcAft>
              <a:defRPr/>
            </a:pPr>
            <a:r>
              <a:rPr lang="es-ES_tradnl" sz="800" b="0" spc="0" err="1">
                <a:solidFill>
                  <a:schemeClr val="bg2"/>
                </a:solidFill>
                <a:latin typeface="Pulso" pitchFamily="2" charset="0"/>
                <a:ea typeface="Roboto Medium" panose="02000000000000000000" pitchFamily="2" charset="0"/>
              </a:rPr>
              <a:t>Channel</a:t>
            </a:r>
            <a:r>
              <a:rPr lang="es-ES_tradnl" sz="800" b="0" spc="0">
                <a:solidFill>
                  <a:schemeClr val="bg2"/>
                </a:solidFill>
                <a:latin typeface="Pulso" pitchFamily="2" charset="0"/>
                <a:ea typeface="Roboto Medium" panose="02000000000000000000" pitchFamily="2" charset="0"/>
              </a:rPr>
              <a:t> Partner GSMA </a:t>
            </a:r>
          </a:p>
          <a:p>
            <a:pPr defTabSz="685739" fontAlgn="auto">
              <a:lnSpc>
                <a:spcPct val="100000"/>
              </a:lnSpc>
              <a:spcAft>
                <a:spcPts val="300"/>
              </a:spcAft>
              <a:defRPr/>
            </a:pPr>
            <a:r>
              <a:rPr lang="es-ES" sz="800" b="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" pitchFamily="2" charset="0"/>
                <a:sym typeface="Arial"/>
              </a:rPr>
              <a:t>Somos parte del ecosistema de </a:t>
            </a:r>
            <a:r>
              <a:rPr lang="es-ES" sz="800" b="0" spc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" pitchFamily="2" charset="0"/>
                <a:sym typeface="Arial"/>
              </a:rPr>
              <a:t>partners</a:t>
            </a:r>
            <a:r>
              <a:rPr lang="es-ES" sz="800" b="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" pitchFamily="2" charset="0"/>
                <a:sym typeface="Arial"/>
              </a:rPr>
              <a:t> digitales de Open Gateway.</a:t>
            </a:r>
          </a:p>
        </p:txBody>
      </p:sp>
      <p:pic>
        <p:nvPicPr>
          <p:cNvPr id="958" name="Imagen 957" descr="Forma&#10;&#10;El contenido generado por IA puede ser incorrecto.">
            <a:extLst>
              <a:ext uri="{FF2B5EF4-FFF2-40B4-BE49-F238E27FC236}">
                <a16:creationId xmlns:a16="http://schemas.microsoft.com/office/drawing/2014/main" id="{591A7F98-E1E1-C44F-7539-AC74C58BEB1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4015" y="3553945"/>
            <a:ext cx="437258" cy="434974"/>
          </a:xfrm>
          <a:prstGeom prst="rect">
            <a:avLst/>
          </a:prstGeom>
        </p:spPr>
      </p:pic>
      <p:sp>
        <p:nvSpPr>
          <p:cNvPr id="640" name="Title 1">
            <a:extLst>
              <a:ext uri="{FF2B5EF4-FFF2-40B4-BE49-F238E27FC236}">
                <a16:creationId xmlns:a16="http://schemas.microsoft.com/office/drawing/2014/main" id="{B32FF62D-E280-B9BA-6543-AFE480A0C945}"/>
              </a:ext>
            </a:extLst>
          </p:cNvPr>
          <p:cNvSpPr txBox="1">
            <a:spLocks/>
          </p:cNvSpPr>
          <p:nvPr/>
        </p:nvSpPr>
        <p:spPr>
          <a:xfrm>
            <a:off x="3387007" y="3807372"/>
            <a:ext cx="1259482" cy="530915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lvl1pPr algn="l" defTabSz="91431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spc="-100" baseline="0">
                <a:solidFill>
                  <a:schemeClr val="tx1"/>
                </a:solidFill>
                <a:latin typeface="+mj-lt"/>
                <a:ea typeface="Montserrat" charset="0"/>
                <a:cs typeface="Montserrat" charset="0"/>
              </a:defRPr>
            </a:lvl1pPr>
          </a:lstStyle>
          <a:p>
            <a:pPr defTabSz="685739" fontAlgn="auto">
              <a:lnSpc>
                <a:spcPct val="100000"/>
              </a:lnSpc>
              <a:spcAft>
                <a:spcPts val="300"/>
              </a:spcAft>
              <a:defRPr/>
            </a:pPr>
            <a:r>
              <a:rPr lang="es-ES_tradnl" sz="800" b="0" spc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 Medium" panose="02000000000000000000" pitchFamily="2" charset="0"/>
              </a:rPr>
              <a:t>Acuerdos Mayoristas</a:t>
            </a:r>
          </a:p>
          <a:p>
            <a:pPr defTabSz="685739" fontAlgn="auto">
              <a:lnSpc>
                <a:spcPct val="100000"/>
              </a:lnSpc>
              <a:spcAft>
                <a:spcPts val="300"/>
              </a:spcAft>
              <a:defRPr/>
            </a:pPr>
            <a:r>
              <a:rPr lang="es-ES" sz="800" b="0" spc="0">
                <a:solidFill>
                  <a:srgbClr val="24272A">
                    <a:lumMod val="75000"/>
                    <a:lumOff val="25000"/>
                  </a:srgbClr>
                </a:solidFill>
                <a:latin typeface="Pulso Light" pitchFamily="2" charset="0"/>
                <a:ea typeface="Roboto Light" panose="02000000000000000000" pitchFamily="2" charset="0"/>
                <a:cs typeface="Open Sans" pitchFamily="2" charset="0"/>
                <a:sym typeface="Arial"/>
              </a:rPr>
              <a:t>Contamos con 7 Acuerdos </a:t>
            </a:r>
            <a:r>
              <a:rPr lang="es-ES" sz="800" b="0" spc="0" err="1">
                <a:solidFill>
                  <a:srgbClr val="24272A">
                    <a:lumMod val="75000"/>
                    <a:lumOff val="25000"/>
                  </a:srgbClr>
                </a:solidFill>
                <a:latin typeface="Pulso Light" pitchFamily="2" charset="0"/>
                <a:ea typeface="Roboto Light" panose="02000000000000000000" pitchFamily="2" charset="0"/>
                <a:cs typeface="Open Sans" pitchFamily="2" charset="0"/>
                <a:sym typeface="Arial"/>
              </a:rPr>
              <a:t>Wholesale</a:t>
            </a:r>
            <a:r>
              <a:rPr lang="es-ES" sz="800" b="0" spc="0">
                <a:solidFill>
                  <a:srgbClr val="24272A">
                    <a:lumMod val="75000"/>
                    <a:lumOff val="25000"/>
                  </a:srgbClr>
                </a:solidFill>
                <a:latin typeface="Pulso Light" pitchFamily="2" charset="0"/>
                <a:ea typeface="Roboto Light" panose="02000000000000000000" pitchFamily="2" charset="0"/>
                <a:cs typeface="Open Sans" pitchFamily="2" charset="0"/>
                <a:sym typeface="Arial"/>
              </a:rPr>
              <a:t> para monetizar las APIs.</a:t>
            </a:r>
          </a:p>
        </p:txBody>
      </p:sp>
      <p:grpSp>
        <p:nvGrpSpPr>
          <p:cNvPr id="905" name="Grupo 904">
            <a:extLst>
              <a:ext uri="{FF2B5EF4-FFF2-40B4-BE49-F238E27FC236}">
                <a16:creationId xmlns:a16="http://schemas.microsoft.com/office/drawing/2014/main" id="{0E808D51-CE19-69E3-D8CB-214F29D197E4}"/>
              </a:ext>
            </a:extLst>
          </p:cNvPr>
          <p:cNvGrpSpPr/>
          <p:nvPr/>
        </p:nvGrpSpPr>
        <p:grpSpPr>
          <a:xfrm>
            <a:off x="538268" y="754654"/>
            <a:ext cx="1184928" cy="446952"/>
            <a:chOff x="538268" y="861030"/>
            <a:chExt cx="1184928" cy="446952"/>
          </a:xfrm>
        </p:grpSpPr>
        <p:sp>
          <p:nvSpPr>
            <p:cNvPr id="6" name="Rectángulo redondeado 29">
              <a:extLst>
                <a:ext uri="{FF2B5EF4-FFF2-40B4-BE49-F238E27FC236}">
                  <a16:creationId xmlns:a16="http://schemas.microsoft.com/office/drawing/2014/main" id="{58C3EE42-0D31-1145-C52A-D7734BBB68EC}"/>
                </a:ext>
              </a:extLst>
            </p:cNvPr>
            <p:cNvSpPr/>
            <p:nvPr/>
          </p:nvSpPr>
          <p:spPr>
            <a:xfrm>
              <a:off x="538268" y="861030"/>
              <a:ext cx="1184928" cy="446952"/>
            </a:xfrm>
            <a:prstGeom prst="roundRect">
              <a:avLst>
                <a:gd name="adj" fmla="val 9615"/>
              </a:avLst>
            </a:prstGeom>
            <a:solidFill>
              <a:schemeClr val="bg2"/>
            </a:solidFill>
            <a:ln>
              <a:noFill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4290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1266">
                <a:solidFill>
                  <a:srgbClr val="A905B7"/>
                </a:solidFill>
                <a:latin typeface="Pulso" pitchFamily="2" charset="0"/>
                <a:ea typeface="Roboto" panose="02000000000000000000" pitchFamily="2" charset="0"/>
              </a:endParaRPr>
            </a:p>
          </p:txBody>
        </p:sp>
        <p:grpSp>
          <p:nvGrpSpPr>
            <p:cNvPr id="40" name="Gráfico 3">
              <a:extLst>
                <a:ext uri="{FF2B5EF4-FFF2-40B4-BE49-F238E27FC236}">
                  <a16:creationId xmlns:a16="http://schemas.microsoft.com/office/drawing/2014/main" id="{F26AA7B5-87FD-58B7-EF98-7A532071B31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80736" y="979036"/>
              <a:ext cx="900004" cy="206466"/>
              <a:chOff x="3835717" y="2907982"/>
              <a:chExt cx="4521517" cy="1037272"/>
            </a:xfrm>
            <a:solidFill>
              <a:srgbClr val="FFFFFF"/>
            </a:solidFill>
          </p:grpSpPr>
          <p:sp>
            <p:nvSpPr>
              <p:cNvPr id="41" name="Forma libre 40">
                <a:extLst>
                  <a:ext uri="{FF2B5EF4-FFF2-40B4-BE49-F238E27FC236}">
                    <a16:creationId xmlns:a16="http://schemas.microsoft.com/office/drawing/2014/main" id="{11E2D1E1-BF40-CEC8-A63F-0D030B3F3717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3" name="Forma libre 62">
                <a:extLst>
                  <a:ext uri="{FF2B5EF4-FFF2-40B4-BE49-F238E27FC236}">
                    <a16:creationId xmlns:a16="http://schemas.microsoft.com/office/drawing/2014/main" id="{17B5A9A0-1833-936E-1438-08A4DA9983EA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896" name="Forma libre 895">
                <a:extLst>
                  <a:ext uri="{FF2B5EF4-FFF2-40B4-BE49-F238E27FC236}">
                    <a16:creationId xmlns:a16="http://schemas.microsoft.com/office/drawing/2014/main" id="{A6D458CF-9548-EF4A-226F-9E56F794AD59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897" name="Forma libre 896">
                <a:extLst>
                  <a:ext uri="{FF2B5EF4-FFF2-40B4-BE49-F238E27FC236}">
                    <a16:creationId xmlns:a16="http://schemas.microsoft.com/office/drawing/2014/main" id="{C73E9066-FFAC-9D82-DE95-30EABB67A58D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898" name="Forma libre 897">
                <a:extLst>
                  <a:ext uri="{FF2B5EF4-FFF2-40B4-BE49-F238E27FC236}">
                    <a16:creationId xmlns:a16="http://schemas.microsoft.com/office/drawing/2014/main" id="{BDED8D51-A09E-3073-5DD3-E4228C89A7D5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899" name="Forma libre 898">
                <a:extLst>
                  <a:ext uri="{FF2B5EF4-FFF2-40B4-BE49-F238E27FC236}">
                    <a16:creationId xmlns:a16="http://schemas.microsoft.com/office/drawing/2014/main" id="{243B9B64-F938-E791-1C14-F6E6A7716804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900" name="Forma libre 899">
                <a:extLst>
                  <a:ext uri="{FF2B5EF4-FFF2-40B4-BE49-F238E27FC236}">
                    <a16:creationId xmlns:a16="http://schemas.microsoft.com/office/drawing/2014/main" id="{A81AE05D-EB47-157A-F79A-D021B4DE555C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901" name="Forma libre 900">
                <a:extLst>
                  <a:ext uri="{FF2B5EF4-FFF2-40B4-BE49-F238E27FC236}">
                    <a16:creationId xmlns:a16="http://schemas.microsoft.com/office/drawing/2014/main" id="{EFD80D2F-4368-FADF-92D9-2A9B3C2C6E13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</p:grpSp>
      <p:grpSp>
        <p:nvGrpSpPr>
          <p:cNvPr id="695" name="Grupo 694">
            <a:extLst>
              <a:ext uri="{FF2B5EF4-FFF2-40B4-BE49-F238E27FC236}">
                <a16:creationId xmlns:a16="http://schemas.microsoft.com/office/drawing/2014/main" id="{9F334B8F-526C-27D9-9956-038BF757D168}"/>
              </a:ext>
            </a:extLst>
          </p:cNvPr>
          <p:cNvGrpSpPr/>
          <p:nvPr/>
        </p:nvGrpSpPr>
        <p:grpSpPr>
          <a:xfrm>
            <a:off x="5491190" y="2912415"/>
            <a:ext cx="3212131" cy="440686"/>
            <a:chOff x="5515907" y="2923073"/>
            <a:chExt cx="3212131" cy="440686"/>
          </a:xfrm>
        </p:grpSpPr>
        <p:sp>
          <p:nvSpPr>
            <p:cNvPr id="662" name="Rectángulo redondeado 7">
              <a:extLst>
                <a:ext uri="{FF2B5EF4-FFF2-40B4-BE49-F238E27FC236}">
                  <a16:creationId xmlns:a16="http://schemas.microsoft.com/office/drawing/2014/main" id="{0BCA8265-C02B-83F5-54CF-20939E12FDC5}"/>
                </a:ext>
              </a:extLst>
            </p:cNvPr>
            <p:cNvSpPr/>
            <p:nvPr/>
          </p:nvSpPr>
          <p:spPr>
            <a:xfrm>
              <a:off x="5515907" y="2923073"/>
              <a:ext cx="3212131" cy="440686"/>
            </a:xfrm>
            <a:prstGeom prst="roundRect">
              <a:avLst>
                <a:gd name="adj" fmla="val 13604"/>
              </a:avLst>
            </a:prstGeom>
            <a:solidFill>
              <a:srgbClr val="FFFFFF"/>
            </a:solidFill>
            <a:ln w="25400" cap="rnd" cmpd="sng">
              <a:noFill/>
              <a:prstDash val="solid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0" rIns="0" bIns="0" rtlCol="0" anchor="ctr" anchorCtr="0">
              <a:noAutofit/>
            </a:bodyPr>
            <a:lstStyle/>
            <a:p>
              <a:pPr defTabSz="685748" fontAlgn="auto">
                <a:spcBef>
                  <a:spcPts val="1000"/>
                </a:spcBef>
                <a:spcAft>
                  <a:spcPts val="0"/>
                </a:spcAft>
              </a:pPr>
              <a:r>
                <a:rPr lang="es-ES_tradnl" sz="850" err="1">
                  <a:solidFill>
                    <a:schemeClr val="tx2">
                      <a:lumMod val="75000"/>
                      <a:lumOff val="25000"/>
                    </a:schemeClr>
                  </a:solidFill>
                  <a:latin typeface="Pulso" pitchFamily="2" charset="0"/>
                  <a:ea typeface="Roboto Medium" panose="02000000000000000000" pitchFamily="2" charset="0"/>
                </a:rPr>
                <a:t>Know</a:t>
              </a:r>
              <a:r>
                <a:rPr lang="es-ES_tradnl" sz="850">
                  <a:solidFill>
                    <a:schemeClr val="tx2">
                      <a:lumMod val="75000"/>
                      <a:lumOff val="25000"/>
                    </a:schemeClr>
                  </a:solidFill>
                  <a:latin typeface="Pulso" pitchFamily="2" charset="0"/>
                  <a:ea typeface="Roboto Medium" panose="02000000000000000000" pitchFamily="2" charset="0"/>
                </a:rPr>
                <a:t> </a:t>
              </a:r>
              <a:r>
                <a:rPr lang="es-ES_tradnl" sz="850" err="1">
                  <a:solidFill>
                    <a:schemeClr val="tx2">
                      <a:lumMod val="75000"/>
                      <a:lumOff val="25000"/>
                    </a:schemeClr>
                  </a:solidFill>
                  <a:latin typeface="Pulso" pitchFamily="2" charset="0"/>
                  <a:ea typeface="Roboto Medium" panose="02000000000000000000" pitchFamily="2" charset="0"/>
                </a:rPr>
                <a:t>Your</a:t>
              </a:r>
              <a:r>
                <a:rPr lang="es-ES_tradnl" sz="850">
                  <a:solidFill>
                    <a:schemeClr val="tx2">
                      <a:lumMod val="75000"/>
                      <a:lumOff val="25000"/>
                    </a:schemeClr>
                  </a:solidFill>
                  <a:latin typeface="Pulso" pitchFamily="2" charset="0"/>
                  <a:ea typeface="Roboto Medium" panose="02000000000000000000" pitchFamily="2" charset="0"/>
                </a:rPr>
                <a:t> Customer (KYC)</a:t>
              </a:r>
            </a:p>
          </p:txBody>
        </p:sp>
        <p:grpSp>
          <p:nvGrpSpPr>
            <p:cNvPr id="688" name="Grupo 687">
              <a:extLst>
                <a:ext uri="{FF2B5EF4-FFF2-40B4-BE49-F238E27FC236}">
                  <a16:creationId xmlns:a16="http://schemas.microsoft.com/office/drawing/2014/main" id="{9CAAA583-E7EA-C1C1-2FE1-ABB524930B91}"/>
                </a:ext>
              </a:extLst>
            </p:cNvPr>
            <p:cNvGrpSpPr/>
            <p:nvPr/>
          </p:nvGrpSpPr>
          <p:grpSpPr>
            <a:xfrm>
              <a:off x="7534891" y="2965212"/>
              <a:ext cx="715950" cy="339193"/>
              <a:chOff x="7534891" y="2965212"/>
              <a:chExt cx="715950" cy="339193"/>
            </a:xfrm>
          </p:grpSpPr>
          <p:pic>
            <p:nvPicPr>
              <p:cNvPr id="663" name="Imagen 662">
                <a:extLst>
                  <a:ext uri="{FF2B5EF4-FFF2-40B4-BE49-F238E27FC236}">
                    <a16:creationId xmlns:a16="http://schemas.microsoft.com/office/drawing/2014/main" id="{EC76152A-117B-A5AD-AA73-67FAE540E4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937641" y="2991205"/>
                <a:ext cx="313200" cy="313200"/>
              </a:xfrm>
              <a:prstGeom prst="rect">
                <a:avLst/>
              </a:prstGeom>
            </p:spPr>
          </p:pic>
          <p:pic>
            <p:nvPicPr>
              <p:cNvPr id="679" name="Imagen 678" descr="Logotipo, nombre de la empresa&#10;&#10;El contenido generado por IA puede ser incorrecto.">
                <a:extLst>
                  <a:ext uri="{FF2B5EF4-FFF2-40B4-BE49-F238E27FC236}">
                    <a16:creationId xmlns:a16="http://schemas.microsoft.com/office/drawing/2014/main" id="{63E95984-86E9-FD1D-7E5C-ED8B6743E9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23" r="-1" b="6707"/>
              <a:stretch>
                <a:fillRect/>
              </a:stretch>
            </p:blipFill>
            <p:spPr>
              <a:xfrm>
                <a:off x="7534891" y="2965212"/>
                <a:ext cx="357316" cy="339193"/>
              </a:xfrm>
              <a:prstGeom prst="rect">
                <a:avLst/>
              </a:prstGeom>
            </p:spPr>
          </p:pic>
        </p:grpSp>
      </p:grpSp>
      <p:grpSp>
        <p:nvGrpSpPr>
          <p:cNvPr id="696" name="Grupo 695">
            <a:extLst>
              <a:ext uri="{FF2B5EF4-FFF2-40B4-BE49-F238E27FC236}">
                <a16:creationId xmlns:a16="http://schemas.microsoft.com/office/drawing/2014/main" id="{DF1E1ECC-243C-FE62-2A44-7F4A0F9CCBD2}"/>
              </a:ext>
            </a:extLst>
          </p:cNvPr>
          <p:cNvGrpSpPr/>
          <p:nvPr/>
        </p:nvGrpSpPr>
        <p:grpSpPr>
          <a:xfrm>
            <a:off x="5491190" y="3451073"/>
            <a:ext cx="3212131" cy="440686"/>
            <a:chOff x="5515907" y="3436452"/>
            <a:chExt cx="3212131" cy="440686"/>
          </a:xfrm>
        </p:grpSpPr>
        <p:sp>
          <p:nvSpPr>
            <p:cNvPr id="667" name="Rectángulo redondeado 7">
              <a:extLst>
                <a:ext uri="{FF2B5EF4-FFF2-40B4-BE49-F238E27FC236}">
                  <a16:creationId xmlns:a16="http://schemas.microsoft.com/office/drawing/2014/main" id="{9B786B41-D498-1FBD-8585-E1257EC290F0}"/>
                </a:ext>
              </a:extLst>
            </p:cNvPr>
            <p:cNvSpPr/>
            <p:nvPr/>
          </p:nvSpPr>
          <p:spPr>
            <a:xfrm>
              <a:off x="5515907" y="3436452"/>
              <a:ext cx="3212131" cy="440686"/>
            </a:xfrm>
            <a:prstGeom prst="roundRect">
              <a:avLst>
                <a:gd name="adj" fmla="val 13604"/>
              </a:avLst>
            </a:prstGeom>
            <a:solidFill>
              <a:srgbClr val="FFFFFF"/>
            </a:solidFill>
            <a:ln w="25400" cap="rnd" cmpd="sng">
              <a:noFill/>
              <a:prstDash val="solid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0" rIns="0" bIns="0" rtlCol="0" anchor="ctr" anchorCtr="0">
              <a:noAutofit/>
            </a:bodyPr>
            <a:lstStyle/>
            <a:p>
              <a:pPr defTabSz="685748" fontAlgn="auto">
                <a:spcBef>
                  <a:spcPts val="1000"/>
                </a:spcBef>
                <a:spcAft>
                  <a:spcPts val="0"/>
                </a:spcAft>
              </a:pPr>
              <a:r>
                <a:rPr lang="es-ES_tradnl" sz="850" err="1">
                  <a:solidFill>
                    <a:schemeClr val="tx2">
                      <a:lumMod val="75000"/>
                      <a:lumOff val="25000"/>
                    </a:schemeClr>
                  </a:solidFill>
                  <a:latin typeface="Pulso" pitchFamily="2" charset="0"/>
                  <a:ea typeface="Roboto Medium" panose="02000000000000000000" pitchFamily="2" charset="0"/>
                </a:rPr>
                <a:t>Device</a:t>
              </a:r>
              <a:r>
                <a:rPr lang="es-ES_tradnl" sz="850">
                  <a:solidFill>
                    <a:schemeClr val="tx2">
                      <a:lumMod val="75000"/>
                      <a:lumOff val="25000"/>
                    </a:schemeClr>
                  </a:solidFill>
                  <a:latin typeface="Pulso" pitchFamily="2" charset="0"/>
                  <a:ea typeface="Roboto Medium" panose="02000000000000000000" pitchFamily="2" charset="0"/>
                </a:rPr>
                <a:t> Swap</a:t>
              </a:r>
            </a:p>
          </p:txBody>
        </p:sp>
        <p:grpSp>
          <p:nvGrpSpPr>
            <p:cNvPr id="689" name="Grupo 688">
              <a:extLst>
                <a:ext uri="{FF2B5EF4-FFF2-40B4-BE49-F238E27FC236}">
                  <a16:creationId xmlns:a16="http://schemas.microsoft.com/office/drawing/2014/main" id="{1AA76C55-F455-7981-752E-AA30985B0BD0}"/>
                </a:ext>
              </a:extLst>
            </p:cNvPr>
            <p:cNvGrpSpPr/>
            <p:nvPr/>
          </p:nvGrpSpPr>
          <p:grpSpPr>
            <a:xfrm>
              <a:off x="7534891" y="3486428"/>
              <a:ext cx="715950" cy="351052"/>
              <a:chOff x="7534891" y="3486428"/>
              <a:chExt cx="715950" cy="351052"/>
            </a:xfrm>
          </p:grpSpPr>
          <p:pic>
            <p:nvPicPr>
              <p:cNvPr id="668" name="Imagen 667">
                <a:extLst>
                  <a:ext uri="{FF2B5EF4-FFF2-40B4-BE49-F238E27FC236}">
                    <a16:creationId xmlns:a16="http://schemas.microsoft.com/office/drawing/2014/main" id="{BE849D66-67A8-D2D2-049A-0A46F9AD5E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937641" y="3504584"/>
                <a:ext cx="313200" cy="313200"/>
              </a:xfrm>
              <a:prstGeom prst="rect">
                <a:avLst/>
              </a:prstGeom>
            </p:spPr>
          </p:pic>
          <p:pic>
            <p:nvPicPr>
              <p:cNvPr id="681" name="Picture 2">
                <a:extLst>
                  <a:ext uri="{FF2B5EF4-FFF2-40B4-BE49-F238E27FC236}">
                    <a16:creationId xmlns:a16="http://schemas.microsoft.com/office/drawing/2014/main" id="{CDB1F0BF-CE7B-0D5A-7BC6-7F7BBD32D51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34891" y="3486428"/>
                <a:ext cx="351052" cy="35105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697" name="Grupo 696">
            <a:extLst>
              <a:ext uri="{FF2B5EF4-FFF2-40B4-BE49-F238E27FC236}">
                <a16:creationId xmlns:a16="http://schemas.microsoft.com/office/drawing/2014/main" id="{78EE1A1F-246B-7DE2-B149-1D8380828EDE}"/>
              </a:ext>
            </a:extLst>
          </p:cNvPr>
          <p:cNvGrpSpPr/>
          <p:nvPr/>
        </p:nvGrpSpPr>
        <p:grpSpPr>
          <a:xfrm>
            <a:off x="5491190" y="3989732"/>
            <a:ext cx="3212131" cy="440686"/>
            <a:chOff x="5515907" y="3949830"/>
            <a:chExt cx="3212131" cy="440686"/>
          </a:xfrm>
        </p:grpSpPr>
        <p:sp>
          <p:nvSpPr>
            <p:cNvPr id="672" name="Rectángulo redondeado 7">
              <a:extLst>
                <a:ext uri="{FF2B5EF4-FFF2-40B4-BE49-F238E27FC236}">
                  <a16:creationId xmlns:a16="http://schemas.microsoft.com/office/drawing/2014/main" id="{7D2B0AA9-9D48-F910-BD76-19174CF2E88F}"/>
                </a:ext>
              </a:extLst>
            </p:cNvPr>
            <p:cNvSpPr/>
            <p:nvPr/>
          </p:nvSpPr>
          <p:spPr>
            <a:xfrm>
              <a:off x="5515907" y="3949830"/>
              <a:ext cx="3212131" cy="440686"/>
            </a:xfrm>
            <a:prstGeom prst="roundRect">
              <a:avLst>
                <a:gd name="adj" fmla="val 13604"/>
              </a:avLst>
            </a:prstGeom>
            <a:solidFill>
              <a:srgbClr val="FFFFFF"/>
            </a:solidFill>
            <a:ln w="25400" cap="rnd" cmpd="sng">
              <a:noFill/>
              <a:prstDash val="solid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0" rIns="0" bIns="0" rtlCol="0" anchor="ctr" anchorCtr="0">
              <a:noAutofit/>
            </a:bodyPr>
            <a:lstStyle/>
            <a:p>
              <a:pPr defTabSz="685748" fontAlgn="auto">
                <a:spcBef>
                  <a:spcPts val="1000"/>
                </a:spcBef>
                <a:spcAft>
                  <a:spcPts val="0"/>
                </a:spcAft>
              </a:pPr>
              <a:r>
                <a:rPr lang="es-ES_tradnl" sz="850">
                  <a:solidFill>
                    <a:schemeClr val="tx2">
                      <a:lumMod val="75000"/>
                      <a:lumOff val="25000"/>
                    </a:schemeClr>
                  </a:solidFill>
                  <a:latin typeface="Pulso" pitchFamily="2" charset="0"/>
                  <a:ea typeface="Roboto Medium" panose="02000000000000000000" pitchFamily="2" charset="0"/>
                </a:rPr>
                <a:t>SPONSORED DATA</a:t>
              </a:r>
            </a:p>
          </p:txBody>
        </p:sp>
        <p:grpSp>
          <p:nvGrpSpPr>
            <p:cNvPr id="690" name="Grupo 689">
              <a:extLst>
                <a:ext uri="{FF2B5EF4-FFF2-40B4-BE49-F238E27FC236}">
                  <a16:creationId xmlns:a16="http://schemas.microsoft.com/office/drawing/2014/main" id="{E543D38E-659A-258D-CFBC-16E7AD5E1DFC}"/>
                </a:ext>
              </a:extLst>
            </p:cNvPr>
            <p:cNvGrpSpPr/>
            <p:nvPr/>
          </p:nvGrpSpPr>
          <p:grpSpPr>
            <a:xfrm>
              <a:off x="7534891" y="3999209"/>
              <a:ext cx="715950" cy="351052"/>
              <a:chOff x="7534891" y="3999209"/>
              <a:chExt cx="715950" cy="351052"/>
            </a:xfrm>
          </p:grpSpPr>
          <p:pic>
            <p:nvPicPr>
              <p:cNvPr id="673" name="Imagen 672">
                <a:extLst>
                  <a:ext uri="{FF2B5EF4-FFF2-40B4-BE49-F238E27FC236}">
                    <a16:creationId xmlns:a16="http://schemas.microsoft.com/office/drawing/2014/main" id="{9DF56053-A148-8A5F-EFDB-01775E8D22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937641" y="4017962"/>
                <a:ext cx="313200" cy="313200"/>
              </a:xfrm>
              <a:prstGeom prst="rect">
                <a:avLst/>
              </a:prstGeom>
            </p:spPr>
          </p:pic>
          <p:pic>
            <p:nvPicPr>
              <p:cNvPr id="682" name="Picture 2">
                <a:extLst>
                  <a:ext uri="{FF2B5EF4-FFF2-40B4-BE49-F238E27FC236}">
                    <a16:creationId xmlns:a16="http://schemas.microsoft.com/office/drawing/2014/main" id="{C629E231-2E0F-2209-15A8-2E239AFD8FE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34891" y="3999209"/>
                <a:ext cx="351052" cy="35105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" name="Grupo 2">
            <a:extLst>
              <a:ext uri="{FF2B5EF4-FFF2-40B4-BE49-F238E27FC236}">
                <a16:creationId xmlns:a16="http://schemas.microsoft.com/office/drawing/2014/main" id="{CC892856-9197-0396-91E9-225D2E263C84}"/>
              </a:ext>
            </a:extLst>
          </p:cNvPr>
          <p:cNvGrpSpPr/>
          <p:nvPr/>
        </p:nvGrpSpPr>
        <p:grpSpPr>
          <a:xfrm>
            <a:off x="4342215" y="978130"/>
            <a:ext cx="1147224" cy="3232776"/>
            <a:chOff x="4342215" y="978130"/>
            <a:chExt cx="1147224" cy="3232776"/>
          </a:xfrm>
        </p:grpSpPr>
        <p:cxnSp>
          <p:nvCxnSpPr>
            <p:cNvPr id="43" name="Conector recto 42">
              <a:extLst>
                <a:ext uri="{FF2B5EF4-FFF2-40B4-BE49-F238E27FC236}">
                  <a16:creationId xmlns:a16="http://schemas.microsoft.com/office/drawing/2014/main" id="{E062A07F-278D-54C4-2114-8330F1E9D717}"/>
                </a:ext>
              </a:extLst>
            </p:cNvPr>
            <p:cNvCxnSpPr>
              <a:cxnSpLocks/>
            </p:cNvCxnSpPr>
            <p:nvPr/>
          </p:nvCxnSpPr>
          <p:spPr>
            <a:xfrm>
              <a:off x="5297192" y="978130"/>
              <a:ext cx="12279" cy="3229200"/>
            </a:xfrm>
            <a:prstGeom prst="line">
              <a:avLst/>
            </a:prstGeom>
            <a:noFill/>
            <a:ln w="12700" cap="rnd">
              <a:solidFill>
                <a:schemeClr val="tx2">
                  <a:lumMod val="75000"/>
                  <a:lumOff val="25000"/>
                </a:schemeClr>
              </a:solidFill>
              <a:prstDash val="sysDot"/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3" name="Conector recto 682">
              <a:extLst>
                <a:ext uri="{FF2B5EF4-FFF2-40B4-BE49-F238E27FC236}">
                  <a16:creationId xmlns:a16="http://schemas.microsoft.com/office/drawing/2014/main" id="{02F878EE-A7A2-3807-BB9A-C2903CCAF82F}"/>
                </a:ext>
              </a:extLst>
            </p:cNvPr>
            <p:cNvCxnSpPr>
              <a:cxnSpLocks/>
            </p:cNvCxnSpPr>
            <p:nvPr/>
          </p:nvCxnSpPr>
          <p:spPr>
            <a:xfrm>
              <a:off x="4342215" y="978961"/>
              <a:ext cx="1147224" cy="0"/>
            </a:xfrm>
            <a:prstGeom prst="line">
              <a:avLst/>
            </a:prstGeom>
            <a:noFill/>
            <a:ln w="12700" cap="rnd">
              <a:solidFill>
                <a:schemeClr val="tx2">
                  <a:lumMod val="75000"/>
                  <a:lumOff val="25000"/>
                </a:schemeClr>
              </a:solidFill>
              <a:prstDash val="sysDot"/>
              <a:round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" name="Grupo 1">
              <a:extLst>
                <a:ext uri="{FF2B5EF4-FFF2-40B4-BE49-F238E27FC236}">
                  <a16:creationId xmlns:a16="http://schemas.microsoft.com/office/drawing/2014/main" id="{E6D9FDB1-5E16-17A1-D35C-794BA407D289}"/>
                </a:ext>
              </a:extLst>
            </p:cNvPr>
            <p:cNvGrpSpPr/>
            <p:nvPr/>
          </p:nvGrpSpPr>
          <p:grpSpPr>
            <a:xfrm>
              <a:off x="5295569" y="1517618"/>
              <a:ext cx="193869" cy="2693288"/>
              <a:chOff x="5233353" y="1517618"/>
              <a:chExt cx="256086" cy="2693288"/>
            </a:xfrm>
          </p:grpSpPr>
          <p:cxnSp>
            <p:nvCxnSpPr>
              <p:cNvPr id="34" name="Conector recto 33">
                <a:extLst>
                  <a:ext uri="{FF2B5EF4-FFF2-40B4-BE49-F238E27FC236}">
                    <a16:creationId xmlns:a16="http://schemas.microsoft.com/office/drawing/2014/main" id="{CBDDE448-95E1-E26E-2643-BFE53FE5B5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33353" y="1517618"/>
                <a:ext cx="256086" cy="0"/>
              </a:xfrm>
              <a:prstGeom prst="line">
                <a:avLst/>
              </a:prstGeom>
              <a:noFill/>
              <a:ln w="12700" cap="rnd">
                <a:solidFill>
                  <a:schemeClr val="tx2">
                    <a:lumMod val="75000"/>
                    <a:lumOff val="25000"/>
                  </a:schemeClr>
                </a:solidFill>
                <a:prstDash val="sysDot"/>
                <a:round/>
                <a:headEnd type="none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Conector recto 34">
                <a:extLst>
                  <a:ext uri="{FF2B5EF4-FFF2-40B4-BE49-F238E27FC236}">
                    <a16:creationId xmlns:a16="http://schemas.microsoft.com/office/drawing/2014/main" id="{BA7D8112-97A8-0DBE-46DF-48723BF3745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41417" y="2056275"/>
                <a:ext cx="248022" cy="0"/>
              </a:xfrm>
              <a:prstGeom prst="line">
                <a:avLst/>
              </a:prstGeom>
              <a:noFill/>
              <a:ln w="12700" cap="rnd">
                <a:solidFill>
                  <a:schemeClr val="tx2">
                    <a:lumMod val="75000"/>
                    <a:lumOff val="25000"/>
                  </a:schemeClr>
                </a:solidFill>
                <a:prstDash val="sysDot"/>
                <a:round/>
                <a:headEnd type="none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Conector recto 35">
                <a:extLst>
                  <a:ext uri="{FF2B5EF4-FFF2-40B4-BE49-F238E27FC236}">
                    <a16:creationId xmlns:a16="http://schemas.microsoft.com/office/drawing/2014/main" id="{CC492153-850A-53B1-AAB7-E52B4F51793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41417" y="2594932"/>
                <a:ext cx="248022" cy="0"/>
              </a:xfrm>
              <a:prstGeom prst="line">
                <a:avLst/>
              </a:prstGeom>
              <a:noFill/>
              <a:ln w="12700" cap="rnd">
                <a:solidFill>
                  <a:schemeClr val="tx2">
                    <a:lumMod val="75000"/>
                    <a:lumOff val="25000"/>
                  </a:schemeClr>
                </a:solidFill>
                <a:prstDash val="sysDot"/>
                <a:round/>
                <a:headEnd type="none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1" name="Conector recto 700">
                <a:extLst>
                  <a:ext uri="{FF2B5EF4-FFF2-40B4-BE49-F238E27FC236}">
                    <a16:creationId xmlns:a16="http://schemas.microsoft.com/office/drawing/2014/main" id="{3B9784EA-F52B-426C-EB41-0CB41C133B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41417" y="3133589"/>
                <a:ext cx="248022" cy="0"/>
              </a:xfrm>
              <a:prstGeom prst="line">
                <a:avLst/>
              </a:prstGeom>
              <a:noFill/>
              <a:ln w="12700" cap="rnd">
                <a:solidFill>
                  <a:schemeClr val="tx2">
                    <a:lumMod val="75000"/>
                    <a:lumOff val="25000"/>
                  </a:schemeClr>
                </a:solidFill>
                <a:prstDash val="sysDot"/>
                <a:round/>
                <a:headEnd type="none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2" name="Conector recto 701">
                <a:extLst>
                  <a:ext uri="{FF2B5EF4-FFF2-40B4-BE49-F238E27FC236}">
                    <a16:creationId xmlns:a16="http://schemas.microsoft.com/office/drawing/2014/main" id="{8C9B5461-69B4-C198-C8A2-DA7D68F973E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41417" y="3672247"/>
                <a:ext cx="248022" cy="0"/>
              </a:xfrm>
              <a:prstGeom prst="line">
                <a:avLst/>
              </a:prstGeom>
              <a:noFill/>
              <a:ln w="12700" cap="rnd">
                <a:solidFill>
                  <a:schemeClr val="tx2">
                    <a:lumMod val="75000"/>
                    <a:lumOff val="25000"/>
                  </a:schemeClr>
                </a:solidFill>
                <a:prstDash val="sysDot"/>
                <a:round/>
                <a:headEnd type="none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3" name="Conector recto 702">
                <a:extLst>
                  <a:ext uri="{FF2B5EF4-FFF2-40B4-BE49-F238E27FC236}">
                    <a16:creationId xmlns:a16="http://schemas.microsoft.com/office/drawing/2014/main" id="{57E2C786-CBC8-22FE-5B95-32AADCFB6E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49794" y="4210906"/>
                <a:ext cx="239645" cy="0"/>
              </a:xfrm>
              <a:prstGeom prst="line">
                <a:avLst/>
              </a:prstGeom>
              <a:noFill/>
              <a:ln w="12700" cap="rnd">
                <a:solidFill>
                  <a:schemeClr val="tx2">
                    <a:lumMod val="75000"/>
                    <a:lumOff val="25000"/>
                  </a:schemeClr>
                </a:solidFill>
                <a:prstDash val="sysDot"/>
                <a:round/>
                <a:headEnd type="none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35" name="Grupo 834">
            <a:extLst>
              <a:ext uri="{FF2B5EF4-FFF2-40B4-BE49-F238E27FC236}">
                <a16:creationId xmlns:a16="http://schemas.microsoft.com/office/drawing/2014/main" id="{83B76DFD-CBE1-98A7-5A73-9CAD298F81D0}"/>
              </a:ext>
            </a:extLst>
          </p:cNvPr>
          <p:cNvGrpSpPr/>
          <p:nvPr/>
        </p:nvGrpSpPr>
        <p:grpSpPr>
          <a:xfrm>
            <a:off x="3312518" y="754654"/>
            <a:ext cx="1184928" cy="446952"/>
            <a:chOff x="3544774" y="861030"/>
            <a:chExt cx="1184928" cy="446952"/>
          </a:xfrm>
        </p:grpSpPr>
        <p:sp>
          <p:nvSpPr>
            <p:cNvPr id="836" name="Rectángulo redondeado 29">
              <a:extLst>
                <a:ext uri="{FF2B5EF4-FFF2-40B4-BE49-F238E27FC236}">
                  <a16:creationId xmlns:a16="http://schemas.microsoft.com/office/drawing/2014/main" id="{93A8B43A-41A5-12E9-623B-DADF508D6278}"/>
                </a:ext>
              </a:extLst>
            </p:cNvPr>
            <p:cNvSpPr/>
            <p:nvPr/>
          </p:nvSpPr>
          <p:spPr>
            <a:xfrm>
              <a:off x="3544774" y="861030"/>
              <a:ext cx="1184928" cy="446952"/>
            </a:xfrm>
            <a:prstGeom prst="roundRect">
              <a:avLst>
                <a:gd name="adj" fmla="val 9615"/>
              </a:avLst>
            </a:prstGeom>
            <a:solidFill>
              <a:srgbClr val="3C00A0"/>
            </a:solidFill>
            <a:ln>
              <a:noFill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4290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1266">
                <a:solidFill>
                  <a:srgbClr val="A905B7"/>
                </a:solidFill>
                <a:latin typeface="Pulso" pitchFamily="2" charset="0"/>
                <a:ea typeface="Roboto" panose="02000000000000000000" pitchFamily="2" charset="0"/>
              </a:endParaRPr>
            </a:p>
          </p:txBody>
        </p:sp>
        <p:pic>
          <p:nvPicPr>
            <p:cNvPr id="837" name="Gráfico 836">
              <a:extLst>
                <a:ext uri="{FF2B5EF4-FFF2-40B4-BE49-F238E27FC236}">
                  <a16:creationId xmlns:a16="http://schemas.microsoft.com/office/drawing/2014/main" id="{A3E869D5-888C-B6BB-1048-E5F6E36F04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602010" y="899519"/>
              <a:ext cx="1070457" cy="369975"/>
            </a:xfrm>
            <a:prstGeom prst="rect">
              <a:avLst/>
            </a:prstGeom>
          </p:spPr>
        </p:pic>
      </p:grpSp>
      <p:grpSp>
        <p:nvGrpSpPr>
          <p:cNvPr id="833" name="Grupo 832">
            <a:extLst>
              <a:ext uri="{FF2B5EF4-FFF2-40B4-BE49-F238E27FC236}">
                <a16:creationId xmlns:a16="http://schemas.microsoft.com/office/drawing/2014/main" id="{CF8A4D64-7756-7925-E3A9-324185788467}"/>
              </a:ext>
            </a:extLst>
          </p:cNvPr>
          <p:cNvGrpSpPr/>
          <p:nvPr/>
        </p:nvGrpSpPr>
        <p:grpSpPr>
          <a:xfrm>
            <a:off x="532973" y="1542829"/>
            <a:ext cx="2621842" cy="843790"/>
            <a:chOff x="532973" y="1542829"/>
            <a:chExt cx="2621842" cy="843790"/>
          </a:xfrm>
        </p:grpSpPr>
        <p:sp>
          <p:nvSpPr>
            <p:cNvPr id="42" name="Redondear rectángulo de esquina del mismo lado 37">
              <a:extLst>
                <a:ext uri="{FF2B5EF4-FFF2-40B4-BE49-F238E27FC236}">
                  <a16:creationId xmlns:a16="http://schemas.microsoft.com/office/drawing/2014/main" id="{40DDE7B2-A1C7-7B56-1C54-B7C66C3310BA}"/>
                </a:ext>
              </a:extLst>
            </p:cNvPr>
            <p:cNvSpPr/>
            <p:nvPr/>
          </p:nvSpPr>
          <p:spPr>
            <a:xfrm rot="5400000">
              <a:off x="1421999" y="653803"/>
              <a:ext cx="843790" cy="2621842"/>
            </a:xfrm>
            <a:prstGeom prst="round2SameRect">
              <a:avLst>
                <a:gd name="adj1" fmla="val 6239"/>
                <a:gd name="adj2" fmla="val 0"/>
              </a:avLst>
            </a:prstGeom>
            <a:gradFill>
              <a:gsLst>
                <a:gs pos="0">
                  <a:srgbClr val="FFFFFF"/>
                </a:gs>
                <a:gs pos="99000">
                  <a:srgbClr val="F0F0F0">
                    <a:alpha val="0"/>
                  </a:srgbClr>
                </a:gs>
              </a:gsLst>
              <a:lin ang="5400000" scaled="0"/>
            </a:gra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750"/>
                </a:spcBef>
                <a:spcAft>
                  <a:spcPts val="0"/>
                </a:spcAft>
                <a:defRPr/>
              </a:pPr>
              <a:endParaRPr lang="es-AR" sz="11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852" name="Title 1">
              <a:extLst>
                <a:ext uri="{FF2B5EF4-FFF2-40B4-BE49-F238E27FC236}">
                  <a16:creationId xmlns:a16="http://schemas.microsoft.com/office/drawing/2014/main" id="{28A72081-40AE-20EA-6DCA-066A57587081}"/>
                </a:ext>
              </a:extLst>
            </p:cNvPr>
            <p:cNvSpPr txBox="1">
              <a:spLocks/>
            </p:cNvSpPr>
            <p:nvPr/>
          </p:nvSpPr>
          <p:spPr>
            <a:xfrm>
              <a:off x="902712" y="1613874"/>
              <a:ext cx="1891714" cy="153888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ctr" anchorCtr="0">
              <a:spAutoFit/>
            </a:bodyPr>
            <a:lstStyle>
              <a:lvl1pPr algn="l" defTabSz="914318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3600" b="1" i="0" kern="1200" spc="-100" baseline="0">
                  <a:solidFill>
                    <a:schemeClr val="tx1"/>
                  </a:solidFill>
                  <a:latin typeface="+mj-lt"/>
                  <a:ea typeface="Montserrat" charset="0"/>
                  <a:cs typeface="Montserrat" charset="0"/>
                </a:defRPr>
              </a:lvl1pPr>
            </a:lstStyle>
            <a:p>
              <a:pPr defTabSz="685739" fontAlgn="auto">
                <a:lnSpc>
                  <a:spcPct val="100000"/>
                </a:lnSpc>
                <a:spcAft>
                  <a:spcPts val="0"/>
                </a:spcAft>
                <a:defRPr/>
              </a:pPr>
              <a:endParaRPr lang="es-ES_tradnl" sz="1000" b="0" spc="-15">
                <a:solidFill>
                  <a:srgbClr val="A905B7">
                    <a:lumMod val="75000"/>
                  </a:srgbClr>
                </a:solidFill>
                <a:latin typeface="Pulso" pitchFamily="2" charset="0"/>
                <a:ea typeface="Roboto Medium" panose="02000000000000000000" pitchFamily="2" charset="0"/>
              </a:endParaRPr>
            </a:p>
          </p:txBody>
        </p:sp>
        <p:sp>
          <p:nvSpPr>
            <p:cNvPr id="39" name="Title 1">
              <a:extLst>
                <a:ext uri="{FF2B5EF4-FFF2-40B4-BE49-F238E27FC236}">
                  <a16:creationId xmlns:a16="http://schemas.microsoft.com/office/drawing/2014/main" id="{45E34BA2-4F02-B55B-D845-9356AE018333}"/>
                </a:ext>
              </a:extLst>
            </p:cNvPr>
            <p:cNvSpPr txBox="1">
              <a:spLocks/>
            </p:cNvSpPr>
            <p:nvPr/>
          </p:nvSpPr>
          <p:spPr>
            <a:xfrm>
              <a:off x="590660" y="1640639"/>
              <a:ext cx="2347931" cy="407804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ctr" anchorCtr="0">
              <a:spAutoFit/>
            </a:bodyPr>
            <a:lstStyle>
              <a:lvl1pPr algn="l" defTabSz="914318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3600" b="1" i="0" kern="1200" spc="-100" baseline="0">
                  <a:solidFill>
                    <a:schemeClr val="tx1"/>
                  </a:solidFill>
                  <a:latin typeface="+mj-lt"/>
                  <a:ea typeface="Montserrat" charset="0"/>
                  <a:cs typeface="Montserrat" charset="0"/>
                </a:defRPr>
              </a:lvl1pPr>
            </a:lstStyle>
            <a:p>
              <a:pPr defTabSz="685739" fontAlgn="auto">
                <a:lnSpc>
                  <a:spcPct val="100000"/>
                </a:lnSpc>
                <a:spcAft>
                  <a:spcPts val="300"/>
                </a:spcAft>
                <a:defRPr/>
              </a:pPr>
              <a:r>
                <a:rPr lang="es-ES_tradnl" sz="800" b="0" spc="0">
                  <a:solidFill>
                    <a:schemeClr val="bg2"/>
                  </a:solidFill>
                  <a:latin typeface="Pulso" pitchFamily="2" charset="0"/>
                  <a:ea typeface="Roboto Medium" panose="02000000000000000000" pitchFamily="2" charset="0"/>
                </a:rPr>
                <a:t>Platform as a Service</a:t>
              </a:r>
            </a:p>
            <a:p>
              <a:pPr defTabSz="685739" fontAlgn="auto">
                <a:lnSpc>
                  <a:spcPct val="100000"/>
                </a:lnSpc>
                <a:spcAft>
                  <a:spcPts val="300"/>
                </a:spcAft>
                <a:defRPr/>
              </a:pPr>
              <a:r>
                <a:rPr lang="es-ES" sz="800" b="0" spc="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  <a:ea typeface="Roboto Light" panose="02000000000000000000" pitchFamily="2" charset="0"/>
                  <a:cs typeface="Open Sans" pitchFamily="2" charset="0"/>
                  <a:sym typeface="Arial"/>
                </a:rPr>
                <a:t>Implementada en 4 Operaciones en Argentina y Paraguay y negociaciones con otros operadores.</a:t>
              </a:r>
            </a:p>
          </p:txBody>
        </p:sp>
        <p:pic>
          <p:nvPicPr>
            <p:cNvPr id="938" name="Picture 6" descr="Logotipo completo de Movistar PNG transparente - StickPNG">
              <a:extLst>
                <a:ext uri="{FF2B5EF4-FFF2-40B4-BE49-F238E27FC236}">
                  <a16:creationId xmlns:a16="http://schemas.microsoft.com/office/drawing/2014/main" id="{DB206F66-83A8-C35F-4412-E5A77CBCFB1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170"/>
            <a:stretch>
              <a:fillRect/>
            </a:stretch>
          </p:blipFill>
          <p:spPr bwMode="auto">
            <a:xfrm>
              <a:off x="570223" y="2134393"/>
              <a:ext cx="218699" cy="1515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39" name="Picture 2">
              <a:extLst>
                <a:ext uri="{FF2B5EF4-FFF2-40B4-BE49-F238E27FC236}">
                  <a16:creationId xmlns:a16="http://schemas.microsoft.com/office/drawing/2014/main" id="{EC21D475-9BBD-26AD-A881-733291A010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6285" y="2134393"/>
              <a:ext cx="211328" cy="1515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2" name="Gráfico 3">
              <a:extLst>
                <a:ext uri="{FF2B5EF4-FFF2-40B4-BE49-F238E27FC236}">
                  <a16:creationId xmlns:a16="http://schemas.microsoft.com/office/drawing/2014/main" id="{30A11CAC-52A6-F918-BAE1-A5A99F02B29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4977" y="2161214"/>
              <a:ext cx="426660" cy="97877"/>
              <a:chOff x="3835717" y="2907982"/>
              <a:chExt cx="4521517" cy="1037272"/>
            </a:xfrm>
            <a:solidFill>
              <a:schemeClr val="bg2"/>
            </a:solidFill>
          </p:grpSpPr>
          <p:sp>
            <p:nvSpPr>
              <p:cNvPr id="16" name="Forma libre 15">
                <a:extLst>
                  <a:ext uri="{FF2B5EF4-FFF2-40B4-BE49-F238E27FC236}">
                    <a16:creationId xmlns:a16="http://schemas.microsoft.com/office/drawing/2014/main" id="{ED839F4E-9F9C-981F-C2D0-AE13AF921B17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7" name="Forma libre 16">
                <a:extLst>
                  <a:ext uri="{FF2B5EF4-FFF2-40B4-BE49-F238E27FC236}">
                    <a16:creationId xmlns:a16="http://schemas.microsoft.com/office/drawing/2014/main" id="{13F5BC42-D3CE-613E-DA53-6A34C2CC1E2D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8" name="Forma libre 17">
                <a:extLst>
                  <a:ext uri="{FF2B5EF4-FFF2-40B4-BE49-F238E27FC236}">
                    <a16:creationId xmlns:a16="http://schemas.microsoft.com/office/drawing/2014/main" id="{AE5EC663-A5A7-5EE2-D72C-5C9892A8D1EE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9" name="Forma libre 18">
                <a:extLst>
                  <a:ext uri="{FF2B5EF4-FFF2-40B4-BE49-F238E27FC236}">
                    <a16:creationId xmlns:a16="http://schemas.microsoft.com/office/drawing/2014/main" id="{1FD463F0-7ACC-34FB-5191-0DF5A530E95A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6" name="Forma libre 25">
                <a:extLst>
                  <a:ext uri="{FF2B5EF4-FFF2-40B4-BE49-F238E27FC236}">
                    <a16:creationId xmlns:a16="http://schemas.microsoft.com/office/drawing/2014/main" id="{4562B4A5-3C13-56E8-FDBF-94DC67885619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7" name="Forma libre 26">
                <a:extLst>
                  <a:ext uri="{FF2B5EF4-FFF2-40B4-BE49-F238E27FC236}">
                    <a16:creationId xmlns:a16="http://schemas.microsoft.com/office/drawing/2014/main" id="{89278C33-AFB2-5248-5C28-C419F4FC1AD5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28" name="Forma libre 27">
                <a:extLst>
                  <a:ext uri="{FF2B5EF4-FFF2-40B4-BE49-F238E27FC236}">
                    <a16:creationId xmlns:a16="http://schemas.microsoft.com/office/drawing/2014/main" id="{6293D964-1D60-D6D2-68A7-313BED4F571C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30" name="Forma libre 29">
                <a:extLst>
                  <a:ext uri="{FF2B5EF4-FFF2-40B4-BE49-F238E27FC236}">
                    <a16:creationId xmlns:a16="http://schemas.microsoft.com/office/drawing/2014/main" id="{095A61F5-A2F3-A286-431C-D3180BB4C5A4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pic>
          <p:nvPicPr>
            <p:cNvPr id="902" name="Gráfico 901">
              <a:extLst>
                <a:ext uri="{FF2B5EF4-FFF2-40B4-BE49-F238E27FC236}">
                  <a16:creationId xmlns:a16="http://schemas.microsoft.com/office/drawing/2014/main" id="{312A99DD-EC83-23FE-B784-2D6A570744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748995" y="2122457"/>
              <a:ext cx="507460" cy="175390"/>
            </a:xfrm>
            <a:prstGeom prst="rect">
              <a:avLst/>
            </a:prstGeom>
          </p:spPr>
        </p:pic>
      </p:grpSp>
      <p:sp>
        <p:nvSpPr>
          <p:cNvPr id="959" name="Title 1">
            <a:extLst>
              <a:ext uri="{FF2B5EF4-FFF2-40B4-BE49-F238E27FC236}">
                <a16:creationId xmlns:a16="http://schemas.microsoft.com/office/drawing/2014/main" id="{0C55D169-4290-BCF3-6B68-0CE75DCAD795}"/>
              </a:ext>
            </a:extLst>
          </p:cNvPr>
          <p:cNvSpPr txBox="1">
            <a:spLocks/>
          </p:cNvSpPr>
          <p:nvPr/>
        </p:nvSpPr>
        <p:spPr>
          <a:xfrm>
            <a:off x="3387007" y="2931442"/>
            <a:ext cx="1259482" cy="530915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lvl1pPr algn="l" defTabSz="91431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spc="-100" baseline="0">
                <a:solidFill>
                  <a:schemeClr val="tx1"/>
                </a:solidFill>
                <a:latin typeface="+mj-lt"/>
                <a:ea typeface="Montserrat" charset="0"/>
                <a:cs typeface="Montserrat" charset="0"/>
              </a:defRPr>
            </a:lvl1pPr>
          </a:lstStyle>
          <a:p>
            <a:pPr defTabSz="685739" fontAlgn="auto">
              <a:lnSpc>
                <a:spcPct val="100000"/>
              </a:lnSpc>
              <a:spcAft>
                <a:spcPts val="300"/>
              </a:spcAft>
              <a:defRPr/>
            </a:pPr>
            <a:r>
              <a:rPr lang="es-ES_tradnl" sz="800" b="0" spc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 Medium" panose="02000000000000000000" pitchFamily="2" charset="0"/>
              </a:rPr>
              <a:t>Clientes B2B – SIM Swap</a:t>
            </a:r>
          </a:p>
          <a:p>
            <a:pPr defTabSz="685739" fontAlgn="auto">
              <a:lnSpc>
                <a:spcPct val="100000"/>
              </a:lnSpc>
              <a:spcAft>
                <a:spcPts val="300"/>
              </a:spcAft>
              <a:defRPr/>
            </a:pPr>
            <a:r>
              <a:rPr lang="es-ES" sz="800" b="0" spc="0">
                <a:solidFill>
                  <a:srgbClr val="24272A">
                    <a:lumMod val="75000"/>
                    <a:lumOff val="25000"/>
                  </a:srgbClr>
                </a:solidFill>
                <a:latin typeface="Pulso Light" pitchFamily="2" charset="0"/>
                <a:ea typeface="Roboto Light" panose="02000000000000000000" pitchFamily="2" charset="0"/>
                <a:cs typeface="Open Sans" pitchFamily="2" charset="0"/>
                <a:sym typeface="Arial"/>
              </a:rPr>
              <a:t>En Argentina se firmaron 3 acuerdos y hay otros 10 en discusiones.</a:t>
            </a:r>
          </a:p>
        </p:txBody>
      </p:sp>
      <p:grpSp>
        <p:nvGrpSpPr>
          <p:cNvPr id="693" name="Grupo 692">
            <a:extLst>
              <a:ext uri="{FF2B5EF4-FFF2-40B4-BE49-F238E27FC236}">
                <a16:creationId xmlns:a16="http://schemas.microsoft.com/office/drawing/2014/main" id="{66921F5A-23D7-B45C-7FC3-55FDF8F68E4F}"/>
              </a:ext>
            </a:extLst>
          </p:cNvPr>
          <p:cNvGrpSpPr/>
          <p:nvPr/>
        </p:nvGrpSpPr>
        <p:grpSpPr>
          <a:xfrm>
            <a:off x="3402311" y="3531484"/>
            <a:ext cx="1663871" cy="132865"/>
            <a:chOff x="3313698" y="3715772"/>
            <a:chExt cx="1663871" cy="132865"/>
          </a:xfrm>
        </p:grpSpPr>
        <p:pic>
          <p:nvPicPr>
            <p:cNvPr id="950" name="Picture 6" descr="Préstamos Online | Pareto">
              <a:extLst>
                <a:ext uri="{FF2B5EF4-FFF2-40B4-BE49-F238E27FC236}">
                  <a16:creationId xmlns:a16="http://schemas.microsoft.com/office/drawing/2014/main" id="{F8143685-0225-45D7-3B1B-60161461B4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24671" y="3736695"/>
              <a:ext cx="352898" cy="91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Imagen 8">
              <a:extLst>
                <a:ext uri="{FF2B5EF4-FFF2-40B4-BE49-F238E27FC236}">
                  <a16:creationId xmlns:a16="http://schemas.microsoft.com/office/drawing/2014/main" id="{ABF678ED-3C28-DC84-40DA-51D5DB40CD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438" t="33473" r="19153" b="43334"/>
            <a:stretch>
              <a:fillRect/>
            </a:stretch>
          </p:blipFill>
          <p:spPr>
            <a:xfrm>
              <a:off x="4067492" y="3715772"/>
              <a:ext cx="489744" cy="132865"/>
            </a:xfrm>
            <a:prstGeom prst="roundRect">
              <a:avLst>
                <a:gd name="adj" fmla="val 5987"/>
              </a:avLst>
            </a:prstGeom>
          </p:spPr>
        </p:pic>
        <p:grpSp>
          <p:nvGrpSpPr>
            <p:cNvPr id="953" name="Gráfico 906">
              <a:extLst>
                <a:ext uri="{FF2B5EF4-FFF2-40B4-BE49-F238E27FC236}">
                  <a16:creationId xmlns:a16="http://schemas.microsoft.com/office/drawing/2014/main" id="{1C8A197F-0D04-EF8F-1EAF-D0AA48BC6E08}"/>
                </a:ext>
              </a:extLst>
            </p:cNvPr>
            <p:cNvGrpSpPr/>
            <p:nvPr/>
          </p:nvGrpSpPr>
          <p:grpSpPr>
            <a:xfrm>
              <a:off x="3313698" y="3748355"/>
              <a:ext cx="693422" cy="67699"/>
              <a:chOff x="3622154" y="2478247"/>
              <a:chExt cx="1884116" cy="183948"/>
            </a:xfrm>
          </p:grpSpPr>
          <p:sp>
            <p:nvSpPr>
              <p:cNvPr id="954" name="Forma libre 953">
                <a:extLst>
                  <a:ext uri="{FF2B5EF4-FFF2-40B4-BE49-F238E27FC236}">
                    <a16:creationId xmlns:a16="http://schemas.microsoft.com/office/drawing/2014/main" id="{C4E3DE78-1959-692C-30BA-BB480B16C3C5}"/>
                  </a:ext>
                </a:extLst>
              </p:cNvPr>
              <p:cNvSpPr/>
              <p:nvPr/>
            </p:nvSpPr>
            <p:spPr>
              <a:xfrm flipV="1">
                <a:off x="3622154" y="2481210"/>
                <a:ext cx="108507" cy="178090"/>
              </a:xfrm>
              <a:custGeom>
                <a:avLst/>
                <a:gdLst>
                  <a:gd name="connsiteX0" fmla="*/ 26373 w 108507"/>
                  <a:gd name="connsiteY0" fmla="*/ 20606 h 178090"/>
                  <a:gd name="connsiteX1" fmla="*/ 46655 w 108507"/>
                  <a:gd name="connsiteY1" fmla="*/ 20606 h 178090"/>
                  <a:gd name="connsiteX2" fmla="*/ 82136 w 108507"/>
                  <a:gd name="connsiteY2" fmla="*/ 51073 h 178090"/>
                  <a:gd name="connsiteX3" fmla="*/ 43992 w 108507"/>
                  <a:gd name="connsiteY3" fmla="*/ 83601 h 178090"/>
                  <a:gd name="connsiteX4" fmla="*/ 26373 w 108507"/>
                  <a:gd name="connsiteY4" fmla="*/ 83601 h 178090"/>
                  <a:gd name="connsiteX5" fmla="*/ 26373 w 108507"/>
                  <a:gd name="connsiteY5" fmla="*/ 104246 h 178090"/>
                  <a:gd name="connsiteX6" fmla="*/ 42999 w 108507"/>
                  <a:gd name="connsiteY6" fmla="*/ 104246 h 178090"/>
                  <a:gd name="connsiteX7" fmla="*/ 73524 w 108507"/>
                  <a:gd name="connsiteY7" fmla="*/ 131126 h 178090"/>
                  <a:gd name="connsiteX8" fmla="*/ 41406 w 108507"/>
                  <a:gd name="connsiteY8" fmla="*/ 157382 h 178090"/>
                  <a:gd name="connsiteX9" fmla="*/ 26373 w 108507"/>
                  <a:gd name="connsiteY9" fmla="*/ 157382 h 178090"/>
                  <a:gd name="connsiteX10" fmla="*/ 1 w 108507"/>
                  <a:gd name="connsiteY10" fmla="*/ 178089 h 178090"/>
                  <a:gd name="connsiteX11" fmla="*/ 52452 w 108507"/>
                  <a:gd name="connsiteY11" fmla="*/ 178089 h 178090"/>
                  <a:gd name="connsiteX12" fmla="*/ 99833 w 108507"/>
                  <a:gd name="connsiteY12" fmla="*/ 135738 h 178090"/>
                  <a:gd name="connsiteX13" fmla="*/ 71613 w 108507"/>
                  <a:gd name="connsiteY13" fmla="*/ 94949 h 178090"/>
                  <a:gd name="connsiteX14" fmla="*/ 71613 w 108507"/>
                  <a:gd name="connsiteY14" fmla="*/ 94436 h 178090"/>
                  <a:gd name="connsiteX15" fmla="*/ 108509 w 108507"/>
                  <a:gd name="connsiteY15" fmla="*/ 48823 h 178090"/>
                  <a:gd name="connsiteX16" fmla="*/ 50362 w 108507"/>
                  <a:gd name="connsiteY16" fmla="*/ -2 h 178090"/>
                  <a:gd name="connsiteX17" fmla="*/ 1 w 108507"/>
                  <a:gd name="connsiteY17" fmla="*/ -2 h 178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8507" h="178090">
                    <a:moveTo>
                      <a:pt x="26373" y="20606"/>
                    </a:moveTo>
                    <a:lnTo>
                      <a:pt x="46655" y="20606"/>
                    </a:lnTo>
                    <a:cubicBezTo>
                      <a:pt x="70365" y="20606"/>
                      <a:pt x="82136" y="34339"/>
                      <a:pt x="82136" y="51073"/>
                    </a:cubicBezTo>
                    <a:cubicBezTo>
                      <a:pt x="82136" y="80740"/>
                      <a:pt x="54860" y="83601"/>
                      <a:pt x="43992" y="83601"/>
                    </a:cubicBezTo>
                    <a:lnTo>
                      <a:pt x="26373" y="83601"/>
                    </a:lnTo>
                    <a:close/>
                    <a:moveTo>
                      <a:pt x="26373" y="104246"/>
                    </a:moveTo>
                    <a:lnTo>
                      <a:pt x="42999" y="104246"/>
                    </a:lnTo>
                    <a:cubicBezTo>
                      <a:pt x="55038" y="104246"/>
                      <a:pt x="73524" y="107295"/>
                      <a:pt x="73524" y="131126"/>
                    </a:cubicBezTo>
                    <a:cubicBezTo>
                      <a:pt x="73524" y="156407"/>
                      <a:pt x="55038" y="157382"/>
                      <a:pt x="41406" y="157382"/>
                    </a:cubicBezTo>
                    <a:lnTo>
                      <a:pt x="26373" y="157382"/>
                    </a:lnTo>
                    <a:close/>
                    <a:moveTo>
                      <a:pt x="1" y="178089"/>
                    </a:moveTo>
                    <a:lnTo>
                      <a:pt x="52452" y="178089"/>
                    </a:lnTo>
                    <a:cubicBezTo>
                      <a:pt x="70072" y="178089"/>
                      <a:pt x="99833" y="171103"/>
                      <a:pt x="99833" y="135738"/>
                    </a:cubicBezTo>
                    <a:cubicBezTo>
                      <a:pt x="99833" y="106296"/>
                      <a:pt x="80098" y="98073"/>
                      <a:pt x="71613" y="94949"/>
                    </a:cubicBezTo>
                    <a:lnTo>
                      <a:pt x="71613" y="94436"/>
                    </a:lnTo>
                    <a:cubicBezTo>
                      <a:pt x="85118" y="92437"/>
                      <a:pt x="108509" y="83114"/>
                      <a:pt x="108509" y="48823"/>
                    </a:cubicBezTo>
                    <a:cubicBezTo>
                      <a:pt x="108509" y="5135"/>
                      <a:pt x="73282" y="-2"/>
                      <a:pt x="50362" y="-2"/>
                    </a:cubicBezTo>
                    <a:lnTo>
                      <a:pt x="1" y="-2"/>
                    </a:lnTo>
                    <a:close/>
                  </a:path>
                </a:pathLst>
              </a:custGeom>
              <a:solidFill>
                <a:srgbClr val="00A94F"/>
              </a:solidFill>
              <a:ln w="127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955" name="Forma libre 954">
                <a:extLst>
                  <a:ext uri="{FF2B5EF4-FFF2-40B4-BE49-F238E27FC236}">
                    <a16:creationId xmlns:a16="http://schemas.microsoft.com/office/drawing/2014/main" id="{EE536D8E-4D23-9B24-3545-FDB0C4CFD71E}"/>
                  </a:ext>
                </a:extLst>
              </p:cNvPr>
              <p:cNvSpPr/>
              <p:nvPr/>
            </p:nvSpPr>
            <p:spPr>
              <a:xfrm flipV="1">
                <a:off x="3908105" y="2481200"/>
                <a:ext cx="128650" cy="178153"/>
              </a:xfrm>
              <a:custGeom>
                <a:avLst/>
                <a:gdLst>
                  <a:gd name="connsiteX0" fmla="*/ 6 w 128650"/>
                  <a:gd name="connsiteY0" fmla="*/ 178164 h 178153"/>
                  <a:gd name="connsiteX1" fmla="*/ 32927 w 128650"/>
                  <a:gd name="connsiteY1" fmla="*/ 178164 h 178153"/>
                  <a:gd name="connsiteX2" fmla="*/ 104514 w 128650"/>
                  <a:gd name="connsiteY2" fmla="*/ 38776 h 178153"/>
                  <a:gd name="connsiteX3" fmla="*/ 104985 w 128650"/>
                  <a:gd name="connsiteY3" fmla="*/ 38776 h 178153"/>
                  <a:gd name="connsiteX4" fmla="*/ 104985 w 128650"/>
                  <a:gd name="connsiteY4" fmla="*/ 178164 h 178153"/>
                  <a:gd name="connsiteX5" fmla="*/ 128656 w 128650"/>
                  <a:gd name="connsiteY5" fmla="*/ 178164 h 178153"/>
                  <a:gd name="connsiteX6" fmla="*/ 128656 w 128650"/>
                  <a:gd name="connsiteY6" fmla="*/ 11 h 178153"/>
                  <a:gd name="connsiteX7" fmla="*/ 97596 w 128650"/>
                  <a:gd name="connsiteY7" fmla="*/ 11 h 178153"/>
                  <a:gd name="connsiteX8" fmla="*/ 24187 w 128650"/>
                  <a:gd name="connsiteY8" fmla="*/ 142749 h 178153"/>
                  <a:gd name="connsiteX9" fmla="*/ 23665 w 128650"/>
                  <a:gd name="connsiteY9" fmla="*/ 142749 h 178153"/>
                  <a:gd name="connsiteX10" fmla="*/ 23665 w 128650"/>
                  <a:gd name="connsiteY10" fmla="*/ 11 h 178153"/>
                  <a:gd name="connsiteX11" fmla="*/ 6 w 128650"/>
                  <a:gd name="connsiteY11" fmla="*/ 11 h 178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8650" h="178153">
                    <a:moveTo>
                      <a:pt x="6" y="178164"/>
                    </a:moveTo>
                    <a:lnTo>
                      <a:pt x="32927" y="178164"/>
                    </a:lnTo>
                    <a:lnTo>
                      <a:pt x="104514" y="38776"/>
                    </a:lnTo>
                    <a:lnTo>
                      <a:pt x="104985" y="38776"/>
                    </a:lnTo>
                    <a:lnTo>
                      <a:pt x="104985" y="178164"/>
                    </a:lnTo>
                    <a:lnTo>
                      <a:pt x="128656" y="178164"/>
                    </a:lnTo>
                    <a:lnTo>
                      <a:pt x="128656" y="11"/>
                    </a:lnTo>
                    <a:lnTo>
                      <a:pt x="97596" y="11"/>
                    </a:lnTo>
                    <a:lnTo>
                      <a:pt x="24187" y="142749"/>
                    </a:lnTo>
                    <a:lnTo>
                      <a:pt x="23665" y="142749"/>
                    </a:lnTo>
                    <a:lnTo>
                      <a:pt x="23665" y="11"/>
                    </a:lnTo>
                    <a:lnTo>
                      <a:pt x="6" y="11"/>
                    </a:lnTo>
                    <a:close/>
                  </a:path>
                </a:pathLst>
              </a:custGeom>
              <a:solidFill>
                <a:srgbClr val="00A94F"/>
              </a:solidFill>
              <a:ln w="127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956" name="Forma libre 955">
                <a:extLst>
                  <a:ext uri="{FF2B5EF4-FFF2-40B4-BE49-F238E27FC236}">
                    <a16:creationId xmlns:a16="http://schemas.microsoft.com/office/drawing/2014/main" id="{6020ADA0-AA37-3FCF-C523-894EAD1A2493}"/>
                  </a:ext>
                </a:extLst>
              </p:cNvPr>
              <p:cNvSpPr/>
              <p:nvPr/>
            </p:nvSpPr>
            <p:spPr>
              <a:xfrm flipV="1">
                <a:off x="4058034" y="2478406"/>
                <a:ext cx="119808" cy="183789"/>
              </a:xfrm>
              <a:custGeom>
                <a:avLst/>
                <a:gdLst>
                  <a:gd name="connsiteX0" fmla="*/ 112833 w 119808"/>
                  <a:gd name="connsiteY0" fmla="*/ 30266 h 183789"/>
                  <a:gd name="connsiteX1" fmla="*/ 77594 w 119808"/>
                  <a:gd name="connsiteY1" fmla="*/ 20631 h 183789"/>
                  <a:gd name="connsiteX2" fmla="*/ 28952 w 119808"/>
                  <a:gd name="connsiteY2" fmla="*/ 98073 h 183789"/>
                  <a:gd name="connsiteX3" fmla="*/ 67899 w 119808"/>
                  <a:gd name="connsiteY3" fmla="*/ 163169 h 183789"/>
                  <a:gd name="connsiteX4" fmla="*/ 92946 w 119808"/>
                  <a:gd name="connsiteY4" fmla="*/ 149697 h 183789"/>
                  <a:gd name="connsiteX5" fmla="*/ 113126 w 119808"/>
                  <a:gd name="connsiteY5" fmla="*/ 168092 h 183789"/>
                  <a:gd name="connsiteX6" fmla="*/ 68689 w 119808"/>
                  <a:gd name="connsiteY6" fmla="*/ 183788 h 183789"/>
                  <a:gd name="connsiteX7" fmla="*/ 19 w 119808"/>
                  <a:gd name="connsiteY7" fmla="*/ 93987 h 183789"/>
                  <a:gd name="connsiteX8" fmla="*/ 72422 w 119808"/>
                  <a:gd name="connsiteY8" fmla="*/ -1 h 183789"/>
                  <a:gd name="connsiteX9" fmla="*/ 119828 w 119808"/>
                  <a:gd name="connsiteY9" fmla="*/ 10521 h 183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9808" h="183789">
                    <a:moveTo>
                      <a:pt x="112833" y="30266"/>
                    </a:moveTo>
                    <a:cubicBezTo>
                      <a:pt x="105317" y="26017"/>
                      <a:pt x="93201" y="20631"/>
                      <a:pt x="77594" y="20631"/>
                    </a:cubicBezTo>
                    <a:cubicBezTo>
                      <a:pt x="40023" y="20631"/>
                      <a:pt x="28952" y="53422"/>
                      <a:pt x="28952" y="98073"/>
                    </a:cubicBezTo>
                    <a:cubicBezTo>
                      <a:pt x="28952" y="122329"/>
                      <a:pt x="33704" y="163169"/>
                      <a:pt x="67899" y="163169"/>
                    </a:cubicBezTo>
                    <a:cubicBezTo>
                      <a:pt x="82002" y="163169"/>
                      <a:pt x="89239" y="156983"/>
                      <a:pt x="92946" y="149697"/>
                    </a:cubicBezTo>
                    <a:lnTo>
                      <a:pt x="113126" y="168092"/>
                    </a:lnTo>
                    <a:cubicBezTo>
                      <a:pt x="103227" y="177952"/>
                      <a:pt x="88156" y="183788"/>
                      <a:pt x="68689" y="183788"/>
                    </a:cubicBezTo>
                    <a:cubicBezTo>
                      <a:pt x="15843" y="183788"/>
                      <a:pt x="19" y="141199"/>
                      <a:pt x="19" y="93987"/>
                    </a:cubicBezTo>
                    <a:cubicBezTo>
                      <a:pt x="19" y="24280"/>
                      <a:pt x="32367" y="-1"/>
                      <a:pt x="72422" y="-1"/>
                    </a:cubicBezTo>
                    <a:cubicBezTo>
                      <a:pt x="93570" y="-1"/>
                      <a:pt x="112133" y="7160"/>
                      <a:pt x="119828" y="10521"/>
                    </a:cubicBezTo>
                    <a:close/>
                  </a:path>
                </a:pathLst>
              </a:custGeom>
              <a:solidFill>
                <a:srgbClr val="00A94F"/>
              </a:solidFill>
              <a:ln w="127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43" name="Forma libre 642">
                <a:extLst>
                  <a:ext uri="{FF2B5EF4-FFF2-40B4-BE49-F238E27FC236}">
                    <a16:creationId xmlns:a16="http://schemas.microsoft.com/office/drawing/2014/main" id="{CF6701AC-2132-A345-7AA2-D1D3697E9D1C}"/>
                  </a:ext>
                </a:extLst>
              </p:cNvPr>
              <p:cNvSpPr/>
              <p:nvPr/>
            </p:nvSpPr>
            <p:spPr>
              <a:xfrm flipV="1">
                <a:off x="4180794" y="2478381"/>
                <a:ext cx="141887" cy="183789"/>
              </a:xfrm>
              <a:custGeom>
                <a:avLst/>
                <a:gdLst>
                  <a:gd name="connsiteX0" fmla="*/ 70740 w 141887"/>
                  <a:gd name="connsiteY0" fmla="*/ 20605 h 183789"/>
                  <a:gd name="connsiteX1" fmla="*/ 112871 w 141887"/>
                  <a:gd name="connsiteY1" fmla="*/ 91849 h 183789"/>
                  <a:gd name="connsiteX2" fmla="*/ 70740 w 141887"/>
                  <a:gd name="connsiteY2" fmla="*/ 163143 h 183789"/>
                  <a:gd name="connsiteX3" fmla="*/ 28965 w 141887"/>
                  <a:gd name="connsiteY3" fmla="*/ 91849 h 183789"/>
                  <a:gd name="connsiteX4" fmla="*/ 70740 w 141887"/>
                  <a:gd name="connsiteY4" fmla="*/ 20605 h 183789"/>
                  <a:gd name="connsiteX5" fmla="*/ 19 w 141887"/>
                  <a:gd name="connsiteY5" fmla="*/ 91849 h 183789"/>
                  <a:gd name="connsiteX6" fmla="*/ 70740 w 141887"/>
                  <a:gd name="connsiteY6" fmla="*/ 183787 h 183789"/>
                  <a:gd name="connsiteX7" fmla="*/ 141906 w 141887"/>
                  <a:gd name="connsiteY7" fmla="*/ 91849 h 183789"/>
                  <a:gd name="connsiteX8" fmla="*/ 70740 w 141887"/>
                  <a:gd name="connsiteY8" fmla="*/ -2 h 183789"/>
                  <a:gd name="connsiteX9" fmla="*/ 19 w 141887"/>
                  <a:gd name="connsiteY9" fmla="*/ 91849 h 183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1887" h="183789">
                    <a:moveTo>
                      <a:pt x="70740" y="20605"/>
                    </a:moveTo>
                    <a:cubicBezTo>
                      <a:pt x="107049" y="20605"/>
                      <a:pt x="112871" y="62757"/>
                      <a:pt x="112871" y="91849"/>
                    </a:cubicBezTo>
                    <a:cubicBezTo>
                      <a:pt x="112871" y="121041"/>
                      <a:pt x="107049" y="163143"/>
                      <a:pt x="70740" y="163143"/>
                    </a:cubicBezTo>
                    <a:cubicBezTo>
                      <a:pt x="34507" y="163143"/>
                      <a:pt x="28965" y="121041"/>
                      <a:pt x="28965" y="91849"/>
                    </a:cubicBezTo>
                    <a:cubicBezTo>
                      <a:pt x="28965" y="62757"/>
                      <a:pt x="34507" y="20605"/>
                      <a:pt x="70740" y="20605"/>
                    </a:cubicBezTo>
                    <a:moveTo>
                      <a:pt x="19" y="91849"/>
                    </a:moveTo>
                    <a:cubicBezTo>
                      <a:pt x="19" y="140124"/>
                      <a:pt x="15027" y="183787"/>
                      <a:pt x="70740" y="183787"/>
                    </a:cubicBezTo>
                    <a:cubicBezTo>
                      <a:pt x="126529" y="183787"/>
                      <a:pt x="141906" y="140124"/>
                      <a:pt x="141906" y="91849"/>
                    </a:cubicBezTo>
                    <a:cubicBezTo>
                      <a:pt x="141906" y="43837"/>
                      <a:pt x="126529" y="-2"/>
                      <a:pt x="70740" y="-2"/>
                    </a:cubicBezTo>
                    <a:cubicBezTo>
                      <a:pt x="15027" y="-2"/>
                      <a:pt x="19" y="43837"/>
                      <a:pt x="19" y="91849"/>
                    </a:cubicBezTo>
                  </a:path>
                </a:pathLst>
              </a:custGeom>
              <a:solidFill>
                <a:srgbClr val="00A94F"/>
              </a:solidFill>
              <a:ln w="127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44" name="Forma libre 643">
                <a:extLst>
                  <a:ext uri="{FF2B5EF4-FFF2-40B4-BE49-F238E27FC236}">
                    <a16:creationId xmlns:a16="http://schemas.microsoft.com/office/drawing/2014/main" id="{1BF93F44-C8BD-F7FA-0069-CB2616CCF4A3}"/>
                  </a:ext>
                </a:extLst>
              </p:cNvPr>
              <p:cNvSpPr/>
              <p:nvPr/>
            </p:nvSpPr>
            <p:spPr>
              <a:xfrm flipV="1">
                <a:off x="3737876" y="2481143"/>
                <a:ext cx="156321" cy="178203"/>
              </a:xfrm>
              <a:custGeom>
                <a:avLst/>
                <a:gdLst>
                  <a:gd name="connsiteX0" fmla="*/ 156335 w 156321"/>
                  <a:gd name="connsiteY0" fmla="*/ -3 h 178203"/>
                  <a:gd name="connsiteX1" fmla="*/ 94226 w 156321"/>
                  <a:gd name="connsiteY1" fmla="*/ 178200 h 178203"/>
                  <a:gd name="connsiteX2" fmla="*/ 61854 w 156321"/>
                  <a:gd name="connsiteY2" fmla="*/ 178200 h 178203"/>
                  <a:gd name="connsiteX3" fmla="*/ 13 w 156321"/>
                  <a:gd name="connsiteY3" fmla="*/ -3 h 178203"/>
                  <a:gd name="connsiteX4" fmla="*/ 27965 w 156321"/>
                  <a:gd name="connsiteY4" fmla="*/ -3 h 178203"/>
                  <a:gd name="connsiteX5" fmla="*/ 77881 w 156321"/>
                  <a:gd name="connsiteY5" fmla="*/ 154444 h 178203"/>
                  <a:gd name="connsiteX6" fmla="*/ 78480 w 156321"/>
                  <a:gd name="connsiteY6" fmla="*/ 154444 h 178203"/>
                  <a:gd name="connsiteX7" fmla="*/ 101590 w 156321"/>
                  <a:gd name="connsiteY7" fmla="*/ 82963 h 178203"/>
                  <a:gd name="connsiteX8" fmla="*/ 78530 w 156321"/>
                  <a:gd name="connsiteY8" fmla="*/ 82963 h 178203"/>
                  <a:gd name="connsiteX9" fmla="*/ 71855 w 156321"/>
                  <a:gd name="connsiteY9" fmla="*/ 62355 h 178203"/>
                  <a:gd name="connsiteX10" fmla="*/ 108291 w 156321"/>
                  <a:gd name="connsiteY10" fmla="*/ 62355 h 178203"/>
                  <a:gd name="connsiteX11" fmla="*/ 128459 w 156321"/>
                  <a:gd name="connsiteY11" fmla="*/ -3 h 178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6321" h="178203">
                    <a:moveTo>
                      <a:pt x="156335" y="-3"/>
                    </a:moveTo>
                    <a:lnTo>
                      <a:pt x="94226" y="178200"/>
                    </a:lnTo>
                    <a:lnTo>
                      <a:pt x="61854" y="178200"/>
                    </a:lnTo>
                    <a:lnTo>
                      <a:pt x="13" y="-3"/>
                    </a:lnTo>
                    <a:lnTo>
                      <a:pt x="27965" y="-3"/>
                    </a:lnTo>
                    <a:lnTo>
                      <a:pt x="77881" y="154444"/>
                    </a:lnTo>
                    <a:lnTo>
                      <a:pt x="78480" y="154444"/>
                    </a:lnTo>
                    <a:lnTo>
                      <a:pt x="101590" y="82963"/>
                    </a:lnTo>
                    <a:lnTo>
                      <a:pt x="78530" y="82963"/>
                    </a:lnTo>
                    <a:lnTo>
                      <a:pt x="71855" y="62355"/>
                    </a:lnTo>
                    <a:lnTo>
                      <a:pt x="108291" y="62355"/>
                    </a:lnTo>
                    <a:lnTo>
                      <a:pt x="128459" y="-3"/>
                    </a:lnTo>
                    <a:close/>
                  </a:path>
                </a:pathLst>
              </a:custGeom>
              <a:solidFill>
                <a:srgbClr val="00A94F"/>
              </a:solidFill>
              <a:ln w="127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49" name="Forma libre 648">
                <a:extLst>
                  <a:ext uri="{FF2B5EF4-FFF2-40B4-BE49-F238E27FC236}">
                    <a16:creationId xmlns:a16="http://schemas.microsoft.com/office/drawing/2014/main" id="{5C288992-62B5-B2C1-4D52-23267257E13C}"/>
                  </a:ext>
                </a:extLst>
              </p:cNvPr>
              <p:cNvSpPr/>
              <p:nvPr/>
            </p:nvSpPr>
            <p:spPr>
              <a:xfrm flipV="1">
                <a:off x="4347844" y="2481149"/>
                <a:ext cx="107284" cy="178203"/>
              </a:xfrm>
              <a:custGeom>
                <a:avLst/>
                <a:gdLst>
                  <a:gd name="connsiteX0" fmla="*/ 26317 w 107284"/>
                  <a:gd name="connsiteY0" fmla="*/ 103590 h 178203"/>
                  <a:gd name="connsiteX1" fmla="*/ 45083 w 107284"/>
                  <a:gd name="connsiteY1" fmla="*/ 103590 h 178203"/>
                  <a:gd name="connsiteX2" fmla="*/ 78398 w 107284"/>
                  <a:gd name="connsiteY2" fmla="*/ 130271 h 178203"/>
                  <a:gd name="connsiteX3" fmla="*/ 45083 w 107284"/>
                  <a:gd name="connsiteY3" fmla="*/ 157576 h 178203"/>
                  <a:gd name="connsiteX4" fmla="*/ 26317 w 107284"/>
                  <a:gd name="connsiteY4" fmla="*/ 157576 h 178203"/>
                  <a:gd name="connsiteX5" fmla="*/ 21 w 107284"/>
                  <a:gd name="connsiteY5" fmla="*/ 178208 h 178203"/>
                  <a:gd name="connsiteX6" fmla="*/ 43656 w 107284"/>
                  <a:gd name="connsiteY6" fmla="*/ 178208 h 178203"/>
                  <a:gd name="connsiteX7" fmla="*/ 107306 w 107284"/>
                  <a:gd name="connsiteY7" fmla="*/ 130883 h 178203"/>
                  <a:gd name="connsiteX8" fmla="*/ 49708 w 107284"/>
                  <a:gd name="connsiteY8" fmla="*/ 82971 h 178203"/>
                  <a:gd name="connsiteX9" fmla="*/ 26317 w 107284"/>
                  <a:gd name="connsiteY9" fmla="*/ 82971 h 178203"/>
                  <a:gd name="connsiteX10" fmla="*/ 26317 w 107284"/>
                  <a:gd name="connsiteY10" fmla="*/ 5 h 178203"/>
                  <a:gd name="connsiteX11" fmla="*/ 21 w 107284"/>
                  <a:gd name="connsiteY11" fmla="*/ 5 h 178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7284" h="178203">
                    <a:moveTo>
                      <a:pt x="26317" y="103590"/>
                    </a:moveTo>
                    <a:lnTo>
                      <a:pt x="45083" y="103590"/>
                    </a:lnTo>
                    <a:cubicBezTo>
                      <a:pt x="64244" y="103590"/>
                      <a:pt x="78398" y="108564"/>
                      <a:pt x="78398" y="130271"/>
                    </a:cubicBezTo>
                    <a:cubicBezTo>
                      <a:pt x="78398" y="157189"/>
                      <a:pt x="58664" y="157576"/>
                      <a:pt x="45083" y="157576"/>
                    </a:cubicBezTo>
                    <a:lnTo>
                      <a:pt x="26317" y="157576"/>
                    </a:lnTo>
                    <a:close/>
                    <a:moveTo>
                      <a:pt x="21" y="178208"/>
                    </a:moveTo>
                    <a:lnTo>
                      <a:pt x="43656" y="178208"/>
                    </a:lnTo>
                    <a:cubicBezTo>
                      <a:pt x="70538" y="178208"/>
                      <a:pt x="107306" y="177571"/>
                      <a:pt x="107306" y="130883"/>
                    </a:cubicBezTo>
                    <a:cubicBezTo>
                      <a:pt x="107306" y="87170"/>
                      <a:pt x="68168" y="82971"/>
                      <a:pt x="49708" y="82971"/>
                    </a:cubicBezTo>
                    <a:lnTo>
                      <a:pt x="26317" y="82971"/>
                    </a:lnTo>
                    <a:lnTo>
                      <a:pt x="26317" y="5"/>
                    </a:lnTo>
                    <a:lnTo>
                      <a:pt x="21" y="5"/>
                    </a:lnTo>
                    <a:close/>
                  </a:path>
                </a:pathLst>
              </a:custGeom>
              <a:solidFill>
                <a:srgbClr val="00447C"/>
              </a:solidFill>
              <a:ln w="127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54" name="Forma libre 653">
                <a:extLst>
                  <a:ext uri="{FF2B5EF4-FFF2-40B4-BE49-F238E27FC236}">
                    <a16:creationId xmlns:a16="http://schemas.microsoft.com/office/drawing/2014/main" id="{DE1ED848-6E21-50A3-02A9-62B1D39DC87D}"/>
                  </a:ext>
                </a:extLst>
              </p:cNvPr>
              <p:cNvSpPr/>
              <p:nvPr/>
            </p:nvSpPr>
            <p:spPr>
              <a:xfrm flipV="1">
                <a:off x="4577654" y="2481174"/>
                <a:ext cx="116801" cy="178165"/>
              </a:xfrm>
              <a:custGeom>
                <a:avLst/>
                <a:gdLst>
                  <a:gd name="connsiteX0" fmla="*/ 45320 w 116801"/>
                  <a:gd name="connsiteY0" fmla="*/ 157568 h 178165"/>
                  <a:gd name="connsiteX1" fmla="*/ 29 w 116801"/>
                  <a:gd name="connsiteY1" fmla="*/ 157568 h 178165"/>
                  <a:gd name="connsiteX2" fmla="*/ 29 w 116801"/>
                  <a:gd name="connsiteY2" fmla="*/ 178175 h 178165"/>
                  <a:gd name="connsiteX3" fmla="*/ 116831 w 116801"/>
                  <a:gd name="connsiteY3" fmla="*/ 178175 h 178165"/>
                  <a:gd name="connsiteX4" fmla="*/ 116831 w 116801"/>
                  <a:gd name="connsiteY4" fmla="*/ 157568 h 178165"/>
                  <a:gd name="connsiteX5" fmla="*/ 71641 w 116801"/>
                  <a:gd name="connsiteY5" fmla="*/ 157568 h 178165"/>
                  <a:gd name="connsiteX6" fmla="*/ 71641 w 116801"/>
                  <a:gd name="connsiteY6" fmla="*/ 9 h 178165"/>
                  <a:gd name="connsiteX7" fmla="*/ 45320 w 116801"/>
                  <a:gd name="connsiteY7" fmla="*/ 9 h 178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6801" h="178165">
                    <a:moveTo>
                      <a:pt x="45320" y="157568"/>
                    </a:moveTo>
                    <a:lnTo>
                      <a:pt x="29" y="157568"/>
                    </a:lnTo>
                    <a:lnTo>
                      <a:pt x="29" y="178175"/>
                    </a:lnTo>
                    <a:lnTo>
                      <a:pt x="116831" y="178175"/>
                    </a:lnTo>
                    <a:lnTo>
                      <a:pt x="116831" y="157568"/>
                    </a:lnTo>
                    <a:lnTo>
                      <a:pt x="71641" y="157568"/>
                    </a:lnTo>
                    <a:lnTo>
                      <a:pt x="71641" y="9"/>
                    </a:lnTo>
                    <a:lnTo>
                      <a:pt x="45320" y="9"/>
                    </a:lnTo>
                    <a:close/>
                  </a:path>
                </a:pathLst>
              </a:custGeom>
              <a:solidFill>
                <a:srgbClr val="00447C"/>
              </a:solidFill>
              <a:ln w="127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56" name="Forma libre 655">
                <a:extLst>
                  <a:ext uri="{FF2B5EF4-FFF2-40B4-BE49-F238E27FC236}">
                    <a16:creationId xmlns:a16="http://schemas.microsoft.com/office/drawing/2014/main" id="{42DC61F0-F555-58D3-CB5D-A9EB786278D4}"/>
                  </a:ext>
                </a:extLst>
              </p:cNvPr>
              <p:cNvSpPr/>
              <p:nvPr/>
            </p:nvSpPr>
            <p:spPr>
              <a:xfrm flipV="1">
                <a:off x="4990047" y="2478281"/>
                <a:ext cx="141810" cy="183864"/>
              </a:xfrm>
              <a:custGeom>
                <a:avLst/>
                <a:gdLst>
                  <a:gd name="connsiteX0" fmla="*/ 70711 w 141810"/>
                  <a:gd name="connsiteY0" fmla="*/ 20580 h 183864"/>
                  <a:gd name="connsiteX1" fmla="*/ 112843 w 141810"/>
                  <a:gd name="connsiteY1" fmla="*/ 91824 h 183864"/>
                  <a:gd name="connsiteX2" fmla="*/ 70711 w 141810"/>
                  <a:gd name="connsiteY2" fmla="*/ 163143 h 183864"/>
                  <a:gd name="connsiteX3" fmla="*/ 28987 w 141810"/>
                  <a:gd name="connsiteY3" fmla="*/ 91824 h 183864"/>
                  <a:gd name="connsiteX4" fmla="*/ 70711 w 141810"/>
                  <a:gd name="connsiteY4" fmla="*/ 20580 h 183864"/>
                  <a:gd name="connsiteX5" fmla="*/ 42 w 141810"/>
                  <a:gd name="connsiteY5" fmla="*/ 91824 h 183864"/>
                  <a:gd name="connsiteX6" fmla="*/ 70711 w 141810"/>
                  <a:gd name="connsiteY6" fmla="*/ 183862 h 183864"/>
                  <a:gd name="connsiteX7" fmla="*/ 141852 w 141810"/>
                  <a:gd name="connsiteY7" fmla="*/ 91824 h 183864"/>
                  <a:gd name="connsiteX8" fmla="*/ 70711 w 141810"/>
                  <a:gd name="connsiteY8" fmla="*/ -2 h 183864"/>
                  <a:gd name="connsiteX9" fmla="*/ 42 w 141810"/>
                  <a:gd name="connsiteY9" fmla="*/ 91824 h 183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1810" h="183864">
                    <a:moveTo>
                      <a:pt x="70711" y="20580"/>
                    </a:moveTo>
                    <a:cubicBezTo>
                      <a:pt x="107046" y="20580"/>
                      <a:pt x="112843" y="62732"/>
                      <a:pt x="112843" y="91824"/>
                    </a:cubicBezTo>
                    <a:cubicBezTo>
                      <a:pt x="112843" y="121041"/>
                      <a:pt x="107046" y="163143"/>
                      <a:pt x="70711" y="163143"/>
                    </a:cubicBezTo>
                    <a:cubicBezTo>
                      <a:pt x="34478" y="163143"/>
                      <a:pt x="28987" y="121041"/>
                      <a:pt x="28987" y="91824"/>
                    </a:cubicBezTo>
                    <a:cubicBezTo>
                      <a:pt x="28987" y="62732"/>
                      <a:pt x="34478" y="20580"/>
                      <a:pt x="70711" y="20580"/>
                    </a:cubicBezTo>
                    <a:moveTo>
                      <a:pt x="42" y="91824"/>
                    </a:moveTo>
                    <a:cubicBezTo>
                      <a:pt x="42" y="140199"/>
                      <a:pt x="15075" y="183862"/>
                      <a:pt x="70711" y="183862"/>
                    </a:cubicBezTo>
                    <a:cubicBezTo>
                      <a:pt x="126577" y="183862"/>
                      <a:pt x="141852" y="140199"/>
                      <a:pt x="141852" y="91824"/>
                    </a:cubicBezTo>
                    <a:cubicBezTo>
                      <a:pt x="141852" y="43812"/>
                      <a:pt x="126577" y="-2"/>
                      <a:pt x="70711" y="-2"/>
                    </a:cubicBezTo>
                    <a:cubicBezTo>
                      <a:pt x="15075" y="-2"/>
                      <a:pt x="42" y="43812"/>
                      <a:pt x="42" y="91824"/>
                    </a:cubicBezTo>
                  </a:path>
                </a:pathLst>
              </a:custGeom>
              <a:solidFill>
                <a:srgbClr val="00447C"/>
              </a:solidFill>
              <a:ln w="127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59" name="Forma libre 658">
                <a:extLst>
                  <a:ext uri="{FF2B5EF4-FFF2-40B4-BE49-F238E27FC236}">
                    <a16:creationId xmlns:a16="http://schemas.microsoft.com/office/drawing/2014/main" id="{AE50FB7E-0E3F-0BB3-6B3D-24485933FBCF}"/>
                  </a:ext>
                </a:extLst>
              </p:cNvPr>
              <p:cNvSpPr/>
              <p:nvPr/>
            </p:nvSpPr>
            <p:spPr>
              <a:xfrm flipV="1">
                <a:off x="5153107" y="2481164"/>
                <a:ext cx="128650" cy="178203"/>
              </a:xfrm>
              <a:custGeom>
                <a:avLst/>
                <a:gdLst>
                  <a:gd name="connsiteX0" fmla="*/ 41 w 128650"/>
                  <a:gd name="connsiteY0" fmla="*/ 178214 h 178203"/>
                  <a:gd name="connsiteX1" fmla="*/ 32860 w 128650"/>
                  <a:gd name="connsiteY1" fmla="*/ 178214 h 178203"/>
                  <a:gd name="connsiteX2" fmla="*/ 104523 w 128650"/>
                  <a:gd name="connsiteY2" fmla="*/ 38776 h 178203"/>
                  <a:gd name="connsiteX3" fmla="*/ 105020 w 128650"/>
                  <a:gd name="connsiteY3" fmla="*/ 38776 h 178203"/>
                  <a:gd name="connsiteX4" fmla="*/ 105020 w 128650"/>
                  <a:gd name="connsiteY4" fmla="*/ 178214 h 178203"/>
                  <a:gd name="connsiteX5" fmla="*/ 128691 w 128650"/>
                  <a:gd name="connsiteY5" fmla="*/ 178214 h 178203"/>
                  <a:gd name="connsiteX6" fmla="*/ 128691 w 128650"/>
                  <a:gd name="connsiteY6" fmla="*/ 11 h 178203"/>
                  <a:gd name="connsiteX7" fmla="*/ 97682 w 128650"/>
                  <a:gd name="connsiteY7" fmla="*/ 11 h 178203"/>
                  <a:gd name="connsiteX8" fmla="*/ 24273 w 128650"/>
                  <a:gd name="connsiteY8" fmla="*/ 142774 h 178203"/>
                  <a:gd name="connsiteX9" fmla="*/ 23700 w 128650"/>
                  <a:gd name="connsiteY9" fmla="*/ 142774 h 178203"/>
                  <a:gd name="connsiteX10" fmla="*/ 23700 w 128650"/>
                  <a:gd name="connsiteY10" fmla="*/ 11 h 178203"/>
                  <a:gd name="connsiteX11" fmla="*/ 41 w 128650"/>
                  <a:gd name="connsiteY11" fmla="*/ 11 h 178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8650" h="178203">
                    <a:moveTo>
                      <a:pt x="41" y="178214"/>
                    </a:moveTo>
                    <a:lnTo>
                      <a:pt x="32860" y="178214"/>
                    </a:lnTo>
                    <a:lnTo>
                      <a:pt x="104523" y="38776"/>
                    </a:lnTo>
                    <a:lnTo>
                      <a:pt x="105020" y="38776"/>
                    </a:lnTo>
                    <a:lnTo>
                      <a:pt x="105020" y="178214"/>
                    </a:lnTo>
                    <a:lnTo>
                      <a:pt x="128691" y="178214"/>
                    </a:lnTo>
                    <a:lnTo>
                      <a:pt x="128691" y="11"/>
                    </a:lnTo>
                    <a:lnTo>
                      <a:pt x="97682" y="11"/>
                    </a:lnTo>
                    <a:lnTo>
                      <a:pt x="24273" y="142774"/>
                    </a:lnTo>
                    <a:lnTo>
                      <a:pt x="23700" y="142774"/>
                    </a:lnTo>
                    <a:lnTo>
                      <a:pt x="23700" y="11"/>
                    </a:lnTo>
                    <a:lnTo>
                      <a:pt x="41" y="11"/>
                    </a:lnTo>
                    <a:close/>
                  </a:path>
                </a:pathLst>
              </a:custGeom>
              <a:solidFill>
                <a:srgbClr val="00447C"/>
              </a:solidFill>
              <a:ln w="127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61" name="Forma libre 660">
                <a:extLst>
                  <a:ext uri="{FF2B5EF4-FFF2-40B4-BE49-F238E27FC236}">
                    <a16:creationId xmlns:a16="http://schemas.microsoft.com/office/drawing/2014/main" id="{6F4B813F-7BAA-5BF2-8502-24530BF59856}"/>
                  </a:ext>
                </a:extLst>
              </p:cNvPr>
              <p:cNvSpPr/>
              <p:nvPr/>
            </p:nvSpPr>
            <p:spPr>
              <a:xfrm>
                <a:off x="5309751" y="2481164"/>
                <a:ext cx="26319" cy="178181"/>
              </a:xfrm>
              <a:custGeom>
                <a:avLst/>
                <a:gdLst>
                  <a:gd name="connsiteX0" fmla="*/ -19 w 26319"/>
                  <a:gd name="connsiteY0" fmla="*/ -275 h 178181"/>
                  <a:gd name="connsiteX1" fmla="*/ 26300 w 26319"/>
                  <a:gd name="connsiteY1" fmla="*/ -275 h 178181"/>
                  <a:gd name="connsiteX2" fmla="*/ 26300 w 26319"/>
                  <a:gd name="connsiteY2" fmla="*/ 177906 h 178181"/>
                  <a:gd name="connsiteX3" fmla="*/ -19 w 26319"/>
                  <a:gd name="connsiteY3" fmla="*/ 177906 h 178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319" h="178181">
                    <a:moveTo>
                      <a:pt x="-19" y="-275"/>
                    </a:moveTo>
                    <a:lnTo>
                      <a:pt x="26300" y="-275"/>
                    </a:lnTo>
                    <a:lnTo>
                      <a:pt x="26300" y="177906"/>
                    </a:lnTo>
                    <a:lnTo>
                      <a:pt x="-19" y="177906"/>
                    </a:lnTo>
                    <a:close/>
                  </a:path>
                </a:pathLst>
              </a:custGeom>
              <a:solidFill>
                <a:srgbClr val="00447C"/>
              </a:solidFill>
              <a:ln w="127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64" name="Forma libre 663">
                <a:extLst>
                  <a:ext uri="{FF2B5EF4-FFF2-40B4-BE49-F238E27FC236}">
                    <a16:creationId xmlns:a16="http://schemas.microsoft.com/office/drawing/2014/main" id="{5181F983-041D-675C-1B69-85F83C5FC77C}"/>
                  </a:ext>
                </a:extLst>
              </p:cNvPr>
              <p:cNvSpPr/>
              <p:nvPr/>
            </p:nvSpPr>
            <p:spPr>
              <a:xfrm flipV="1">
                <a:off x="4836793" y="2478247"/>
                <a:ext cx="130777" cy="183901"/>
              </a:xfrm>
              <a:custGeom>
                <a:avLst/>
                <a:gdLst>
                  <a:gd name="connsiteX0" fmla="*/ 67917 w 130777"/>
                  <a:gd name="connsiteY0" fmla="*/ 85768 h 183901"/>
                  <a:gd name="connsiteX1" fmla="*/ 106507 w 130777"/>
                  <a:gd name="connsiteY1" fmla="*/ 85768 h 183901"/>
                  <a:gd name="connsiteX2" fmla="*/ 106507 w 130777"/>
                  <a:gd name="connsiteY2" fmla="*/ 27646 h 183901"/>
                  <a:gd name="connsiteX3" fmla="*/ 75778 w 130777"/>
                  <a:gd name="connsiteY3" fmla="*/ 20598 h 183901"/>
                  <a:gd name="connsiteX4" fmla="*/ 29098 w 130777"/>
                  <a:gd name="connsiteY4" fmla="*/ 97315 h 183901"/>
                  <a:gd name="connsiteX5" fmla="*/ 71102 w 130777"/>
                  <a:gd name="connsiteY5" fmla="*/ 163148 h 183901"/>
                  <a:gd name="connsiteX6" fmla="*/ 99067 w 130777"/>
                  <a:gd name="connsiteY6" fmla="*/ 148664 h 183901"/>
                  <a:gd name="connsiteX7" fmla="*/ 118980 w 130777"/>
                  <a:gd name="connsiteY7" fmla="*/ 166922 h 183901"/>
                  <a:gd name="connsiteX8" fmla="*/ 71357 w 130777"/>
                  <a:gd name="connsiteY8" fmla="*/ 183905 h 183901"/>
                  <a:gd name="connsiteX9" fmla="*/ 37 w 130777"/>
                  <a:gd name="connsiteY9" fmla="*/ 97315 h 183901"/>
                  <a:gd name="connsiteX10" fmla="*/ 76606 w 130777"/>
                  <a:gd name="connsiteY10" fmla="*/ 3 h 183901"/>
                  <a:gd name="connsiteX11" fmla="*/ 130815 w 130777"/>
                  <a:gd name="connsiteY11" fmla="*/ 16737 h 183901"/>
                  <a:gd name="connsiteX12" fmla="*/ 130815 w 130777"/>
                  <a:gd name="connsiteY12" fmla="*/ 106375 h 183901"/>
                  <a:gd name="connsiteX13" fmla="*/ 67917 w 130777"/>
                  <a:gd name="connsiteY13" fmla="*/ 106375 h 183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777" h="183901">
                    <a:moveTo>
                      <a:pt x="67917" y="85768"/>
                    </a:moveTo>
                    <a:lnTo>
                      <a:pt x="106507" y="85768"/>
                    </a:lnTo>
                    <a:lnTo>
                      <a:pt x="106507" y="27646"/>
                    </a:lnTo>
                    <a:cubicBezTo>
                      <a:pt x="104749" y="24997"/>
                      <a:pt x="91830" y="20598"/>
                      <a:pt x="75778" y="20598"/>
                    </a:cubicBezTo>
                    <a:cubicBezTo>
                      <a:pt x="34003" y="20598"/>
                      <a:pt x="29098" y="63487"/>
                      <a:pt x="29098" y="97315"/>
                    </a:cubicBezTo>
                    <a:cubicBezTo>
                      <a:pt x="29098" y="129607"/>
                      <a:pt x="36907" y="163148"/>
                      <a:pt x="71102" y="163148"/>
                    </a:cubicBezTo>
                    <a:cubicBezTo>
                      <a:pt x="85804" y="163148"/>
                      <a:pt x="94595" y="157112"/>
                      <a:pt x="99067" y="148664"/>
                    </a:cubicBezTo>
                    <a:lnTo>
                      <a:pt x="118980" y="166922"/>
                    </a:lnTo>
                    <a:cubicBezTo>
                      <a:pt x="107857" y="178269"/>
                      <a:pt x="90480" y="183905"/>
                      <a:pt x="71357" y="183905"/>
                    </a:cubicBezTo>
                    <a:cubicBezTo>
                      <a:pt x="19797" y="183905"/>
                      <a:pt x="37" y="146402"/>
                      <a:pt x="37" y="97315"/>
                    </a:cubicBezTo>
                    <a:cubicBezTo>
                      <a:pt x="37" y="28359"/>
                      <a:pt x="29748" y="3"/>
                      <a:pt x="76606" y="3"/>
                    </a:cubicBezTo>
                    <a:cubicBezTo>
                      <a:pt x="106507" y="3"/>
                      <a:pt x="125273" y="12613"/>
                      <a:pt x="130815" y="16737"/>
                    </a:cubicBezTo>
                    <a:lnTo>
                      <a:pt x="130815" y="106375"/>
                    </a:lnTo>
                    <a:lnTo>
                      <a:pt x="67917" y="106375"/>
                    </a:lnTo>
                    <a:close/>
                  </a:path>
                </a:pathLst>
              </a:custGeom>
              <a:solidFill>
                <a:srgbClr val="00447C"/>
              </a:solidFill>
              <a:ln w="127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65" name="Forma libre 664">
                <a:extLst>
                  <a:ext uri="{FF2B5EF4-FFF2-40B4-BE49-F238E27FC236}">
                    <a16:creationId xmlns:a16="http://schemas.microsoft.com/office/drawing/2014/main" id="{F959884C-8E2B-A88E-A928-C204341EB091}"/>
                  </a:ext>
                </a:extLst>
              </p:cNvPr>
              <p:cNvSpPr/>
              <p:nvPr/>
            </p:nvSpPr>
            <p:spPr>
              <a:xfrm flipV="1">
                <a:off x="4437621" y="2481143"/>
                <a:ext cx="156487" cy="178203"/>
              </a:xfrm>
              <a:custGeom>
                <a:avLst/>
                <a:gdLst>
                  <a:gd name="connsiteX0" fmla="*/ 156520 w 156487"/>
                  <a:gd name="connsiteY0" fmla="*/ -3 h 178203"/>
                  <a:gd name="connsiteX1" fmla="*/ 94335 w 156487"/>
                  <a:gd name="connsiteY1" fmla="*/ 178200 h 178203"/>
                  <a:gd name="connsiteX2" fmla="*/ 61911 w 156487"/>
                  <a:gd name="connsiteY2" fmla="*/ 178200 h 178203"/>
                  <a:gd name="connsiteX3" fmla="*/ 33 w 156487"/>
                  <a:gd name="connsiteY3" fmla="*/ -3 h 178203"/>
                  <a:gd name="connsiteX4" fmla="*/ 27972 w 156487"/>
                  <a:gd name="connsiteY4" fmla="*/ -3 h 178203"/>
                  <a:gd name="connsiteX5" fmla="*/ 78015 w 156487"/>
                  <a:gd name="connsiteY5" fmla="*/ 154444 h 178203"/>
                  <a:gd name="connsiteX6" fmla="*/ 78512 w 156487"/>
                  <a:gd name="connsiteY6" fmla="*/ 154444 h 178203"/>
                  <a:gd name="connsiteX7" fmla="*/ 101674 w 156487"/>
                  <a:gd name="connsiteY7" fmla="*/ 82963 h 178203"/>
                  <a:gd name="connsiteX8" fmla="*/ 78563 w 156487"/>
                  <a:gd name="connsiteY8" fmla="*/ 82963 h 178203"/>
                  <a:gd name="connsiteX9" fmla="*/ 71963 w 156487"/>
                  <a:gd name="connsiteY9" fmla="*/ 62355 h 178203"/>
                  <a:gd name="connsiteX10" fmla="*/ 108273 w 156487"/>
                  <a:gd name="connsiteY10" fmla="*/ 62355 h 178203"/>
                  <a:gd name="connsiteX11" fmla="*/ 128555 w 156487"/>
                  <a:gd name="connsiteY11" fmla="*/ -3 h 178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6487" h="178203">
                    <a:moveTo>
                      <a:pt x="156520" y="-3"/>
                    </a:moveTo>
                    <a:lnTo>
                      <a:pt x="94335" y="178200"/>
                    </a:lnTo>
                    <a:lnTo>
                      <a:pt x="61911" y="178200"/>
                    </a:lnTo>
                    <a:lnTo>
                      <a:pt x="33" y="-3"/>
                    </a:lnTo>
                    <a:lnTo>
                      <a:pt x="27972" y="-3"/>
                    </a:lnTo>
                    <a:lnTo>
                      <a:pt x="78015" y="154444"/>
                    </a:lnTo>
                    <a:lnTo>
                      <a:pt x="78512" y="154444"/>
                    </a:lnTo>
                    <a:lnTo>
                      <a:pt x="101674" y="82963"/>
                    </a:lnTo>
                    <a:lnTo>
                      <a:pt x="78563" y="82963"/>
                    </a:lnTo>
                    <a:lnTo>
                      <a:pt x="71963" y="62355"/>
                    </a:lnTo>
                    <a:lnTo>
                      <a:pt x="108273" y="62355"/>
                    </a:lnTo>
                    <a:lnTo>
                      <a:pt x="128555" y="-3"/>
                    </a:lnTo>
                    <a:close/>
                  </a:path>
                </a:pathLst>
              </a:custGeom>
              <a:solidFill>
                <a:srgbClr val="00447C"/>
              </a:solidFill>
              <a:ln w="127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66" name="Forma libre 665">
                <a:extLst>
                  <a:ext uri="{FF2B5EF4-FFF2-40B4-BE49-F238E27FC236}">
                    <a16:creationId xmlns:a16="http://schemas.microsoft.com/office/drawing/2014/main" id="{F1A7CF42-7291-8FC0-47A4-A56F8AEC9D54}"/>
                  </a:ext>
                </a:extLst>
              </p:cNvPr>
              <p:cNvSpPr/>
              <p:nvPr/>
            </p:nvSpPr>
            <p:spPr>
              <a:xfrm flipV="1">
                <a:off x="5349937" y="2481143"/>
                <a:ext cx="156334" cy="178203"/>
              </a:xfrm>
              <a:custGeom>
                <a:avLst/>
                <a:gdLst>
                  <a:gd name="connsiteX0" fmla="*/ 156393 w 156334"/>
                  <a:gd name="connsiteY0" fmla="*/ -3 h 178203"/>
                  <a:gd name="connsiteX1" fmla="*/ 94284 w 156334"/>
                  <a:gd name="connsiteY1" fmla="*/ 178200 h 178203"/>
                  <a:gd name="connsiteX2" fmla="*/ 61912 w 156334"/>
                  <a:gd name="connsiteY2" fmla="*/ 178200 h 178203"/>
                  <a:gd name="connsiteX3" fmla="*/ 58 w 156334"/>
                  <a:gd name="connsiteY3" fmla="*/ -3 h 178203"/>
                  <a:gd name="connsiteX4" fmla="*/ 27972 w 156334"/>
                  <a:gd name="connsiteY4" fmla="*/ -3 h 178203"/>
                  <a:gd name="connsiteX5" fmla="*/ 78015 w 156334"/>
                  <a:gd name="connsiteY5" fmla="*/ 154444 h 178203"/>
                  <a:gd name="connsiteX6" fmla="*/ 78461 w 156334"/>
                  <a:gd name="connsiteY6" fmla="*/ 154444 h 178203"/>
                  <a:gd name="connsiteX7" fmla="*/ 101572 w 156334"/>
                  <a:gd name="connsiteY7" fmla="*/ 82963 h 178203"/>
                  <a:gd name="connsiteX8" fmla="*/ 78588 w 156334"/>
                  <a:gd name="connsiteY8" fmla="*/ 82963 h 178203"/>
                  <a:gd name="connsiteX9" fmla="*/ 71913 w 156334"/>
                  <a:gd name="connsiteY9" fmla="*/ 62355 h 178203"/>
                  <a:gd name="connsiteX10" fmla="*/ 108299 w 156334"/>
                  <a:gd name="connsiteY10" fmla="*/ 62355 h 178203"/>
                  <a:gd name="connsiteX11" fmla="*/ 128479 w 156334"/>
                  <a:gd name="connsiteY11" fmla="*/ -3 h 178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6334" h="178203">
                    <a:moveTo>
                      <a:pt x="156393" y="-3"/>
                    </a:moveTo>
                    <a:lnTo>
                      <a:pt x="94284" y="178200"/>
                    </a:lnTo>
                    <a:lnTo>
                      <a:pt x="61912" y="178200"/>
                    </a:lnTo>
                    <a:lnTo>
                      <a:pt x="58" y="-3"/>
                    </a:lnTo>
                    <a:lnTo>
                      <a:pt x="27972" y="-3"/>
                    </a:lnTo>
                    <a:lnTo>
                      <a:pt x="78015" y="154444"/>
                    </a:lnTo>
                    <a:lnTo>
                      <a:pt x="78461" y="154444"/>
                    </a:lnTo>
                    <a:lnTo>
                      <a:pt x="101572" y="82963"/>
                    </a:lnTo>
                    <a:lnTo>
                      <a:pt x="78588" y="82963"/>
                    </a:lnTo>
                    <a:lnTo>
                      <a:pt x="71913" y="62355"/>
                    </a:lnTo>
                    <a:lnTo>
                      <a:pt x="108299" y="62355"/>
                    </a:lnTo>
                    <a:lnTo>
                      <a:pt x="128479" y="-3"/>
                    </a:lnTo>
                    <a:close/>
                  </a:path>
                </a:pathLst>
              </a:custGeom>
              <a:solidFill>
                <a:srgbClr val="00447C"/>
              </a:solidFill>
              <a:ln w="127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69" name="Forma libre 668">
                <a:extLst>
                  <a:ext uri="{FF2B5EF4-FFF2-40B4-BE49-F238E27FC236}">
                    <a16:creationId xmlns:a16="http://schemas.microsoft.com/office/drawing/2014/main" id="{91F68E64-FF44-DD9D-0A7C-2F1C48A07CBC}"/>
                  </a:ext>
                </a:extLst>
              </p:cNvPr>
              <p:cNvSpPr/>
              <p:nvPr/>
            </p:nvSpPr>
            <p:spPr>
              <a:xfrm flipV="1">
                <a:off x="4678381" y="2481143"/>
                <a:ext cx="156296" cy="178203"/>
              </a:xfrm>
              <a:custGeom>
                <a:avLst/>
                <a:gdLst>
                  <a:gd name="connsiteX0" fmla="*/ 156336 w 156296"/>
                  <a:gd name="connsiteY0" fmla="*/ -3 h 178203"/>
                  <a:gd name="connsiteX1" fmla="*/ 94227 w 156296"/>
                  <a:gd name="connsiteY1" fmla="*/ 178200 h 178203"/>
                  <a:gd name="connsiteX2" fmla="*/ 61804 w 156296"/>
                  <a:gd name="connsiteY2" fmla="*/ 178200 h 178203"/>
                  <a:gd name="connsiteX3" fmla="*/ 39 w 156296"/>
                  <a:gd name="connsiteY3" fmla="*/ -3 h 178203"/>
                  <a:gd name="connsiteX4" fmla="*/ 27864 w 156296"/>
                  <a:gd name="connsiteY4" fmla="*/ -3 h 178203"/>
                  <a:gd name="connsiteX5" fmla="*/ 77907 w 156296"/>
                  <a:gd name="connsiteY5" fmla="*/ 154444 h 178203"/>
                  <a:gd name="connsiteX6" fmla="*/ 78353 w 156296"/>
                  <a:gd name="connsiteY6" fmla="*/ 154444 h 178203"/>
                  <a:gd name="connsiteX7" fmla="*/ 101515 w 156296"/>
                  <a:gd name="connsiteY7" fmla="*/ 82963 h 178203"/>
                  <a:gd name="connsiteX8" fmla="*/ 78455 w 156296"/>
                  <a:gd name="connsiteY8" fmla="*/ 82963 h 178203"/>
                  <a:gd name="connsiteX9" fmla="*/ 71805 w 156296"/>
                  <a:gd name="connsiteY9" fmla="*/ 62355 h 178203"/>
                  <a:gd name="connsiteX10" fmla="*/ 108216 w 156296"/>
                  <a:gd name="connsiteY10" fmla="*/ 62355 h 178203"/>
                  <a:gd name="connsiteX11" fmla="*/ 128422 w 156296"/>
                  <a:gd name="connsiteY11" fmla="*/ -3 h 178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6296" h="178203">
                    <a:moveTo>
                      <a:pt x="156336" y="-3"/>
                    </a:moveTo>
                    <a:lnTo>
                      <a:pt x="94227" y="178200"/>
                    </a:lnTo>
                    <a:lnTo>
                      <a:pt x="61804" y="178200"/>
                    </a:lnTo>
                    <a:lnTo>
                      <a:pt x="39" y="-3"/>
                    </a:lnTo>
                    <a:lnTo>
                      <a:pt x="27864" y="-3"/>
                    </a:lnTo>
                    <a:lnTo>
                      <a:pt x="77907" y="154444"/>
                    </a:lnTo>
                    <a:lnTo>
                      <a:pt x="78353" y="154444"/>
                    </a:lnTo>
                    <a:lnTo>
                      <a:pt x="101515" y="82963"/>
                    </a:lnTo>
                    <a:lnTo>
                      <a:pt x="78455" y="82963"/>
                    </a:lnTo>
                    <a:lnTo>
                      <a:pt x="71805" y="62355"/>
                    </a:lnTo>
                    <a:lnTo>
                      <a:pt x="108216" y="62355"/>
                    </a:lnTo>
                    <a:lnTo>
                      <a:pt x="128422" y="-3"/>
                    </a:lnTo>
                    <a:close/>
                  </a:path>
                </a:pathLst>
              </a:custGeom>
              <a:solidFill>
                <a:srgbClr val="00447C"/>
              </a:solidFill>
              <a:ln w="127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</p:grpSp>
      <p:grpSp>
        <p:nvGrpSpPr>
          <p:cNvPr id="834" name="Grupo 833">
            <a:extLst>
              <a:ext uri="{FF2B5EF4-FFF2-40B4-BE49-F238E27FC236}">
                <a16:creationId xmlns:a16="http://schemas.microsoft.com/office/drawing/2014/main" id="{96E41C99-209F-07B8-49A0-77751461D5C3}"/>
              </a:ext>
            </a:extLst>
          </p:cNvPr>
          <p:cNvGrpSpPr/>
          <p:nvPr/>
        </p:nvGrpSpPr>
        <p:grpSpPr>
          <a:xfrm>
            <a:off x="529718" y="2457665"/>
            <a:ext cx="2630115" cy="866495"/>
            <a:chOff x="529718" y="2590029"/>
            <a:chExt cx="2630115" cy="866495"/>
          </a:xfrm>
        </p:grpSpPr>
        <p:sp>
          <p:nvSpPr>
            <p:cNvPr id="941" name="Redondear rectángulo de esquina del mismo lado 37">
              <a:extLst>
                <a:ext uri="{FF2B5EF4-FFF2-40B4-BE49-F238E27FC236}">
                  <a16:creationId xmlns:a16="http://schemas.microsoft.com/office/drawing/2014/main" id="{B885BB3F-F4F7-2778-6D3E-AD3F1AD33778}"/>
                </a:ext>
              </a:extLst>
            </p:cNvPr>
            <p:cNvSpPr/>
            <p:nvPr/>
          </p:nvSpPr>
          <p:spPr>
            <a:xfrm rot="5400000">
              <a:off x="1411528" y="1708219"/>
              <a:ext cx="866495" cy="2630115"/>
            </a:xfrm>
            <a:prstGeom prst="round2SameRect">
              <a:avLst>
                <a:gd name="adj1" fmla="val 7014"/>
                <a:gd name="adj2" fmla="val 0"/>
              </a:avLst>
            </a:prstGeom>
            <a:gradFill>
              <a:gsLst>
                <a:gs pos="0">
                  <a:srgbClr val="FFFFFF"/>
                </a:gs>
                <a:gs pos="99000">
                  <a:srgbClr val="F0F0F0">
                    <a:alpha val="0"/>
                  </a:srgbClr>
                </a:gs>
              </a:gsLst>
              <a:lin ang="5400000" scaled="0"/>
            </a:gra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750"/>
                </a:spcBef>
                <a:spcAft>
                  <a:spcPts val="0"/>
                </a:spcAft>
                <a:defRPr/>
              </a:pPr>
              <a:endParaRPr lang="es-AR" sz="110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942" name="Title 1">
              <a:extLst>
                <a:ext uri="{FF2B5EF4-FFF2-40B4-BE49-F238E27FC236}">
                  <a16:creationId xmlns:a16="http://schemas.microsoft.com/office/drawing/2014/main" id="{D203E847-EB11-F7A2-BEAD-EDEC4E23A2EA}"/>
                </a:ext>
              </a:extLst>
            </p:cNvPr>
            <p:cNvSpPr txBox="1">
              <a:spLocks/>
            </p:cNvSpPr>
            <p:nvPr/>
          </p:nvSpPr>
          <p:spPr>
            <a:xfrm>
              <a:off x="590660" y="2680651"/>
              <a:ext cx="2432865" cy="407804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ctr" anchorCtr="0">
              <a:spAutoFit/>
            </a:bodyPr>
            <a:lstStyle>
              <a:lvl1pPr algn="l" defTabSz="914318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3600" b="1" i="0" kern="1200" spc="-100" baseline="0">
                  <a:solidFill>
                    <a:schemeClr val="tx1"/>
                  </a:solidFill>
                  <a:latin typeface="+mj-lt"/>
                  <a:ea typeface="Montserrat" charset="0"/>
                  <a:cs typeface="Montserrat" charset="0"/>
                </a:defRPr>
              </a:lvl1pPr>
            </a:lstStyle>
            <a:p>
              <a:pPr defTabSz="685739" fontAlgn="auto">
                <a:lnSpc>
                  <a:spcPct val="100000"/>
                </a:lnSpc>
                <a:spcAft>
                  <a:spcPts val="300"/>
                </a:spcAft>
                <a:defRPr/>
              </a:pPr>
              <a:r>
                <a:rPr lang="es-ES_tradnl" sz="800" b="0" spc="0">
                  <a:solidFill>
                    <a:schemeClr val="bg2"/>
                  </a:solidFill>
                  <a:latin typeface="Pulso" pitchFamily="2" charset="0"/>
                  <a:ea typeface="Roboto Medium" panose="02000000000000000000" pitchFamily="2" charset="0"/>
                </a:rPr>
                <a:t>Agregación </a:t>
              </a:r>
            </a:p>
            <a:p>
              <a:pPr defTabSz="685739" fontAlgn="auto">
                <a:lnSpc>
                  <a:spcPct val="100000"/>
                </a:lnSpc>
                <a:spcAft>
                  <a:spcPts val="300"/>
                </a:spcAft>
                <a:defRPr/>
              </a:pPr>
              <a:r>
                <a:rPr lang="es-ES" sz="800" b="0" spc="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  <a:ea typeface="Roboto Light" panose="02000000000000000000" pitchFamily="2" charset="0"/>
                  <a:cs typeface="Open Sans" pitchFamily="2" charset="0"/>
                  <a:sym typeface="Arial"/>
                </a:rPr>
                <a:t>Sumamos servicios de Agregación e Integración para conectarnos a Operadores y monetizar las API.</a:t>
              </a:r>
            </a:p>
          </p:txBody>
        </p:sp>
        <p:pic>
          <p:nvPicPr>
            <p:cNvPr id="943" name="Picture 4" descr="AT&amp;T Logo PNG Transparent &amp; SVG Vector - Freebie Supply">
              <a:extLst>
                <a:ext uri="{FF2B5EF4-FFF2-40B4-BE49-F238E27FC236}">
                  <a16:creationId xmlns:a16="http://schemas.microsoft.com/office/drawing/2014/main" id="{2955A6ED-3748-25DA-A923-8A3A1ACDD0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1005" y="3194686"/>
              <a:ext cx="361870" cy="1484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44" name="Picture 6" descr="Logotipo completo de Movistar PNG transparente - StickPNG">
              <a:extLst>
                <a:ext uri="{FF2B5EF4-FFF2-40B4-BE49-F238E27FC236}">
                  <a16:creationId xmlns:a16="http://schemas.microsoft.com/office/drawing/2014/main" id="{2BF0F72F-793F-7036-D292-EB33FD41C91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170"/>
            <a:stretch>
              <a:fillRect/>
            </a:stretch>
          </p:blipFill>
          <p:spPr bwMode="auto">
            <a:xfrm>
              <a:off x="1833675" y="3190363"/>
              <a:ext cx="226764" cy="1571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46" name="Picture 4" descr="Entel: Telefonía Móvil, Internet Hogar Fibra y Celulares | Entel">
              <a:extLst>
                <a:ext uri="{FF2B5EF4-FFF2-40B4-BE49-F238E27FC236}">
                  <a16:creationId xmlns:a16="http://schemas.microsoft.com/office/drawing/2014/main" id="{27157044-C023-B04F-5196-DFDEB41E9C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1092430" y="3153513"/>
              <a:ext cx="230807" cy="230807"/>
            </a:xfrm>
            <a:prstGeom prst="rect">
              <a:avLst/>
            </a:prstGeom>
          </p:spPr>
        </p:pic>
        <p:pic>
          <p:nvPicPr>
            <p:cNvPr id="947" name="Picture 2">
              <a:extLst>
                <a:ext uri="{FF2B5EF4-FFF2-40B4-BE49-F238E27FC236}">
                  <a16:creationId xmlns:a16="http://schemas.microsoft.com/office/drawing/2014/main" id="{FD3AF7B3-3B46-1041-CBBF-AB4BFE3DFA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2792" y="3193157"/>
              <a:ext cx="211328" cy="1515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70" name="Gráfico 3">
              <a:extLst>
                <a:ext uri="{FF2B5EF4-FFF2-40B4-BE49-F238E27FC236}">
                  <a16:creationId xmlns:a16="http://schemas.microsoft.com/office/drawing/2014/main" id="{23F9A5E4-A844-B795-55FA-B373FB93973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209994" y="3219978"/>
              <a:ext cx="426660" cy="97877"/>
              <a:chOff x="3835717" y="2907982"/>
              <a:chExt cx="4521517" cy="1037272"/>
            </a:xfrm>
            <a:solidFill>
              <a:schemeClr val="bg2"/>
            </a:solidFill>
          </p:grpSpPr>
          <p:sp>
            <p:nvSpPr>
              <p:cNvPr id="671" name="Forma libre 670">
                <a:extLst>
                  <a:ext uri="{FF2B5EF4-FFF2-40B4-BE49-F238E27FC236}">
                    <a16:creationId xmlns:a16="http://schemas.microsoft.com/office/drawing/2014/main" id="{D7965D85-FA17-E2B9-B117-B1238FAE8150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74" name="Forma libre 673">
                <a:extLst>
                  <a:ext uri="{FF2B5EF4-FFF2-40B4-BE49-F238E27FC236}">
                    <a16:creationId xmlns:a16="http://schemas.microsoft.com/office/drawing/2014/main" id="{7C4A0767-132A-2D1B-BF42-C88C2BAE803C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75" name="Forma libre 674">
                <a:extLst>
                  <a:ext uri="{FF2B5EF4-FFF2-40B4-BE49-F238E27FC236}">
                    <a16:creationId xmlns:a16="http://schemas.microsoft.com/office/drawing/2014/main" id="{67EA5829-436B-1611-8245-B710B3F32AC3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76" name="Forma libre 675">
                <a:extLst>
                  <a:ext uri="{FF2B5EF4-FFF2-40B4-BE49-F238E27FC236}">
                    <a16:creationId xmlns:a16="http://schemas.microsoft.com/office/drawing/2014/main" id="{4B185448-14EF-34C0-0265-A13C0907AC99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77" name="Forma libre 676">
                <a:extLst>
                  <a:ext uri="{FF2B5EF4-FFF2-40B4-BE49-F238E27FC236}">
                    <a16:creationId xmlns:a16="http://schemas.microsoft.com/office/drawing/2014/main" id="{29985F65-49EC-1E84-49FF-43DF00D19DA9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78" name="Forma libre 677">
                <a:extLst>
                  <a:ext uri="{FF2B5EF4-FFF2-40B4-BE49-F238E27FC236}">
                    <a16:creationId xmlns:a16="http://schemas.microsoft.com/office/drawing/2014/main" id="{9323183A-6544-C81D-00E4-A9F675555915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80" name="Forma libre 679">
                <a:extLst>
                  <a:ext uri="{FF2B5EF4-FFF2-40B4-BE49-F238E27FC236}">
                    <a16:creationId xmlns:a16="http://schemas.microsoft.com/office/drawing/2014/main" id="{26BB8599-03DC-93C4-7AEB-DF917D12EEF3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92" name="Forma libre 691">
                <a:extLst>
                  <a:ext uri="{FF2B5EF4-FFF2-40B4-BE49-F238E27FC236}">
                    <a16:creationId xmlns:a16="http://schemas.microsoft.com/office/drawing/2014/main" id="{AAD952BD-6B9A-309D-DD6A-A573DA2A1108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40608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D9E785-D4B9-8B19-56DC-2E06822A43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1BB2B4-AF91-B47F-A98F-64EF85716F2E}"/>
              </a:ext>
            </a:extLst>
          </p:cNvPr>
          <p:cNvSpPr txBox="1">
            <a:spLocks/>
          </p:cNvSpPr>
          <p:nvPr/>
        </p:nvSpPr>
        <p:spPr>
          <a:xfrm>
            <a:off x="540657" y="580494"/>
            <a:ext cx="1647246" cy="359073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ts val="3200"/>
              </a:lnSpc>
              <a:spcAft>
                <a:spcPts val="0"/>
              </a:spcAft>
              <a:buNone/>
              <a:defRPr sz="2800" b="0" i="0" spc="-70" baseline="0">
                <a:solidFill>
                  <a:schemeClr val="tx2"/>
                </a:solidFill>
                <a:latin typeface="Pulso Light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>
                <a:solidFill>
                  <a:schemeClr val="bg2"/>
                </a:solidFill>
              </a:rPr>
              <a:t>Smarthome</a:t>
            </a:r>
          </a:p>
        </p:txBody>
      </p:sp>
      <p:sp>
        <p:nvSpPr>
          <p:cNvPr id="2049" name="CuadroTexto 2048">
            <a:extLst>
              <a:ext uri="{FF2B5EF4-FFF2-40B4-BE49-F238E27FC236}">
                <a16:creationId xmlns:a16="http://schemas.microsoft.com/office/drawing/2014/main" id="{B5B6FE21-D4F0-2A49-21E2-6CE53EF8528F}"/>
              </a:ext>
            </a:extLst>
          </p:cNvPr>
          <p:cNvSpPr txBox="1"/>
          <p:nvPr/>
        </p:nvSpPr>
        <p:spPr>
          <a:xfrm>
            <a:off x="4327570" y="435606"/>
            <a:ext cx="4215696" cy="4099656"/>
          </a:xfrm>
          <a:prstGeom prst="rect">
            <a:avLst/>
          </a:prstGeom>
          <a:noFill/>
        </p:spPr>
        <p:txBody>
          <a:bodyPr wrap="square">
            <a:prstTxWarp prst="textArchUp">
              <a:avLst/>
            </a:prstTxWarp>
            <a:spAutoFit/>
          </a:bodyPr>
          <a:lstStyle/>
          <a:p>
            <a:pPr algn="ctr"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00">
                <a:solidFill>
                  <a:schemeClr val="tx2"/>
                </a:solidFill>
                <a:latin typeface="Pulso Light" pitchFamily="2" charset="0"/>
                <a:cs typeface="+mn-cs"/>
              </a:rPr>
              <a:t>        Seguridad, </a:t>
            </a:r>
            <a:r>
              <a:rPr lang="es-AR" sz="800" err="1">
                <a:solidFill>
                  <a:schemeClr val="tx2"/>
                </a:solidFill>
                <a:latin typeface="Pulso Light" pitchFamily="2" charset="0"/>
                <a:cs typeface="+mn-cs"/>
              </a:rPr>
              <a:t>Lighting</a:t>
            </a:r>
            <a:r>
              <a:rPr lang="es-AR" sz="800">
                <a:solidFill>
                  <a:schemeClr val="tx2"/>
                </a:solidFill>
                <a:latin typeface="Pulso Light" pitchFamily="2" charset="0"/>
                <a:cs typeface="+mn-cs"/>
              </a:rPr>
              <a:t>, Confort, Eficiencia y Analítica Comercial </a:t>
            </a:r>
          </a:p>
        </p:txBody>
      </p:sp>
      <p:sp>
        <p:nvSpPr>
          <p:cNvPr id="126" name="CuadroTexto 125">
            <a:extLst>
              <a:ext uri="{FF2B5EF4-FFF2-40B4-BE49-F238E27FC236}">
                <a16:creationId xmlns:a16="http://schemas.microsoft.com/office/drawing/2014/main" id="{D0CCF6CA-D8EB-8460-4CB8-78852A735BF3}"/>
              </a:ext>
            </a:extLst>
          </p:cNvPr>
          <p:cNvSpPr txBox="1"/>
          <p:nvPr/>
        </p:nvSpPr>
        <p:spPr>
          <a:xfrm>
            <a:off x="4695297" y="2621464"/>
            <a:ext cx="821947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0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cs typeface="+mn-cs"/>
              </a:rPr>
              <a:t>SMB / B2B</a:t>
            </a:r>
          </a:p>
        </p:txBody>
      </p:sp>
      <p:sp>
        <p:nvSpPr>
          <p:cNvPr id="127" name="CuadroTexto 126">
            <a:extLst>
              <a:ext uri="{FF2B5EF4-FFF2-40B4-BE49-F238E27FC236}">
                <a16:creationId xmlns:a16="http://schemas.microsoft.com/office/drawing/2014/main" id="{34C615CC-DCF6-2E2A-EB1E-A287997D1561}"/>
              </a:ext>
            </a:extLst>
          </p:cNvPr>
          <p:cNvSpPr txBox="1"/>
          <p:nvPr/>
        </p:nvSpPr>
        <p:spPr>
          <a:xfrm>
            <a:off x="7321208" y="2621464"/>
            <a:ext cx="821947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0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cs typeface="+mn-cs"/>
              </a:rPr>
              <a:t>UY, CL, CO, BR</a:t>
            </a:r>
          </a:p>
        </p:txBody>
      </p:sp>
      <p:sp>
        <p:nvSpPr>
          <p:cNvPr id="2052" name="CuadroTexto 2051">
            <a:extLst>
              <a:ext uri="{FF2B5EF4-FFF2-40B4-BE49-F238E27FC236}">
                <a16:creationId xmlns:a16="http://schemas.microsoft.com/office/drawing/2014/main" id="{CD6ECB5E-39EE-37CA-38A8-66F25DEE9530}"/>
              </a:ext>
            </a:extLst>
          </p:cNvPr>
          <p:cNvSpPr txBox="1"/>
          <p:nvPr/>
        </p:nvSpPr>
        <p:spPr>
          <a:xfrm>
            <a:off x="5888474" y="3307245"/>
            <a:ext cx="1093882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 defTabSz="685748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cs typeface="+mn-cs"/>
              </a:defRPr>
            </a:lvl1pPr>
          </a:lstStyle>
          <a:p>
            <a:r>
              <a:rPr lang="es-ES" sz="1000"/>
              <a:t>400.000 hogares al 2027​</a:t>
            </a: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5A4478AD-DDC6-DF3E-5FDC-EAB897DA72EB}"/>
              </a:ext>
            </a:extLst>
          </p:cNvPr>
          <p:cNvGrpSpPr/>
          <p:nvPr/>
        </p:nvGrpSpPr>
        <p:grpSpPr>
          <a:xfrm>
            <a:off x="4477565" y="527581"/>
            <a:ext cx="3915706" cy="3915706"/>
            <a:chOff x="4112382" y="868146"/>
            <a:chExt cx="3717962" cy="3717962"/>
          </a:xfrm>
        </p:grpSpPr>
        <p:grpSp>
          <p:nvGrpSpPr>
            <p:cNvPr id="82" name="Grupo 81">
              <a:extLst>
                <a:ext uri="{FF2B5EF4-FFF2-40B4-BE49-F238E27FC236}">
                  <a16:creationId xmlns:a16="http://schemas.microsoft.com/office/drawing/2014/main" id="{71F264C9-99C5-DF59-3012-91A19B1B0213}"/>
                </a:ext>
              </a:extLst>
            </p:cNvPr>
            <p:cNvGrpSpPr/>
            <p:nvPr/>
          </p:nvGrpSpPr>
          <p:grpSpPr>
            <a:xfrm>
              <a:off x="4112382" y="868146"/>
              <a:ext cx="3717962" cy="3717962"/>
              <a:chOff x="3594229" y="1662094"/>
              <a:chExt cx="4338503" cy="4542840"/>
            </a:xfrm>
            <a:solidFill>
              <a:srgbClr val="A905B7">
                <a:alpha val="40000"/>
              </a:srgbClr>
            </a:solidFill>
          </p:grpSpPr>
          <p:sp>
            <p:nvSpPr>
              <p:cNvPr id="78" name="Círculo parcial 77">
                <a:extLst>
                  <a:ext uri="{FF2B5EF4-FFF2-40B4-BE49-F238E27FC236}">
                    <a16:creationId xmlns:a16="http://schemas.microsoft.com/office/drawing/2014/main" id="{020B3A8D-9BC6-6915-953A-A040567542E6}"/>
                  </a:ext>
                </a:extLst>
              </p:cNvPr>
              <p:cNvSpPr/>
              <p:nvPr/>
            </p:nvSpPr>
            <p:spPr>
              <a:xfrm rot="5400000">
                <a:off x="3496757" y="1759566"/>
                <a:ext cx="4533447" cy="4338503"/>
              </a:xfrm>
              <a:prstGeom prst="pie">
                <a:avLst>
                  <a:gd name="adj1" fmla="val 8455859"/>
                  <a:gd name="adj2" fmla="val 13139697"/>
                </a:avLst>
              </a:prstGeom>
              <a:solidFill>
                <a:schemeClr val="bg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4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AR" sz="1350">
                  <a:solidFill>
                    <a:srgbClr val="24272A"/>
                  </a:solidFill>
                  <a:latin typeface="Open Sans"/>
                </a:endParaRPr>
              </a:p>
            </p:txBody>
          </p:sp>
          <p:sp>
            <p:nvSpPr>
              <p:cNvPr id="80" name="Círculo parcial 79">
                <a:extLst>
                  <a:ext uri="{FF2B5EF4-FFF2-40B4-BE49-F238E27FC236}">
                    <a16:creationId xmlns:a16="http://schemas.microsoft.com/office/drawing/2014/main" id="{AAF24B21-4DEA-9EE0-2EC4-E78008C0CFB0}"/>
                  </a:ext>
                </a:extLst>
              </p:cNvPr>
              <p:cNvSpPr/>
              <p:nvPr/>
            </p:nvSpPr>
            <p:spPr>
              <a:xfrm rot="5400000">
                <a:off x="3406950" y="1878730"/>
                <a:ext cx="4533447" cy="4100175"/>
              </a:xfrm>
              <a:prstGeom prst="pie">
                <a:avLst>
                  <a:gd name="adj1" fmla="val 5375961"/>
                  <a:gd name="adj2" fmla="val 8442148"/>
                </a:avLst>
              </a:prstGeom>
              <a:solidFill>
                <a:schemeClr val="bg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4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AR" sz="1350">
                  <a:solidFill>
                    <a:srgbClr val="24272A"/>
                  </a:solidFill>
                  <a:latin typeface="Open Sans"/>
                </a:endParaRPr>
              </a:p>
            </p:txBody>
          </p:sp>
          <p:sp>
            <p:nvSpPr>
              <p:cNvPr id="81" name="Círculo parcial 80">
                <a:extLst>
                  <a:ext uri="{FF2B5EF4-FFF2-40B4-BE49-F238E27FC236}">
                    <a16:creationId xmlns:a16="http://schemas.microsoft.com/office/drawing/2014/main" id="{C7146A75-C47A-9B77-E00B-1C33590E6753}"/>
                  </a:ext>
                </a:extLst>
              </p:cNvPr>
              <p:cNvSpPr/>
              <p:nvPr/>
            </p:nvSpPr>
            <p:spPr>
              <a:xfrm rot="5400000">
                <a:off x="3591706" y="1888123"/>
                <a:ext cx="4533447" cy="4100175"/>
              </a:xfrm>
              <a:prstGeom prst="pie">
                <a:avLst>
                  <a:gd name="adj1" fmla="val 13127200"/>
                  <a:gd name="adj2" fmla="val 16218765"/>
                </a:avLst>
              </a:prstGeom>
              <a:solidFill>
                <a:schemeClr val="bg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4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AR" sz="1350">
                  <a:solidFill>
                    <a:srgbClr val="24272A"/>
                  </a:solidFill>
                  <a:latin typeface="Open Sans"/>
                </a:endParaRPr>
              </a:p>
            </p:txBody>
          </p:sp>
        </p:grpSp>
        <p:sp>
          <p:nvSpPr>
            <p:cNvPr id="91" name="CuadroTexto 90">
              <a:extLst>
                <a:ext uri="{FF2B5EF4-FFF2-40B4-BE49-F238E27FC236}">
                  <a16:creationId xmlns:a16="http://schemas.microsoft.com/office/drawing/2014/main" id="{1002ED40-2932-11C3-8C3B-700BCF609E8C}"/>
                </a:ext>
              </a:extLst>
            </p:cNvPr>
            <p:cNvSpPr txBox="1"/>
            <p:nvPr/>
          </p:nvSpPr>
          <p:spPr>
            <a:xfrm rot="18357815">
              <a:off x="4048845" y="2006943"/>
              <a:ext cx="1335123" cy="4091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685748" fontAlgn="auto">
                <a:spcBef>
                  <a:spcPts val="1200"/>
                </a:spcBef>
                <a:spcAft>
                  <a:spcPts val="0"/>
                </a:spcAft>
                <a:defRPr/>
              </a:pPr>
              <a:r>
                <a:rPr lang="es-ES" sz="1100">
                  <a:solidFill>
                    <a:schemeClr val="tx2">
                      <a:lumMod val="75000"/>
                      <a:lumOff val="25000"/>
                    </a:schemeClr>
                  </a:solidFill>
                  <a:latin typeface="Pulso" pitchFamily="2" charset="0"/>
                  <a:cs typeface="+mn-cs"/>
                </a:rPr>
                <a:t>Expansión de casos de uso</a:t>
              </a:r>
            </a:p>
          </p:txBody>
        </p:sp>
        <p:sp>
          <p:nvSpPr>
            <p:cNvPr id="93" name="CuadroTexto 92">
              <a:extLst>
                <a:ext uri="{FF2B5EF4-FFF2-40B4-BE49-F238E27FC236}">
                  <a16:creationId xmlns:a16="http://schemas.microsoft.com/office/drawing/2014/main" id="{896C5EAC-2EFA-20DB-39EA-92222999E29B}"/>
                </a:ext>
              </a:extLst>
            </p:cNvPr>
            <p:cNvSpPr txBox="1"/>
            <p:nvPr/>
          </p:nvSpPr>
          <p:spPr>
            <a:xfrm>
              <a:off x="5141256" y="1228048"/>
              <a:ext cx="1660211" cy="4091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685748" fontAlgn="auto">
                <a:spcBef>
                  <a:spcPts val="1200"/>
                </a:spcBef>
                <a:spcAft>
                  <a:spcPts val="0"/>
                </a:spcAft>
                <a:defRPr/>
              </a:pPr>
              <a:r>
                <a:rPr lang="es-ES" sz="1100">
                  <a:solidFill>
                    <a:schemeClr val="tx2">
                      <a:lumMod val="75000"/>
                      <a:lumOff val="25000"/>
                    </a:schemeClr>
                  </a:solidFill>
                  <a:latin typeface="Pulso" pitchFamily="2" charset="0"/>
                  <a:cs typeface="+mn-cs"/>
                </a:rPr>
                <a:t>Expansión del Ecosistema IoT</a:t>
              </a:r>
            </a:p>
          </p:txBody>
        </p:sp>
        <p:sp>
          <p:nvSpPr>
            <p:cNvPr id="4" name="CuadroTexto 3">
              <a:extLst>
                <a:ext uri="{FF2B5EF4-FFF2-40B4-BE49-F238E27FC236}">
                  <a16:creationId xmlns:a16="http://schemas.microsoft.com/office/drawing/2014/main" id="{2279B3C5-ADE8-2530-47C8-4152752A04DD}"/>
                </a:ext>
              </a:extLst>
            </p:cNvPr>
            <p:cNvSpPr txBox="1"/>
            <p:nvPr/>
          </p:nvSpPr>
          <p:spPr>
            <a:xfrm rot="3242185" flipH="1">
              <a:off x="6553798" y="2006943"/>
              <a:ext cx="1335123" cy="4091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685748" fontAlgn="auto">
                <a:spcBef>
                  <a:spcPts val="1200"/>
                </a:spcBef>
                <a:spcAft>
                  <a:spcPts val="0"/>
                </a:spcAft>
                <a:defRPr/>
              </a:pPr>
              <a:r>
                <a:rPr lang="es-ES" sz="1100">
                  <a:solidFill>
                    <a:schemeClr val="tx2">
                      <a:lumMod val="75000"/>
                      <a:lumOff val="25000"/>
                    </a:schemeClr>
                  </a:solidFill>
                  <a:latin typeface="Pulso" pitchFamily="2" charset="0"/>
                  <a:cs typeface="+mn-cs"/>
                </a:rPr>
                <a:t>Expansión Regional</a:t>
              </a:r>
            </a:p>
          </p:txBody>
        </p:sp>
      </p:grpSp>
      <p:sp>
        <p:nvSpPr>
          <p:cNvPr id="7" name="Elipse 6">
            <a:extLst>
              <a:ext uri="{FF2B5EF4-FFF2-40B4-BE49-F238E27FC236}">
                <a16:creationId xmlns:a16="http://schemas.microsoft.com/office/drawing/2014/main" id="{41B03A90-9058-0A6D-843A-43419EC054BF}"/>
              </a:ext>
            </a:extLst>
          </p:cNvPr>
          <p:cNvSpPr/>
          <p:nvPr/>
        </p:nvSpPr>
        <p:spPr>
          <a:xfrm>
            <a:off x="5715448" y="1765464"/>
            <a:ext cx="1439940" cy="1439940"/>
          </a:xfrm>
          <a:prstGeom prst="ellipse">
            <a:avLst/>
          </a:prstGeom>
          <a:solidFill>
            <a:schemeClr val="tx2">
              <a:lumMod val="75000"/>
              <a:lumOff val="25000"/>
            </a:schemeClr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73A87FE2-D7BD-4E80-555D-3E2E18979A81}"/>
              </a:ext>
            </a:extLst>
          </p:cNvPr>
          <p:cNvSpPr txBox="1"/>
          <p:nvPr/>
        </p:nvSpPr>
        <p:spPr>
          <a:xfrm>
            <a:off x="5767854" y="2050900"/>
            <a:ext cx="1335123" cy="8771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748" fontAlgn="auto">
              <a:spcBef>
                <a:spcPts val="1200"/>
              </a:spcBef>
              <a:spcAft>
                <a:spcPts val="0"/>
              </a:spcAft>
              <a:defRPr/>
            </a:pPr>
            <a:r>
              <a:rPr lang="es-ES" sz="900">
                <a:solidFill>
                  <a:srgbClr val="FFFFFF"/>
                </a:solidFill>
                <a:latin typeface="Pulso Light" pitchFamily="2" charset="0"/>
                <a:cs typeface="+mn-cs"/>
              </a:rPr>
              <a:t>Foco de valor</a:t>
            </a:r>
            <a:br>
              <a:rPr lang="es-ES" sz="1350" b="1">
                <a:solidFill>
                  <a:srgbClr val="FFFFFF"/>
                </a:solidFill>
                <a:latin typeface="Pulso" pitchFamily="2" charset="0"/>
                <a:cs typeface="+mn-cs"/>
              </a:rPr>
            </a:br>
            <a:r>
              <a:rPr lang="es-ES" sz="1400" b="1">
                <a:solidFill>
                  <a:srgbClr val="FFFFFF"/>
                </a:solidFill>
                <a:latin typeface="Pulso" pitchFamily="2" charset="0"/>
                <a:cs typeface="+mn-cs"/>
              </a:rPr>
              <a:t>Seguridad y Monitoreo Inteligente</a:t>
            </a:r>
            <a:endParaRPr lang="es-ES" sz="1400">
              <a:solidFill>
                <a:srgbClr val="FFFFFF"/>
              </a:solidFill>
              <a:latin typeface="Pulso" pitchFamily="2" charset="0"/>
              <a:cs typeface="+mn-cs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8F8E77D1-2795-9F27-8898-AF1AD51036A9}"/>
              </a:ext>
            </a:extLst>
          </p:cNvPr>
          <p:cNvSpPr txBox="1"/>
          <p:nvPr/>
        </p:nvSpPr>
        <p:spPr>
          <a:xfrm>
            <a:off x="4545051" y="3496477"/>
            <a:ext cx="112244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000" b="1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cs typeface="+mn-cs"/>
              </a:rPr>
              <a:t>Capturar Valor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00BAD9CA-34BC-834D-99C0-92B4275605D6}"/>
              </a:ext>
            </a:extLst>
          </p:cNvPr>
          <p:cNvSpPr txBox="1"/>
          <p:nvPr/>
        </p:nvSpPr>
        <p:spPr>
          <a:xfrm>
            <a:off x="7170962" y="3496477"/>
            <a:ext cx="112244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000" b="1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cs typeface="+mn-cs"/>
              </a:rPr>
              <a:t>Retener Clientes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0D8A8731-4D7B-8056-A9C0-5E17A830353D}"/>
              </a:ext>
            </a:extLst>
          </p:cNvPr>
          <p:cNvSpPr txBox="1"/>
          <p:nvPr/>
        </p:nvSpPr>
        <p:spPr>
          <a:xfrm>
            <a:off x="4609497" y="3673319"/>
            <a:ext cx="993548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0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cs typeface="+mn-cs"/>
              </a:rPr>
              <a:t>Abonos y venta de dispositivos</a:t>
            </a:r>
          </a:p>
        </p:txBody>
      </p:sp>
      <p:sp>
        <p:nvSpPr>
          <p:cNvPr id="14" name="Rectángulo redondeado 13">
            <a:extLst>
              <a:ext uri="{FF2B5EF4-FFF2-40B4-BE49-F238E27FC236}">
                <a16:creationId xmlns:a16="http://schemas.microsoft.com/office/drawing/2014/main" id="{09E7CE8D-726A-25C1-B906-30CFFBDD40E3}"/>
              </a:ext>
            </a:extLst>
          </p:cNvPr>
          <p:cNvSpPr/>
          <p:nvPr/>
        </p:nvSpPr>
        <p:spPr>
          <a:xfrm>
            <a:off x="540657" y="1364085"/>
            <a:ext cx="2928668" cy="2894162"/>
          </a:xfrm>
          <a:prstGeom prst="roundRect">
            <a:avLst>
              <a:gd name="adj" fmla="val 2806"/>
            </a:avLst>
          </a:prstGeom>
          <a:solidFill>
            <a:schemeClr val="tx2">
              <a:lumMod val="75000"/>
              <a:lumOff val="25000"/>
            </a:schemeClr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15" name="Marcador de texto 8">
            <a:extLst>
              <a:ext uri="{FF2B5EF4-FFF2-40B4-BE49-F238E27FC236}">
                <a16:creationId xmlns:a16="http://schemas.microsoft.com/office/drawing/2014/main" id="{F7BCA4A8-5CE6-2020-D1A3-833BCD7525B0}"/>
              </a:ext>
            </a:extLst>
          </p:cNvPr>
          <p:cNvSpPr txBox="1">
            <a:spLocks/>
          </p:cNvSpPr>
          <p:nvPr/>
        </p:nvSpPr>
        <p:spPr>
          <a:xfrm>
            <a:off x="757435" y="1592647"/>
            <a:ext cx="1876279" cy="157735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es-ES_tradnl" sz="1600" noProof="0">
                <a:solidFill>
                  <a:srgbClr val="FFFFFF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Visión</a:t>
            </a:r>
            <a:endParaRPr lang="es-ES_tradnl" sz="1000" noProof="0">
              <a:solidFill>
                <a:srgbClr val="FFFFFF"/>
              </a:solidFill>
              <a:latin typeface="Pulso" pitchFamily="2" charset="0"/>
              <a:ea typeface="Roboto" panose="02000000000000000000" pitchFamily="2" charset="0"/>
              <a:cs typeface="Open Sans" pitchFamily="2" charset="0"/>
            </a:endParaRPr>
          </a:p>
          <a:p>
            <a:pPr marL="0" indent="0" defTabSz="642967" fontAlgn="auto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es-ES_tradnl" sz="1050" noProof="0">
                <a:solidFill>
                  <a:srgbClr val="FFFFFF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Convertir a </a:t>
            </a:r>
            <a:r>
              <a:rPr lang="es-ES_tradnl" sz="1050" noProof="0">
                <a:solidFill>
                  <a:srgbClr val="FFFFFF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Telecom</a:t>
            </a:r>
            <a:r>
              <a:rPr lang="es-ES_tradnl" sz="1050" noProof="0">
                <a:solidFill>
                  <a:srgbClr val="FFFFFF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 en el proveedor líder de soluciones de hogar y empresa inteligente con foco seguridad en </a:t>
            </a:r>
            <a:r>
              <a:rPr lang="es-ES_tradnl" sz="1050" noProof="0">
                <a:solidFill>
                  <a:srgbClr val="FFFFFF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mérica Latina</a:t>
            </a:r>
            <a:r>
              <a:rPr lang="es-ES_tradnl" sz="1050" noProof="0">
                <a:solidFill>
                  <a:srgbClr val="FFFFFF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, ofreciendo un ecosistema simple y accesible que transforme la vida de las personas.</a:t>
            </a: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7EC358B1-1556-747F-56EB-D15F3ADE7A55}"/>
              </a:ext>
            </a:extLst>
          </p:cNvPr>
          <p:cNvGrpSpPr>
            <a:grpSpLocks noChangeAspect="1"/>
          </p:cNvGrpSpPr>
          <p:nvPr/>
        </p:nvGrpSpPr>
        <p:grpSpPr>
          <a:xfrm>
            <a:off x="757436" y="3935925"/>
            <a:ext cx="1061676" cy="129269"/>
            <a:chOff x="2343481" y="2242423"/>
            <a:chExt cx="4457037" cy="542686"/>
          </a:xfrm>
          <a:solidFill>
            <a:srgbClr val="FFFFFF"/>
          </a:solidFill>
        </p:grpSpPr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66D67D1F-EAD0-C1C6-083B-26253AF1A304}"/>
                </a:ext>
              </a:extLst>
            </p:cNvPr>
            <p:cNvSpPr/>
            <p:nvPr/>
          </p:nvSpPr>
          <p:spPr>
            <a:xfrm>
              <a:off x="2343481" y="2242423"/>
              <a:ext cx="529285" cy="542686"/>
            </a:xfrm>
            <a:custGeom>
              <a:avLst/>
              <a:gdLst>
                <a:gd name="connsiteX0" fmla="*/ 214189 w 529285"/>
                <a:gd name="connsiteY0" fmla="*/ 20717 h 542686"/>
                <a:gd name="connsiteX1" fmla="*/ 27607 w 529285"/>
                <a:gd name="connsiteY1" fmla="*/ 203597 h 542686"/>
                <a:gd name="connsiteX2" fmla="*/ 0 w 529285"/>
                <a:gd name="connsiteY2" fmla="*/ 269319 h 542686"/>
                <a:gd name="connsiteX3" fmla="*/ 0 w 529285"/>
                <a:gd name="connsiteY3" fmla="*/ 542687 h 542686"/>
                <a:gd name="connsiteX4" fmla="*/ 307480 w 529285"/>
                <a:gd name="connsiteY4" fmla="*/ 542687 h 542686"/>
                <a:gd name="connsiteX5" fmla="*/ 307480 w 529285"/>
                <a:gd name="connsiteY5" fmla="*/ 541734 h 542686"/>
                <a:gd name="connsiteX6" fmla="*/ 527381 w 529285"/>
                <a:gd name="connsiteY6" fmla="*/ 321707 h 542686"/>
                <a:gd name="connsiteX7" fmla="*/ 529285 w 529285"/>
                <a:gd name="connsiteY7" fmla="*/ 321707 h 542686"/>
                <a:gd name="connsiteX8" fmla="*/ 529285 w 529285"/>
                <a:gd name="connsiteY8" fmla="*/ 231219 h 542686"/>
                <a:gd name="connsiteX9" fmla="*/ 315096 w 529285"/>
                <a:gd name="connsiteY9" fmla="*/ 20717 h 542686"/>
                <a:gd name="connsiteX10" fmla="*/ 214189 w 529285"/>
                <a:gd name="connsiteY10" fmla="*/ 20717 h 542686"/>
                <a:gd name="connsiteX11" fmla="*/ 493111 w 529285"/>
                <a:gd name="connsiteY11" fmla="*/ 288369 h 542686"/>
                <a:gd name="connsiteX12" fmla="*/ 274162 w 529285"/>
                <a:gd name="connsiteY12" fmla="*/ 507444 h 542686"/>
                <a:gd name="connsiteX13" fmla="*/ 36174 w 529285"/>
                <a:gd name="connsiteY13" fmla="*/ 507444 h 542686"/>
                <a:gd name="connsiteX14" fmla="*/ 36174 w 529285"/>
                <a:gd name="connsiteY14" fmla="*/ 269319 h 542686"/>
                <a:gd name="connsiteX15" fmla="*/ 53309 w 529285"/>
                <a:gd name="connsiteY15" fmla="*/ 229314 h 542686"/>
                <a:gd name="connsiteX16" fmla="*/ 239892 w 529285"/>
                <a:gd name="connsiteY16" fmla="*/ 46434 h 542686"/>
                <a:gd name="connsiteX17" fmla="*/ 290345 w 529285"/>
                <a:gd name="connsiteY17" fmla="*/ 46434 h 542686"/>
                <a:gd name="connsiteX18" fmla="*/ 493111 w 529285"/>
                <a:gd name="connsiteY18" fmla="*/ 246459 h 542686"/>
                <a:gd name="connsiteX19" fmla="*/ 493111 w 529285"/>
                <a:gd name="connsiteY19" fmla="*/ 289322 h 54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29285" h="542686">
                  <a:moveTo>
                    <a:pt x="214189" y="20717"/>
                  </a:moveTo>
                  <a:lnTo>
                    <a:pt x="27607" y="203597"/>
                  </a:lnTo>
                  <a:cubicBezTo>
                    <a:pt x="10471" y="220742"/>
                    <a:pt x="0" y="244554"/>
                    <a:pt x="0" y="269319"/>
                  </a:cubicBezTo>
                  <a:lnTo>
                    <a:pt x="0" y="542687"/>
                  </a:lnTo>
                  <a:lnTo>
                    <a:pt x="307480" y="542687"/>
                  </a:lnTo>
                  <a:cubicBezTo>
                    <a:pt x="307480" y="542687"/>
                    <a:pt x="307480" y="541734"/>
                    <a:pt x="307480" y="541734"/>
                  </a:cubicBezTo>
                  <a:cubicBezTo>
                    <a:pt x="307480" y="420767"/>
                    <a:pt x="406483" y="321707"/>
                    <a:pt x="527381" y="321707"/>
                  </a:cubicBezTo>
                  <a:lnTo>
                    <a:pt x="529285" y="321707"/>
                  </a:lnTo>
                  <a:lnTo>
                    <a:pt x="529285" y="231219"/>
                  </a:lnTo>
                  <a:lnTo>
                    <a:pt x="315096" y="20717"/>
                  </a:lnTo>
                  <a:cubicBezTo>
                    <a:pt x="287489" y="-6906"/>
                    <a:pt x="241796" y="-6906"/>
                    <a:pt x="214189" y="20717"/>
                  </a:cubicBezTo>
                  <a:close/>
                  <a:moveTo>
                    <a:pt x="493111" y="288369"/>
                  </a:moveTo>
                  <a:cubicBezTo>
                    <a:pt x="379829" y="303609"/>
                    <a:pt x="289393" y="394097"/>
                    <a:pt x="274162" y="507444"/>
                  </a:cubicBezTo>
                  <a:lnTo>
                    <a:pt x="36174" y="507444"/>
                  </a:lnTo>
                  <a:cubicBezTo>
                    <a:pt x="36174" y="507444"/>
                    <a:pt x="36174" y="269319"/>
                    <a:pt x="36174" y="269319"/>
                  </a:cubicBezTo>
                  <a:cubicBezTo>
                    <a:pt x="36174" y="254079"/>
                    <a:pt x="41886" y="239792"/>
                    <a:pt x="53309" y="229314"/>
                  </a:cubicBezTo>
                  <a:lnTo>
                    <a:pt x="239892" y="46434"/>
                  </a:lnTo>
                  <a:cubicBezTo>
                    <a:pt x="254171" y="33099"/>
                    <a:pt x="277018" y="33099"/>
                    <a:pt x="290345" y="46434"/>
                  </a:cubicBezTo>
                  <a:lnTo>
                    <a:pt x="493111" y="246459"/>
                  </a:lnTo>
                  <a:lnTo>
                    <a:pt x="493111" y="289322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8" name="Forma libre 17">
              <a:extLst>
                <a:ext uri="{FF2B5EF4-FFF2-40B4-BE49-F238E27FC236}">
                  <a16:creationId xmlns:a16="http://schemas.microsoft.com/office/drawing/2014/main" id="{58AEDF6C-0DEB-0CBD-CDD3-9C72F61DB6B6}"/>
                </a:ext>
              </a:extLst>
            </p:cNvPr>
            <p:cNvSpPr/>
            <p:nvPr/>
          </p:nvSpPr>
          <p:spPr>
            <a:xfrm>
              <a:off x="2735685" y="2648902"/>
              <a:ext cx="135177" cy="135255"/>
            </a:xfrm>
            <a:custGeom>
              <a:avLst/>
              <a:gdLst>
                <a:gd name="connsiteX0" fmla="*/ 0 w 135177"/>
                <a:gd name="connsiteY0" fmla="*/ 135255 h 135255"/>
                <a:gd name="connsiteX1" fmla="*/ 35222 w 135177"/>
                <a:gd name="connsiteY1" fmla="*/ 135255 h 135255"/>
                <a:gd name="connsiteX2" fmla="*/ 135177 w 135177"/>
                <a:gd name="connsiteY2" fmla="*/ 35243 h 135255"/>
                <a:gd name="connsiteX3" fmla="*/ 135177 w 135177"/>
                <a:gd name="connsiteY3" fmla="*/ 0 h 135255"/>
                <a:gd name="connsiteX4" fmla="*/ 0 w 135177"/>
                <a:gd name="connsiteY4" fmla="*/ 135255 h 135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177" h="135255">
                  <a:moveTo>
                    <a:pt x="0" y="135255"/>
                  </a:moveTo>
                  <a:lnTo>
                    <a:pt x="35222" y="135255"/>
                  </a:lnTo>
                  <a:cubicBezTo>
                    <a:pt x="35222" y="80010"/>
                    <a:pt x="79964" y="35243"/>
                    <a:pt x="135177" y="35243"/>
                  </a:cubicBezTo>
                  <a:lnTo>
                    <a:pt x="135177" y="0"/>
                  </a:lnTo>
                  <a:cubicBezTo>
                    <a:pt x="60925" y="0"/>
                    <a:pt x="0" y="60960"/>
                    <a:pt x="0" y="13525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BC43C40E-923C-716F-E25E-A897A7546649}"/>
                </a:ext>
              </a:extLst>
            </p:cNvPr>
            <p:cNvSpPr/>
            <p:nvPr/>
          </p:nvSpPr>
          <p:spPr>
            <a:xfrm>
              <a:off x="3099330" y="2380297"/>
              <a:ext cx="300816" cy="388619"/>
            </a:xfrm>
            <a:custGeom>
              <a:avLst/>
              <a:gdLst>
                <a:gd name="connsiteX0" fmla="*/ 179919 w 300816"/>
                <a:gd name="connsiteY0" fmla="*/ 168592 h 388619"/>
                <a:gd name="connsiteX1" fmla="*/ 91387 w 300816"/>
                <a:gd name="connsiteY1" fmla="*/ 107632 h 388619"/>
                <a:gd name="connsiteX2" fmla="*/ 148504 w 300816"/>
                <a:gd name="connsiteY2" fmla="*/ 64770 h 388619"/>
                <a:gd name="connsiteX3" fmla="*/ 238940 w 300816"/>
                <a:gd name="connsiteY3" fmla="*/ 122873 h 388619"/>
                <a:gd name="connsiteX4" fmla="*/ 297009 w 300816"/>
                <a:gd name="connsiteY4" fmla="*/ 93345 h 388619"/>
                <a:gd name="connsiteX5" fmla="*/ 148504 w 300816"/>
                <a:gd name="connsiteY5" fmla="*/ 0 h 388619"/>
                <a:gd name="connsiteX6" fmla="*/ 20943 w 300816"/>
                <a:gd name="connsiteY6" fmla="*/ 108585 h 388619"/>
                <a:gd name="connsiteX7" fmla="*/ 151360 w 300816"/>
                <a:gd name="connsiteY7" fmla="*/ 228600 h 388619"/>
                <a:gd name="connsiteX8" fmla="*/ 233228 w 300816"/>
                <a:gd name="connsiteY8" fmla="*/ 282892 h 388619"/>
                <a:gd name="connsiteX9" fmla="*/ 163736 w 300816"/>
                <a:gd name="connsiteY9" fmla="*/ 323850 h 388619"/>
                <a:gd name="connsiteX10" fmla="*/ 53309 w 300816"/>
                <a:gd name="connsiteY10" fmla="*/ 260032 h 388619"/>
                <a:gd name="connsiteX11" fmla="*/ 0 w 300816"/>
                <a:gd name="connsiteY11" fmla="*/ 295275 h 388619"/>
                <a:gd name="connsiteX12" fmla="*/ 160880 w 300816"/>
                <a:gd name="connsiteY12" fmla="*/ 388620 h 388619"/>
                <a:gd name="connsiteX13" fmla="*/ 300817 w 300816"/>
                <a:gd name="connsiteY13" fmla="*/ 285750 h 388619"/>
                <a:gd name="connsiteX14" fmla="*/ 179919 w 300816"/>
                <a:gd name="connsiteY14" fmla="*/ 170498 h 388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00816" h="388619">
                  <a:moveTo>
                    <a:pt x="179919" y="168592"/>
                  </a:moveTo>
                  <a:cubicBezTo>
                    <a:pt x="130417" y="152400"/>
                    <a:pt x="91387" y="140017"/>
                    <a:pt x="91387" y="107632"/>
                  </a:cubicBezTo>
                  <a:cubicBezTo>
                    <a:pt x="91387" y="75247"/>
                    <a:pt x="112330" y="64770"/>
                    <a:pt x="148504" y="64770"/>
                  </a:cubicBezTo>
                  <a:cubicBezTo>
                    <a:pt x="184679" y="64770"/>
                    <a:pt x="220853" y="83820"/>
                    <a:pt x="238940" y="122873"/>
                  </a:cubicBezTo>
                  <a:lnTo>
                    <a:pt x="297009" y="93345"/>
                  </a:lnTo>
                  <a:cubicBezTo>
                    <a:pt x="276066" y="40957"/>
                    <a:pt x="221805" y="0"/>
                    <a:pt x="148504" y="0"/>
                  </a:cubicBezTo>
                  <a:cubicBezTo>
                    <a:pt x="75204" y="0"/>
                    <a:pt x="20943" y="45720"/>
                    <a:pt x="20943" y="108585"/>
                  </a:cubicBezTo>
                  <a:cubicBezTo>
                    <a:pt x="20943" y="171450"/>
                    <a:pt x="95195" y="210502"/>
                    <a:pt x="151360" y="228600"/>
                  </a:cubicBezTo>
                  <a:cubicBezTo>
                    <a:pt x="195150" y="242888"/>
                    <a:pt x="233228" y="257175"/>
                    <a:pt x="233228" y="282892"/>
                  </a:cubicBezTo>
                  <a:cubicBezTo>
                    <a:pt x="233228" y="308610"/>
                    <a:pt x="208477" y="323850"/>
                    <a:pt x="163736" y="323850"/>
                  </a:cubicBezTo>
                  <a:cubicBezTo>
                    <a:pt x="118994" y="323850"/>
                    <a:pt x="79012" y="305753"/>
                    <a:pt x="53309" y="260032"/>
                  </a:cubicBezTo>
                  <a:lnTo>
                    <a:pt x="0" y="295275"/>
                  </a:lnTo>
                  <a:cubicBezTo>
                    <a:pt x="31414" y="360998"/>
                    <a:pt x="98051" y="387667"/>
                    <a:pt x="160880" y="388620"/>
                  </a:cubicBezTo>
                  <a:cubicBezTo>
                    <a:pt x="234180" y="388620"/>
                    <a:pt x="300817" y="352425"/>
                    <a:pt x="300817" y="285750"/>
                  </a:cubicBezTo>
                  <a:cubicBezTo>
                    <a:pt x="300817" y="219075"/>
                    <a:pt x="228468" y="186690"/>
                    <a:pt x="179919" y="170498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767B4EB3-E192-F66F-10D1-D7FA885FAA83}"/>
                </a:ext>
              </a:extLst>
            </p:cNvPr>
            <p:cNvSpPr/>
            <p:nvPr/>
          </p:nvSpPr>
          <p:spPr>
            <a:xfrm>
              <a:off x="3479159" y="2379344"/>
              <a:ext cx="560699" cy="379094"/>
            </a:xfrm>
            <a:custGeom>
              <a:avLst/>
              <a:gdLst>
                <a:gd name="connsiteX0" fmla="*/ 436946 w 560699"/>
                <a:gd name="connsiteY0" fmla="*/ 0 h 379094"/>
                <a:gd name="connsiteX1" fmla="*/ 311288 w 560699"/>
                <a:gd name="connsiteY1" fmla="*/ 90488 h 379094"/>
                <a:gd name="connsiteX2" fmla="*/ 306528 w 560699"/>
                <a:gd name="connsiteY2" fmla="*/ 90488 h 379094"/>
                <a:gd name="connsiteX3" fmla="*/ 195150 w 560699"/>
                <a:gd name="connsiteY3" fmla="*/ 0 h 379094"/>
                <a:gd name="connsiteX4" fmla="*/ 73300 w 560699"/>
                <a:gd name="connsiteY4" fmla="*/ 80963 h 379094"/>
                <a:gd name="connsiteX5" fmla="*/ 68540 w 560699"/>
                <a:gd name="connsiteY5" fmla="*/ 80963 h 379094"/>
                <a:gd name="connsiteX6" fmla="*/ 68540 w 560699"/>
                <a:gd name="connsiteY6" fmla="*/ 10478 h 379094"/>
                <a:gd name="connsiteX7" fmla="*/ 0 w 560699"/>
                <a:gd name="connsiteY7" fmla="*/ 10478 h 379094"/>
                <a:gd name="connsiteX8" fmla="*/ 0 w 560699"/>
                <a:gd name="connsiteY8" fmla="*/ 379095 h 379094"/>
                <a:gd name="connsiteX9" fmla="*/ 75204 w 560699"/>
                <a:gd name="connsiteY9" fmla="*/ 379095 h 379094"/>
                <a:gd name="connsiteX10" fmla="*/ 75204 w 560699"/>
                <a:gd name="connsiteY10" fmla="*/ 186690 h 379094"/>
                <a:gd name="connsiteX11" fmla="*/ 166592 w 560699"/>
                <a:gd name="connsiteY11" fmla="*/ 63818 h 379094"/>
                <a:gd name="connsiteX12" fmla="*/ 242748 w 560699"/>
                <a:gd name="connsiteY12" fmla="*/ 157163 h 379094"/>
                <a:gd name="connsiteX13" fmla="*/ 242748 w 560699"/>
                <a:gd name="connsiteY13" fmla="*/ 379095 h 379094"/>
                <a:gd name="connsiteX14" fmla="*/ 317952 w 560699"/>
                <a:gd name="connsiteY14" fmla="*/ 379095 h 379094"/>
                <a:gd name="connsiteX15" fmla="*/ 317952 w 560699"/>
                <a:gd name="connsiteY15" fmla="*/ 180975 h 379094"/>
                <a:gd name="connsiteX16" fmla="*/ 414099 w 560699"/>
                <a:gd name="connsiteY16" fmla="*/ 63818 h 379094"/>
                <a:gd name="connsiteX17" fmla="*/ 485495 w 560699"/>
                <a:gd name="connsiteY17" fmla="*/ 157163 h 379094"/>
                <a:gd name="connsiteX18" fmla="*/ 485495 w 560699"/>
                <a:gd name="connsiteY18" fmla="*/ 379095 h 379094"/>
                <a:gd name="connsiteX19" fmla="*/ 560700 w 560699"/>
                <a:gd name="connsiteY19" fmla="*/ 379095 h 379094"/>
                <a:gd name="connsiteX20" fmla="*/ 560700 w 560699"/>
                <a:gd name="connsiteY20" fmla="*/ 146685 h 379094"/>
                <a:gd name="connsiteX21" fmla="*/ 437898 w 560699"/>
                <a:gd name="connsiteY21" fmla="*/ 0 h 379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60699" h="379094">
                  <a:moveTo>
                    <a:pt x="436946" y="0"/>
                  </a:moveTo>
                  <a:cubicBezTo>
                    <a:pt x="373165" y="0"/>
                    <a:pt x="329375" y="38100"/>
                    <a:pt x="311288" y="90488"/>
                  </a:cubicBezTo>
                  <a:lnTo>
                    <a:pt x="306528" y="90488"/>
                  </a:lnTo>
                  <a:cubicBezTo>
                    <a:pt x="293201" y="37148"/>
                    <a:pt x="256075" y="0"/>
                    <a:pt x="195150" y="0"/>
                  </a:cubicBezTo>
                  <a:cubicBezTo>
                    <a:pt x="134225" y="0"/>
                    <a:pt x="88532" y="36195"/>
                    <a:pt x="73300" y="80963"/>
                  </a:cubicBezTo>
                  <a:lnTo>
                    <a:pt x="68540" y="80963"/>
                  </a:lnTo>
                  <a:lnTo>
                    <a:pt x="68540" y="10478"/>
                  </a:lnTo>
                  <a:lnTo>
                    <a:pt x="0" y="10478"/>
                  </a:lnTo>
                  <a:lnTo>
                    <a:pt x="0" y="379095"/>
                  </a:lnTo>
                  <a:lnTo>
                    <a:pt x="75204" y="379095"/>
                  </a:lnTo>
                  <a:lnTo>
                    <a:pt x="75204" y="186690"/>
                  </a:lnTo>
                  <a:cubicBezTo>
                    <a:pt x="75204" y="134303"/>
                    <a:pt x="103763" y="63818"/>
                    <a:pt x="166592" y="63818"/>
                  </a:cubicBezTo>
                  <a:cubicBezTo>
                    <a:pt x="229420" y="63818"/>
                    <a:pt x="242748" y="92393"/>
                    <a:pt x="242748" y="157163"/>
                  </a:cubicBezTo>
                  <a:lnTo>
                    <a:pt x="242748" y="379095"/>
                  </a:lnTo>
                  <a:lnTo>
                    <a:pt x="317952" y="379095"/>
                  </a:lnTo>
                  <a:lnTo>
                    <a:pt x="317952" y="180975"/>
                  </a:lnTo>
                  <a:cubicBezTo>
                    <a:pt x="317952" y="131445"/>
                    <a:pt x="349366" y="63818"/>
                    <a:pt x="414099" y="63818"/>
                  </a:cubicBezTo>
                  <a:cubicBezTo>
                    <a:pt x="478832" y="63818"/>
                    <a:pt x="485495" y="103822"/>
                    <a:pt x="485495" y="157163"/>
                  </a:cubicBezTo>
                  <a:lnTo>
                    <a:pt x="485495" y="379095"/>
                  </a:lnTo>
                  <a:lnTo>
                    <a:pt x="560700" y="379095"/>
                  </a:lnTo>
                  <a:lnTo>
                    <a:pt x="560700" y="146685"/>
                  </a:lnTo>
                  <a:cubicBezTo>
                    <a:pt x="560700" y="56198"/>
                    <a:pt x="516910" y="0"/>
                    <a:pt x="437898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1" name="Forma libre 20">
              <a:extLst>
                <a:ext uri="{FF2B5EF4-FFF2-40B4-BE49-F238E27FC236}">
                  <a16:creationId xmlns:a16="http://schemas.microsoft.com/office/drawing/2014/main" id="{9AE5A294-FBA0-63DF-2EC8-E705F2FF2A31}"/>
                </a:ext>
              </a:extLst>
            </p:cNvPr>
            <p:cNvSpPr/>
            <p:nvPr/>
          </p:nvSpPr>
          <p:spPr>
            <a:xfrm>
              <a:off x="4102687" y="2379344"/>
              <a:ext cx="346510" cy="387667"/>
            </a:xfrm>
            <a:custGeom>
              <a:avLst/>
              <a:gdLst>
                <a:gd name="connsiteX0" fmla="*/ 309384 w 346510"/>
                <a:gd name="connsiteY0" fmla="*/ 306705 h 387667"/>
                <a:gd name="connsiteX1" fmla="*/ 309384 w 346510"/>
                <a:gd name="connsiteY1" fmla="*/ 139065 h 387667"/>
                <a:gd name="connsiteX2" fmla="*/ 167543 w 346510"/>
                <a:gd name="connsiteY2" fmla="*/ 0 h 387667"/>
                <a:gd name="connsiteX3" fmla="*/ 9520 w 346510"/>
                <a:gd name="connsiteY3" fmla="*/ 115253 h 387667"/>
                <a:gd name="connsiteX4" fmla="*/ 71396 w 346510"/>
                <a:gd name="connsiteY4" fmla="*/ 140970 h 387667"/>
                <a:gd name="connsiteX5" fmla="*/ 167543 w 346510"/>
                <a:gd name="connsiteY5" fmla="*/ 63818 h 387667"/>
                <a:gd name="connsiteX6" fmla="*/ 238940 w 346510"/>
                <a:gd name="connsiteY6" fmla="*/ 146685 h 387667"/>
                <a:gd name="connsiteX7" fmla="*/ 238940 w 346510"/>
                <a:gd name="connsiteY7" fmla="*/ 169545 h 387667"/>
                <a:gd name="connsiteX8" fmla="*/ 152312 w 346510"/>
                <a:gd name="connsiteY8" fmla="*/ 169545 h 387667"/>
                <a:gd name="connsiteX9" fmla="*/ 0 w 346510"/>
                <a:gd name="connsiteY9" fmla="*/ 284797 h 387667"/>
                <a:gd name="connsiteX10" fmla="*/ 115186 w 346510"/>
                <a:gd name="connsiteY10" fmla="*/ 387668 h 387667"/>
                <a:gd name="connsiteX11" fmla="*/ 248459 w 346510"/>
                <a:gd name="connsiteY11" fmla="*/ 301943 h 387667"/>
                <a:gd name="connsiteX12" fmla="*/ 255123 w 346510"/>
                <a:gd name="connsiteY12" fmla="*/ 301943 h 387667"/>
                <a:gd name="connsiteX13" fmla="*/ 255123 w 346510"/>
                <a:gd name="connsiteY13" fmla="*/ 325755 h 387667"/>
                <a:gd name="connsiteX14" fmla="*/ 303673 w 346510"/>
                <a:gd name="connsiteY14" fmla="*/ 379095 h 387667"/>
                <a:gd name="connsiteX15" fmla="*/ 346511 w 346510"/>
                <a:gd name="connsiteY15" fmla="*/ 379095 h 387667"/>
                <a:gd name="connsiteX16" fmla="*/ 346511 w 346510"/>
                <a:gd name="connsiteY16" fmla="*/ 320040 h 387667"/>
                <a:gd name="connsiteX17" fmla="*/ 317952 w 346510"/>
                <a:gd name="connsiteY17" fmla="*/ 320040 h 387667"/>
                <a:gd name="connsiteX18" fmla="*/ 308432 w 346510"/>
                <a:gd name="connsiteY18" fmla="*/ 306705 h 387667"/>
                <a:gd name="connsiteX19" fmla="*/ 130417 w 346510"/>
                <a:gd name="connsiteY19" fmla="*/ 322897 h 387667"/>
                <a:gd name="connsiteX20" fmla="*/ 72348 w 346510"/>
                <a:gd name="connsiteY20" fmla="*/ 279083 h 387667"/>
                <a:gd name="connsiteX21" fmla="*/ 178015 w 346510"/>
                <a:gd name="connsiteY21" fmla="*/ 224790 h 387667"/>
                <a:gd name="connsiteX22" fmla="*/ 238940 w 346510"/>
                <a:gd name="connsiteY22" fmla="*/ 224790 h 387667"/>
                <a:gd name="connsiteX23" fmla="*/ 130417 w 346510"/>
                <a:gd name="connsiteY23" fmla="*/ 322897 h 387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46510" h="387667">
                  <a:moveTo>
                    <a:pt x="309384" y="306705"/>
                  </a:moveTo>
                  <a:lnTo>
                    <a:pt x="309384" y="139065"/>
                  </a:lnTo>
                  <a:cubicBezTo>
                    <a:pt x="309384" y="50482"/>
                    <a:pt x="253219" y="0"/>
                    <a:pt x="167543" y="0"/>
                  </a:cubicBezTo>
                  <a:cubicBezTo>
                    <a:pt x="81868" y="0"/>
                    <a:pt x="34270" y="42863"/>
                    <a:pt x="9520" y="115253"/>
                  </a:cubicBezTo>
                  <a:lnTo>
                    <a:pt x="71396" y="140970"/>
                  </a:lnTo>
                  <a:cubicBezTo>
                    <a:pt x="93291" y="87630"/>
                    <a:pt x="119946" y="63818"/>
                    <a:pt x="167543" y="63818"/>
                  </a:cubicBezTo>
                  <a:cubicBezTo>
                    <a:pt x="215141" y="63818"/>
                    <a:pt x="238940" y="92393"/>
                    <a:pt x="238940" y="146685"/>
                  </a:cubicBezTo>
                  <a:lnTo>
                    <a:pt x="238940" y="169545"/>
                  </a:lnTo>
                  <a:lnTo>
                    <a:pt x="152312" y="169545"/>
                  </a:lnTo>
                  <a:cubicBezTo>
                    <a:pt x="72348" y="169545"/>
                    <a:pt x="0" y="209550"/>
                    <a:pt x="0" y="284797"/>
                  </a:cubicBezTo>
                  <a:cubicBezTo>
                    <a:pt x="0" y="360045"/>
                    <a:pt x="51405" y="387668"/>
                    <a:pt x="115186" y="387668"/>
                  </a:cubicBezTo>
                  <a:cubicBezTo>
                    <a:pt x="178967" y="387668"/>
                    <a:pt x="226565" y="350520"/>
                    <a:pt x="248459" y="301943"/>
                  </a:cubicBezTo>
                  <a:lnTo>
                    <a:pt x="255123" y="301943"/>
                  </a:lnTo>
                  <a:lnTo>
                    <a:pt x="255123" y="325755"/>
                  </a:lnTo>
                  <a:cubicBezTo>
                    <a:pt x="255123" y="360997"/>
                    <a:pt x="271306" y="379095"/>
                    <a:pt x="303673" y="379095"/>
                  </a:cubicBezTo>
                  <a:lnTo>
                    <a:pt x="346511" y="379095"/>
                  </a:lnTo>
                  <a:lnTo>
                    <a:pt x="346511" y="320040"/>
                  </a:lnTo>
                  <a:lnTo>
                    <a:pt x="317952" y="320040"/>
                  </a:lnTo>
                  <a:cubicBezTo>
                    <a:pt x="311288" y="320040"/>
                    <a:pt x="308432" y="315278"/>
                    <a:pt x="308432" y="306705"/>
                  </a:cubicBezTo>
                  <a:close/>
                  <a:moveTo>
                    <a:pt x="130417" y="322897"/>
                  </a:moveTo>
                  <a:cubicBezTo>
                    <a:pt x="101859" y="322897"/>
                    <a:pt x="72348" y="307658"/>
                    <a:pt x="72348" y="279083"/>
                  </a:cubicBezTo>
                  <a:cubicBezTo>
                    <a:pt x="72348" y="250508"/>
                    <a:pt x="118994" y="224790"/>
                    <a:pt x="178015" y="224790"/>
                  </a:cubicBezTo>
                  <a:lnTo>
                    <a:pt x="238940" y="224790"/>
                  </a:lnTo>
                  <a:cubicBezTo>
                    <a:pt x="233228" y="273368"/>
                    <a:pt x="182775" y="322897"/>
                    <a:pt x="130417" y="32289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2" name="Forma libre 21">
              <a:extLst>
                <a:ext uri="{FF2B5EF4-FFF2-40B4-BE49-F238E27FC236}">
                  <a16:creationId xmlns:a16="http://schemas.microsoft.com/office/drawing/2014/main" id="{42538BAB-D480-C546-A6B4-24DD00678A82}"/>
                </a:ext>
              </a:extLst>
            </p:cNvPr>
            <p:cNvSpPr/>
            <p:nvPr/>
          </p:nvSpPr>
          <p:spPr>
            <a:xfrm>
              <a:off x="4511075" y="2389822"/>
              <a:ext cx="193246" cy="368617"/>
            </a:xfrm>
            <a:custGeom>
              <a:avLst/>
              <a:gdLst>
                <a:gd name="connsiteX0" fmla="*/ 71396 w 193246"/>
                <a:gd name="connsiteY0" fmla="*/ 67627 h 368617"/>
                <a:gd name="connsiteX1" fmla="*/ 66637 w 193246"/>
                <a:gd name="connsiteY1" fmla="*/ 67627 h 368617"/>
                <a:gd name="connsiteX2" fmla="*/ 66637 w 193246"/>
                <a:gd name="connsiteY2" fmla="*/ 0 h 368617"/>
                <a:gd name="connsiteX3" fmla="*/ 0 w 193246"/>
                <a:gd name="connsiteY3" fmla="*/ 0 h 368617"/>
                <a:gd name="connsiteX4" fmla="*/ 0 w 193246"/>
                <a:gd name="connsiteY4" fmla="*/ 368617 h 368617"/>
                <a:gd name="connsiteX5" fmla="*/ 75204 w 193246"/>
                <a:gd name="connsiteY5" fmla="*/ 368617 h 368617"/>
                <a:gd name="connsiteX6" fmla="*/ 75204 w 193246"/>
                <a:gd name="connsiteY6" fmla="*/ 155257 h 368617"/>
                <a:gd name="connsiteX7" fmla="*/ 144696 w 193246"/>
                <a:gd name="connsiteY7" fmla="*/ 81915 h 368617"/>
                <a:gd name="connsiteX8" fmla="*/ 193246 w 193246"/>
                <a:gd name="connsiteY8" fmla="*/ 81915 h 368617"/>
                <a:gd name="connsiteX9" fmla="*/ 193246 w 193246"/>
                <a:gd name="connsiteY9" fmla="*/ 0 h 368617"/>
                <a:gd name="connsiteX10" fmla="*/ 169447 w 193246"/>
                <a:gd name="connsiteY10" fmla="*/ 0 h 368617"/>
                <a:gd name="connsiteX11" fmla="*/ 71396 w 193246"/>
                <a:gd name="connsiteY11" fmla="*/ 68580 h 368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3246" h="368617">
                  <a:moveTo>
                    <a:pt x="71396" y="67627"/>
                  </a:moveTo>
                  <a:lnTo>
                    <a:pt x="66637" y="67627"/>
                  </a:lnTo>
                  <a:lnTo>
                    <a:pt x="66637" y="0"/>
                  </a:lnTo>
                  <a:lnTo>
                    <a:pt x="0" y="0"/>
                  </a:lnTo>
                  <a:lnTo>
                    <a:pt x="0" y="368617"/>
                  </a:lnTo>
                  <a:lnTo>
                    <a:pt x="75204" y="368617"/>
                  </a:lnTo>
                  <a:lnTo>
                    <a:pt x="75204" y="155257"/>
                  </a:lnTo>
                  <a:cubicBezTo>
                    <a:pt x="75204" y="107632"/>
                    <a:pt x="93291" y="81915"/>
                    <a:pt x="144696" y="81915"/>
                  </a:cubicBezTo>
                  <a:lnTo>
                    <a:pt x="193246" y="81915"/>
                  </a:lnTo>
                  <a:lnTo>
                    <a:pt x="193246" y="0"/>
                  </a:lnTo>
                  <a:lnTo>
                    <a:pt x="169447" y="0"/>
                  </a:lnTo>
                  <a:cubicBezTo>
                    <a:pt x="126609" y="0"/>
                    <a:pt x="86628" y="14288"/>
                    <a:pt x="71396" y="6858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6DB123A4-DBB7-395B-D3D6-9E2FF039128A}"/>
                </a:ext>
              </a:extLst>
            </p:cNvPr>
            <p:cNvSpPr/>
            <p:nvPr/>
          </p:nvSpPr>
          <p:spPr>
            <a:xfrm>
              <a:off x="4713840" y="2306955"/>
              <a:ext cx="223708" cy="451484"/>
            </a:xfrm>
            <a:custGeom>
              <a:avLst/>
              <a:gdLst>
                <a:gd name="connsiteX0" fmla="*/ 131370 w 223708"/>
                <a:gd name="connsiteY0" fmla="*/ 0 h 451484"/>
                <a:gd name="connsiteX1" fmla="*/ 61877 w 223708"/>
                <a:gd name="connsiteY1" fmla="*/ 0 h 451484"/>
                <a:gd name="connsiteX2" fmla="*/ 57117 w 223708"/>
                <a:gd name="connsiteY2" fmla="*/ 82868 h 451484"/>
                <a:gd name="connsiteX3" fmla="*/ 0 w 223708"/>
                <a:gd name="connsiteY3" fmla="*/ 82868 h 451484"/>
                <a:gd name="connsiteX4" fmla="*/ 0 w 223708"/>
                <a:gd name="connsiteY4" fmla="*/ 142875 h 451484"/>
                <a:gd name="connsiteX5" fmla="*/ 57117 w 223708"/>
                <a:gd name="connsiteY5" fmla="*/ 142875 h 451484"/>
                <a:gd name="connsiteX6" fmla="*/ 57117 w 223708"/>
                <a:gd name="connsiteY6" fmla="*/ 370522 h 451484"/>
                <a:gd name="connsiteX7" fmla="*/ 120898 w 223708"/>
                <a:gd name="connsiteY7" fmla="*/ 451485 h 451484"/>
                <a:gd name="connsiteX8" fmla="*/ 223709 w 223708"/>
                <a:gd name="connsiteY8" fmla="*/ 451485 h 451484"/>
                <a:gd name="connsiteX9" fmla="*/ 223709 w 223708"/>
                <a:gd name="connsiteY9" fmla="*/ 384810 h 451484"/>
                <a:gd name="connsiteX10" fmla="*/ 147553 w 223708"/>
                <a:gd name="connsiteY10" fmla="*/ 384810 h 451484"/>
                <a:gd name="connsiteX11" fmla="*/ 133273 w 223708"/>
                <a:gd name="connsiteY11" fmla="*/ 366712 h 451484"/>
                <a:gd name="connsiteX12" fmla="*/ 133273 w 223708"/>
                <a:gd name="connsiteY12" fmla="*/ 142875 h 451484"/>
                <a:gd name="connsiteX13" fmla="*/ 223709 w 223708"/>
                <a:gd name="connsiteY13" fmla="*/ 142875 h 451484"/>
                <a:gd name="connsiteX14" fmla="*/ 223709 w 223708"/>
                <a:gd name="connsiteY14" fmla="*/ 82868 h 451484"/>
                <a:gd name="connsiteX15" fmla="*/ 132321 w 223708"/>
                <a:gd name="connsiteY15" fmla="*/ 82868 h 451484"/>
                <a:gd name="connsiteX16" fmla="*/ 132321 w 223708"/>
                <a:gd name="connsiteY16" fmla="*/ 0 h 451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3708" h="451484">
                  <a:moveTo>
                    <a:pt x="131370" y="0"/>
                  </a:moveTo>
                  <a:lnTo>
                    <a:pt x="61877" y="0"/>
                  </a:lnTo>
                  <a:lnTo>
                    <a:pt x="57117" y="82868"/>
                  </a:lnTo>
                  <a:lnTo>
                    <a:pt x="0" y="82868"/>
                  </a:lnTo>
                  <a:lnTo>
                    <a:pt x="0" y="142875"/>
                  </a:lnTo>
                  <a:lnTo>
                    <a:pt x="57117" y="142875"/>
                  </a:lnTo>
                  <a:lnTo>
                    <a:pt x="57117" y="370522"/>
                  </a:lnTo>
                  <a:cubicBezTo>
                    <a:pt x="57117" y="424815"/>
                    <a:pt x="79012" y="451485"/>
                    <a:pt x="120898" y="451485"/>
                  </a:cubicBezTo>
                  <a:lnTo>
                    <a:pt x="223709" y="451485"/>
                  </a:lnTo>
                  <a:lnTo>
                    <a:pt x="223709" y="384810"/>
                  </a:lnTo>
                  <a:lnTo>
                    <a:pt x="147553" y="384810"/>
                  </a:lnTo>
                  <a:cubicBezTo>
                    <a:pt x="136129" y="384810"/>
                    <a:pt x="133273" y="381000"/>
                    <a:pt x="133273" y="366712"/>
                  </a:cubicBezTo>
                  <a:lnTo>
                    <a:pt x="133273" y="142875"/>
                  </a:lnTo>
                  <a:lnTo>
                    <a:pt x="223709" y="142875"/>
                  </a:lnTo>
                  <a:lnTo>
                    <a:pt x="223709" y="82868"/>
                  </a:lnTo>
                  <a:lnTo>
                    <a:pt x="132321" y="82868"/>
                  </a:lnTo>
                  <a:lnTo>
                    <a:pt x="132321" y="0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4" name="Forma libre 23">
              <a:extLst>
                <a:ext uri="{FF2B5EF4-FFF2-40B4-BE49-F238E27FC236}">
                  <a16:creationId xmlns:a16="http://schemas.microsoft.com/office/drawing/2014/main" id="{2E7CDBA4-E4FF-10FC-3B75-3B744D1080DA}"/>
                </a:ext>
              </a:extLst>
            </p:cNvPr>
            <p:cNvSpPr/>
            <p:nvPr/>
          </p:nvSpPr>
          <p:spPr>
            <a:xfrm>
              <a:off x="5014657" y="2251710"/>
              <a:ext cx="321759" cy="505777"/>
            </a:xfrm>
            <a:custGeom>
              <a:avLst/>
              <a:gdLst>
                <a:gd name="connsiteX0" fmla="*/ 198958 w 321759"/>
                <a:gd name="connsiteY0" fmla="*/ 126682 h 505777"/>
                <a:gd name="connsiteX1" fmla="*/ 75204 w 321759"/>
                <a:gd name="connsiteY1" fmla="*/ 207645 h 505777"/>
                <a:gd name="connsiteX2" fmla="*/ 70444 w 321759"/>
                <a:gd name="connsiteY2" fmla="*/ 207645 h 505777"/>
                <a:gd name="connsiteX3" fmla="*/ 70444 w 321759"/>
                <a:gd name="connsiteY3" fmla="*/ 0 h 505777"/>
                <a:gd name="connsiteX4" fmla="*/ 0 w 321759"/>
                <a:gd name="connsiteY4" fmla="*/ 0 h 505777"/>
                <a:gd name="connsiteX5" fmla="*/ 0 w 321759"/>
                <a:gd name="connsiteY5" fmla="*/ 505778 h 505777"/>
                <a:gd name="connsiteX6" fmla="*/ 75204 w 321759"/>
                <a:gd name="connsiteY6" fmla="*/ 505778 h 505777"/>
                <a:gd name="connsiteX7" fmla="*/ 75204 w 321759"/>
                <a:gd name="connsiteY7" fmla="*/ 315278 h 505777"/>
                <a:gd name="connsiteX8" fmla="*/ 173255 w 321759"/>
                <a:gd name="connsiteY8" fmla="*/ 189547 h 505777"/>
                <a:gd name="connsiteX9" fmla="*/ 246555 w 321759"/>
                <a:gd name="connsiteY9" fmla="*/ 284798 h 505777"/>
                <a:gd name="connsiteX10" fmla="*/ 246555 w 321759"/>
                <a:gd name="connsiteY10" fmla="*/ 504825 h 505777"/>
                <a:gd name="connsiteX11" fmla="*/ 321760 w 321759"/>
                <a:gd name="connsiteY11" fmla="*/ 504825 h 505777"/>
                <a:gd name="connsiteX12" fmla="*/ 321760 w 321759"/>
                <a:gd name="connsiteY12" fmla="*/ 272415 h 505777"/>
                <a:gd name="connsiteX13" fmla="*/ 198958 w 321759"/>
                <a:gd name="connsiteY13" fmla="*/ 125730 h 505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1759" h="505777">
                  <a:moveTo>
                    <a:pt x="198958" y="126682"/>
                  </a:moveTo>
                  <a:cubicBezTo>
                    <a:pt x="135177" y="126682"/>
                    <a:pt x="97099" y="162877"/>
                    <a:pt x="75204" y="207645"/>
                  </a:cubicBezTo>
                  <a:lnTo>
                    <a:pt x="70444" y="207645"/>
                  </a:lnTo>
                  <a:lnTo>
                    <a:pt x="70444" y="0"/>
                  </a:lnTo>
                  <a:lnTo>
                    <a:pt x="0" y="0"/>
                  </a:lnTo>
                  <a:lnTo>
                    <a:pt x="0" y="505778"/>
                  </a:lnTo>
                  <a:lnTo>
                    <a:pt x="75204" y="505778"/>
                  </a:lnTo>
                  <a:lnTo>
                    <a:pt x="75204" y="315278"/>
                  </a:lnTo>
                  <a:cubicBezTo>
                    <a:pt x="75204" y="260985"/>
                    <a:pt x="105667" y="189547"/>
                    <a:pt x="173255" y="189547"/>
                  </a:cubicBezTo>
                  <a:cubicBezTo>
                    <a:pt x="240844" y="189547"/>
                    <a:pt x="246555" y="215265"/>
                    <a:pt x="246555" y="284798"/>
                  </a:cubicBezTo>
                  <a:lnTo>
                    <a:pt x="246555" y="504825"/>
                  </a:lnTo>
                  <a:lnTo>
                    <a:pt x="321760" y="504825"/>
                  </a:lnTo>
                  <a:lnTo>
                    <a:pt x="321760" y="272415"/>
                  </a:lnTo>
                  <a:cubicBezTo>
                    <a:pt x="321760" y="186690"/>
                    <a:pt x="282730" y="125730"/>
                    <a:pt x="198958" y="12573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5" name="Forma libre 24">
              <a:extLst>
                <a:ext uri="{FF2B5EF4-FFF2-40B4-BE49-F238E27FC236}">
                  <a16:creationId xmlns:a16="http://schemas.microsoft.com/office/drawing/2014/main" id="{D97C9213-3731-6A04-06B8-20901258B7F6}"/>
                </a:ext>
              </a:extLst>
            </p:cNvPr>
            <p:cNvSpPr/>
            <p:nvPr/>
          </p:nvSpPr>
          <p:spPr>
            <a:xfrm>
              <a:off x="5403053" y="2379344"/>
              <a:ext cx="355078" cy="388619"/>
            </a:xfrm>
            <a:custGeom>
              <a:avLst/>
              <a:gdLst>
                <a:gd name="connsiteX0" fmla="*/ 179919 w 355078"/>
                <a:gd name="connsiteY0" fmla="*/ 0 h 388619"/>
                <a:gd name="connsiteX1" fmla="*/ 0 w 355078"/>
                <a:gd name="connsiteY1" fmla="*/ 194310 h 388619"/>
                <a:gd name="connsiteX2" fmla="*/ 177063 w 355078"/>
                <a:gd name="connsiteY2" fmla="*/ 388620 h 388619"/>
                <a:gd name="connsiteX3" fmla="*/ 355078 w 355078"/>
                <a:gd name="connsiteY3" fmla="*/ 193358 h 388619"/>
                <a:gd name="connsiteX4" fmla="*/ 179919 w 355078"/>
                <a:gd name="connsiteY4" fmla="*/ 0 h 388619"/>
                <a:gd name="connsiteX5" fmla="*/ 178015 w 355078"/>
                <a:gd name="connsiteY5" fmla="*/ 323850 h 388619"/>
                <a:gd name="connsiteX6" fmla="*/ 72348 w 355078"/>
                <a:gd name="connsiteY6" fmla="*/ 194310 h 388619"/>
                <a:gd name="connsiteX7" fmla="*/ 179919 w 355078"/>
                <a:gd name="connsiteY7" fmla="*/ 64770 h 388619"/>
                <a:gd name="connsiteX8" fmla="*/ 284634 w 355078"/>
                <a:gd name="connsiteY8" fmla="*/ 194310 h 388619"/>
                <a:gd name="connsiteX9" fmla="*/ 178967 w 355078"/>
                <a:gd name="connsiteY9" fmla="*/ 323850 h 388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078" h="388619">
                  <a:moveTo>
                    <a:pt x="179919" y="0"/>
                  </a:moveTo>
                  <a:cubicBezTo>
                    <a:pt x="74252" y="0"/>
                    <a:pt x="0" y="80963"/>
                    <a:pt x="0" y="194310"/>
                  </a:cubicBezTo>
                  <a:cubicBezTo>
                    <a:pt x="0" y="307658"/>
                    <a:pt x="71396" y="388620"/>
                    <a:pt x="177063" y="388620"/>
                  </a:cubicBezTo>
                  <a:cubicBezTo>
                    <a:pt x="282730" y="388620"/>
                    <a:pt x="355078" y="302895"/>
                    <a:pt x="355078" y="193358"/>
                  </a:cubicBezTo>
                  <a:cubicBezTo>
                    <a:pt x="355078" y="83820"/>
                    <a:pt x="285586" y="0"/>
                    <a:pt x="179919" y="0"/>
                  </a:cubicBezTo>
                  <a:close/>
                  <a:moveTo>
                    <a:pt x="178015" y="323850"/>
                  </a:moveTo>
                  <a:cubicBezTo>
                    <a:pt x="109474" y="323850"/>
                    <a:pt x="72348" y="265747"/>
                    <a:pt x="72348" y="194310"/>
                  </a:cubicBezTo>
                  <a:cubicBezTo>
                    <a:pt x="72348" y="122872"/>
                    <a:pt x="110426" y="64770"/>
                    <a:pt x="179919" y="64770"/>
                  </a:cubicBezTo>
                  <a:cubicBezTo>
                    <a:pt x="249411" y="64770"/>
                    <a:pt x="284634" y="122872"/>
                    <a:pt x="284634" y="194310"/>
                  </a:cubicBezTo>
                  <a:cubicBezTo>
                    <a:pt x="284634" y="265747"/>
                    <a:pt x="246556" y="323850"/>
                    <a:pt x="178967" y="32385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6" name="Forma libre 25">
              <a:extLst>
                <a:ext uri="{FF2B5EF4-FFF2-40B4-BE49-F238E27FC236}">
                  <a16:creationId xmlns:a16="http://schemas.microsoft.com/office/drawing/2014/main" id="{6E4A90D3-C2F6-C417-5345-9FAC33069F44}"/>
                </a:ext>
              </a:extLst>
            </p:cNvPr>
            <p:cNvSpPr/>
            <p:nvPr/>
          </p:nvSpPr>
          <p:spPr>
            <a:xfrm>
              <a:off x="5829528" y="2379344"/>
              <a:ext cx="560699" cy="379094"/>
            </a:xfrm>
            <a:custGeom>
              <a:avLst/>
              <a:gdLst>
                <a:gd name="connsiteX0" fmla="*/ 436946 w 560699"/>
                <a:gd name="connsiteY0" fmla="*/ 0 h 379094"/>
                <a:gd name="connsiteX1" fmla="*/ 311288 w 560699"/>
                <a:gd name="connsiteY1" fmla="*/ 90488 h 379094"/>
                <a:gd name="connsiteX2" fmla="*/ 306528 w 560699"/>
                <a:gd name="connsiteY2" fmla="*/ 90488 h 379094"/>
                <a:gd name="connsiteX3" fmla="*/ 195150 w 560699"/>
                <a:gd name="connsiteY3" fmla="*/ 0 h 379094"/>
                <a:gd name="connsiteX4" fmla="*/ 73300 w 560699"/>
                <a:gd name="connsiteY4" fmla="*/ 80963 h 379094"/>
                <a:gd name="connsiteX5" fmla="*/ 68540 w 560699"/>
                <a:gd name="connsiteY5" fmla="*/ 80963 h 379094"/>
                <a:gd name="connsiteX6" fmla="*/ 68540 w 560699"/>
                <a:gd name="connsiteY6" fmla="*/ 10478 h 379094"/>
                <a:gd name="connsiteX7" fmla="*/ 0 w 560699"/>
                <a:gd name="connsiteY7" fmla="*/ 10478 h 379094"/>
                <a:gd name="connsiteX8" fmla="*/ 0 w 560699"/>
                <a:gd name="connsiteY8" fmla="*/ 379095 h 379094"/>
                <a:gd name="connsiteX9" fmla="*/ 75204 w 560699"/>
                <a:gd name="connsiteY9" fmla="*/ 379095 h 379094"/>
                <a:gd name="connsiteX10" fmla="*/ 75204 w 560699"/>
                <a:gd name="connsiteY10" fmla="*/ 186690 h 379094"/>
                <a:gd name="connsiteX11" fmla="*/ 166592 w 560699"/>
                <a:gd name="connsiteY11" fmla="*/ 63818 h 379094"/>
                <a:gd name="connsiteX12" fmla="*/ 242748 w 560699"/>
                <a:gd name="connsiteY12" fmla="*/ 157163 h 379094"/>
                <a:gd name="connsiteX13" fmla="*/ 242748 w 560699"/>
                <a:gd name="connsiteY13" fmla="*/ 379095 h 379094"/>
                <a:gd name="connsiteX14" fmla="*/ 317952 w 560699"/>
                <a:gd name="connsiteY14" fmla="*/ 379095 h 379094"/>
                <a:gd name="connsiteX15" fmla="*/ 317952 w 560699"/>
                <a:gd name="connsiteY15" fmla="*/ 180975 h 379094"/>
                <a:gd name="connsiteX16" fmla="*/ 414099 w 560699"/>
                <a:gd name="connsiteY16" fmla="*/ 63818 h 379094"/>
                <a:gd name="connsiteX17" fmla="*/ 485495 w 560699"/>
                <a:gd name="connsiteY17" fmla="*/ 157163 h 379094"/>
                <a:gd name="connsiteX18" fmla="*/ 485495 w 560699"/>
                <a:gd name="connsiteY18" fmla="*/ 379095 h 379094"/>
                <a:gd name="connsiteX19" fmla="*/ 560699 w 560699"/>
                <a:gd name="connsiteY19" fmla="*/ 379095 h 379094"/>
                <a:gd name="connsiteX20" fmla="*/ 560699 w 560699"/>
                <a:gd name="connsiteY20" fmla="*/ 146685 h 379094"/>
                <a:gd name="connsiteX21" fmla="*/ 437898 w 560699"/>
                <a:gd name="connsiteY21" fmla="*/ 0 h 379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60699" h="379094">
                  <a:moveTo>
                    <a:pt x="436946" y="0"/>
                  </a:moveTo>
                  <a:cubicBezTo>
                    <a:pt x="373165" y="0"/>
                    <a:pt x="329375" y="38100"/>
                    <a:pt x="311288" y="90488"/>
                  </a:cubicBezTo>
                  <a:lnTo>
                    <a:pt x="306528" y="90488"/>
                  </a:lnTo>
                  <a:cubicBezTo>
                    <a:pt x="293201" y="37148"/>
                    <a:pt x="256075" y="0"/>
                    <a:pt x="195150" y="0"/>
                  </a:cubicBezTo>
                  <a:cubicBezTo>
                    <a:pt x="134225" y="0"/>
                    <a:pt x="88531" y="36195"/>
                    <a:pt x="73300" y="80963"/>
                  </a:cubicBezTo>
                  <a:lnTo>
                    <a:pt x="68540" y="80963"/>
                  </a:lnTo>
                  <a:lnTo>
                    <a:pt x="68540" y="10478"/>
                  </a:lnTo>
                  <a:lnTo>
                    <a:pt x="0" y="10478"/>
                  </a:lnTo>
                  <a:lnTo>
                    <a:pt x="0" y="379095"/>
                  </a:lnTo>
                  <a:lnTo>
                    <a:pt x="75204" y="379095"/>
                  </a:lnTo>
                  <a:lnTo>
                    <a:pt x="75204" y="186690"/>
                  </a:lnTo>
                  <a:cubicBezTo>
                    <a:pt x="75204" y="134303"/>
                    <a:pt x="103763" y="63818"/>
                    <a:pt x="166592" y="63818"/>
                  </a:cubicBezTo>
                  <a:cubicBezTo>
                    <a:pt x="229420" y="63818"/>
                    <a:pt x="242748" y="92393"/>
                    <a:pt x="242748" y="157163"/>
                  </a:cubicBezTo>
                  <a:lnTo>
                    <a:pt x="242748" y="379095"/>
                  </a:lnTo>
                  <a:lnTo>
                    <a:pt x="317952" y="379095"/>
                  </a:lnTo>
                  <a:lnTo>
                    <a:pt x="317952" y="180975"/>
                  </a:lnTo>
                  <a:cubicBezTo>
                    <a:pt x="317952" y="131445"/>
                    <a:pt x="349366" y="63818"/>
                    <a:pt x="414099" y="63818"/>
                  </a:cubicBezTo>
                  <a:cubicBezTo>
                    <a:pt x="478832" y="63818"/>
                    <a:pt x="485495" y="103822"/>
                    <a:pt x="485495" y="157163"/>
                  </a:cubicBezTo>
                  <a:lnTo>
                    <a:pt x="485495" y="379095"/>
                  </a:lnTo>
                  <a:lnTo>
                    <a:pt x="560699" y="379095"/>
                  </a:lnTo>
                  <a:lnTo>
                    <a:pt x="560699" y="146685"/>
                  </a:lnTo>
                  <a:cubicBezTo>
                    <a:pt x="560699" y="56198"/>
                    <a:pt x="516910" y="0"/>
                    <a:pt x="437898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7" name="Forma libre 26">
              <a:extLst>
                <a:ext uri="{FF2B5EF4-FFF2-40B4-BE49-F238E27FC236}">
                  <a16:creationId xmlns:a16="http://schemas.microsoft.com/office/drawing/2014/main" id="{A687DAD3-4BA5-E351-5356-3F25DEC965F8}"/>
                </a:ext>
              </a:extLst>
            </p:cNvPr>
            <p:cNvSpPr/>
            <p:nvPr/>
          </p:nvSpPr>
          <p:spPr>
            <a:xfrm>
              <a:off x="6456864" y="2379344"/>
              <a:ext cx="343654" cy="389572"/>
            </a:xfrm>
            <a:custGeom>
              <a:avLst/>
              <a:gdLst>
                <a:gd name="connsiteX0" fmla="*/ 343654 w 343654"/>
                <a:gd name="connsiteY0" fmla="*/ 176213 h 389572"/>
                <a:gd name="connsiteX1" fmla="*/ 178015 w 343654"/>
                <a:gd name="connsiteY1" fmla="*/ 0 h 389572"/>
                <a:gd name="connsiteX2" fmla="*/ 0 w 343654"/>
                <a:gd name="connsiteY2" fmla="*/ 195263 h 389572"/>
                <a:gd name="connsiteX3" fmla="*/ 185631 w 343654"/>
                <a:gd name="connsiteY3" fmla="*/ 389572 h 389572"/>
                <a:gd name="connsiteX4" fmla="*/ 337943 w 343654"/>
                <a:gd name="connsiteY4" fmla="*/ 316230 h 389572"/>
                <a:gd name="connsiteX5" fmla="*/ 297009 w 343654"/>
                <a:gd name="connsiteY5" fmla="*/ 272415 h 389572"/>
                <a:gd name="connsiteX6" fmla="*/ 186583 w 343654"/>
                <a:gd name="connsiteY6" fmla="*/ 324803 h 389572"/>
                <a:gd name="connsiteX7" fmla="*/ 74252 w 343654"/>
                <a:gd name="connsiteY7" fmla="*/ 225743 h 389572"/>
                <a:gd name="connsiteX8" fmla="*/ 343654 w 343654"/>
                <a:gd name="connsiteY8" fmla="*/ 225743 h 389572"/>
                <a:gd name="connsiteX9" fmla="*/ 343654 w 343654"/>
                <a:gd name="connsiteY9" fmla="*/ 177165 h 389572"/>
                <a:gd name="connsiteX10" fmla="*/ 73300 w 343654"/>
                <a:gd name="connsiteY10" fmla="*/ 167640 h 389572"/>
                <a:gd name="connsiteX11" fmla="*/ 174207 w 343654"/>
                <a:gd name="connsiteY11" fmla="*/ 64770 h 389572"/>
                <a:gd name="connsiteX12" fmla="*/ 271306 w 343654"/>
                <a:gd name="connsiteY12" fmla="*/ 167640 h 389572"/>
                <a:gd name="connsiteX13" fmla="*/ 73300 w 343654"/>
                <a:gd name="connsiteY13" fmla="*/ 167640 h 38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3654" h="389572">
                  <a:moveTo>
                    <a:pt x="343654" y="176213"/>
                  </a:moveTo>
                  <a:cubicBezTo>
                    <a:pt x="343654" y="82868"/>
                    <a:pt x="282730" y="0"/>
                    <a:pt x="178015" y="0"/>
                  </a:cubicBezTo>
                  <a:cubicBezTo>
                    <a:pt x="73300" y="0"/>
                    <a:pt x="0" y="82868"/>
                    <a:pt x="0" y="195263"/>
                  </a:cubicBezTo>
                  <a:cubicBezTo>
                    <a:pt x="0" y="307658"/>
                    <a:pt x="91387" y="389572"/>
                    <a:pt x="185631" y="389572"/>
                  </a:cubicBezTo>
                  <a:cubicBezTo>
                    <a:pt x="279874" y="389572"/>
                    <a:pt x="299865" y="364808"/>
                    <a:pt x="337943" y="316230"/>
                  </a:cubicBezTo>
                  <a:lnTo>
                    <a:pt x="297009" y="272415"/>
                  </a:lnTo>
                  <a:cubicBezTo>
                    <a:pt x="265595" y="307658"/>
                    <a:pt x="225613" y="324803"/>
                    <a:pt x="186583" y="324803"/>
                  </a:cubicBezTo>
                  <a:cubicBezTo>
                    <a:pt x="147553" y="324803"/>
                    <a:pt x="85676" y="291465"/>
                    <a:pt x="74252" y="225743"/>
                  </a:cubicBezTo>
                  <a:lnTo>
                    <a:pt x="343654" y="225743"/>
                  </a:lnTo>
                  <a:cubicBezTo>
                    <a:pt x="343654" y="200025"/>
                    <a:pt x="343654" y="189547"/>
                    <a:pt x="343654" y="177165"/>
                  </a:cubicBezTo>
                  <a:close/>
                  <a:moveTo>
                    <a:pt x="73300" y="167640"/>
                  </a:moveTo>
                  <a:cubicBezTo>
                    <a:pt x="82820" y="97155"/>
                    <a:pt x="128513" y="64770"/>
                    <a:pt x="174207" y="64770"/>
                  </a:cubicBezTo>
                  <a:cubicBezTo>
                    <a:pt x="219901" y="64770"/>
                    <a:pt x="270355" y="101918"/>
                    <a:pt x="271306" y="167640"/>
                  </a:cubicBezTo>
                  <a:lnTo>
                    <a:pt x="73300" y="167640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grpSp>
        <p:nvGrpSpPr>
          <p:cNvPr id="28" name="Grupo 27">
            <a:extLst>
              <a:ext uri="{FF2B5EF4-FFF2-40B4-BE49-F238E27FC236}">
                <a16:creationId xmlns:a16="http://schemas.microsoft.com/office/drawing/2014/main" id="{674C876A-DC25-488A-563E-632E076DDF16}"/>
              </a:ext>
            </a:extLst>
          </p:cNvPr>
          <p:cNvGrpSpPr/>
          <p:nvPr/>
        </p:nvGrpSpPr>
        <p:grpSpPr>
          <a:xfrm>
            <a:off x="1867379" y="2189130"/>
            <a:ext cx="2857584" cy="2453448"/>
            <a:chOff x="5707913" y="439336"/>
            <a:chExt cx="6572008" cy="5642552"/>
          </a:xfrm>
        </p:grpSpPr>
        <p:grpSp>
          <p:nvGrpSpPr>
            <p:cNvPr id="29" name="Grupo 28">
              <a:extLst>
                <a:ext uri="{FF2B5EF4-FFF2-40B4-BE49-F238E27FC236}">
                  <a16:creationId xmlns:a16="http://schemas.microsoft.com/office/drawing/2014/main" id="{49E69EDC-6138-3B9A-488E-0831599C9869}"/>
                </a:ext>
              </a:extLst>
            </p:cNvPr>
            <p:cNvGrpSpPr/>
            <p:nvPr/>
          </p:nvGrpSpPr>
          <p:grpSpPr>
            <a:xfrm>
              <a:off x="8446871" y="439336"/>
              <a:ext cx="2562874" cy="5103065"/>
              <a:chOff x="9749838" y="637816"/>
              <a:chExt cx="3038333" cy="6049776"/>
            </a:xfrm>
          </p:grpSpPr>
          <p:pic>
            <p:nvPicPr>
              <p:cNvPr id="36" name="Picture 2">
                <a:extLst>
                  <a:ext uri="{FF2B5EF4-FFF2-40B4-BE49-F238E27FC236}">
                    <a16:creationId xmlns:a16="http://schemas.microsoft.com/office/drawing/2014/main" id="{31FEA02E-71A2-FB99-FB89-261A535A51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749838" y="637816"/>
                <a:ext cx="3038333" cy="6049776"/>
              </a:xfrm>
              <a:prstGeom prst="rect">
                <a:avLst/>
              </a:prstGeom>
            </p:spPr>
          </p:pic>
          <p:pic>
            <p:nvPicPr>
              <p:cNvPr id="37" name="Marcador de posición de imagen 19">
                <a:extLst>
                  <a:ext uri="{FF2B5EF4-FFF2-40B4-BE49-F238E27FC236}">
                    <a16:creationId xmlns:a16="http://schemas.microsoft.com/office/drawing/2014/main" id="{781D7A64-C42E-761F-D995-AE936D54E0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t="777" b="777"/>
              <a:stretch/>
            </p:blipFill>
            <p:spPr>
              <a:xfrm>
                <a:off x="10037502" y="984791"/>
                <a:ext cx="2492436" cy="5353079"/>
              </a:xfrm>
              <a:custGeom>
                <a:avLst/>
                <a:gdLst>
                  <a:gd name="connsiteX0" fmla="*/ 259527 w 1988255"/>
                  <a:gd name="connsiteY0" fmla="*/ 0 h 4270234"/>
                  <a:gd name="connsiteX1" fmla="*/ 1728728 w 1988255"/>
                  <a:gd name="connsiteY1" fmla="*/ 0 h 4270234"/>
                  <a:gd name="connsiteX2" fmla="*/ 1988255 w 1988255"/>
                  <a:gd name="connsiteY2" fmla="*/ 259527 h 4270234"/>
                  <a:gd name="connsiteX3" fmla="*/ 1988255 w 1988255"/>
                  <a:gd name="connsiteY3" fmla="*/ 4010707 h 4270234"/>
                  <a:gd name="connsiteX4" fmla="*/ 1728728 w 1988255"/>
                  <a:gd name="connsiteY4" fmla="*/ 4270234 h 4270234"/>
                  <a:gd name="connsiteX5" fmla="*/ 259527 w 1988255"/>
                  <a:gd name="connsiteY5" fmla="*/ 4270234 h 4270234"/>
                  <a:gd name="connsiteX6" fmla="*/ 0 w 1988255"/>
                  <a:gd name="connsiteY6" fmla="*/ 4010707 h 4270234"/>
                  <a:gd name="connsiteX7" fmla="*/ 0 w 1988255"/>
                  <a:gd name="connsiteY7" fmla="*/ 259527 h 4270234"/>
                  <a:gd name="connsiteX8" fmla="*/ 259527 w 1988255"/>
                  <a:gd name="connsiteY8" fmla="*/ 0 h 4270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88255" h="4270234">
                    <a:moveTo>
                      <a:pt x="259527" y="0"/>
                    </a:moveTo>
                    <a:lnTo>
                      <a:pt x="1728728" y="0"/>
                    </a:lnTo>
                    <a:cubicBezTo>
                      <a:pt x="1872061" y="0"/>
                      <a:pt x="1988255" y="116194"/>
                      <a:pt x="1988255" y="259527"/>
                    </a:cubicBezTo>
                    <a:lnTo>
                      <a:pt x="1988255" y="4010707"/>
                    </a:lnTo>
                    <a:cubicBezTo>
                      <a:pt x="1988255" y="4154040"/>
                      <a:pt x="1872061" y="4270234"/>
                      <a:pt x="1728728" y="4270234"/>
                    </a:cubicBezTo>
                    <a:lnTo>
                      <a:pt x="259527" y="4270234"/>
                    </a:lnTo>
                    <a:cubicBezTo>
                      <a:pt x="116194" y="4270234"/>
                      <a:pt x="0" y="4154040"/>
                      <a:pt x="0" y="4010707"/>
                    </a:cubicBezTo>
                    <a:lnTo>
                      <a:pt x="0" y="259527"/>
                    </a:lnTo>
                    <a:cubicBezTo>
                      <a:pt x="0" y="116194"/>
                      <a:pt x="116194" y="0"/>
                      <a:pt x="259527" y="0"/>
                    </a:cubicBezTo>
                    <a:close/>
                  </a:path>
                </a:pathLst>
              </a:custGeom>
            </p:spPr>
          </p:pic>
        </p:grpSp>
        <p:pic>
          <p:nvPicPr>
            <p:cNvPr id="30" name="Imagen 29">
              <a:extLst>
                <a:ext uri="{FF2B5EF4-FFF2-40B4-BE49-F238E27FC236}">
                  <a16:creationId xmlns:a16="http://schemas.microsoft.com/office/drawing/2014/main" id="{1F2ABC1A-883F-0DDC-FDB0-3FCCDAB0A47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7913" y="4139382"/>
              <a:ext cx="1568735" cy="1510364"/>
            </a:xfrm>
            <a:prstGeom prst="rect">
              <a:avLst/>
            </a:prstGeom>
          </p:spPr>
        </p:pic>
        <p:pic>
          <p:nvPicPr>
            <p:cNvPr id="31" name="Imagen 30" descr="Imagen que contiene Diagrama&#10;&#10;El contenido generado por IA puede ser incorrecto.">
              <a:extLst>
                <a:ext uri="{FF2B5EF4-FFF2-40B4-BE49-F238E27FC236}">
                  <a16:creationId xmlns:a16="http://schemas.microsoft.com/office/drawing/2014/main" id="{2D219C62-8196-D5F7-5176-BFB12EF1ED8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72022" y="3853140"/>
              <a:ext cx="1707899" cy="1707899"/>
            </a:xfrm>
            <a:prstGeom prst="rect">
              <a:avLst/>
            </a:prstGeom>
          </p:spPr>
        </p:pic>
        <p:pic>
          <p:nvPicPr>
            <p:cNvPr id="32" name="Imagen 31">
              <a:extLst>
                <a:ext uri="{FF2B5EF4-FFF2-40B4-BE49-F238E27FC236}">
                  <a16:creationId xmlns:a16="http://schemas.microsoft.com/office/drawing/2014/main" id="{F71CB59D-1FC3-E053-0E92-3CD06DB07AD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35244" y="2998745"/>
              <a:ext cx="2373909" cy="2997819"/>
            </a:xfrm>
            <a:prstGeom prst="rect">
              <a:avLst/>
            </a:prstGeom>
          </p:spPr>
        </p:pic>
        <p:pic>
          <p:nvPicPr>
            <p:cNvPr id="33" name="Imagen 32" descr="Forma, Flecha&#10;&#10;El contenido generado por IA puede ser incorrecto.">
              <a:extLst>
                <a:ext uri="{FF2B5EF4-FFF2-40B4-BE49-F238E27FC236}">
                  <a16:creationId xmlns:a16="http://schemas.microsoft.com/office/drawing/2014/main" id="{D361B752-C528-3638-F5E2-39E71013762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77580" y="5002914"/>
              <a:ext cx="1650816" cy="1078974"/>
            </a:xfrm>
            <a:prstGeom prst="rect">
              <a:avLst/>
            </a:prstGeom>
          </p:spPr>
        </p:pic>
        <p:pic>
          <p:nvPicPr>
            <p:cNvPr id="34" name="Imagen 33">
              <a:extLst>
                <a:ext uri="{FF2B5EF4-FFF2-40B4-BE49-F238E27FC236}">
                  <a16:creationId xmlns:a16="http://schemas.microsoft.com/office/drawing/2014/main" id="{DED491B9-A905-0725-9AF6-4B8D71A685F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748"/>
            <a:stretch/>
          </p:blipFill>
          <p:spPr>
            <a:xfrm>
              <a:off x="9159894" y="4377582"/>
              <a:ext cx="3032106" cy="1457497"/>
            </a:xfrm>
            <a:prstGeom prst="rect">
              <a:avLst/>
            </a:prstGeom>
          </p:spPr>
        </p:pic>
        <p:pic>
          <p:nvPicPr>
            <p:cNvPr id="35" name="Imagen 34">
              <a:extLst>
                <a:ext uri="{FF2B5EF4-FFF2-40B4-BE49-F238E27FC236}">
                  <a16:creationId xmlns:a16="http://schemas.microsoft.com/office/drawing/2014/main" id="{17590351-75AB-7028-4F05-6EE837991D6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75008" y="3945578"/>
              <a:ext cx="1707899" cy="2038462"/>
            </a:xfrm>
            <a:prstGeom prst="rect">
              <a:avLst/>
            </a:prstGeom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</p:pic>
      </p:grpSp>
      <p:grpSp>
        <p:nvGrpSpPr>
          <p:cNvPr id="54" name="Grupo 53">
            <a:extLst>
              <a:ext uri="{FF2B5EF4-FFF2-40B4-BE49-F238E27FC236}">
                <a16:creationId xmlns:a16="http://schemas.microsoft.com/office/drawing/2014/main" id="{59896F97-8E45-A402-5DEA-CAAB33F27DFC}"/>
              </a:ext>
            </a:extLst>
          </p:cNvPr>
          <p:cNvGrpSpPr/>
          <p:nvPr/>
        </p:nvGrpSpPr>
        <p:grpSpPr>
          <a:xfrm>
            <a:off x="7219961" y="3725290"/>
            <a:ext cx="1011187" cy="129953"/>
            <a:chOff x="6654593" y="4368460"/>
            <a:chExt cx="1576563" cy="202612"/>
          </a:xfrm>
        </p:grpSpPr>
        <p:grpSp>
          <p:nvGrpSpPr>
            <p:cNvPr id="39" name="Gráfico 42">
              <a:extLst>
                <a:ext uri="{FF2B5EF4-FFF2-40B4-BE49-F238E27FC236}">
                  <a16:creationId xmlns:a16="http://schemas.microsoft.com/office/drawing/2014/main" id="{A07CDC26-8351-5547-5AF3-7BFC9EE9B020}"/>
                </a:ext>
              </a:extLst>
            </p:cNvPr>
            <p:cNvGrpSpPr>
              <a:grpSpLocks/>
            </p:cNvGrpSpPr>
            <p:nvPr/>
          </p:nvGrpSpPr>
          <p:grpSpPr>
            <a:xfrm>
              <a:off x="7787504" y="4368460"/>
              <a:ext cx="443652" cy="163910"/>
              <a:chOff x="3434914" y="2049780"/>
              <a:chExt cx="2271321" cy="839152"/>
            </a:xfrm>
            <a:solidFill>
              <a:srgbClr val="00DCAA"/>
            </a:solidFill>
          </p:grpSpPr>
          <p:sp>
            <p:nvSpPr>
              <p:cNvPr id="40" name="Forma libre 91">
                <a:extLst>
                  <a:ext uri="{FF2B5EF4-FFF2-40B4-BE49-F238E27FC236}">
                    <a16:creationId xmlns:a16="http://schemas.microsoft.com/office/drawing/2014/main" id="{E887A4AC-A637-FEA4-7388-222E7598455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113175" y="2254567"/>
                <a:ext cx="632664" cy="634365"/>
              </a:xfrm>
              <a:custGeom>
                <a:avLst/>
                <a:gdLst>
                  <a:gd name="connsiteX0" fmla="*/ 316332 w 632664"/>
                  <a:gd name="connsiteY0" fmla="*/ 0 h 634365"/>
                  <a:gd name="connsiteX1" fmla="*/ 0 w 632664"/>
                  <a:gd name="connsiteY1" fmla="*/ 317183 h 634365"/>
                  <a:gd name="connsiteX2" fmla="*/ 316332 w 632664"/>
                  <a:gd name="connsiteY2" fmla="*/ 634365 h 634365"/>
                  <a:gd name="connsiteX3" fmla="*/ 632664 w 632664"/>
                  <a:gd name="connsiteY3" fmla="*/ 317183 h 634365"/>
                  <a:gd name="connsiteX4" fmla="*/ 316332 w 632664"/>
                  <a:gd name="connsiteY4" fmla="*/ 0 h 634365"/>
                  <a:gd name="connsiteX5" fmla="*/ 316332 w 632664"/>
                  <a:gd name="connsiteY5" fmla="*/ 508635 h 634365"/>
                  <a:gd name="connsiteX6" fmla="*/ 125393 w 632664"/>
                  <a:gd name="connsiteY6" fmla="*/ 317183 h 634365"/>
                  <a:gd name="connsiteX7" fmla="*/ 316332 w 632664"/>
                  <a:gd name="connsiteY7" fmla="*/ 125730 h 634365"/>
                  <a:gd name="connsiteX8" fmla="*/ 507271 w 632664"/>
                  <a:gd name="connsiteY8" fmla="*/ 317183 h 634365"/>
                  <a:gd name="connsiteX9" fmla="*/ 316332 w 6326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2664" h="634365">
                    <a:moveTo>
                      <a:pt x="316332" y="0"/>
                    </a:moveTo>
                    <a:cubicBezTo>
                      <a:pt x="141542" y="0"/>
                      <a:pt x="0" y="142875"/>
                      <a:pt x="0" y="317183"/>
                    </a:cubicBezTo>
                    <a:cubicBezTo>
                      <a:pt x="0" y="492443"/>
                      <a:pt x="142492" y="634365"/>
                      <a:pt x="316332" y="634365"/>
                    </a:cubicBezTo>
                    <a:cubicBezTo>
                      <a:pt x="491122" y="634365"/>
                      <a:pt x="632664" y="491490"/>
                      <a:pt x="632664" y="317183"/>
                    </a:cubicBezTo>
                    <a:cubicBezTo>
                      <a:pt x="632664" y="141923"/>
                      <a:pt x="490172" y="0"/>
                      <a:pt x="316332" y="0"/>
                    </a:cubicBezTo>
                    <a:close/>
                    <a:moveTo>
                      <a:pt x="316332" y="508635"/>
                    </a:moveTo>
                    <a:cubicBezTo>
                      <a:pt x="210888" y="508635"/>
                      <a:pt x="125393" y="422910"/>
                      <a:pt x="125393" y="317183"/>
                    </a:cubicBezTo>
                    <a:cubicBezTo>
                      <a:pt x="125393" y="211455"/>
                      <a:pt x="210888" y="125730"/>
                      <a:pt x="316332" y="125730"/>
                    </a:cubicBezTo>
                    <a:cubicBezTo>
                      <a:pt x="421776" y="125730"/>
                      <a:pt x="507271" y="211455"/>
                      <a:pt x="507271" y="317183"/>
                    </a:cubicBezTo>
                    <a:cubicBezTo>
                      <a:pt x="507271" y="422910"/>
                      <a:pt x="421776" y="508635"/>
                      <a:pt x="316332" y="508635"/>
                    </a:cubicBezTo>
                    <a:close/>
                  </a:path>
                </a:pathLst>
              </a:custGeom>
              <a:solidFill>
                <a:srgbClr val="00DCAA"/>
              </a:solidFill>
              <a:ln w="94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>
                  <a:latin typeface="Pulso" pitchFamily="2" charset="0"/>
                </a:endParaRPr>
              </a:p>
            </p:txBody>
          </p:sp>
          <p:sp>
            <p:nvSpPr>
              <p:cNvPr id="41" name="Forma libre 92">
                <a:extLst>
                  <a:ext uri="{FF2B5EF4-FFF2-40B4-BE49-F238E27FC236}">
                    <a16:creationId xmlns:a16="http://schemas.microsoft.com/office/drawing/2014/main" id="{6C6543A6-9A7B-83C7-38EE-22082763338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34914" y="2049780"/>
                <a:ext cx="357179" cy="823912"/>
              </a:xfrm>
              <a:custGeom>
                <a:avLst/>
                <a:gdLst>
                  <a:gd name="connsiteX0" fmla="*/ 107344 w 357179"/>
                  <a:gd name="connsiteY0" fmla="*/ 34290 h 823912"/>
                  <a:gd name="connsiteX1" fmla="*/ 70296 w 357179"/>
                  <a:gd name="connsiteY1" fmla="*/ 132397 h 823912"/>
                  <a:gd name="connsiteX2" fmla="*/ 70296 w 357179"/>
                  <a:gd name="connsiteY2" fmla="*/ 234315 h 823912"/>
                  <a:gd name="connsiteX3" fmla="*/ 0 w 357179"/>
                  <a:gd name="connsiteY3" fmla="*/ 234315 h 823912"/>
                  <a:gd name="connsiteX4" fmla="*/ 0 w 357179"/>
                  <a:gd name="connsiteY4" fmla="*/ 341947 h 823912"/>
                  <a:gd name="connsiteX5" fmla="*/ 70296 w 357179"/>
                  <a:gd name="connsiteY5" fmla="*/ 341947 h 823912"/>
                  <a:gd name="connsiteX6" fmla="*/ 70296 w 357179"/>
                  <a:gd name="connsiteY6" fmla="*/ 823912 h 823912"/>
                  <a:gd name="connsiteX7" fmla="*/ 199489 w 357179"/>
                  <a:gd name="connsiteY7" fmla="*/ 823912 h 823912"/>
                  <a:gd name="connsiteX8" fmla="*/ 199489 w 357179"/>
                  <a:gd name="connsiteY8" fmla="*/ 341947 h 823912"/>
                  <a:gd name="connsiteX9" fmla="*/ 328681 w 357179"/>
                  <a:gd name="connsiteY9" fmla="*/ 341947 h 823912"/>
                  <a:gd name="connsiteX10" fmla="*/ 328681 w 357179"/>
                  <a:gd name="connsiteY10" fmla="*/ 234315 h 823912"/>
                  <a:gd name="connsiteX11" fmla="*/ 198539 w 357179"/>
                  <a:gd name="connsiteY11" fmla="*/ 234315 h 823912"/>
                  <a:gd name="connsiteX12" fmla="*/ 198539 w 357179"/>
                  <a:gd name="connsiteY12" fmla="*/ 132397 h 823912"/>
                  <a:gd name="connsiteX13" fmla="*/ 221337 w 357179"/>
                  <a:gd name="connsiteY13" fmla="*/ 106680 h 823912"/>
                  <a:gd name="connsiteX14" fmla="*/ 357180 w 357179"/>
                  <a:gd name="connsiteY14" fmla="*/ 106680 h 823912"/>
                  <a:gd name="connsiteX15" fmla="*/ 357180 w 357179"/>
                  <a:gd name="connsiteY15" fmla="*/ 0 h 823912"/>
                  <a:gd name="connsiteX16" fmla="*/ 206138 w 357179"/>
                  <a:gd name="connsiteY16" fmla="*/ 0 h 823912"/>
                  <a:gd name="connsiteX17" fmla="*/ 107344 w 357179"/>
                  <a:gd name="connsiteY17" fmla="*/ 34290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57179" h="823912">
                    <a:moveTo>
                      <a:pt x="107344" y="34290"/>
                    </a:moveTo>
                    <a:cubicBezTo>
                      <a:pt x="82645" y="57150"/>
                      <a:pt x="70296" y="91440"/>
                      <a:pt x="70296" y="132397"/>
                    </a:cubicBezTo>
                    <a:lnTo>
                      <a:pt x="70296" y="234315"/>
                    </a:lnTo>
                    <a:lnTo>
                      <a:pt x="0" y="234315"/>
                    </a:lnTo>
                    <a:lnTo>
                      <a:pt x="0" y="341947"/>
                    </a:lnTo>
                    <a:lnTo>
                      <a:pt x="70296" y="341947"/>
                    </a:lnTo>
                    <a:lnTo>
                      <a:pt x="70296" y="823912"/>
                    </a:lnTo>
                    <a:lnTo>
                      <a:pt x="199489" y="823912"/>
                    </a:lnTo>
                    <a:lnTo>
                      <a:pt x="199489" y="341947"/>
                    </a:lnTo>
                    <a:lnTo>
                      <a:pt x="328681" y="341947"/>
                    </a:lnTo>
                    <a:lnTo>
                      <a:pt x="328681" y="234315"/>
                    </a:lnTo>
                    <a:lnTo>
                      <a:pt x="198539" y="234315"/>
                    </a:lnTo>
                    <a:lnTo>
                      <a:pt x="198539" y="132397"/>
                    </a:lnTo>
                    <a:cubicBezTo>
                      <a:pt x="198539" y="114300"/>
                      <a:pt x="206138" y="106680"/>
                      <a:pt x="221337" y="106680"/>
                    </a:cubicBezTo>
                    <a:lnTo>
                      <a:pt x="357180" y="106680"/>
                    </a:lnTo>
                    <a:lnTo>
                      <a:pt x="357180" y="0"/>
                    </a:lnTo>
                    <a:lnTo>
                      <a:pt x="206138" y="0"/>
                    </a:lnTo>
                    <a:cubicBezTo>
                      <a:pt x="165291" y="0"/>
                      <a:pt x="131093" y="11430"/>
                      <a:pt x="107344" y="34290"/>
                    </a:cubicBezTo>
                    <a:close/>
                  </a:path>
                </a:pathLst>
              </a:custGeom>
              <a:solidFill>
                <a:srgbClr val="00DCAA"/>
              </a:solidFill>
              <a:ln w="94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>
                  <a:latin typeface="Pulso" pitchFamily="2" charset="0"/>
                </a:endParaRPr>
              </a:p>
            </p:txBody>
          </p:sp>
          <p:sp>
            <p:nvSpPr>
              <p:cNvPr id="42" name="Forma libre 104">
                <a:extLst>
                  <a:ext uri="{FF2B5EF4-FFF2-40B4-BE49-F238E27FC236}">
                    <a16:creationId xmlns:a16="http://schemas.microsoft.com/office/drawing/2014/main" id="{C7BC5702-BB44-1B10-9D83-F06534BE29C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49090" y="2050732"/>
                <a:ext cx="231786" cy="823912"/>
              </a:xfrm>
              <a:custGeom>
                <a:avLst/>
                <a:gdLst>
                  <a:gd name="connsiteX0" fmla="*/ 133942 w 231786"/>
                  <a:gd name="connsiteY0" fmla="*/ 701040 h 823912"/>
                  <a:gd name="connsiteX1" fmla="*/ 130143 w 231786"/>
                  <a:gd name="connsiteY1" fmla="*/ 681038 h 823912"/>
                  <a:gd name="connsiteX2" fmla="*/ 130143 w 231786"/>
                  <a:gd name="connsiteY2" fmla="*/ 0 h 823912"/>
                  <a:gd name="connsiteX3" fmla="*/ 0 w 231786"/>
                  <a:gd name="connsiteY3" fmla="*/ 0 h 823912"/>
                  <a:gd name="connsiteX4" fmla="*/ 0 w 231786"/>
                  <a:gd name="connsiteY4" fmla="*/ 688658 h 823912"/>
                  <a:gd name="connsiteX5" fmla="*/ 26598 w 231786"/>
                  <a:gd name="connsiteY5" fmla="*/ 789623 h 823912"/>
                  <a:gd name="connsiteX6" fmla="*/ 106394 w 231786"/>
                  <a:gd name="connsiteY6" fmla="*/ 823913 h 823912"/>
                  <a:gd name="connsiteX7" fmla="*/ 231787 w 231786"/>
                  <a:gd name="connsiteY7" fmla="*/ 823913 h 823912"/>
                  <a:gd name="connsiteX8" fmla="*/ 231787 w 231786"/>
                  <a:gd name="connsiteY8" fmla="*/ 705803 h 823912"/>
                  <a:gd name="connsiteX9" fmla="*/ 147242 w 231786"/>
                  <a:gd name="connsiteY9" fmla="*/ 705803 h 823912"/>
                  <a:gd name="connsiteX10" fmla="*/ 133942 w 231786"/>
                  <a:gd name="connsiteY10" fmla="*/ 701040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1786" h="823912">
                    <a:moveTo>
                      <a:pt x="133942" y="701040"/>
                    </a:moveTo>
                    <a:cubicBezTo>
                      <a:pt x="131093" y="698183"/>
                      <a:pt x="130143" y="691515"/>
                      <a:pt x="130143" y="681038"/>
                    </a:cubicBezTo>
                    <a:lnTo>
                      <a:pt x="130143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499" y="766763"/>
                      <a:pt x="26598" y="789623"/>
                    </a:cubicBezTo>
                    <a:cubicBezTo>
                      <a:pt x="44647" y="812483"/>
                      <a:pt x="71246" y="823913"/>
                      <a:pt x="106394" y="823913"/>
                    </a:cubicBezTo>
                    <a:lnTo>
                      <a:pt x="231787" y="823913"/>
                    </a:lnTo>
                    <a:lnTo>
                      <a:pt x="231787" y="705803"/>
                    </a:lnTo>
                    <a:lnTo>
                      <a:pt x="147242" y="705803"/>
                    </a:lnTo>
                    <a:cubicBezTo>
                      <a:pt x="137742" y="705803"/>
                      <a:pt x="134892" y="702945"/>
                      <a:pt x="133942" y="701040"/>
                    </a:cubicBezTo>
                    <a:close/>
                  </a:path>
                </a:pathLst>
              </a:custGeom>
              <a:solidFill>
                <a:srgbClr val="00DCAA"/>
              </a:solidFill>
              <a:ln w="94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>
                  <a:latin typeface="Pulso" pitchFamily="2" charset="0"/>
                </a:endParaRPr>
              </a:p>
            </p:txBody>
          </p:sp>
          <p:sp>
            <p:nvSpPr>
              <p:cNvPr id="43" name="Forma libre 105">
                <a:extLst>
                  <a:ext uri="{FF2B5EF4-FFF2-40B4-BE49-F238E27FC236}">
                    <a16:creationId xmlns:a16="http://schemas.microsoft.com/office/drawing/2014/main" id="{8911BB55-2FD5-C956-D02A-D47F6300022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53439" y="2270760"/>
                <a:ext cx="952796" cy="602932"/>
              </a:xfrm>
              <a:custGeom>
                <a:avLst/>
                <a:gdLst>
                  <a:gd name="connsiteX0" fmla="*/ 827403 w 952796"/>
                  <a:gd name="connsiteY0" fmla="*/ 0 h 602932"/>
                  <a:gd name="connsiteX1" fmla="*/ 695361 w 952796"/>
                  <a:gd name="connsiteY1" fmla="*/ 494348 h 602932"/>
                  <a:gd name="connsiteX2" fmla="*/ 693461 w 952796"/>
                  <a:gd name="connsiteY2" fmla="*/ 494348 h 602932"/>
                  <a:gd name="connsiteX3" fmla="*/ 549069 w 952796"/>
                  <a:gd name="connsiteY3" fmla="*/ 3810 h 602932"/>
                  <a:gd name="connsiteX4" fmla="*/ 548119 w 952796"/>
                  <a:gd name="connsiteY4" fmla="*/ 0 h 602932"/>
                  <a:gd name="connsiteX5" fmla="*/ 415127 w 952796"/>
                  <a:gd name="connsiteY5" fmla="*/ 0 h 602932"/>
                  <a:gd name="connsiteX6" fmla="*/ 277384 w 952796"/>
                  <a:gd name="connsiteY6" fmla="*/ 494348 h 602932"/>
                  <a:gd name="connsiteX7" fmla="*/ 275484 w 952796"/>
                  <a:gd name="connsiteY7" fmla="*/ 494348 h 602932"/>
                  <a:gd name="connsiteX8" fmla="*/ 137742 w 952796"/>
                  <a:gd name="connsiteY8" fmla="*/ 0 h 602932"/>
                  <a:gd name="connsiteX9" fmla="*/ 0 w 952796"/>
                  <a:gd name="connsiteY9" fmla="*/ 0 h 602932"/>
                  <a:gd name="connsiteX10" fmla="*/ 176690 w 952796"/>
                  <a:gd name="connsiteY10" fmla="*/ 599123 h 602932"/>
                  <a:gd name="connsiteX11" fmla="*/ 177640 w 952796"/>
                  <a:gd name="connsiteY11" fmla="*/ 602932 h 602932"/>
                  <a:gd name="connsiteX12" fmla="*/ 357180 w 952796"/>
                  <a:gd name="connsiteY12" fmla="*/ 602932 h 602932"/>
                  <a:gd name="connsiteX13" fmla="*/ 480673 w 952796"/>
                  <a:gd name="connsiteY13" fmla="*/ 179070 h 602932"/>
                  <a:gd name="connsiteX14" fmla="*/ 597516 w 952796"/>
                  <a:gd name="connsiteY14" fmla="*/ 602932 h 602932"/>
                  <a:gd name="connsiteX15" fmla="*/ 778956 w 952796"/>
                  <a:gd name="connsiteY15" fmla="*/ 602932 h 602932"/>
                  <a:gd name="connsiteX16" fmla="*/ 952796 w 952796"/>
                  <a:gd name="connsiteY16" fmla="*/ 0 h 602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52796" h="602932">
                    <a:moveTo>
                      <a:pt x="827403" y="0"/>
                    </a:moveTo>
                    <a:lnTo>
                      <a:pt x="695361" y="494348"/>
                    </a:lnTo>
                    <a:lnTo>
                      <a:pt x="693461" y="494348"/>
                    </a:lnTo>
                    <a:lnTo>
                      <a:pt x="549069" y="3810"/>
                    </a:lnTo>
                    <a:lnTo>
                      <a:pt x="548119" y="0"/>
                    </a:lnTo>
                    <a:lnTo>
                      <a:pt x="415127" y="0"/>
                    </a:lnTo>
                    <a:lnTo>
                      <a:pt x="277384" y="494348"/>
                    </a:lnTo>
                    <a:lnTo>
                      <a:pt x="275484" y="494348"/>
                    </a:lnTo>
                    <a:lnTo>
                      <a:pt x="137742" y="0"/>
                    </a:lnTo>
                    <a:lnTo>
                      <a:pt x="0" y="0"/>
                    </a:lnTo>
                    <a:lnTo>
                      <a:pt x="176690" y="599123"/>
                    </a:lnTo>
                    <a:lnTo>
                      <a:pt x="177640" y="602932"/>
                    </a:lnTo>
                    <a:lnTo>
                      <a:pt x="357180" y="602932"/>
                    </a:lnTo>
                    <a:lnTo>
                      <a:pt x="480673" y="179070"/>
                    </a:lnTo>
                    <a:lnTo>
                      <a:pt x="597516" y="602932"/>
                    </a:lnTo>
                    <a:lnTo>
                      <a:pt x="778956" y="602932"/>
                    </a:lnTo>
                    <a:lnTo>
                      <a:pt x="952796" y="0"/>
                    </a:lnTo>
                    <a:close/>
                  </a:path>
                </a:pathLst>
              </a:custGeom>
              <a:solidFill>
                <a:srgbClr val="00DCAA"/>
              </a:solidFill>
              <a:ln w="94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>
                  <a:latin typeface="Pulso" pitchFamily="2" charset="0"/>
                </a:endParaRPr>
              </a:p>
            </p:txBody>
          </p:sp>
          <p:sp>
            <p:nvSpPr>
              <p:cNvPr id="44" name="Forma libre 106">
                <a:extLst>
                  <a:ext uri="{FF2B5EF4-FFF2-40B4-BE49-F238E27FC236}">
                    <a16:creationId xmlns:a16="http://schemas.microsoft.com/office/drawing/2014/main" id="{5DFDA7D3-2CEB-7594-8738-86438FB7E4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367761" y="2484596"/>
                <a:ext cx="154841" cy="174783"/>
              </a:xfrm>
              <a:custGeom>
                <a:avLst/>
                <a:gdLst>
                  <a:gd name="connsiteX0" fmla="*/ 149142 w 154841"/>
                  <a:gd name="connsiteY0" fmla="*/ 77629 h 174783"/>
                  <a:gd name="connsiteX1" fmla="*/ 17099 w 154841"/>
                  <a:gd name="connsiteY1" fmla="*/ 1429 h 174783"/>
                  <a:gd name="connsiteX2" fmla="*/ 5700 w 154841"/>
                  <a:gd name="connsiteY2" fmla="*/ 1429 h 174783"/>
                  <a:gd name="connsiteX3" fmla="*/ 0 w 154841"/>
                  <a:gd name="connsiteY3" fmla="*/ 10954 h 174783"/>
                  <a:gd name="connsiteX4" fmla="*/ 0 w 154841"/>
                  <a:gd name="connsiteY4" fmla="*/ 163354 h 174783"/>
                  <a:gd name="connsiteX5" fmla="*/ 5700 w 154841"/>
                  <a:gd name="connsiteY5" fmla="*/ 172879 h 174783"/>
                  <a:gd name="connsiteX6" fmla="*/ 11399 w 154841"/>
                  <a:gd name="connsiteY6" fmla="*/ 174784 h 174783"/>
                  <a:gd name="connsiteX7" fmla="*/ 17099 w 154841"/>
                  <a:gd name="connsiteY7" fmla="*/ 172879 h 174783"/>
                  <a:gd name="connsiteX8" fmla="*/ 149142 w 154841"/>
                  <a:gd name="connsiteY8" fmla="*/ 96679 h 174783"/>
                  <a:gd name="connsiteX9" fmla="*/ 154841 w 154841"/>
                  <a:gd name="connsiteY9" fmla="*/ 87154 h 174783"/>
                  <a:gd name="connsiteX10" fmla="*/ 149142 w 154841"/>
                  <a:gd name="connsiteY10" fmla="*/ 77629 h 174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4841" h="174783">
                    <a:moveTo>
                      <a:pt x="149142" y="77629"/>
                    </a:moveTo>
                    <a:lnTo>
                      <a:pt x="17099" y="1429"/>
                    </a:lnTo>
                    <a:cubicBezTo>
                      <a:pt x="13299" y="-476"/>
                      <a:pt x="9499" y="-476"/>
                      <a:pt x="5700" y="1429"/>
                    </a:cubicBezTo>
                    <a:cubicBezTo>
                      <a:pt x="1900" y="3334"/>
                      <a:pt x="0" y="7144"/>
                      <a:pt x="0" y="10954"/>
                    </a:cubicBezTo>
                    <a:lnTo>
                      <a:pt x="0" y="163354"/>
                    </a:lnTo>
                    <a:cubicBezTo>
                      <a:pt x="0" y="167164"/>
                      <a:pt x="1900" y="170974"/>
                      <a:pt x="5700" y="172879"/>
                    </a:cubicBezTo>
                    <a:cubicBezTo>
                      <a:pt x="7600" y="173831"/>
                      <a:pt x="9499" y="174784"/>
                      <a:pt x="11399" y="174784"/>
                    </a:cubicBezTo>
                    <a:cubicBezTo>
                      <a:pt x="13299" y="174784"/>
                      <a:pt x="15199" y="173831"/>
                      <a:pt x="17099" y="172879"/>
                    </a:cubicBezTo>
                    <a:lnTo>
                      <a:pt x="149142" y="96679"/>
                    </a:lnTo>
                    <a:cubicBezTo>
                      <a:pt x="152941" y="94774"/>
                      <a:pt x="154841" y="90964"/>
                      <a:pt x="154841" y="87154"/>
                    </a:cubicBezTo>
                    <a:cubicBezTo>
                      <a:pt x="154841" y="83344"/>
                      <a:pt x="152941" y="79534"/>
                      <a:pt x="149142" y="77629"/>
                    </a:cubicBezTo>
                    <a:close/>
                  </a:path>
                </a:pathLst>
              </a:custGeom>
              <a:solidFill>
                <a:srgbClr val="00DCAA"/>
              </a:solidFill>
              <a:ln w="94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>
                  <a:latin typeface="Pulso" pitchFamily="2" charset="0"/>
                </a:endParaRPr>
              </a:p>
            </p:txBody>
          </p:sp>
        </p:grpSp>
        <p:grpSp>
          <p:nvGrpSpPr>
            <p:cNvPr id="45" name="Gráfico 44">
              <a:extLst>
                <a:ext uri="{FF2B5EF4-FFF2-40B4-BE49-F238E27FC236}">
                  <a16:creationId xmlns:a16="http://schemas.microsoft.com/office/drawing/2014/main" id="{0EF11A77-6A91-B28C-171A-B7D29E21E244}"/>
                </a:ext>
              </a:extLst>
            </p:cNvPr>
            <p:cNvGrpSpPr/>
            <p:nvPr/>
          </p:nvGrpSpPr>
          <p:grpSpPr>
            <a:xfrm>
              <a:off x="6654593" y="4368462"/>
              <a:ext cx="883184" cy="202610"/>
              <a:chOff x="442389" y="2050732"/>
              <a:chExt cx="4521517" cy="1037272"/>
            </a:xfrm>
            <a:solidFill>
              <a:srgbClr val="00B8EB"/>
            </a:solidFill>
          </p:grpSpPr>
          <p:sp>
            <p:nvSpPr>
              <p:cNvPr id="46" name="Forma libre 108">
                <a:extLst>
                  <a:ext uri="{FF2B5EF4-FFF2-40B4-BE49-F238E27FC236}">
                    <a16:creationId xmlns:a16="http://schemas.microsoft.com/office/drawing/2014/main" id="{44389682-39A0-C5B0-C124-17FA94EFE7AF}"/>
                  </a:ext>
                </a:extLst>
              </p:cNvPr>
              <p:cNvSpPr/>
              <p:nvPr/>
            </p:nvSpPr>
            <p:spPr>
              <a:xfrm>
                <a:off x="1107234" y="225456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solidFill>
                <a:srgbClr val="00B8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>
                  <a:latin typeface="Pulso" pitchFamily="2" charset="0"/>
                </a:endParaRPr>
              </a:p>
            </p:txBody>
          </p:sp>
          <p:sp>
            <p:nvSpPr>
              <p:cNvPr id="47" name="Forma libre 109">
                <a:extLst>
                  <a:ext uri="{FF2B5EF4-FFF2-40B4-BE49-F238E27FC236}">
                    <a16:creationId xmlns:a16="http://schemas.microsoft.com/office/drawing/2014/main" id="{851231C7-0CFF-21AA-68D8-F26EC4EDDC8E}"/>
                  </a:ext>
                </a:extLst>
              </p:cNvPr>
              <p:cNvSpPr/>
              <p:nvPr/>
            </p:nvSpPr>
            <p:spPr>
              <a:xfrm>
                <a:off x="2718864" y="225456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solidFill>
                <a:srgbClr val="00B8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>
                  <a:latin typeface="Pulso" pitchFamily="2" charset="0"/>
                </a:endParaRPr>
              </a:p>
            </p:txBody>
          </p:sp>
          <p:sp>
            <p:nvSpPr>
              <p:cNvPr id="48" name="Forma libre 110">
                <a:extLst>
                  <a:ext uri="{FF2B5EF4-FFF2-40B4-BE49-F238E27FC236}">
                    <a16:creationId xmlns:a16="http://schemas.microsoft.com/office/drawing/2014/main" id="{205A4671-E4B7-AD0C-EF6D-615F79F7E79C}"/>
                  </a:ext>
                </a:extLst>
              </p:cNvPr>
              <p:cNvSpPr/>
              <p:nvPr/>
            </p:nvSpPr>
            <p:spPr>
              <a:xfrm>
                <a:off x="442389" y="225266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solidFill>
                <a:srgbClr val="00B8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>
                  <a:latin typeface="Pulso" pitchFamily="2" charset="0"/>
                </a:endParaRPr>
              </a:p>
            </p:txBody>
          </p:sp>
          <p:sp>
            <p:nvSpPr>
              <p:cNvPr id="49" name="Forma libre 111">
                <a:extLst>
                  <a:ext uri="{FF2B5EF4-FFF2-40B4-BE49-F238E27FC236}">
                    <a16:creationId xmlns:a16="http://schemas.microsoft.com/office/drawing/2014/main" id="{0840DC69-E18A-F505-2CC5-0A330A6FC4CA}"/>
                  </a:ext>
                </a:extLst>
              </p:cNvPr>
              <p:cNvSpPr/>
              <p:nvPr/>
            </p:nvSpPr>
            <p:spPr>
              <a:xfrm>
                <a:off x="1785414" y="226980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solidFill>
                <a:srgbClr val="00B8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>
                  <a:latin typeface="Pulso" pitchFamily="2" charset="0"/>
                </a:endParaRPr>
              </a:p>
            </p:txBody>
          </p:sp>
          <p:sp>
            <p:nvSpPr>
              <p:cNvPr id="50" name="Forma libre 112">
                <a:extLst>
                  <a:ext uri="{FF2B5EF4-FFF2-40B4-BE49-F238E27FC236}">
                    <a16:creationId xmlns:a16="http://schemas.microsoft.com/office/drawing/2014/main" id="{5AD9CBBF-B043-4487-1BF0-AD4EB0F573C6}"/>
                  </a:ext>
                </a:extLst>
              </p:cNvPr>
              <p:cNvSpPr/>
              <p:nvPr/>
            </p:nvSpPr>
            <p:spPr>
              <a:xfrm>
                <a:off x="2134981" y="225171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solidFill>
                <a:srgbClr val="00B8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>
                  <a:latin typeface="Pulso" pitchFamily="2" charset="0"/>
                </a:endParaRPr>
              </a:p>
            </p:txBody>
          </p:sp>
          <p:sp>
            <p:nvSpPr>
              <p:cNvPr id="51" name="Forma libre 113">
                <a:extLst>
                  <a:ext uri="{FF2B5EF4-FFF2-40B4-BE49-F238E27FC236}">
                    <a16:creationId xmlns:a16="http://schemas.microsoft.com/office/drawing/2014/main" id="{5F5AABF0-D631-D87B-DEA2-3335C0ADBC9A}"/>
                  </a:ext>
                </a:extLst>
              </p:cNvPr>
              <p:cNvSpPr/>
              <p:nvPr/>
            </p:nvSpPr>
            <p:spPr>
              <a:xfrm>
                <a:off x="3438002" y="225456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solidFill>
                <a:srgbClr val="00B8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>
                  <a:latin typeface="Pulso" pitchFamily="2" charset="0"/>
                </a:endParaRPr>
              </a:p>
            </p:txBody>
          </p:sp>
          <p:sp>
            <p:nvSpPr>
              <p:cNvPr id="52" name="Forma libre 114">
                <a:extLst>
                  <a:ext uri="{FF2B5EF4-FFF2-40B4-BE49-F238E27FC236}">
                    <a16:creationId xmlns:a16="http://schemas.microsoft.com/office/drawing/2014/main" id="{3E1FA2DC-0513-A672-4D7D-BD29A48F0AD5}"/>
                  </a:ext>
                </a:extLst>
              </p:cNvPr>
              <p:cNvSpPr/>
              <p:nvPr/>
            </p:nvSpPr>
            <p:spPr>
              <a:xfrm>
                <a:off x="4062841" y="225361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solidFill>
                <a:srgbClr val="00B8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>
                  <a:latin typeface="Pulso" pitchFamily="2" charset="0"/>
                </a:endParaRPr>
              </a:p>
            </p:txBody>
          </p:sp>
          <p:sp>
            <p:nvSpPr>
              <p:cNvPr id="53" name="Forma libre 115">
                <a:extLst>
                  <a:ext uri="{FF2B5EF4-FFF2-40B4-BE49-F238E27FC236}">
                    <a16:creationId xmlns:a16="http://schemas.microsoft.com/office/drawing/2014/main" id="{7DF69C49-D42F-E226-E9C2-FD148B65CB96}"/>
                  </a:ext>
                </a:extLst>
              </p:cNvPr>
              <p:cNvSpPr/>
              <p:nvPr/>
            </p:nvSpPr>
            <p:spPr>
              <a:xfrm>
                <a:off x="4730544" y="205073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solidFill>
                <a:srgbClr val="00B8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>
                  <a:latin typeface="Pulso" pitchFamily="2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00501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57BD63-27B0-3BAF-ACBA-261F323FC1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Cerrar corchete 75">
            <a:extLst>
              <a:ext uri="{FF2B5EF4-FFF2-40B4-BE49-F238E27FC236}">
                <a16:creationId xmlns:a16="http://schemas.microsoft.com/office/drawing/2014/main" id="{CB9BCB34-B15C-47AE-B215-E204DAD3FFC2}"/>
              </a:ext>
            </a:extLst>
          </p:cNvPr>
          <p:cNvSpPr/>
          <p:nvPr/>
        </p:nvSpPr>
        <p:spPr>
          <a:xfrm rot="5400000">
            <a:off x="2714731" y="2111762"/>
            <a:ext cx="112546" cy="879382"/>
          </a:xfrm>
          <a:prstGeom prst="rightBracket">
            <a:avLst>
              <a:gd name="adj" fmla="val 98739"/>
            </a:avLst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s-AR" sz="1350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0AC4A1E-B19A-F5A9-5E22-70429FDA49AB}"/>
              </a:ext>
            </a:extLst>
          </p:cNvPr>
          <p:cNvSpPr txBox="1">
            <a:spLocks/>
          </p:cNvSpPr>
          <p:nvPr/>
        </p:nvSpPr>
        <p:spPr>
          <a:xfrm>
            <a:off x="736234" y="1399715"/>
            <a:ext cx="490519" cy="196529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lvl1pPr algn="l" defTabSz="91431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spc="-100" baseline="0">
                <a:solidFill>
                  <a:schemeClr val="tx1"/>
                </a:solidFill>
                <a:latin typeface="+mj-lt"/>
                <a:ea typeface="Montserrat" charset="0"/>
                <a:cs typeface="Montserrat" charset="0"/>
              </a:defRPr>
            </a:lvl1pPr>
          </a:lstStyle>
          <a:p>
            <a:pPr defTabSz="685739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s-ES_tradnl" sz="1500" b="0" spc="0">
                <a:solidFill>
                  <a:srgbClr val="002060"/>
                </a:solidFill>
                <a:latin typeface="Pulso" pitchFamily="2" charset="0"/>
              </a:rPr>
              <a:t>2024</a:t>
            </a:r>
          </a:p>
        </p:txBody>
      </p:sp>
      <p:sp>
        <p:nvSpPr>
          <p:cNvPr id="26" name="Rectángulo">
            <a:extLst>
              <a:ext uri="{FF2B5EF4-FFF2-40B4-BE49-F238E27FC236}">
                <a16:creationId xmlns:a16="http://schemas.microsoft.com/office/drawing/2014/main" id="{2FB6CFB1-4B77-5F76-0AE9-8CC5BB69EE5C}"/>
              </a:ext>
            </a:extLst>
          </p:cNvPr>
          <p:cNvSpPr/>
          <p:nvPr/>
        </p:nvSpPr>
        <p:spPr>
          <a:xfrm>
            <a:off x="2268122" y="2650069"/>
            <a:ext cx="993920" cy="202336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 w="12700">
            <a:miter lim="400000"/>
          </a:ln>
        </p:spPr>
        <p:txBody>
          <a:bodyPr vert="horz" lIns="19050" tIns="19050" rIns="19050" bIns="19050" anchor="ctr"/>
          <a:lstStyle/>
          <a:p>
            <a:pPr algn="ctr" defTabSz="3095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25">
                <a:solidFill>
                  <a:srgbClr val="FFFFFF"/>
                </a:solidFill>
                <a:latin typeface="Pulso" pitchFamily="2" charset="0"/>
                <a:cs typeface="+mn-cs"/>
                <a:sym typeface="Helvetica Neue Medium"/>
              </a:rPr>
              <a:t>Mercado Libre</a:t>
            </a:r>
          </a:p>
        </p:txBody>
      </p:sp>
      <p:sp>
        <p:nvSpPr>
          <p:cNvPr id="70" name="Rectángulo">
            <a:extLst>
              <a:ext uri="{FF2B5EF4-FFF2-40B4-BE49-F238E27FC236}">
                <a16:creationId xmlns:a16="http://schemas.microsoft.com/office/drawing/2014/main" id="{CA1E6073-CACD-9F20-5F4A-A2482208AE68}"/>
              </a:ext>
            </a:extLst>
          </p:cNvPr>
          <p:cNvSpPr/>
          <p:nvPr/>
        </p:nvSpPr>
        <p:spPr>
          <a:xfrm>
            <a:off x="2766685" y="1669809"/>
            <a:ext cx="833868" cy="788357"/>
          </a:xfrm>
          <a:prstGeom prst="rect">
            <a:avLst/>
          </a:prstGeom>
          <a:solidFill>
            <a:schemeClr val="bg1">
              <a:lumMod val="25000"/>
            </a:schemeClr>
          </a:solidFill>
          <a:ln w="12700">
            <a:miter lim="400000"/>
          </a:ln>
        </p:spPr>
        <p:txBody>
          <a:bodyPr vert="horz" lIns="19050" tIns="19050" rIns="19050" bIns="19050" anchor="ctr"/>
          <a:lstStyle/>
          <a:p>
            <a:pPr algn="ctr" defTabSz="3095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200" b="1">
                <a:solidFill>
                  <a:srgbClr val="FFFFFF"/>
                </a:solidFill>
                <a:latin typeface="Pulso" pitchFamily="2" charset="0"/>
                <a:cs typeface="+mn-cs"/>
                <a:sym typeface="Helvetica Neue Medium"/>
              </a:rPr>
              <a:t>26% </a:t>
            </a:r>
            <a:r>
              <a:rPr lang="es-AR" sz="1200">
                <a:solidFill>
                  <a:srgbClr val="FFFFFF"/>
                </a:solidFill>
                <a:latin typeface="Pulso" pitchFamily="2" charset="0"/>
                <a:cs typeface="+mn-cs"/>
                <a:sym typeface="Helvetica Neue Medium"/>
              </a:rPr>
              <a:t>Mercado Gris</a:t>
            </a:r>
          </a:p>
          <a:p>
            <a:pPr algn="ctr" defTabSz="309563" fontAlgn="auto">
              <a:spcBef>
                <a:spcPts val="0"/>
              </a:spcBef>
              <a:spcAft>
                <a:spcPts val="0"/>
              </a:spcAft>
              <a:defRPr/>
            </a:pPr>
            <a:endParaRPr lang="es-AR" sz="100">
              <a:solidFill>
                <a:srgbClr val="FFFFFF"/>
              </a:solidFill>
              <a:latin typeface="Pulso" pitchFamily="2" charset="0"/>
              <a:cs typeface="+mn-cs"/>
              <a:sym typeface="Helvetica Neue Medium"/>
            </a:endParaRPr>
          </a:p>
        </p:txBody>
      </p:sp>
      <p:sp>
        <p:nvSpPr>
          <p:cNvPr id="73" name="Rectángulo">
            <a:extLst>
              <a:ext uri="{FF2B5EF4-FFF2-40B4-BE49-F238E27FC236}">
                <a16:creationId xmlns:a16="http://schemas.microsoft.com/office/drawing/2014/main" id="{757418A5-DAB5-8F64-E6C9-7E7D1ACC9A45}"/>
              </a:ext>
            </a:extLst>
          </p:cNvPr>
          <p:cNvSpPr/>
          <p:nvPr/>
        </p:nvSpPr>
        <p:spPr>
          <a:xfrm>
            <a:off x="714685" y="1669809"/>
            <a:ext cx="2052000" cy="788362"/>
          </a:xfrm>
          <a:prstGeom prst="rect">
            <a:avLst/>
          </a:prstGeom>
          <a:solidFill>
            <a:schemeClr val="bg2"/>
          </a:solidFill>
          <a:ln w="12700">
            <a:miter lim="400000"/>
          </a:ln>
        </p:spPr>
        <p:txBody>
          <a:bodyPr vert="horz" lIns="19050" tIns="19050" rIns="19050" bIns="19050" anchor="ctr"/>
          <a:lstStyle/>
          <a:p>
            <a:pPr algn="ctr" defTabSz="309563" fontAlgn="auto">
              <a:spcBef>
                <a:spcPts val="0"/>
              </a:spcBef>
              <a:spcAft>
                <a:spcPts val="0"/>
              </a:spcAft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AR" sz="1200" b="1">
                <a:solidFill>
                  <a:srgbClr val="FFFFFF"/>
                </a:solidFill>
                <a:latin typeface="Pulso" pitchFamily="2" charset="0"/>
                <a:ea typeface="Helvetica Neue Medium"/>
                <a:cs typeface="Helvetica Neue Medium"/>
                <a:sym typeface="Helvetica Neue Medium"/>
              </a:rPr>
              <a:t>74% </a:t>
            </a:r>
            <a:r>
              <a:rPr lang="es-AR" sz="1200">
                <a:solidFill>
                  <a:srgbClr val="FFFFFF"/>
                </a:solidFill>
                <a:latin typeface="Pulso" pitchFamily="2" charset="0"/>
                <a:ea typeface="Helvetica Neue Medium"/>
                <a:cs typeface="Helvetica Neue Medium"/>
                <a:sym typeface="Helvetica Neue Medium"/>
              </a:rPr>
              <a:t>Mercado Legal</a:t>
            </a:r>
          </a:p>
          <a:p>
            <a:pPr algn="ctr" defTabSz="309563" fontAlgn="auto">
              <a:spcBef>
                <a:spcPts val="0"/>
              </a:spcBef>
              <a:spcAft>
                <a:spcPts val="0"/>
              </a:spcAft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s-AR" sz="2100" b="1">
              <a:solidFill>
                <a:srgbClr val="FFFFFF"/>
              </a:solidFill>
              <a:latin typeface="Pulso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ectángulo: esquinas redondeadas 32">
            <a:extLst>
              <a:ext uri="{FF2B5EF4-FFF2-40B4-BE49-F238E27FC236}">
                <a16:creationId xmlns:a16="http://schemas.microsoft.com/office/drawing/2014/main" id="{5E7E0986-26C0-6AF1-EED2-1CBC2D9C0E0B}"/>
              </a:ext>
            </a:extLst>
          </p:cNvPr>
          <p:cNvSpPr/>
          <p:nvPr/>
        </p:nvSpPr>
        <p:spPr>
          <a:xfrm>
            <a:off x="714685" y="3033814"/>
            <a:ext cx="2885868" cy="324000"/>
          </a:xfrm>
          <a:prstGeom prst="roundRect">
            <a:avLst>
              <a:gd name="adj" fmla="val 26029"/>
            </a:avLst>
          </a:prstGeom>
          <a:solidFill>
            <a:schemeClr val="tx2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800" fontAlgn="auto">
              <a:spcBef>
                <a:spcPts val="476"/>
              </a:spcBef>
              <a:spcAft>
                <a:spcPts val="0"/>
              </a:spcAft>
              <a:defRPr/>
            </a:pPr>
            <a:endParaRPr lang="es-ES_tradnl" sz="667" b="1">
              <a:solidFill>
                <a:srgbClr val="FFFFFF"/>
              </a:solidFill>
              <a:latin typeface="Pulso" pitchFamily="2" charset="0"/>
              <a:ea typeface="Roboto" panose="02000000000000000000" pitchFamily="2" charset="0"/>
            </a:endParaRPr>
          </a:p>
        </p:txBody>
      </p:sp>
      <p:sp>
        <p:nvSpPr>
          <p:cNvPr id="7" name="Marcador de texto 8">
            <a:extLst>
              <a:ext uri="{FF2B5EF4-FFF2-40B4-BE49-F238E27FC236}">
                <a16:creationId xmlns:a16="http://schemas.microsoft.com/office/drawing/2014/main" id="{27422D71-FB54-76E1-A378-12E5C3EA68BD}"/>
              </a:ext>
            </a:extLst>
          </p:cNvPr>
          <p:cNvSpPr txBox="1">
            <a:spLocks/>
          </p:cNvSpPr>
          <p:nvPr/>
        </p:nvSpPr>
        <p:spPr>
          <a:xfrm>
            <a:off x="736234" y="3120314"/>
            <a:ext cx="2820519" cy="16158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35415">
              <a:lnSpc>
                <a:spcPct val="100000"/>
              </a:lnSpc>
              <a:spcBef>
                <a:spcPts val="476"/>
              </a:spcBef>
              <a:buNone/>
              <a:defRPr/>
            </a:pPr>
            <a:r>
              <a:rPr lang="es-ES_tradnl" sz="1050">
                <a:solidFill>
                  <a:srgbClr val="FFFFFF"/>
                </a:solidFill>
                <a:latin typeface="Pulso" pitchFamily="2" charset="0"/>
                <a:ea typeface="Roboto" panose="02000000000000000000" pitchFamily="2" charset="0"/>
                <a:cs typeface="Roboto Black" panose="02000000000000000000" pitchFamily="2" charset="0"/>
              </a:rPr>
              <a:t>2024: </a:t>
            </a:r>
            <a:r>
              <a:rPr lang="es-ES_tradnl" sz="1050" b="1">
                <a:solidFill>
                  <a:srgbClr val="FFFFFF"/>
                </a:solidFill>
                <a:latin typeface="Pulso" pitchFamily="2" charset="0"/>
                <a:ea typeface="Roboto" panose="02000000000000000000" pitchFamily="2" charset="0"/>
                <a:cs typeface="Roboto Black" panose="02000000000000000000" pitchFamily="2" charset="0"/>
              </a:rPr>
              <a:t>6 </a:t>
            </a:r>
            <a:r>
              <a:rPr lang="es-ES_tradnl" sz="1050">
                <a:solidFill>
                  <a:srgbClr val="FFFFFF"/>
                </a:solidFill>
                <a:latin typeface="Pulso" pitchFamily="2" charset="0"/>
                <a:ea typeface="Roboto" panose="02000000000000000000" pitchFamily="2" charset="0"/>
                <a:cs typeface="Roboto Black" panose="02000000000000000000" pitchFamily="2" charset="0"/>
              </a:rPr>
              <a:t>MARCAS COMERCIALIZADAS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BA51F75D-842D-2792-D018-773CFC61D2FD}"/>
              </a:ext>
            </a:extLst>
          </p:cNvPr>
          <p:cNvSpPr txBox="1"/>
          <p:nvPr/>
        </p:nvSpPr>
        <p:spPr>
          <a:xfrm>
            <a:off x="2523335" y="3693215"/>
            <a:ext cx="4809009" cy="701026"/>
          </a:xfrm>
          <a:prstGeom prst="rect">
            <a:avLst/>
          </a:prstGeom>
          <a:noFill/>
        </p:spPr>
        <p:txBody>
          <a:bodyPr wrap="none" lIns="0" tIns="0" rIns="0" bIns="0" anchor="ctr" anchorCtr="0">
            <a:spAutoFit/>
          </a:bodyPr>
          <a:lstStyle/>
          <a:p>
            <a:pPr marL="171450" indent="-171450" defTabSz="6858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Letra del sistema regular"/>
              <a:buChar char="●"/>
              <a:defRPr/>
            </a:pPr>
            <a:r>
              <a:rPr lang="es-AR" sz="105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cs typeface="+mn-cs"/>
              </a:rPr>
              <a:t>Crecimiento del Mercado Gris a partir de la unificación cambiaria</a:t>
            </a:r>
          </a:p>
          <a:p>
            <a:pPr marL="171450" indent="-171450" defTabSz="6858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Letra del sistema regular"/>
              <a:buChar char="●"/>
              <a:defRPr/>
            </a:pPr>
            <a:r>
              <a:rPr lang="es-AR" sz="105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cs typeface="+mn-cs"/>
              </a:rPr>
              <a:t>Incremento de la participación de los Marketplace sobre la venta</a:t>
            </a:r>
          </a:p>
          <a:p>
            <a:pPr marL="171450" indent="-171450" defTabSz="6858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Letra del sistema regular"/>
              <a:buChar char="●"/>
              <a:defRPr/>
            </a:pPr>
            <a:r>
              <a:rPr lang="es-AR" sz="105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cs typeface="+mn-cs"/>
              </a:rPr>
              <a:t>Incertidumbre del modelo de venta directa impulsado por las fábricas de TDF</a:t>
            </a:r>
          </a:p>
        </p:txBody>
      </p:sp>
      <p:sp>
        <p:nvSpPr>
          <p:cNvPr id="2" name="Rectángulo">
            <a:extLst>
              <a:ext uri="{FF2B5EF4-FFF2-40B4-BE49-F238E27FC236}">
                <a16:creationId xmlns:a16="http://schemas.microsoft.com/office/drawing/2014/main" id="{0C2A3298-E3FA-AB0C-A368-5E9521FE3E08}"/>
              </a:ext>
            </a:extLst>
          </p:cNvPr>
          <p:cNvSpPr/>
          <p:nvPr/>
        </p:nvSpPr>
        <p:spPr>
          <a:xfrm>
            <a:off x="714685" y="2104846"/>
            <a:ext cx="1188000" cy="288000"/>
          </a:xfrm>
          <a:prstGeom prst="rect">
            <a:avLst/>
          </a:prstGeom>
          <a:solidFill>
            <a:schemeClr val="tx2">
              <a:lumMod val="75000"/>
              <a:lumOff val="25000"/>
              <a:alpha val="65000"/>
            </a:schemeClr>
          </a:solidFill>
          <a:ln w="12700">
            <a:miter lim="400000"/>
          </a:ln>
        </p:spPr>
        <p:txBody>
          <a:bodyPr vert="horz" lIns="19050" tIns="19050" rIns="19050" bIns="19050" anchor="ctr"/>
          <a:lstStyle/>
          <a:p>
            <a:pPr algn="ctr" defTabSz="3095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900" b="1">
                <a:solidFill>
                  <a:srgbClr val="FFFFFF"/>
                </a:solidFill>
                <a:latin typeface="Pulso" pitchFamily="2" charset="0"/>
                <a:cs typeface="+mn-cs"/>
                <a:sym typeface="Helvetica Neue Medium"/>
              </a:rPr>
              <a:t>60%</a:t>
            </a:r>
          </a:p>
          <a:p>
            <a:pPr algn="ctr" defTabSz="3095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600" err="1">
                <a:solidFill>
                  <a:srgbClr val="FFFFFF"/>
                </a:solidFill>
                <a:latin typeface="Pulso" pitchFamily="2" charset="0"/>
                <a:cs typeface="+mn-cs"/>
                <a:sym typeface="Helvetica Neue Medium"/>
              </a:rPr>
              <a:t>Retail</a:t>
            </a:r>
            <a:endParaRPr lang="es-AR" sz="600">
              <a:solidFill>
                <a:srgbClr val="FFFFFF"/>
              </a:solidFill>
              <a:latin typeface="Pulso" pitchFamily="2" charset="0"/>
              <a:cs typeface="+mn-cs"/>
              <a:sym typeface="Helvetica Neue Medium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7D3F45CC-FBF7-06FF-F3DE-9644154815F7}"/>
              </a:ext>
            </a:extLst>
          </p:cNvPr>
          <p:cNvSpPr/>
          <p:nvPr/>
        </p:nvSpPr>
        <p:spPr>
          <a:xfrm>
            <a:off x="1902685" y="2104848"/>
            <a:ext cx="864000" cy="288000"/>
          </a:xfrm>
          <a:prstGeom prst="rect">
            <a:avLst/>
          </a:prstGeom>
          <a:solidFill>
            <a:schemeClr val="tx2">
              <a:lumMod val="50000"/>
              <a:alpha val="65000"/>
            </a:schemeClr>
          </a:solidFill>
          <a:ln w="12700">
            <a:miter lim="400000"/>
          </a:ln>
        </p:spPr>
        <p:txBody>
          <a:bodyPr vert="horz" lIns="19050" tIns="19050" rIns="19050" bIns="19050" anchor="ctr"/>
          <a:lstStyle/>
          <a:p>
            <a:pPr algn="ctr" defTabSz="3095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900" b="1">
                <a:solidFill>
                  <a:srgbClr val="FFFFFF"/>
                </a:solidFill>
                <a:latin typeface="Pulso" pitchFamily="2" charset="0"/>
                <a:cs typeface="+mn-cs"/>
                <a:sym typeface="Arial"/>
              </a:rPr>
              <a:t>40%</a:t>
            </a:r>
          </a:p>
          <a:p>
            <a:pPr algn="ctr" defTabSz="3095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600">
                <a:solidFill>
                  <a:srgbClr val="FFFFFF"/>
                </a:solidFill>
                <a:latin typeface="Pulso" pitchFamily="2" charset="0"/>
                <a:cs typeface="+mn-cs"/>
                <a:sym typeface="Arial"/>
              </a:rPr>
              <a:t>Operador</a:t>
            </a:r>
          </a:p>
        </p:txBody>
      </p:sp>
      <p:sp>
        <p:nvSpPr>
          <p:cNvPr id="8" name="Marcador de texto 8">
            <a:extLst>
              <a:ext uri="{FF2B5EF4-FFF2-40B4-BE49-F238E27FC236}">
                <a16:creationId xmlns:a16="http://schemas.microsoft.com/office/drawing/2014/main" id="{F1B24E54-734D-7166-4D58-CA4A9A64D7FE}"/>
              </a:ext>
            </a:extLst>
          </p:cNvPr>
          <p:cNvSpPr txBox="1">
            <a:spLocks/>
          </p:cNvSpPr>
          <p:nvPr/>
        </p:nvSpPr>
        <p:spPr>
          <a:xfrm>
            <a:off x="540657" y="949933"/>
            <a:ext cx="2005357" cy="188578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volución Mercado de Equipos</a:t>
            </a:r>
          </a:p>
        </p:txBody>
      </p:sp>
      <p:sp>
        <p:nvSpPr>
          <p:cNvPr id="10" name="Cerrar corchete 9">
            <a:extLst>
              <a:ext uri="{FF2B5EF4-FFF2-40B4-BE49-F238E27FC236}">
                <a16:creationId xmlns:a16="http://schemas.microsoft.com/office/drawing/2014/main" id="{802E0B67-F995-C085-704E-8426E332CDD7}"/>
              </a:ext>
            </a:extLst>
          </p:cNvPr>
          <p:cNvSpPr/>
          <p:nvPr/>
        </p:nvSpPr>
        <p:spPr>
          <a:xfrm rot="5400000">
            <a:off x="6359391" y="2111762"/>
            <a:ext cx="112546" cy="879382"/>
          </a:xfrm>
          <a:prstGeom prst="rightBracket">
            <a:avLst>
              <a:gd name="adj" fmla="val 98739"/>
            </a:avLst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s-AR" sz="1350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2719E3F-102B-1BE2-4980-5EA51894F468}"/>
              </a:ext>
            </a:extLst>
          </p:cNvPr>
          <p:cNvSpPr txBox="1">
            <a:spLocks/>
          </p:cNvSpPr>
          <p:nvPr/>
        </p:nvSpPr>
        <p:spPr>
          <a:xfrm>
            <a:off x="4380894" y="1399875"/>
            <a:ext cx="495328" cy="196208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lvl1pPr algn="l" defTabSz="91431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spc="-100" baseline="0">
                <a:solidFill>
                  <a:schemeClr val="tx1"/>
                </a:solidFill>
                <a:latin typeface="+mj-lt"/>
                <a:ea typeface="Montserrat" charset="0"/>
                <a:cs typeface="Montserrat" charset="0"/>
              </a:defRPr>
            </a:lvl1pPr>
          </a:lstStyle>
          <a:p>
            <a:pPr defTabSz="685739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s-ES_tradnl" sz="1500" spc="0">
                <a:solidFill>
                  <a:srgbClr val="002060"/>
                </a:solidFill>
                <a:latin typeface="Pulso" pitchFamily="2" charset="0"/>
              </a:rPr>
              <a:t>2025</a:t>
            </a:r>
          </a:p>
        </p:txBody>
      </p:sp>
      <p:sp>
        <p:nvSpPr>
          <p:cNvPr id="15" name="Rectángulo">
            <a:extLst>
              <a:ext uri="{FF2B5EF4-FFF2-40B4-BE49-F238E27FC236}">
                <a16:creationId xmlns:a16="http://schemas.microsoft.com/office/drawing/2014/main" id="{FC25B256-DBB9-EF7E-0640-97E8669247C9}"/>
              </a:ext>
            </a:extLst>
          </p:cNvPr>
          <p:cNvSpPr/>
          <p:nvPr/>
        </p:nvSpPr>
        <p:spPr>
          <a:xfrm>
            <a:off x="5912782" y="2650069"/>
            <a:ext cx="993920" cy="202336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 w="12700">
            <a:miter lim="400000"/>
          </a:ln>
        </p:spPr>
        <p:txBody>
          <a:bodyPr vert="horz" lIns="19050" tIns="19050" rIns="19050" bIns="19050" anchor="ctr"/>
          <a:lstStyle/>
          <a:p>
            <a:pPr algn="ctr" defTabSz="3095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25">
                <a:solidFill>
                  <a:srgbClr val="FFFFFF"/>
                </a:solidFill>
                <a:latin typeface="Pulso" pitchFamily="2" charset="0"/>
                <a:cs typeface="+mn-cs"/>
                <a:sym typeface="Helvetica Neue Medium"/>
              </a:rPr>
              <a:t>Mercado Libre</a:t>
            </a:r>
            <a:endParaRPr sz="825">
              <a:solidFill>
                <a:srgbClr val="FFFFFF"/>
              </a:solidFill>
              <a:latin typeface="Pulso" pitchFamily="2" charset="0"/>
              <a:cs typeface="+mn-cs"/>
              <a:sym typeface="Helvetica Neue Medium"/>
            </a:endParaRPr>
          </a:p>
        </p:txBody>
      </p:sp>
      <p:sp>
        <p:nvSpPr>
          <p:cNvPr id="16" name="Rectángulo">
            <a:extLst>
              <a:ext uri="{FF2B5EF4-FFF2-40B4-BE49-F238E27FC236}">
                <a16:creationId xmlns:a16="http://schemas.microsoft.com/office/drawing/2014/main" id="{54AAC8FA-8FE8-6CBC-458F-DDE607DD1CBB}"/>
              </a:ext>
            </a:extLst>
          </p:cNvPr>
          <p:cNvSpPr/>
          <p:nvPr/>
        </p:nvSpPr>
        <p:spPr>
          <a:xfrm>
            <a:off x="6411345" y="1669809"/>
            <a:ext cx="833868" cy="788357"/>
          </a:xfrm>
          <a:prstGeom prst="rect">
            <a:avLst/>
          </a:prstGeom>
          <a:solidFill>
            <a:schemeClr val="bg1">
              <a:lumMod val="25000"/>
            </a:schemeClr>
          </a:solidFill>
          <a:ln w="12700">
            <a:miter lim="400000"/>
          </a:ln>
        </p:spPr>
        <p:txBody>
          <a:bodyPr vert="horz" lIns="19050" tIns="19050" rIns="19050" bIns="19050" anchor="ctr"/>
          <a:lstStyle/>
          <a:p>
            <a:pPr algn="ctr" defTabSz="3095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200" b="1">
                <a:solidFill>
                  <a:srgbClr val="FFFFFF"/>
                </a:solidFill>
                <a:latin typeface="Pulso" pitchFamily="2" charset="0"/>
                <a:cs typeface="+mn-cs"/>
                <a:sym typeface="Helvetica Neue Medium"/>
              </a:rPr>
              <a:t>36% </a:t>
            </a:r>
            <a:r>
              <a:rPr lang="es-AR" sz="1200">
                <a:solidFill>
                  <a:srgbClr val="FFFFFF"/>
                </a:solidFill>
                <a:latin typeface="Pulso" pitchFamily="2" charset="0"/>
                <a:cs typeface="+mn-cs"/>
                <a:sym typeface="Helvetica Neue Medium"/>
              </a:rPr>
              <a:t>Mercado Gris</a:t>
            </a:r>
          </a:p>
          <a:p>
            <a:pPr algn="ctr" defTabSz="309563" fontAlgn="auto">
              <a:spcBef>
                <a:spcPts val="0"/>
              </a:spcBef>
              <a:spcAft>
                <a:spcPts val="0"/>
              </a:spcAft>
              <a:defRPr/>
            </a:pPr>
            <a:endParaRPr lang="es-AR" sz="100">
              <a:solidFill>
                <a:srgbClr val="FFFFFF"/>
              </a:solidFill>
              <a:latin typeface="Pulso" pitchFamily="2" charset="0"/>
              <a:cs typeface="+mn-cs"/>
              <a:sym typeface="Helvetica Neue Medium"/>
            </a:endParaRPr>
          </a:p>
        </p:txBody>
      </p:sp>
      <p:sp>
        <p:nvSpPr>
          <p:cNvPr id="17" name="Rectángulo">
            <a:extLst>
              <a:ext uri="{FF2B5EF4-FFF2-40B4-BE49-F238E27FC236}">
                <a16:creationId xmlns:a16="http://schemas.microsoft.com/office/drawing/2014/main" id="{77241D5C-4D5A-A81A-9E06-FA87F988246F}"/>
              </a:ext>
            </a:extLst>
          </p:cNvPr>
          <p:cNvSpPr/>
          <p:nvPr/>
        </p:nvSpPr>
        <p:spPr>
          <a:xfrm>
            <a:off x="4359345" y="1669809"/>
            <a:ext cx="2052000" cy="788362"/>
          </a:xfrm>
          <a:prstGeom prst="rect">
            <a:avLst/>
          </a:prstGeom>
          <a:solidFill>
            <a:schemeClr val="bg2"/>
          </a:solidFill>
          <a:ln w="12700">
            <a:miter lim="400000"/>
          </a:ln>
        </p:spPr>
        <p:txBody>
          <a:bodyPr vert="horz" lIns="19050" tIns="19050" rIns="19050" bIns="19050" anchor="ctr"/>
          <a:lstStyle/>
          <a:p>
            <a:pPr algn="ctr" defTabSz="309563" fontAlgn="auto">
              <a:spcBef>
                <a:spcPts val="0"/>
              </a:spcBef>
              <a:spcAft>
                <a:spcPts val="0"/>
              </a:spcAft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AR" sz="1200" b="1">
                <a:solidFill>
                  <a:srgbClr val="FFFFFF"/>
                </a:solidFill>
                <a:latin typeface="Pulso" pitchFamily="2" charset="0"/>
                <a:ea typeface="Helvetica Neue Medium"/>
                <a:cs typeface="Helvetica Neue Medium"/>
                <a:sym typeface="Helvetica Neue Medium"/>
              </a:rPr>
              <a:t>64% </a:t>
            </a:r>
            <a:r>
              <a:rPr lang="es-AR" sz="1200">
                <a:solidFill>
                  <a:srgbClr val="FFFFFF"/>
                </a:solidFill>
                <a:latin typeface="Pulso" pitchFamily="2" charset="0"/>
                <a:ea typeface="Helvetica Neue Medium"/>
                <a:cs typeface="Helvetica Neue Medium"/>
                <a:sym typeface="Helvetica Neue Medium"/>
              </a:rPr>
              <a:t>Mercado Legal</a:t>
            </a:r>
          </a:p>
          <a:p>
            <a:pPr algn="ctr" defTabSz="309563" fontAlgn="auto">
              <a:spcBef>
                <a:spcPts val="0"/>
              </a:spcBef>
              <a:spcAft>
                <a:spcPts val="0"/>
              </a:spcAft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s-AR" sz="2100" b="1">
              <a:solidFill>
                <a:srgbClr val="FFFFFF"/>
              </a:solidFill>
              <a:latin typeface="Pulso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: esquinas redondeadas 32">
            <a:extLst>
              <a:ext uri="{FF2B5EF4-FFF2-40B4-BE49-F238E27FC236}">
                <a16:creationId xmlns:a16="http://schemas.microsoft.com/office/drawing/2014/main" id="{50E4B403-EA40-04D1-A9AE-40BA70F56D23}"/>
              </a:ext>
            </a:extLst>
          </p:cNvPr>
          <p:cNvSpPr/>
          <p:nvPr/>
        </p:nvSpPr>
        <p:spPr>
          <a:xfrm>
            <a:off x="4359345" y="3033814"/>
            <a:ext cx="2885868" cy="324000"/>
          </a:xfrm>
          <a:prstGeom prst="roundRect">
            <a:avLst>
              <a:gd name="adj" fmla="val 26029"/>
            </a:avLst>
          </a:prstGeom>
          <a:solidFill>
            <a:schemeClr val="tx2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800" fontAlgn="auto">
              <a:spcBef>
                <a:spcPts val="476"/>
              </a:spcBef>
              <a:spcAft>
                <a:spcPts val="0"/>
              </a:spcAft>
              <a:defRPr/>
            </a:pPr>
            <a:endParaRPr lang="es-ES_tradnl" sz="667" b="1">
              <a:solidFill>
                <a:srgbClr val="FFFFFF"/>
              </a:solidFill>
              <a:latin typeface="Pulso" pitchFamily="2" charset="0"/>
              <a:ea typeface="Roboto" panose="02000000000000000000" pitchFamily="2" charset="0"/>
            </a:endParaRPr>
          </a:p>
        </p:txBody>
      </p:sp>
      <p:sp>
        <p:nvSpPr>
          <p:cNvPr id="25" name="Marcador de texto 8">
            <a:extLst>
              <a:ext uri="{FF2B5EF4-FFF2-40B4-BE49-F238E27FC236}">
                <a16:creationId xmlns:a16="http://schemas.microsoft.com/office/drawing/2014/main" id="{7FFA267E-5784-A2A0-B204-7ED1183C757F}"/>
              </a:ext>
            </a:extLst>
          </p:cNvPr>
          <p:cNvSpPr txBox="1">
            <a:spLocks/>
          </p:cNvSpPr>
          <p:nvPr/>
        </p:nvSpPr>
        <p:spPr>
          <a:xfrm>
            <a:off x="4380894" y="3120314"/>
            <a:ext cx="2820519" cy="16158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35415">
              <a:lnSpc>
                <a:spcPct val="100000"/>
              </a:lnSpc>
              <a:spcBef>
                <a:spcPts val="476"/>
              </a:spcBef>
              <a:buNone/>
              <a:defRPr/>
            </a:pPr>
            <a:r>
              <a:rPr lang="es-ES_tradnl" sz="1050">
                <a:solidFill>
                  <a:srgbClr val="FFFFFF"/>
                </a:solidFill>
                <a:latin typeface="Pulso" pitchFamily="2" charset="0"/>
                <a:ea typeface="Roboto" panose="02000000000000000000" pitchFamily="2" charset="0"/>
                <a:cs typeface="Roboto Black" panose="02000000000000000000" pitchFamily="2" charset="0"/>
              </a:rPr>
              <a:t>2025: </a:t>
            </a:r>
            <a:r>
              <a:rPr lang="es-ES_tradnl" sz="1050" b="1">
                <a:solidFill>
                  <a:srgbClr val="FFFFFF"/>
                </a:solidFill>
                <a:latin typeface="Pulso" pitchFamily="2" charset="0"/>
                <a:ea typeface="Roboto" panose="02000000000000000000" pitchFamily="2" charset="0"/>
                <a:cs typeface="Roboto Black" panose="02000000000000000000" pitchFamily="2" charset="0"/>
              </a:rPr>
              <a:t>11 </a:t>
            </a:r>
            <a:r>
              <a:rPr lang="es-ES_tradnl" sz="1050">
                <a:solidFill>
                  <a:srgbClr val="FFFFFF"/>
                </a:solidFill>
                <a:latin typeface="Pulso" pitchFamily="2" charset="0"/>
                <a:ea typeface="Roboto" panose="02000000000000000000" pitchFamily="2" charset="0"/>
                <a:cs typeface="Roboto Black" panose="02000000000000000000" pitchFamily="2" charset="0"/>
              </a:rPr>
              <a:t>MARCAS COMERCIALIZADAS</a:t>
            </a:r>
          </a:p>
        </p:txBody>
      </p:sp>
      <p:sp>
        <p:nvSpPr>
          <p:cNvPr id="28" name="Rectángulo">
            <a:extLst>
              <a:ext uri="{FF2B5EF4-FFF2-40B4-BE49-F238E27FC236}">
                <a16:creationId xmlns:a16="http://schemas.microsoft.com/office/drawing/2014/main" id="{DD78F299-2B1F-5FF1-F6FF-721F69366F94}"/>
              </a:ext>
            </a:extLst>
          </p:cNvPr>
          <p:cNvSpPr/>
          <p:nvPr/>
        </p:nvSpPr>
        <p:spPr>
          <a:xfrm>
            <a:off x="4359345" y="2104846"/>
            <a:ext cx="1188000" cy="288000"/>
          </a:xfrm>
          <a:prstGeom prst="rect">
            <a:avLst/>
          </a:prstGeom>
          <a:solidFill>
            <a:schemeClr val="tx2">
              <a:lumMod val="75000"/>
              <a:lumOff val="25000"/>
              <a:alpha val="65000"/>
            </a:schemeClr>
          </a:solidFill>
          <a:ln w="12700">
            <a:miter lim="400000"/>
          </a:ln>
        </p:spPr>
        <p:txBody>
          <a:bodyPr vert="horz" lIns="19050" tIns="19050" rIns="19050" bIns="19050" anchor="ctr"/>
          <a:lstStyle/>
          <a:p>
            <a:pPr algn="ctr" defTabSz="3095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900" b="1">
                <a:solidFill>
                  <a:srgbClr val="FFFFFF"/>
                </a:solidFill>
                <a:latin typeface="Pulso" pitchFamily="2" charset="0"/>
                <a:cs typeface="+mn-cs"/>
                <a:sym typeface="Helvetica Neue Medium"/>
              </a:rPr>
              <a:t>70%</a:t>
            </a:r>
          </a:p>
          <a:p>
            <a:pPr algn="ctr" defTabSz="3095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600" err="1">
                <a:solidFill>
                  <a:srgbClr val="FFFFFF"/>
                </a:solidFill>
                <a:latin typeface="Pulso" pitchFamily="2" charset="0"/>
                <a:cs typeface="+mn-cs"/>
                <a:sym typeface="Helvetica Neue Medium"/>
              </a:rPr>
              <a:t>Retail</a:t>
            </a:r>
            <a:endParaRPr sz="600">
              <a:solidFill>
                <a:srgbClr val="FFFFFF"/>
              </a:solidFill>
              <a:latin typeface="Pulso" pitchFamily="2" charset="0"/>
              <a:cs typeface="+mn-cs"/>
              <a:sym typeface="Helvetica Neue Medium"/>
            </a:endParaRP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7A54FA84-4901-CEF5-A25F-928A4B658413}"/>
              </a:ext>
            </a:extLst>
          </p:cNvPr>
          <p:cNvSpPr/>
          <p:nvPr/>
        </p:nvSpPr>
        <p:spPr>
          <a:xfrm>
            <a:off x="5547345" y="2104848"/>
            <a:ext cx="864000" cy="288000"/>
          </a:xfrm>
          <a:prstGeom prst="rect">
            <a:avLst/>
          </a:prstGeom>
          <a:solidFill>
            <a:schemeClr val="tx2">
              <a:lumMod val="50000"/>
              <a:alpha val="65000"/>
            </a:schemeClr>
          </a:solidFill>
          <a:ln w="12700">
            <a:miter lim="400000"/>
          </a:ln>
        </p:spPr>
        <p:txBody>
          <a:bodyPr vert="horz" lIns="19050" tIns="19050" rIns="19050" bIns="19050" anchor="ctr"/>
          <a:lstStyle/>
          <a:p>
            <a:pPr algn="ctr" defTabSz="3095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900" b="1">
                <a:solidFill>
                  <a:srgbClr val="FFFFFF"/>
                </a:solidFill>
                <a:latin typeface="Pulso" pitchFamily="2" charset="0"/>
                <a:cs typeface="+mn-cs"/>
                <a:sym typeface="Arial"/>
              </a:rPr>
              <a:t>30%</a:t>
            </a:r>
          </a:p>
          <a:p>
            <a:pPr algn="ctr" defTabSz="3095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600">
                <a:solidFill>
                  <a:srgbClr val="FFFFFF"/>
                </a:solidFill>
                <a:latin typeface="Pulso" pitchFamily="2" charset="0"/>
                <a:cs typeface="+mn-cs"/>
                <a:sym typeface="Arial"/>
              </a:rPr>
              <a:t>Operador</a:t>
            </a:r>
          </a:p>
        </p:txBody>
      </p:sp>
      <p:grpSp>
        <p:nvGrpSpPr>
          <p:cNvPr id="49" name="Grupo 48">
            <a:extLst>
              <a:ext uri="{FF2B5EF4-FFF2-40B4-BE49-F238E27FC236}">
                <a16:creationId xmlns:a16="http://schemas.microsoft.com/office/drawing/2014/main" id="{E81F65D2-8020-4A0B-908C-490BA383BE05}"/>
              </a:ext>
            </a:extLst>
          </p:cNvPr>
          <p:cNvGrpSpPr>
            <a:grpSpLocks noChangeAspect="1"/>
          </p:cNvGrpSpPr>
          <p:nvPr/>
        </p:nvGrpSpPr>
        <p:grpSpPr>
          <a:xfrm>
            <a:off x="714685" y="3932834"/>
            <a:ext cx="1533895" cy="306858"/>
            <a:chOff x="5021556" y="714616"/>
            <a:chExt cx="1142947" cy="228648"/>
          </a:xfrm>
        </p:grpSpPr>
        <p:sp>
          <p:nvSpPr>
            <p:cNvPr id="50" name="Forma libre 49">
              <a:extLst>
                <a:ext uri="{FF2B5EF4-FFF2-40B4-BE49-F238E27FC236}">
                  <a16:creationId xmlns:a16="http://schemas.microsoft.com/office/drawing/2014/main" id="{E514A9C7-D468-1FC7-699D-1AB02AEBE1EF}"/>
                </a:ext>
              </a:extLst>
            </p:cNvPr>
            <p:cNvSpPr/>
            <p:nvPr/>
          </p:nvSpPr>
          <p:spPr>
            <a:xfrm>
              <a:off x="5529729" y="718561"/>
              <a:ext cx="630806" cy="220743"/>
            </a:xfrm>
            <a:custGeom>
              <a:avLst/>
              <a:gdLst>
                <a:gd name="connsiteX0" fmla="*/ 549253 w 630806"/>
                <a:gd name="connsiteY0" fmla="*/ 0 h 220743"/>
                <a:gd name="connsiteX1" fmla="*/ 630807 w 630806"/>
                <a:gd name="connsiteY1" fmla="*/ 81363 h 220743"/>
                <a:gd name="connsiteX2" fmla="*/ 630807 w 630806"/>
                <a:gd name="connsiteY2" fmla="*/ 139381 h 220743"/>
                <a:gd name="connsiteX3" fmla="*/ 549253 w 630806"/>
                <a:gd name="connsiteY3" fmla="*/ 220744 h 220743"/>
                <a:gd name="connsiteX4" fmla="*/ 81553 w 630806"/>
                <a:gd name="connsiteY4" fmla="*/ 220744 h 220743"/>
                <a:gd name="connsiteX5" fmla="*/ 0 w 630806"/>
                <a:gd name="connsiteY5" fmla="*/ 139381 h 220743"/>
                <a:gd name="connsiteX6" fmla="*/ 0 w 630806"/>
                <a:gd name="connsiteY6" fmla="*/ 81363 h 220743"/>
                <a:gd name="connsiteX7" fmla="*/ 81553 w 630806"/>
                <a:gd name="connsiteY7" fmla="*/ 0 h 220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0806" h="220743">
                  <a:moveTo>
                    <a:pt x="549253" y="0"/>
                  </a:moveTo>
                  <a:cubicBezTo>
                    <a:pt x="594294" y="0"/>
                    <a:pt x="630807" y="36428"/>
                    <a:pt x="630807" y="81363"/>
                  </a:cubicBezTo>
                  <a:lnTo>
                    <a:pt x="630807" y="139381"/>
                  </a:lnTo>
                  <a:cubicBezTo>
                    <a:pt x="630807" y="184316"/>
                    <a:pt x="594294" y="220744"/>
                    <a:pt x="549253" y="220744"/>
                  </a:cubicBezTo>
                  <a:lnTo>
                    <a:pt x="81553" y="220744"/>
                  </a:lnTo>
                  <a:cubicBezTo>
                    <a:pt x="36513" y="220744"/>
                    <a:pt x="0" y="184316"/>
                    <a:pt x="0" y="139381"/>
                  </a:cubicBezTo>
                  <a:lnTo>
                    <a:pt x="0" y="81363"/>
                  </a:lnTo>
                  <a:cubicBezTo>
                    <a:pt x="0" y="36428"/>
                    <a:pt x="36513" y="0"/>
                    <a:pt x="81553" y="0"/>
                  </a:cubicBezTo>
                  <a:close/>
                </a:path>
              </a:pathLst>
            </a:custGeom>
            <a:solidFill>
              <a:srgbClr val="03B7EB"/>
            </a:solidFill>
            <a:ln w="13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1" name="Forma libre 50">
              <a:extLst>
                <a:ext uri="{FF2B5EF4-FFF2-40B4-BE49-F238E27FC236}">
                  <a16:creationId xmlns:a16="http://schemas.microsoft.com/office/drawing/2014/main" id="{88608668-D3E2-6E8D-684F-8E812EA36C62}"/>
                </a:ext>
              </a:extLst>
            </p:cNvPr>
            <p:cNvSpPr/>
            <p:nvPr/>
          </p:nvSpPr>
          <p:spPr>
            <a:xfrm>
              <a:off x="5021556" y="714616"/>
              <a:ext cx="1142947" cy="228648"/>
            </a:xfrm>
            <a:custGeom>
              <a:avLst/>
              <a:gdLst>
                <a:gd name="connsiteX0" fmla="*/ 1057413 w 1142947"/>
                <a:gd name="connsiteY0" fmla="*/ 228649 h 228648"/>
                <a:gd name="connsiteX1" fmla="*/ 85522 w 1142947"/>
                <a:gd name="connsiteY1" fmla="*/ 228649 h 228648"/>
                <a:gd name="connsiteX2" fmla="*/ 0 w 1142947"/>
                <a:gd name="connsiteY2" fmla="*/ 143326 h 228648"/>
                <a:gd name="connsiteX3" fmla="*/ 0 w 1142947"/>
                <a:gd name="connsiteY3" fmla="*/ 85322 h 228648"/>
                <a:gd name="connsiteX4" fmla="*/ 85522 w 1142947"/>
                <a:gd name="connsiteY4" fmla="*/ 0 h 228648"/>
                <a:gd name="connsiteX5" fmla="*/ 1057426 w 1142947"/>
                <a:gd name="connsiteY5" fmla="*/ 0 h 228648"/>
                <a:gd name="connsiteX6" fmla="*/ 1142948 w 1142947"/>
                <a:gd name="connsiteY6" fmla="*/ 85322 h 228648"/>
                <a:gd name="connsiteX7" fmla="*/ 1142948 w 1142947"/>
                <a:gd name="connsiteY7" fmla="*/ 143326 h 228648"/>
                <a:gd name="connsiteX8" fmla="*/ 1057426 w 1142947"/>
                <a:gd name="connsiteY8" fmla="*/ 228649 h 228648"/>
                <a:gd name="connsiteX9" fmla="*/ 85522 w 1142947"/>
                <a:gd name="connsiteY9" fmla="*/ 7892 h 228648"/>
                <a:gd name="connsiteX10" fmla="*/ 7910 w 1142947"/>
                <a:gd name="connsiteY10" fmla="*/ 85322 h 228648"/>
                <a:gd name="connsiteX11" fmla="*/ 7910 w 1142947"/>
                <a:gd name="connsiteY11" fmla="*/ 143326 h 228648"/>
                <a:gd name="connsiteX12" fmla="*/ 85522 w 1142947"/>
                <a:gd name="connsiteY12" fmla="*/ 220757 h 228648"/>
                <a:gd name="connsiteX13" fmla="*/ 1057426 w 1142947"/>
                <a:gd name="connsiteY13" fmla="*/ 220757 h 228648"/>
                <a:gd name="connsiteX14" fmla="*/ 1135038 w 1142947"/>
                <a:gd name="connsiteY14" fmla="*/ 143326 h 228648"/>
                <a:gd name="connsiteX15" fmla="*/ 1135038 w 1142947"/>
                <a:gd name="connsiteY15" fmla="*/ 85322 h 228648"/>
                <a:gd name="connsiteX16" fmla="*/ 1057426 w 1142947"/>
                <a:gd name="connsiteY16" fmla="*/ 7892 h 228648"/>
                <a:gd name="connsiteX17" fmla="*/ 85522 w 1142947"/>
                <a:gd name="connsiteY17" fmla="*/ 7892 h 22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42947" h="228648">
                  <a:moveTo>
                    <a:pt x="1057413" y="228649"/>
                  </a:moveTo>
                  <a:lnTo>
                    <a:pt x="85522" y="228649"/>
                  </a:lnTo>
                  <a:cubicBezTo>
                    <a:pt x="38364" y="228649"/>
                    <a:pt x="0" y="190374"/>
                    <a:pt x="0" y="143326"/>
                  </a:cubicBezTo>
                  <a:lnTo>
                    <a:pt x="0" y="85322"/>
                  </a:lnTo>
                  <a:cubicBezTo>
                    <a:pt x="0" y="38275"/>
                    <a:pt x="38364" y="0"/>
                    <a:pt x="85522" y="0"/>
                  </a:cubicBezTo>
                  <a:lnTo>
                    <a:pt x="1057426" y="0"/>
                  </a:lnTo>
                  <a:cubicBezTo>
                    <a:pt x="1104584" y="0"/>
                    <a:pt x="1142948" y="38275"/>
                    <a:pt x="1142948" y="85322"/>
                  </a:cubicBezTo>
                  <a:lnTo>
                    <a:pt x="1142948" y="143326"/>
                  </a:lnTo>
                  <a:cubicBezTo>
                    <a:pt x="1142948" y="190374"/>
                    <a:pt x="1104584" y="228649"/>
                    <a:pt x="1057426" y="228649"/>
                  </a:cubicBezTo>
                  <a:close/>
                  <a:moveTo>
                    <a:pt x="85522" y="7892"/>
                  </a:moveTo>
                  <a:cubicBezTo>
                    <a:pt x="42728" y="7892"/>
                    <a:pt x="7910" y="42628"/>
                    <a:pt x="7910" y="85322"/>
                  </a:cubicBezTo>
                  <a:lnTo>
                    <a:pt x="7910" y="143326"/>
                  </a:lnTo>
                  <a:cubicBezTo>
                    <a:pt x="7910" y="186021"/>
                    <a:pt x="42728" y="220757"/>
                    <a:pt x="85522" y="220757"/>
                  </a:cubicBezTo>
                  <a:lnTo>
                    <a:pt x="1057426" y="220757"/>
                  </a:lnTo>
                  <a:cubicBezTo>
                    <a:pt x="1100220" y="220757"/>
                    <a:pt x="1135038" y="186021"/>
                    <a:pt x="1135038" y="143326"/>
                  </a:cubicBezTo>
                  <a:lnTo>
                    <a:pt x="1135038" y="85322"/>
                  </a:lnTo>
                  <a:cubicBezTo>
                    <a:pt x="1135038" y="42628"/>
                    <a:pt x="1100220" y="7892"/>
                    <a:pt x="1057426" y="7892"/>
                  </a:cubicBezTo>
                  <a:lnTo>
                    <a:pt x="85522" y="7892"/>
                  </a:lnTo>
                  <a:close/>
                </a:path>
              </a:pathLst>
            </a:custGeom>
            <a:solidFill>
              <a:srgbClr val="231F20"/>
            </a:solidFill>
            <a:ln w="13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grpSp>
          <p:nvGrpSpPr>
            <p:cNvPr id="52" name="Gráfico 4">
              <a:extLst>
                <a:ext uri="{FF2B5EF4-FFF2-40B4-BE49-F238E27FC236}">
                  <a16:creationId xmlns:a16="http://schemas.microsoft.com/office/drawing/2014/main" id="{7B2C913E-CC44-2874-AE54-F79DC030E84D}"/>
                </a:ext>
              </a:extLst>
            </p:cNvPr>
            <p:cNvGrpSpPr/>
            <p:nvPr/>
          </p:nvGrpSpPr>
          <p:grpSpPr>
            <a:xfrm>
              <a:off x="5587170" y="771212"/>
              <a:ext cx="514580" cy="117770"/>
              <a:chOff x="5587170" y="771212"/>
              <a:chExt cx="514580" cy="117770"/>
            </a:xfrm>
            <a:solidFill>
              <a:srgbClr val="FFFFFF"/>
            </a:solidFill>
          </p:grpSpPr>
          <p:sp>
            <p:nvSpPr>
              <p:cNvPr id="60" name="Forma libre 59">
                <a:extLst>
                  <a:ext uri="{FF2B5EF4-FFF2-40B4-BE49-F238E27FC236}">
                    <a16:creationId xmlns:a16="http://schemas.microsoft.com/office/drawing/2014/main" id="{991AD31E-1C88-554C-6EFA-15A161DE0079}"/>
                  </a:ext>
                </a:extLst>
              </p:cNvPr>
              <p:cNvSpPr/>
              <p:nvPr/>
            </p:nvSpPr>
            <p:spPr>
              <a:xfrm>
                <a:off x="5662844" y="794361"/>
                <a:ext cx="65693" cy="72024"/>
              </a:xfrm>
              <a:custGeom>
                <a:avLst/>
                <a:gdLst>
                  <a:gd name="connsiteX0" fmla="*/ 34040 w 65693"/>
                  <a:gd name="connsiteY0" fmla="*/ 0 h 72024"/>
                  <a:gd name="connsiteX1" fmla="*/ 9861 w 65693"/>
                  <a:gd name="connsiteY1" fmla="*/ 10272 h 72024"/>
                  <a:gd name="connsiteX2" fmla="*/ 0 w 65693"/>
                  <a:gd name="connsiteY2" fmla="*/ 36118 h 72024"/>
                  <a:gd name="connsiteX3" fmla="*/ 9545 w 65693"/>
                  <a:gd name="connsiteY3" fmla="*/ 61858 h 72024"/>
                  <a:gd name="connsiteX4" fmla="*/ 35451 w 65693"/>
                  <a:gd name="connsiteY4" fmla="*/ 72025 h 72024"/>
                  <a:gd name="connsiteX5" fmla="*/ 51495 w 65693"/>
                  <a:gd name="connsiteY5" fmla="*/ 68566 h 72024"/>
                  <a:gd name="connsiteX6" fmla="*/ 64388 w 65693"/>
                  <a:gd name="connsiteY6" fmla="*/ 58504 h 72024"/>
                  <a:gd name="connsiteX7" fmla="*/ 64718 w 65693"/>
                  <a:gd name="connsiteY7" fmla="*/ 58070 h 72024"/>
                  <a:gd name="connsiteX8" fmla="*/ 56149 w 65693"/>
                  <a:gd name="connsiteY8" fmla="*/ 49415 h 72024"/>
                  <a:gd name="connsiteX9" fmla="*/ 55714 w 65693"/>
                  <a:gd name="connsiteY9" fmla="*/ 49954 h 72024"/>
                  <a:gd name="connsiteX10" fmla="*/ 36967 w 65693"/>
                  <a:gd name="connsiteY10" fmla="*/ 58385 h 72024"/>
                  <a:gd name="connsiteX11" fmla="*/ 15833 w 65693"/>
                  <a:gd name="connsiteY11" fmla="*/ 42168 h 72024"/>
                  <a:gd name="connsiteX12" fmla="*/ 65588 w 65693"/>
                  <a:gd name="connsiteY12" fmla="*/ 42168 h 72024"/>
                  <a:gd name="connsiteX13" fmla="*/ 65588 w 65693"/>
                  <a:gd name="connsiteY13" fmla="*/ 41629 h 72024"/>
                  <a:gd name="connsiteX14" fmla="*/ 65694 w 65693"/>
                  <a:gd name="connsiteY14" fmla="*/ 32658 h 72024"/>
                  <a:gd name="connsiteX15" fmla="*/ 57348 w 65693"/>
                  <a:gd name="connsiteY15" fmla="*/ 9733 h 72024"/>
                  <a:gd name="connsiteX16" fmla="*/ 34040 w 65693"/>
                  <a:gd name="connsiteY16" fmla="*/ 0 h 72024"/>
                  <a:gd name="connsiteX17" fmla="*/ 15609 w 65693"/>
                  <a:gd name="connsiteY17" fmla="*/ 30501 h 72024"/>
                  <a:gd name="connsiteX18" fmla="*/ 34251 w 65693"/>
                  <a:gd name="connsiteY18" fmla="*/ 14284 h 72024"/>
                  <a:gd name="connsiteX19" fmla="*/ 50836 w 65693"/>
                  <a:gd name="connsiteY19" fmla="*/ 30501 h 72024"/>
                  <a:gd name="connsiteX20" fmla="*/ 15609 w 65693"/>
                  <a:gd name="connsiteY20" fmla="*/ 30501 h 72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5693" h="72024">
                    <a:moveTo>
                      <a:pt x="34040" y="0"/>
                    </a:moveTo>
                    <a:cubicBezTo>
                      <a:pt x="24825" y="0"/>
                      <a:pt x="16268" y="3683"/>
                      <a:pt x="9861" y="10272"/>
                    </a:cubicBezTo>
                    <a:cubicBezTo>
                      <a:pt x="3467" y="16980"/>
                      <a:pt x="0" y="26174"/>
                      <a:pt x="0" y="36118"/>
                    </a:cubicBezTo>
                    <a:cubicBezTo>
                      <a:pt x="0" y="46061"/>
                      <a:pt x="3256" y="55373"/>
                      <a:pt x="9545" y="61858"/>
                    </a:cubicBezTo>
                    <a:cubicBezTo>
                      <a:pt x="15939" y="68566"/>
                      <a:pt x="24943" y="72025"/>
                      <a:pt x="35451" y="72025"/>
                    </a:cubicBezTo>
                    <a:cubicBezTo>
                      <a:pt x="40974" y="72025"/>
                      <a:pt x="46512" y="70841"/>
                      <a:pt x="51495" y="68566"/>
                    </a:cubicBezTo>
                    <a:cubicBezTo>
                      <a:pt x="56584" y="66185"/>
                      <a:pt x="60921" y="62831"/>
                      <a:pt x="64388" y="58504"/>
                    </a:cubicBezTo>
                    <a:lnTo>
                      <a:pt x="64718" y="58070"/>
                    </a:lnTo>
                    <a:lnTo>
                      <a:pt x="56149" y="49415"/>
                    </a:lnTo>
                    <a:lnTo>
                      <a:pt x="55714" y="49954"/>
                    </a:lnTo>
                    <a:cubicBezTo>
                      <a:pt x="51047" y="55360"/>
                      <a:pt x="44218" y="58385"/>
                      <a:pt x="36967" y="58385"/>
                    </a:cubicBezTo>
                    <a:cubicBezTo>
                      <a:pt x="24390" y="58385"/>
                      <a:pt x="17455" y="53085"/>
                      <a:pt x="15833" y="42168"/>
                    </a:cubicBezTo>
                    <a:lnTo>
                      <a:pt x="65588" y="42168"/>
                    </a:lnTo>
                    <a:lnTo>
                      <a:pt x="65588" y="41629"/>
                    </a:lnTo>
                    <a:cubicBezTo>
                      <a:pt x="65694" y="36867"/>
                      <a:pt x="65694" y="35144"/>
                      <a:pt x="65694" y="32658"/>
                    </a:cubicBezTo>
                    <a:cubicBezTo>
                      <a:pt x="65694" y="23899"/>
                      <a:pt x="62767" y="15783"/>
                      <a:pt x="57348" y="9733"/>
                    </a:cubicBezTo>
                    <a:cubicBezTo>
                      <a:pt x="51495" y="3354"/>
                      <a:pt x="43479" y="0"/>
                      <a:pt x="34040" y="0"/>
                    </a:cubicBezTo>
                    <a:close/>
                    <a:moveTo>
                      <a:pt x="15609" y="30501"/>
                    </a:moveTo>
                    <a:cubicBezTo>
                      <a:pt x="17125" y="19585"/>
                      <a:pt x="23309" y="14284"/>
                      <a:pt x="34251" y="14284"/>
                    </a:cubicBezTo>
                    <a:cubicBezTo>
                      <a:pt x="43677" y="14284"/>
                      <a:pt x="50295" y="20768"/>
                      <a:pt x="50836" y="30501"/>
                    </a:cubicBezTo>
                    <a:lnTo>
                      <a:pt x="15609" y="30501"/>
                    </a:lnTo>
                    <a:close/>
                  </a:path>
                </a:pathLst>
              </a:custGeom>
              <a:solidFill>
                <a:srgbClr val="FFFFFF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1" name="Forma libre 60">
                <a:extLst>
                  <a:ext uri="{FF2B5EF4-FFF2-40B4-BE49-F238E27FC236}">
                    <a16:creationId xmlns:a16="http://schemas.microsoft.com/office/drawing/2014/main" id="{66F81E55-C28F-C871-839C-EA095869518C}"/>
                  </a:ext>
                </a:extLst>
              </p:cNvPr>
              <p:cNvSpPr/>
              <p:nvPr/>
            </p:nvSpPr>
            <p:spPr>
              <a:xfrm>
                <a:off x="5846253" y="794361"/>
                <a:ext cx="72193" cy="72024"/>
              </a:xfrm>
              <a:custGeom>
                <a:avLst/>
                <a:gdLst>
                  <a:gd name="connsiteX0" fmla="*/ 36097 w 72193"/>
                  <a:gd name="connsiteY0" fmla="*/ 0 h 72024"/>
                  <a:gd name="connsiteX1" fmla="*/ 0 w 72193"/>
                  <a:gd name="connsiteY1" fmla="*/ 36012 h 72024"/>
                  <a:gd name="connsiteX2" fmla="*/ 36097 w 72193"/>
                  <a:gd name="connsiteY2" fmla="*/ 72025 h 72024"/>
                  <a:gd name="connsiteX3" fmla="*/ 72193 w 72193"/>
                  <a:gd name="connsiteY3" fmla="*/ 36012 h 72024"/>
                  <a:gd name="connsiteX4" fmla="*/ 36097 w 72193"/>
                  <a:gd name="connsiteY4" fmla="*/ 0 h 72024"/>
                  <a:gd name="connsiteX5" fmla="*/ 36097 w 72193"/>
                  <a:gd name="connsiteY5" fmla="*/ 57754 h 72024"/>
                  <a:gd name="connsiteX6" fmla="*/ 14304 w 72193"/>
                  <a:gd name="connsiteY6" fmla="*/ 36012 h 72024"/>
                  <a:gd name="connsiteX7" fmla="*/ 36097 w 72193"/>
                  <a:gd name="connsiteY7" fmla="*/ 14271 h 72024"/>
                  <a:gd name="connsiteX8" fmla="*/ 57889 w 72193"/>
                  <a:gd name="connsiteY8" fmla="*/ 36012 h 72024"/>
                  <a:gd name="connsiteX9" fmla="*/ 36097 w 72193"/>
                  <a:gd name="connsiteY9" fmla="*/ 57754 h 72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2193" h="72024">
                    <a:moveTo>
                      <a:pt x="36097" y="0"/>
                    </a:moveTo>
                    <a:cubicBezTo>
                      <a:pt x="16150" y="0"/>
                      <a:pt x="0" y="16217"/>
                      <a:pt x="0" y="36012"/>
                    </a:cubicBezTo>
                    <a:cubicBezTo>
                      <a:pt x="0" y="55807"/>
                      <a:pt x="16255" y="72025"/>
                      <a:pt x="36097" y="72025"/>
                    </a:cubicBezTo>
                    <a:cubicBezTo>
                      <a:pt x="55938" y="72025"/>
                      <a:pt x="72193" y="55807"/>
                      <a:pt x="72193" y="36012"/>
                    </a:cubicBezTo>
                    <a:cubicBezTo>
                      <a:pt x="72193" y="16217"/>
                      <a:pt x="56043" y="0"/>
                      <a:pt x="36097" y="0"/>
                    </a:cubicBezTo>
                    <a:close/>
                    <a:moveTo>
                      <a:pt x="36097" y="57754"/>
                    </a:moveTo>
                    <a:cubicBezTo>
                      <a:pt x="24060" y="57754"/>
                      <a:pt x="14304" y="48021"/>
                      <a:pt x="14304" y="36012"/>
                    </a:cubicBezTo>
                    <a:cubicBezTo>
                      <a:pt x="14304" y="24004"/>
                      <a:pt x="24060" y="14271"/>
                      <a:pt x="36097" y="14271"/>
                    </a:cubicBezTo>
                    <a:cubicBezTo>
                      <a:pt x="48133" y="14271"/>
                      <a:pt x="57889" y="24004"/>
                      <a:pt x="57889" y="36012"/>
                    </a:cubicBezTo>
                    <a:cubicBezTo>
                      <a:pt x="57889" y="48021"/>
                      <a:pt x="48133" y="57754"/>
                      <a:pt x="36097" y="57754"/>
                    </a:cubicBezTo>
                    <a:close/>
                  </a:path>
                </a:pathLst>
              </a:custGeom>
              <a:solidFill>
                <a:srgbClr val="FFFFFF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2" name="Forma libre 61">
                <a:extLst>
                  <a:ext uri="{FF2B5EF4-FFF2-40B4-BE49-F238E27FC236}">
                    <a16:creationId xmlns:a16="http://schemas.microsoft.com/office/drawing/2014/main" id="{ACFCA9F1-37D5-25EE-47DC-DD60E8C2D8D1}"/>
                  </a:ext>
                </a:extLst>
              </p:cNvPr>
              <p:cNvSpPr/>
              <p:nvPr/>
            </p:nvSpPr>
            <p:spPr>
              <a:xfrm>
                <a:off x="5587170" y="794124"/>
                <a:ext cx="66563" cy="94858"/>
              </a:xfrm>
              <a:custGeom>
                <a:avLst/>
                <a:gdLst>
                  <a:gd name="connsiteX0" fmla="*/ 35780 w 66563"/>
                  <a:gd name="connsiteY0" fmla="*/ 26 h 94858"/>
                  <a:gd name="connsiteX1" fmla="*/ 13012 w 66563"/>
                  <a:gd name="connsiteY1" fmla="*/ 14836 h 94858"/>
                  <a:gd name="connsiteX2" fmla="*/ 12472 w 66563"/>
                  <a:gd name="connsiteY2" fmla="*/ 14836 h 94858"/>
                  <a:gd name="connsiteX3" fmla="*/ 12142 w 66563"/>
                  <a:gd name="connsiteY3" fmla="*/ 1855 h 94858"/>
                  <a:gd name="connsiteX4" fmla="*/ 0 w 66563"/>
                  <a:gd name="connsiteY4" fmla="*/ 1855 h 94858"/>
                  <a:gd name="connsiteX5" fmla="*/ 0 w 66563"/>
                  <a:gd name="connsiteY5" fmla="*/ 94858 h 94858"/>
                  <a:gd name="connsiteX6" fmla="*/ 14528 w 66563"/>
                  <a:gd name="connsiteY6" fmla="*/ 94858 h 94858"/>
                  <a:gd name="connsiteX7" fmla="*/ 14528 w 66563"/>
                  <a:gd name="connsiteY7" fmla="*/ 57872 h 94858"/>
                  <a:gd name="connsiteX8" fmla="*/ 14963 w 66563"/>
                  <a:gd name="connsiteY8" fmla="*/ 57872 h 94858"/>
                  <a:gd name="connsiteX9" fmla="*/ 22333 w 66563"/>
                  <a:gd name="connsiteY9" fmla="*/ 67711 h 94858"/>
                  <a:gd name="connsiteX10" fmla="*/ 36426 w 66563"/>
                  <a:gd name="connsiteY10" fmla="*/ 72249 h 94858"/>
                  <a:gd name="connsiteX11" fmla="*/ 57889 w 66563"/>
                  <a:gd name="connsiteY11" fmla="*/ 62187 h 94858"/>
                  <a:gd name="connsiteX12" fmla="*/ 66564 w 66563"/>
                  <a:gd name="connsiteY12" fmla="*/ 36012 h 94858"/>
                  <a:gd name="connsiteX13" fmla="*/ 57889 w 66563"/>
                  <a:gd name="connsiteY13" fmla="*/ 10062 h 94858"/>
                  <a:gd name="connsiteX14" fmla="*/ 35780 w 66563"/>
                  <a:gd name="connsiteY14" fmla="*/ 0 h 94858"/>
                  <a:gd name="connsiteX15" fmla="*/ 33183 w 66563"/>
                  <a:gd name="connsiteY15" fmla="*/ 58530 h 94858"/>
                  <a:gd name="connsiteX16" fmla="*/ 19630 w 66563"/>
                  <a:gd name="connsiteY16" fmla="*/ 51927 h 94858"/>
                  <a:gd name="connsiteX17" fmla="*/ 14858 w 66563"/>
                  <a:gd name="connsiteY17" fmla="*/ 36354 h 94858"/>
                  <a:gd name="connsiteX18" fmla="*/ 19841 w 66563"/>
                  <a:gd name="connsiteY18" fmla="*/ 20453 h 94858"/>
                  <a:gd name="connsiteX19" fmla="*/ 33605 w 66563"/>
                  <a:gd name="connsiteY19" fmla="*/ 13850 h 94858"/>
                  <a:gd name="connsiteX20" fmla="*/ 46617 w 66563"/>
                  <a:gd name="connsiteY20" fmla="*/ 20124 h 94858"/>
                  <a:gd name="connsiteX21" fmla="*/ 51600 w 66563"/>
                  <a:gd name="connsiteY21" fmla="*/ 36460 h 94858"/>
                  <a:gd name="connsiteX22" fmla="*/ 33170 w 66563"/>
                  <a:gd name="connsiteY22" fmla="*/ 58517 h 94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6563" h="94858">
                    <a:moveTo>
                      <a:pt x="35780" y="26"/>
                    </a:moveTo>
                    <a:cubicBezTo>
                      <a:pt x="25378" y="26"/>
                      <a:pt x="17679" y="4998"/>
                      <a:pt x="13012" y="14836"/>
                    </a:cubicBezTo>
                    <a:lnTo>
                      <a:pt x="12472" y="14836"/>
                    </a:lnTo>
                    <a:lnTo>
                      <a:pt x="12142" y="1855"/>
                    </a:lnTo>
                    <a:lnTo>
                      <a:pt x="0" y="1855"/>
                    </a:lnTo>
                    <a:lnTo>
                      <a:pt x="0" y="94858"/>
                    </a:lnTo>
                    <a:lnTo>
                      <a:pt x="14528" y="94858"/>
                    </a:lnTo>
                    <a:lnTo>
                      <a:pt x="14528" y="57872"/>
                    </a:lnTo>
                    <a:lnTo>
                      <a:pt x="14963" y="57872"/>
                    </a:lnTo>
                    <a:cubicBezTo>
                      <a:pt x="16809" y="61976"/>
                      <a:pt x="19301" y="65330"/>
                      <a:pt x="22333" y="67711"/>
                    </a:cubicBezTo>
                    <a:cubicBezTo>
                      <a:pt x="26235" y="70736"/>
                      <a:pt x="31008" y="72249"/>
                      <a:pt x="36426" y="72249"/>
                    </a:cubicBezTo>
                    <a:cubicBezTo>
                      <a:pt x="44771" y="72249"/>
                      <a:pt x="52365" y="68684"/>
                      <a:pt x="57889" y="62187"/>
                    </a:cubicBezTo>
                    <a:cubicBezTo>
                      <a:pt x="63532" y="55584"/>
                      <a:pt x="66564" y="46285"/>
                      <a:pt x="66564" y="36012"/>
                    </a:cubicBezTo>
                    <a:cubicBezTo>
                      <a:pt x="66564" y="25740"/>
                      <a:pt x="63426" y="16546"/>
                      <a:pt x="57889" y="10062"/>
                    </a:cubicBezTo>
                    <a:cubicBezTo>
                      <a:pt x="52365" y="3683"/>
                      <a:pt x="44442" y="0"/>
                      <a:pt x="35780" y="0"/>
                    </a:cubicBezTo>
                    <a:close/>
                    <a:moveTo>
                      <a:pt x="33183" y="58530"/>
                    </a:moveTo>
                    <a:cubicBezTo>
                      <a:pt x="27659" y="58530"/>
                      <a:pt x="22887" y="56255"/>
                      <a:pt x="19630" y="51927"/>
                    </a:cubicBezTo>
                    <a:cubicBezTo>
                      <a:pt x="16598" y="47929"/>
                      <a:pt x="14858" y="42405"/>
                      <a:pt x="14858" y="36354"/>
                    </a:cubicBezTo>
                    <a:cubicBezTo>
                      <a:pt x="14858" y="30304"/>
                      <a:pt x="16598" y="24570"/>
                      <a:pt x="19841" y="20453"/>
                    </a:cubicBezTo>
                    <a:cubicBezTo>
                      <a:pt x="23203" y="16125"/>
                      <a:pt x="27975" y="13850"/>
                      <a:pt x="33605" y="13850"/>
                    </a:cubicBezTo>
                    <a:cubicBezTo>
                      <a:pt x="38812" y="13850"/>
                      <a:pt x="43361" y="16007"/>
                      <a:pt x="46617" y="20124"/>
                    </a:cubicBezTo>
                    <a:cubicBezTo>
                      <a:pt x="49873" y="24241"/>
                      <a:pt x="51600" y="29857"/>
                      <a:pt x="51600" y="36460"/>
                    </a:cubicBezTo>
                    <a:cubicBezTo>
                      <a:pt x="51495" y="49652"/>
                      <a:pt x="44125" y="58517"/>
                      <a:pt x="33170" y="58517"/>
                    </a:cubicBezTo>
                    <a:close/>
                  </a:path>
                </a:pathLst>
              </a:custGeom>
              <a:solidFill>
                <a:srgbClr val="FFFFFF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3" name="Forma libre 62">
                <a:extLst>
                  <a:ext uri="{FF2B5EF4-FFF2-40B4-BE49-F238E27FC236}">
                    <a16:creationId xmlns:a16="http://schemas.microsoft.com/office/drawing/2014/main" id="{D9DD4DA3-B5BE-977D-D74B-C1D2100F4AF4}"/>
                  </a:ext>
                </a:extLst>
              </p:cNvPr>
              <p:cNvSpPr/>
              <p:nvPr/>
            </p:nvSpPr>
            <p:spPr>
              <a:xfrm>
                <a:off x="5740007" y="796111"/>
                <a:ext cx="36531" cy="68552"/>
              </a:xfrm>
              <a:custGeom>
                <a:avLst/>
                <a:gdLst>
                  <a:gd name="connsiteX0" fmla="*/ 13777 w 36531"/>
                  <a:gd name="connsiteY0" fmla="*/ 12416 h 68552"/>
                  <a:gd name="connsiteX1" fmla="*/ 13342 w 36531"/>
                  <a:gd name="connsiteY1" fmla="*/ 12416 h 68552"/>
                  <a:gd name="connsiteX2" fmla="*/ 12472 w 36531"/>
                  <a:gd name="connsiteY2" fmla="*/ 92 h 68552"/>
                  <a:gd name="connsiteX3" fmla="*/ 0 w 36531"/>
                  <a:gd name="connsiteY3" fmla="*/ 92 h 68552"/>
                  <a:gd name="connsiteX4" fmla="*/ 0 w 36531"/>
                  <a:gd name="connsiteY4" fmla="*/ 68553 h 68552"/>
                  <a:gd name="connsiteX5" fmla="*/ 14845 w 36531"/>
                  <a:gd name="connsiteY5" fmla="*/ 68553 h 68552"/>
                  <a:gd name="connsiteX6" fmla="*/ 14845 w 36531"/>
                  <a:gd name="connsiteY6" fmla="*/ 28976 h 68552"/>
                  <a:gd name="connsiteX7" fmla="*/ 26987 w 36531"/>
                  <a:gd name="connsiteY7" fmla="*/ 16112 h 68552"/>
                  <a:gd name="connsiteX8" fmla="*/ 36532 w 36531"/>
                  <a:gd name="connsiteY8" fmla="*/ 16112 h 68552"/>
                  <a:gd name="connsiteX9" fmla="*/ 36532 w 36531"/>
                  <a:gd name="connsiteY9" fmla="*/ 0 h 68552"/>
                  <a:gd name="connsiteX10" fmla="*/ 31759 w 36531"/>
                  <a:gd name="connsiteY10" fmla="*/ 0 h 68552"/>
                  <a:gd name="connsiteX11" fmla="*/ 13764 w 36531"/>
                  <a:gd name="connsiteY11" fmla="*/ 12443 h 68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531" h="68552">
                    <a:moveTo>
                      <a:pt x="13777" y="12416"/>
                    </a:moveTo>
                    <a:lnTo>
                      <a:pt x="13342" y="12416"/>
                    </a:lnTo>
                    <a:lnTo>
                      <a:pt x="12472" y="92"/>
                    </a:lnTo>
                    <a:lnTo>
                      <a:pt x="0" y="92"/>
                    </a:lnTo>
                    <a:lnTo>
                      <a:pt x="0" y="68553"/>
                    </a:lnTo>
                    <a:lnTo>
                      <a:pt x="14845" y="68553"/>
                    </a:lnTo>
                    <a:lnTo>
                      <a:pt x="14845" y="28976"/>
                    </a:lnTo>
                    <a:cubicBezTo>
                      <a:pt x="14845" y="20005"/>
                      <a:pt x="18536" y="16112"/>
                      <a:pt x="26987" y="16112"/>
                    </a:cubicBezTo>
                    <a:lnTo>
                      <a:pt x="36532" y="16112"/>
                    </a:lnTo>
                    <a:lnTo>
                      <a:pt x="36532" y="0"/>
                    </a:lnTo>
                    <a:lnTo>
                      <a:pt x="31759" y="0"/>
                    </a:lnTo>
                    <a:cubicBezTo>
                      <a:pt x="22214" y="0"/>
                      <a:pt x="16255" y="4104"/>
                      <a:pt x="13764" y="1244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4" name="Forma libre 63">
                <a:extLst>
                  <a:ext uri="{FF2B5EF4-FFF2-40B4-BE49-F238E27FC236}">
                    <a16:creationId xmlns:a16="http://schemas.microsoft.com/office/drawing/2014/main" id="{02FC69C2-2FEB-162C-91A6-DA30D0E2C435}"/>
                  </a:ext>
                </a:extLst>
              </p:cNvPr>
              <p:cNvSpPr/>
              <p:nvPr/>
            </p:nvSpPr>
            <p:spPr>
              <a:xfrm>
                <a:off x="5779795" y="794032"/>
                <a:ext cx="59075" cy="72143"/>
              </a:xfrm>
              <a:custGeom>
                <a:avLst/>
                <a:gdLst>
                  <a:gd name="connsiteX0" fmla="*/ 30032 w 59075"/>
                  <a:gd name="connsiteY0" fmla="*/ 11680 h 72143"/>
                  <a:gd name="connsiteX1" fmla="*/ 47263 w 59075"/>
                  <a:gd name="connsiteY1" fmla="*/ 23465 h 72143"/>
                  <a:gd name="connsiteX2" fmla="*/ 47474 w 59075"/>
                  <a:gd name="connsiteY2" fmla="*/ 24004 h 72143"/>
                  <a:gd name="connsiteX3" fmla="*/ 59075 w 59075"/>
                  <a:gd name="connsiteY3" fmla="*/ 19677 h 72143"/>
                  <a:gd name="connsiteX4" fmla="*/ 58865 w 59075"/>
                  <a:gd name="connsiteY4" fmla="*/ 19137 h 72143"/>
                  <a:gd name="connsiteX5" fmla="*/ 47922 w 59075"/>
                  <a:gd name="connsiteY5" fmla="*/ 4972 h 72143"/>
                  <a:gd name="connsiteX6" fmla="*/ 30362 w 59075"/>
                  <a:gd name="connsiteY6" fmla="*/ 0 h 72143"/>
                  <a:gd name="connsiteX7" fmla="*/ 13447 w 59075"/>
                  <a:gd name="connsiteY7" fmla="*/ 5629 h 72143"/>
                  <a:gd name="connsiteX8" fmla="*/ 5643 w 59075"/>
                  <a:gd name="connsiteY8" fmla="*/ 21202 h 72143"/>
                  <a:gd name="connsiteX9" fmla="*/ 11931 w 59075"/>
                  <a:gd name="connsiteY9" fmla="*/ 35592 h 72143"/>
                  <a:gd name="connsiteX10" fmla="*/ 27211 w 59075"/>
                  <a:gd name="connsiteY10" fmla="*/ 42839 h 72143"/>
                  <a:gd name="connsiteX11" fmla="*/ 28727 w 59075"/>
                  <a:gd name="connsiteY11" fmla="*/ 43168 h 72143"/>
                  <a:gd name="connsiteX12" fmla="*/ 39564 w 59075"/>
                  <a:gd name="connsiteY12" fmla="*/ 46298 h 72143"/>
                  <a:gd name="connsiteX13" fmla="*/ 43901 w 59075"/>
                  <a:gd name="connsiteY13" fmla="*/ 52348 h 72143"/>
                  <a:gd name="connsiteX14" fmla="*/ 31219 w 59075"/>
                  <a:gd name="connsiteY14" fmla="*/ 60030 h 72143"/>
                  <a:gd name="connsiteX15" fmla="*/ 11061 w 59075"/>
                  <a:gd name="connsiteY15" fmla="*/ 48455 h 72143"/>
                  <a:gd name="connsiteX16" fmla="*/ 10731 w 59075"/>
                  <a:gd name="connsiteY16" fmla="*/ 47916 h 72143"/>
                  <a:gd name="connsiteX17" fmla="*/ 0 w 59075"/>
                  <a:gd name="connsiteY17" fmla="*/ 53756 h 72143"/>
                  <a:gd name="connsiteX18" fmla="*/ 211 w 59075"/>
                  <a:gd name="connsiteY18" fmla="*/ 54295 h 72143"/>
                  <a:gd name="connsiteX19" fmla="*/ 12248 w 59075"/>
                  <a:gd name="connsiteY19" fmla="*/ 67382 h 72143"/>
                  <a:gd name="connsiteX20" fmla="*/ 31113 w 59075"/>
                  <a:gd name="connsiteY20" fmla="*/ 72143 h 72143"/>
                  <a:gd name="connsiteX21" fmla="*/ 50295 w 59075"/>
                  <a:gd name="connsiteY21" fmla="*/ 66948 h 72143"/>
                  <a:gd name="connsiteX22" fmla="*/ 58640 w 59075"/>
                  <a:gd name="connsiteY22" fmla="*/ 51914 h 72143"/>
                  <a:gd name="connsiteX23" fmla="*/ 51271 w 59075"/>
                  <a:gd name="connsiteY23" fmla="*/ 37959 h 72143"/>
                  <a:gd name="connsiteX24" fmla="*/ 35332 w 59075"/>
                  <a:gd name="connsiteY24" fmla="*/ 31580 h 72143"/>
                  <a:gd name="connsiteX25" fmla="*/ 18958 w 59075"/>
                  <a:gd name="connsiteY25" fmla="*/ 20334 h 72143"/>
                  <a:gd name="connsiteX26" fmla="*/ 30019 w 59075"/>
                  <a:gd name="connsiteY26" fmla="*/ 11680 h 72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9075" h="72143">
                    <a:moveTo>
                      <a:pt x="30032" y="11680"/>
                    </a:moveTo>
                    <a:cubicBezTo>
                      <a:pt x="38166" y="11680"/>
                      <a:pt x="44455" y="16007"/>
                      <a:pt x="47263" y="23465"/>
                    </a:cubicBezTo>
                    <a:lnTo>
                      <a:pt x="47474" y="24004"/>
                    </a:lnTo>
                    <a:lnTo>
                      <a:pt x="59075" y="19677"/>
                    </a:lnTo>
                    <a:lnTo>
                      <a:pt x="58865" y="19137"/>
                    </a:lnTo>
                    <a:cubicBezTo>
                      <a:pt x="56373" y="13087"/>
                      <a:pt x="52682" y="8326"/>
                      <a:pt x="47922" y="4972"/>
                    </a:cubicBezTo>
                    <a:cubicBezTo>
                      <a:pt x="43044" y="1618"/>
                      <a:pt x="37085" y="0"/>
                      <a:pt x="30362" y="0"/>
                    </a:cubicBezTo>
                    <a:cubicBezTo>
                      <a:pt x="24179" y="0"/>
                      <a:pt x="18009" y="2052"/>
                      <a:pt x="13447" y="5629"/>
                    </a:cubicBezTo>
                    <a:cubicBezTo>
                      <a:pt x="8464" y="9523"/>
                      <a:pt x="5643" y="15152"/>
                      <a:pt x="5643" y="21202"/>
                    </a:cubicBezTo>
                    <a:cubicBezTo>
                      <a:pt x="5643" y="27253"/>
                      <a:pt x="7805" y="31909"/>
                      <a:pt x="11931" y="35592"/>
                    </a:cubicBezTo>
                    <a:cubicBezTo>
                      <a:pt x="15504" y="38722"/>
                      <a:pt x="20500" y="41103"/>
                      <a:pt x="27211" y="42839"/>
                    </a:cubicBezTo>
                    <a:cubicBezTo>
                      <a:pt x="27751" y="42944"/>
                      <a:pt x="28186" y="43049"/>
                      <a:pt x="28727" y="43168"/>
                    </a:cubicBezTo>
                    <a:cubicBezTo>
                      <a:pt x="32840" y="44036"/>
                      <a:pt x="36743" y="44904"/>
                      <a:pt x="39564" y="46298"/>
                    </a:cubicBezTo>
                    <a:cubicBezTo>
                      <a:pt x="42491" y="47811"/>
                      <a:pt x="43901" y="49652"/>
                      <a:pt x="43901" y="52348"/>
                    </a:cubicBezTo>
                    <a:cubicBezTo>
                      <a:pt x="43901" y="57649"/>
                      <a:pt x="37507" y="60030"/>
                      <a:pt x="31219" y="60030"/>
                    </a:cubicBezTo>
                    <a:cubicBezTo>
                      <a:pt x="22874" y="60030"/>
                      <a:pt x="15174" y="55597"/>
                      <a:pt x="11061" y="48455"/>
                    </a:cubicBezTo>
                    <a:lnTo>
                      <a:pt x="10731" y="47916"/>
                    </a:lnTo>
                    <a:lnTo>
                      <a:pt x="0" y="53756"/>
                    </a:lnTo>
                    <a:lnTo>
                      <a:pt x="211" y="54295"/>
                    </a:lnTo>
                    <a:cubicBezTo>
                      <a:pt x="2703" y="59701"/>
                      <a:pt x="6935" y="64238"/>
                      <a:pt x="12248" y="67382"/>
                    </a:cubicBezTo>
                    <a:cubicBezTo>
                      <a:pt x="17666" y="70512"/>
                      <a:pt x="24165" y="72143"/>
                      <a:pt x="31113" y="72143"/>
                    </a:cubicBezTo>
                    <a:cubicBezTo>
                      <a:pt x="38588" y="72143"/>
                      <a:pt x="45312" y="70302"/>
                      <a:pt x="50295" y="66948"/>
                    </a:cubicBezTo>
                    <a:cubicBezTo>
                      <a:pt x="55714" y="63265"/>
                      <a:pt x="58640" y="58083"/>
                      <a:pt x="58640" y="51914"/>
                    </a:cubicBezTo>
                    <a:cubicBezTo>
                      <a:pt x="58746" y="46074"/>
                      <a:pt x="56254" y="41418"/>
                      <a:pt x="51271" y="37959"/>
                    </a:cubicBezTo>
                    <a:cubicBezTo>
                      <a:pt x="46604" y="34710"/>
                      <a:pt x="40329" y="32764"/>
                      <a:pt x="35332" y="31580"/>
                    </a:cubicBezTo>
                    <a:cubicBezTo>
                      <a:pt x="27633" y="29423"/>
                      <a:pt x="18958" y="27042"/>
                      <a:pt x="18958" y="20334"/>
                    </a:cubicBezTo>
                    <a:cubicBezTo>
                      <a:pt x="19169" y="16112"/>
                      <a:pt x="23190" y="11680"/>
                      <a:pt x="30019" y="1168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5" name="Forma libre 64">
                <a:extLst>
                  <a:ext uri="{FF2B5EF4-FFF2-40B4-BE49-F238E27FC236}">
                    <a16:creationId xmlns:a16="http://schemas.microsoft.com/office/drawing/2014/main" id="{E85149D3-7B0F-1E98-A411-277B7C90E954}"/>
                  </a:ext>
                </a:extLst>
              </p:cNvPr>
              <p:cNvSpPr/>
              <p:nvPr/>
            </p:nvSpPr>
            <p:spPr>
              <a:xfrm>
                <a:off x="5928097" y="794361"/>
                <a:ext cx="60156" cy="70393"/>
              </a:xfrm>
              <a:custGeom>
                <a:avLst/>
                <a:gdLst>
                  <a:gd name="connsiteX0" fmla="*/ 37072 w 60156"/>
                  <a:gd name="connsiteY0" fmla="*/ 0 h 70393"/>
                  <a:gd name="connsiteX1" fmla="*/ 22979 w 60156"/>
                  <a:gd name="connsiteY1" fmla="*/ 4433 h 70393"/>
                  <a:gd name="connsiteX2" fmla="*/ 14410 w 60156"/>
                  <a:gd name="connsiteY2" fmla="*/ 14810 h 70393"/>
                  <a:gd name="connsiteX3" fmla="*/ 13764 w 60156"/>
                  <a:gd name="connsiteY3" fmla="*/ 14810 h 70393"/>
                  <a:gd name="connsiteX4" fmla="*/ 13764 w 60156"/>
                  <a:gd name="connsiteY4" fmla="*/ 1828 h 70393"/>
                  <a:gd name="connsiteX5" fmla="*/ 0 w 60156"/>
                  <a:gd name="connsiteY5" fmla="*/ 1828 h 70393"/>
                  <a:gd name="connsiteX6" fmla="*/ 0 w 60156"/>
                  <a:gd name="connsiteY6" fmla="*/ 70289 h 70393"/>
                  <a:gd name="connsiteX7" fmla="*/ 14963 w 60156"/>
                  <a:gd name="connsiteY7" fmla="*/ 70289 h 70393"/>
                  <a:gd name="connsiteX8" fmla="*/ 14963 w 60156"/>
                  <a:gd name="connsiteY8" fmla="*/ 32119 h 70393"/>
                  <a:gd name="connsiteX9" fmla="*/ 18971 w 60156"/>
                  <a:gd name="connsiteY9" fmla="*/ 20334 h 70393"/>
                  <a:gd name="connsiteX10" fmla="*/ 32194 w 60156"/>
                  <a:gd name="connsiteY10" fmla="*/ 12982 h 70393"/>
                  <a:gd name="connsiteX11" fmla="*/ 42280 w 60156"/>
                  <a:gd name="connsiteY11" fmla="*/ 17086 h 70393"/>
                  <a:gd name="connsiteX12" fmla="*/ 45312 w 60156"/>
                  <a:gd name="connsiteY12" fmla="*/ 29305 h 70393"/>
                  <a:gd name="connsiteX13" fmla="*/ 45312 w 60156"/>
                  <a:gd name="connsiteY13" fmla="*/ 70394 h 70393"/>
                  <a:gd name="connsiteX14" fmla="*/ 60157 w 60156"/>
                  <a:gd name="connsiteY14" fmla="*/ 70394 h 70393"/>
                  <a:gd name="connsiteX15" fmla="*/ 60157 w 60156"/>
                  <a:gd name="connsiteY15" fmla="*/ 27358 h 70393"/>
                  <a:gd name="connsiteX16" fmla="*/ 54303 w 60156"/>
                  <a:gd name="connsiteY16" fmla="*/ 7352 h 70393"/>
                  <a:gd name="connsiteX17" fmla="*/ 37072 w 60156"/>
                  <a:gd name="connsiteY17" fmla="*/ 0 h 70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0156" h="70393">
                    <a:moveTo>
                      <a:pt x="37072" y="0"/>
                    </a:moveTo>
                    <a:cubicBezTo>
                      <a:pt x="31865" y="0"/>
                      <a:pt x="26987" y="1513"/>
                      <a:pt x="22979" y="4433"/>
                    </a:cubicBezTo>
                    <a:cubicBezTo>
                      <a:pt x="19288" y="7024"/>
                      <a:pt x="16361" y="10601"/>
                      <a:pt x="14410" y="14810"/>
                    </a:cubicBezTo>
                    <a:lnTo>
                      <a:pt x="13764" y="14810"/>
                    </a:lnTo>
                    <a:lnTo>
                      <a:pt x="13764" y="1828"/>
                    </a:lnTo>
                    <a:lnTo>
                      <a:pt x="0" y="1828"/>
                    </a:lnTo>
                    <a:lnTo>
                      <a:pt x="0" y="70289"/>
                    </a:lnTo>
                    <a:lnTo>
                      <a:pt x="14963" y="70289"/>
                    </a:lnTo>
                    <a:lnTo>
                      <a:pt x="14963" y="32119"/>
                    </a:lnTo>
                    <a:cubicBezTo>
                      <a:pt x="14963" y="29199"/>
                      <a:pt x="16150" y="24438"/>
                      <a:pt x="18971" y="20334"/>
                    </a:cubicBezTo>
                    <a:cubicBezTo>
                      <a:pt x="21252" y="16980"/>
                      <a:pt x="25365" y="12982"/>
                      <a:pt x="32194" y="12982"/>
                    </a:cubicBezTo>
                    <a:cubicBezTo>
                      <a:pt x="36861" y="12982"/>
                      <a:pt x="40104" y="14284"/>
                      <a:pt x="42280" y="17086"/>
                    </a:cubicBezTo>
                    <a:cubicBezTo>
                      <a:pt x="44336" y="19795"/>
                      <a:pt x="45312" y="23688"/>
                      <a:pt x="45312" y="29305"/>
                    </a:cubicBezTo>
                    <a:lnTo>
                      <a:pt x="45312" y="70394"/>
                    </a:lnTo>
                    <a:lnTo>
                      <a:pt x="60157" y="70394"/>
                    </a:lnTo>
                    <a:lnTo>
                      <a:pt x="60157" y="27358"/>
                    </a:lnTo>
                    <a:cubicBezTo>
                      <a:pt x="60157" y="18809"/>
                      <a:pt x="58205" y="12114"/>
                      <a:pt x="54303" y="7352"/>
                    </a:cubicBezTo>
                    <a:cubicBezTo>
                      <a:pt x="50401" y="2486"/>
                      <a:pt x="44547" y="0"/>
                      <a:pt x="3707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6" name="Forma libre 65">
                <a:extLst>
                  <a:ext uri="{FF2B5EF4-FFF2-40B4-BE49-F238E27FC236}">
                    <a16:creationId xmlns:a16="http://schemas.microsoft.com/office/drawing/2014/main" id="{587FD21B-9637-07AD-67E1-0B1CAA226D93}"/>
                  </a:ext>
                </a:extLst>
              </p:cNvPr>
              <p:cNvSpPr/>
              <p:nvPr/>
            </p:nvSpPr>
            <p:spPr>
              <a:xfrm>
                <a:off x="5999209" y="794269"/>
                <a:ext cx="66023" cy="72024"/>
              </a:xfrm>
              <a:custGeom>
                <a:avLst/>
                <a:gdLst>
                  <a:gd name="connsiteX0" fmla="*/ 59075 w 66023"/>
                  <a:gd name="connsiteY0" fmla="*/ 56873 h 72024"/>
                  <a:gd name="connsiteX1" fmla="*/ 59075 w 66023"/>
                  <a:gd name="connsiteY1" fmla="*/ 26056 h 72024"/>
                  <a:gd name="connsiteX2" fmla="*/ 52036 w 66023"/>
                  <a:gd name="connsiteY2" fmla="*/ 7352 h 72024"/>
                  <a:gd name="connsiteX3" fmla="*/ 32089 w 66023"/>
                  <a:gd name="connsiteY3" fmla="*/ 0 h 72024"/>
                  <a:gd name="connsiteX4" fmla="*/ 659 w 66023"/>
                  <a:gd name="connsiteY4" fmla="*/ 20545 h 72024"/>
                  <a:gd name="connsiteX5" fmla="*/ 448 w 66023"/>
                  <a:gd name="connsiteY5" fmla="*/ 21084 h 72024"/>
                  <a:gd name="connsiteX6" fmla="*/ 13342 w 66023"/>
                  <a:gd name="connsiteY6" fmla="*/ 27134 h 72024"/>
                  <a:gd name="connsiteX7" fmla="*/ 13553 w 66023"/>
                  <a:gd name="connsiteY7" fmla="*/ 26595 h 72024"/>
                  <a:gd name="connsiteX8" fmla="*/ 30784 w 66023"/>
                  <a:gd name="connsiteY8" fmla="*/ 13837 h 72024"/>
                  <a:gd name="connsiteX9" fmla="*/ 44112 w 66023"/>
                  <a:gd name="connsiteY9" fmla="*/ 25622 h 72024"/>
                  <a:gd name="connsiteX10" fmla="*/ 44112 w 66023"/>
                  <a:gd name="connsiteY10" fmla="*/ 30488 h 72024"/>
                  <a:gd name="connsiteX11" fmla="*/ 28397 w 66023"/>
                  <a:gd name="connsiteY11" fmla="*/ 30488 h 72024"/>
                  <a:gd name="connsiteX12" fmla="*/ 0 w 66023"/>
                  <a:gd name="connsiteY12" fmla="*/ 52440 h 72024"/>
                  <a:gd name="connsiteX13" fmla="*/ 6394 w 66023"/>
                  <a:gd name="connsiteY13" fmla="*/ 66830 h 72024"/>
                  <a:gd name="connsiteX14" fmla="*/ 21792 w 66023"/>
                  <a:gd name="connsiteY14" fmla="*/ 72025 h 72024"/>
                  <a:gd name="connsiteX15" fmla="*/ 36967 w 66023"/>
                  <a:gd name="connsiteY15" fmla="*/ 67369 h 72024"/>
                  <a:gd name="connsiteX16" fmla="*/ 46288 w 66023"/>
                  <a:gd name="connsiteY16" fmla="*/ 56228 h 72024"/>
                  <a:gd name="connsiteX17" fmla="*/ 46828 w 66023"/>
                  <a:gd name="connsiteY17" fmla="*/ 56228 h 72024"/>
                  <a:gd name="connsiteX18" fmla="*/ 46723 w 66023"/>
                  <a:gd name="connsiteY18" fmla="*/ 59911 h 72024"/>
                  <a:gd name="connsiteX19" fmla="*/ 56373 w 66023"/>
                  <a:gd name="connsiteY19" fmla="*/ 70289 h 72024"/>
                  <a:gd name="connsiteX20" fmla="*/ 66023 w 66023"/>
                  <a:gd name="connsiteY20" fmla="*/ 70289 h 72024"/>
                  <a:gd name="connsiteX21" fmla="*/ 66023 w 66023"/>
                  <a:gd name="connsiteY21" fmla="*/ 58609 h 72024"/>
                  <a:gd name="connsiteX22" fmla="*/ 60275 w 66023"/>
                  <a:gd name="connsiteY22" fmla="*/ 58609 h 72024"/>
                  <a:gd name="connsiteX23" fmla="*/ 59089 w 66023"/>
                  <a:gd name="connsiteY23" fmla="*/ 56873 h 72024"/>
                  <a:gd name="connsiteX24" fmla="*/ 37072 w 66023"/>
                  <a:gd name="connsiteY24" fmla="*/ 54058 h 72024"/>
                  <a:gd name="connsiteX25" fmla="*/ 25906 w 66023"/>
                  <a:gd name="connsiteY25" fmla="*/ 58714 h 72024"/>
                  <a:gd name="connsiteX26" fmla="*/ 18312 w 66023"/>
                  <a:gd name="connsiteY26" fmla="*/ 56768 h 72024"/>
                  <a:gd name="connsiteX27" fmla="*/ 15280 w 66023"/>
                  <a:gd name="connsiteY27" fmla="*/ 51467 h 72024"/>
                  <a:gd name="connsiteX28" fmla="*/ 20487 w 66023"/>
                  <a:gd name="connsiteY28" fmla="*/ 44864 h 72024"/>
                  <a:gd name="connsiteX29" fmla="*/ 33275 w 66023"/>
                  <a:gd name="connsiteY29" fmla="*/ 42812 h 72024"/>
                  <a:gd name="connsiteX30" fmla="*/ 44218 w 66023"/>
                  <a:gd name="connsiteY30" fmla="*/ 42812 h 72024"/>
                  <a:gd name="connsiteX31" fmla="*/ 37059 w 66023"/>
                  <a:gd name="connsiteY31" fmla="*/ 54058 h 72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66023" h="72024">
                    <a:moveTo>
                      <a:pt x="59075" y="56873"/>
                    </a:moveTo>
                    <a:lnTo>
                      <a:pt x="59075" y="26056"/>
                    </a:lnTo>
                    <a:cubicBezTo>
                      <a:pt x="59075" y="18480"/>
                      <a:pt x="56689" y="11995"/>
                      <a:pt x="52036" y="7352"/>
                    </a:cubicBezTo>
                    <a:cubicBezTo>
                      <a:pt x="47263" y="2591"/>
                      <a:pt x="40434" y="0"/>
                      <a:pt x="32089" y="0"/>
                    </a:cubicBezTo>
                    <a:cubicBezTo>
                      <a:pt x="17244" y="0"/>
                      <a:pt x="6935" y="6708"/>
                      <a:pt x="659" y="20545"/>
                    </a:cubicBezTo>
                    <a:lnTo>
                      <a:pt x="448" y="21084"/>
                    </a:lnTo>
                    <a:lnTo>
                      <a:pt x="13342" y="27134"/>
                    </a:lnTo>
                    <a:lnTo>
                      <a:pt x="13553" y="26595"/>
                    </a:lnTo>
                    <a:cubicBezTo>
                      <a:pt x="17126" y="19019"/>
                      <a:pt x="24073" y="13837"/>
                      <a:pt x="30784" y="13837"/>
                    </a:cubicBezTo>
                    <a:cubicBezTo>
                      <a:pt x="38377" y="13837"/>
                      <a:pt x="44112" y="18914"/>
                      <a:pt x="44112" y="25622"/>
                    </a:cubicBezTo>
                    <a:lnTo>
                      <a:pt x="44112" y="30488"/>
                    </a:lnTo>
                    <a:lnTo>
                      <a:pt x="28397" y="30488"/>
                    </a:lnTo>
                    <a:cubicBezTo>
                      <a:pt x="10837" y="30488"/>
                      <a:pt x="0" y="38919"/>
                      <a:pt x="0" y="52440"/>
                    </a:cubicBezTo>
                    <a:cubicBezTo>
                      <a:pt x="0" y="58280"/>
                      <a:pt x="2162" y="63357"/>
                      <a:pt x="6394" y="66830"/>
                    </a:cubicBezTo>
                    <a:cubicBezTo>
                      <a:pt x="10296" y="70184"/>
                      <a:pt x="15715" y="72025"/>
                      <a:pt x="21792" y="72025"/>
                    </a:cubicBezTo>
                    <a:cubicBezTo>
                      <a:pt x="27316" y="72025"/>
                      <a:pt x="32629" y="70407"/>
                      <a:pt x="36967" y="67369"/>
                    </a:cubicBezTo>
                    <a:cubicBezTo>
                      <a:pt x="40975" y="64659"/>
                      <a:pt x="44125" y="60766"/>
                      <a:pt x="46288" y="56228"/>
                    </a:cubicBezTo>
                    <a:lnTo>
                      <a:pt x="46828" y="56228"/>
                    </a:lnTo>
                    <a:lnTo>
                      <a:pt x="46723" y="59911"/>
                    </a:lnTo>
                    <a:cubicBezTo>
                      <a:pt x="46723" y="66724"/>
                      <a:pt x="50084" y="70289"/>
                      <a:pt x="56373" y="70289"/>
                    </a:cubicBezTo>
                    <a:lnTo>
                      <a:pt x="66023" y="70289"/>
                    </a:lnTo>
                    <a:lnTo>
                      <a:pt x="66023" y="58609"/>
                    </a:lnTo>
                    <a:lnTo>
                      <a:pt x="60275" y="58609"/>
                    </a:lnTo>
                    <a:cubicBezTo>
                      <a:pt x="59300" y="58714"/>
                      <a:pt x="59089" y="57741"/>
                      <a:pt x="59089" y="56873"/>
                    </a:cubicBezTo>
                    <a:close/>
                    <a:moveTo>
                      <a:pt x="37072" y="54058"/>
                    </a:moveTo>
                    <a:cubicBezTo>
                      <a:pt x="33499" y="56873"/>
                      <a:pt x="29057" y="58714"/>
                      <a:pt x="25906" y="58714"/>
                    </a:cubicBezTo>
                    <a:cubicBezTo>
                      <a:pt x="22979" y="58714"/>
                      <a:pt x="20263" y="58070"/>
                      <a:pt x="18312" y="56768"/>
                    </a:cubicBezTo>
                    <a:cubicBezTo>
                      <a:pt x="16255" y="55465"/>
                      <a:pt x="15280" y="53637"/>
                      <a:pt x="15280" y="51467"/>
                    </a:cubicBezTo>
                    <a:cubicBezTo>
                      <a:pt x="15280" y="48547"/>
                      <a:pt x="17020" y="46390"/>
                      <a:pt x="20487" y="44864"/>
                    </a:cubicBezTo>
                    <a:cubicBezTo>
                      <a:pt x="23625" y="43457"/>
                      <a:pt x="28081" y="42812"/>
                      <a:pt x="33275" y="42812"/>
                    </a:cubicBezTo>
                    <a:lnTo>
                      <a:pt x="44218" y="42812"/>
                    </a:lnTo>
                    <a:cubicBezTo>
                      <a:pt x="43572" y="46916"/>
                      <a:pt x="41080" y="50928"/>
                      <a:pt x="37059" y="54058"/>
                    </a:cubicBezTo>
                    <a:close/>
                  </a:path>
                </a:pathLst>
              </a:custGeom>
              <a:solidFill>
                <a:srgbClr val="FFFFFF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7" name="Forma libre 66">
                <a:extLst>
                  <a:ext uri="{FF2B5EF4-FFF2-40B4-BE49-F238E27FC236}">
                    <a16:creationId xmlns:a16="http://schemas.microsoft.com/office/drawing/2014/main" id="{A48D2249-7EA6-DE24-C2F1-1AB1F286266F}"/>
                  </a:ext>
                </a:extLst>
              </p:cNvPr>
              <p:cNvSpPr/>
              <p:nvPr/>
            </p:nvSpPr>
            <p:spPr>
              <a:xfrm>
                <a:off x="6075199" y="771212"/>
                <a:ext cx="26551" cy="93556"/>
              </a:xfrm>
              <a:custGeom>
                <a:avLst/>
                <a:gdLst>
                  <a:gd name="connsiteX0" fmla="*/ 16796 w 26551"/>
                  <a:gd name="connsiteY0" fmla="*/ 80140 h 93556"/>
                  <a:gd name="connsiteX1" fmla="*/ 15280 w 26551"/>
                  <a:gd name="connsiteY1" fmla="*/ 79706 h 93556"/>
                  <a:gd name="connsiteX2" fmla="*/ 14845 w 26551"/>
                  <a:gd name="connsiteY2" fmla="*/ 77431 h 93556"/>
                  <a:gd name="connsiteX3" fmla="*/ 14845 w 26551"/>
                  <a:gd name="connsiteY3" fmla="*/ 0 h 93556"/>
                  <a:gd name="connsiteX4" fmla="*/ 0 w 26551"/>
                  <a:gd name="connsiteY4" fmla="*/ 0 h 93556"/>
                  <a:gd name="connsiteX5" fmla="*/ 0 w 26551"/>
                  <a:gd name="connsiteY5" fmla="*/ 78194 h 93556"/>
                  <a:gd name="connsiteX6" fmla="*/ 3138 w 26551"/>
                  <a:gd name="connsiteY6" fmla="*/ 89663 h 93556"/>
                  <a:gd name="connsiteX7" fmla="*/ 12248 w 26551"/>
                  <a:gd name="connsiteY7" fmla="*/ 93556 h 93556"/>
                  <a:gd name="connsiteX8" fmla="*/ 26552 w 26551"/>
                  <a:gd name="connsiteY8" fmla="*/ 93556 h 93556"/>
                  <a:gd name="connsiteX9" fmla="*/ 26552 w 26551"/>
                  <a:gd name="connsiteY9" fmla="*/ 80140 h 93556"/>
                  <a:gd name="connsiteX10" fmla="*/ 16796 w 26551"/>
                  <a:gd name="connsiteY10" fmla="*/ 80140 h 93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551" h="93556">
                    <a:moveTo>
                      <a:pt x="16796" y="80140"/>
                    </a:moveTo>
                    <a:cubicBezTo>
                      <a:pt x="15715" y="80140"/>
                      <a:pt x="15385" y="79930"/>
                      <a:pt x="15280" y="79706"/>
                    </a:cubicBezTo>
                    <a:cubicBezTo>
                      <a:pt x="15069" y="79377"/>
                      <a:pt x="14845" y="78628"/>
                      <a:pt x="14845" y="77431"/>
                    </a:cubicBezTo>
                    <a:lnTo>
                      <a:pt x="14845" y="0"/>
                    </a:lnTo>
                    <a:lnTo>
                      <a:pt x="0" y="0"/>
                    </a:lnTo>
                    <a:lnTo>
                      <a:pt x="0" y="78194"/>
                    </a:lnTo>
                    <a:cubicBezTo>
                      <a:pt x="0" y="83271"/>
                      <a:pt x="1081" y="87059"/>
                      <a:pt x="3138" y="89663"/>
                    </a:cubicBezTo>
                    <a:cubicBezTo>
                      <a:pt x="5194" y="92267"/>
                      <a:pt x="8227" y="93556"/>
                      <a:pt x="12248" y="93556"/>
                    </a:cubicBezTo>
                    <a:lnTo>
                      <a:pt x="26552" y="93556"/>
                    </a:lnTo>
                    <a:lnTo>
                      <a:pt x="26552" y="80140"/>
                    </a:lnTo>
                    <a:lnTo>
                      <a:pt x="16796" y="80140"/>
                    </a:lnTo>
                    <a:close/>
                  </a:path>
                </a:pathLst>
              </a:custGeom>
              <a:solidFill>
                <a:srgbClr val="FFFFFF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grpSp>
          <p:nvGrpSpPr>
            <p:cNvPr id="53" name="Gráfico 4">
              <a:extLst>
                <a:ext uri="{FF2B5EF4-FFF2-40B4-BE49-F238E27FC236}">
                  <a16:creationId xmlns:a16="http://schemas.microsoft.com/office/drawing/2014/main" id="{2AF50279-F936-AB4E-9476-E4B85C8DBF5D}"/>
                </a:ext>
              </a:extLst>
            </p:cNvPr>
            <p:cNvGrpSpPr/>
            <p:nvPr/>
          </p:nvGrpSpPr>
          <p:grpSpPr>
            <a:xfrm>
              <a:off x="5094224" y="769042"/>
              <a:ext cx="396429" cy="104604"/>
              <a:chOff x="5094224" y="769042"/>
              <a:chExt cx="396429" cy="104604"/>
            </a:xfrm>
            <a:solidFill>
              <a:srgbClr val="231F20"/>
            </a:solidFill>
          </p:grpSpPr>
          <p:sp>
            <p:nvSpPr>
              <p:cNvPr id="54" name="Forma libre 53">
                <a:extLst>
                  <a:ext uri="{FF2B5EF4-FFF2-40B4-BE49-F238E27FC236}">
                    <a16:creationId xmlns:a16="http://schemas.microsoft.com/office/drawing/2014/main" id="{6A28E1F8-59EB-DD6A-629F-6E502EA2CC7E}"/>
                  </a:ext>
                </a:extLst>
              </p:cNvPr>
              <p:cNvSpPr/>
              <p:nvPr/>
            </p:nvSpPr>
            <p:spPr>
              <a:xfrm>
                <a:off x="5094224" y="782497"/>
                <a:ext cx="44151" cy="89097"/>
              </a:xfrm>
              <a:custGeom>
                <a:avLst/>
                <a:gdLst>
                  <a:gd name="connsiteX0" fmla="*/ 11443 w 44151"/>
                  <a:gd name="connsiteY0" fmla="*/ 73182 h 89097"/>
                  <a:gd name="connsiteX1" fmla="*/ 11311 w 44151"/>
                  <a:gd name="connsiteY1" fmla="*/ 28160 h 89097"/>
                  <a:gd name="connsiteX2" fmla="*/ 0 w 44151"/>
                  <a:gd name="connsiteY2" fmla="*/ 28160 h 89097"/>
                  <a:gd name="connsiteX3" fmla="*/ 0 w 44151"/>
                  <a:gd name="connsiteY3" fmla="*/ 16323 h 89097"/>
                  <a:gd name="connsiteX4" fmla="*/ 11311 w 44151"/>
                  <a:gd name="connsiteY4" fmla="*/ 16323 h 89097"/>
                  <a:gd name="connsiteX5" fmla="*/ 12261 w 44151"/>
                  <a:gd name="connsiteY5" fmla="*/ 0 h 89097"/>
                  <a:gd name="connsiteX6" fmla="*/ 26024 w 44151"/>
                  <a:gd name="connsiteY6" fmla="*/ 0 h 89097"/>
                  <a:gd name="connsiteX7" fmla="*/ 26024 w 44151"/>
                  <a:gd name="connsiteY7" fmla="*/ 16323 h 89097"/>
                  <a:gd name="connsiteX8" fmla="*/ 44152 w 44151"/>
                  <a:gd name="connsiteY8" fmla="*/ 16323 h 89097"/>
                  <a:gd name="connsiteX9" fmla="*/ 44152 w 44151"/>
                  <a:gd name="connsiteY9" fmla="*/ 28160 h 89097"/>
                  <a:gd name="connsiteX10" fmla="*/ 26156 w 44151"/>
                  <a:gd name="connsiteY10" fmla="*/ 28160 h 89097"/>
                  <a:gd name="connsiteX11" fmla="*/ 26156 w 44151"/>
                  <a:gd name="connsiteY11" fmla="*/ 72367 h 89097"/>
                  <a:gd name="connsiteX12" fmla="*/ 29017 w 44151"/>
                  <a:gd name="connsiteY12" fmla="*/ 75905 h 89097"/>
                  <a:gd name="connsiteX13" fmla="*/ 44152 w 44151"/>
                  <a:gd name="connsiteY13" fmla="*/ 75905 h 89097"/>
                  <a:gd name="connsiteX14" fmla="*/ 44152 w 44151"/>
                  <a:gd name="connsiteY14" fmla="*/ 89097 h 89097"/>
                  <a:gd name="connsiteX15" fmla="*/ 23836 w 44151"/>
                  <a:gd name="connsiteY15" fmla="*/ 89097 h 89097"/>
                  <a:gd name="connsiteX16" fmla="*/ 11430 w 44151"/>
                  <a:gd name="connsiteY16" fmla="*/ 73182 h 89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4151" h="89097">
                    <a:moveTo>
                      <a:pt x="11443" y="73182"/>
                    </a:moveTo>
                    <a:lnTo>
                      <a:pt x="11311" y="28160"/>
                    </a:lnTo>
                    <a:lnTo>
                      <a:pt x="0" y="28160"/>
                    </a:lnTo>
                    <a:lnTo>
                      <a:pt x="0" y="16323"/>
                    </a:lnTo>
                    <a:lnTo>
                      <a:pt x="11311" y="16323"/>
                    </a:lnTo>
                    <a:lnTo>
                      <a:pt x="12261" y="0"/>
                    </a:lnTo>
                    <a:lnTo>
                      <a:pt x="26024" y="0"/>
                    </a:lnTo>
                    <a:lnTo>
                      <a:pt x="26024" y="16323"/>
                    </a:lnTo>
                    <a:lnTo>
                      <a:pt x="44152" y="16323"/>
                    </a:lnTo>
                    <a:lnTo>
                      <a:pt x="44152" y="28160"/>
                    </a:lnTo>
                    <a:lnTo>
                      <a:pt x="26156" y="28160"/>
                    </a:lnTo>
                    <a:lnTo>
                      <a:pt x="26156" y="72367"/>
                    </a:lnTo>
                    <a:cubicBezTo>
                      <a:pt x="26156" y="75090"/>
                      <a:pt x="26842" y="75905"/>
                      <a:pt x="29017" y="75905"/>
                    </a:cubicBezTo>
                    <a:lnTo>
                      <a:pt x="44152" y="75905"/>
                    </a:lnTo>
                    <a:lnTo>
                      <a:pt x="44152" y="89097"/>
                    </a:lnTo>
                    <a:lnTo>
                      <a:pt x="23836" y="89097"/>
                    </a:lnTo>
                    <a:cubicBezTo>
                      <a:pt x="15662" y="89097"/>
                      <a:pt x="11430" y="83928"/>
                      <a:pt x="11430" y="73182"/>
                    </a:cubicBezTo>
                    <a:close/>
                  </a:path>
                </a:pathLst>
              </a:custGeom>
              <a:solidFill>
                <a:srgbClr val="231F20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5" name="Forma libre 54">
                <a:extLst>
                  <a:ext uri="{FF2B5EF4-FFF2-40B4-BE49-F238E27FC236}">
                    <a16:creationId xmlns:a16="http://schemas.microsoft.com/office/drawing/2014/main" id="{D083C16B-E9D9-26BB-18C6-8395D223241F}"/>
                  </a:ext>
                </a:extLst>
              </p:cNvPr>
              <p:cNvSpPr/>
              <p:nvPr/>
            </p:nvSpPr>
            <p:spPr>
              <a:xfrm>
                <a:off x="5148474" y="769042"/>
                <a:ext cx="19643" cy="102552"/>
              </a:xfrm>
              <a:custGeom>
                <a:avLst/>
                <a:gdLst>
                  <a:gd name="connsiteX0" fmla="*/ 0 w 19643"/>
                  <a:gd name="connsiteY0" fmla="*/ 9246 h 102552"/>
                  <a:gd name="connsiteX1" fmla="*/ 9822 w 19643"/>
                  <a:gd name="connsiteY1" fmla="*/ 0 h 102552"/>
                  <a:gd name="connsiteX2" fmla="*/ 19643 w 19643"/>
                  <a:gd name="connsiteY2" fmla="*/ 9246 h 102552"/>
                  <a:gd name="connsiteX3" fmla="*/ 9967 w 19643"/>
                  <a:gd name="connsiteY3" fmla="*/ 18769 h 102552"/>
                  <a:gd name="connsiteX4" fmla="*/ 13 w 19643"/>
                  <a:gd name="connsiteY4" fmla="*/ 9246 h 102552"/>
                  <a:gd name="connsiteX5" fmla="*/ 2452 w 19643"/>
                  <a:gd name="connsiteY5" fmla="*/ 29646 h 102552"/>
                  <a:gd name="connsiteX6" fmla="*/ 17178 w 19643"/>
                  <a:gd name="connsiteY6" fmla="*/ 29646 h 102552"/>
                  <a:gd name="connsiteX7" fmla="*/ 17178 w 19643"/>
                  <a:gd name="connsiteY7" fmla="*/ 102553 h 102552"/>
                  <a:gd name="connsiteX8" fmla="*/ 2452 w 19643"/>
                  <a:gd name="connsiteY8" fmla="*/ 102553 h 102552"/>
                  <a:gd name="connsiteX9" fmla="*/ 2452 w 19643"/>
                  <a:gd name="connsiteY9" fmla="*/ 29646 h 102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643" h="102552">
                    <a:moveTo>
                      <a:pt x="0" y="9246"/>
                    </a:moveTo>
                    <a:cubicBezTo>
                      <a:pt x="0" y="4077"/>
                      <a:pt x="4364" y="0"/>
                      <a:pt x="9822" y="0"/>
                    </a:cubicBezTo>
                    <a:cubicBezTo>
                      <a:pt x="15280" y="0"/>
                      <a:pt x="19643" y="4077"/>
                      <a:pt x="19643" y="9246"/>
                    </a:cubicBezTo>
                    <a:cubicBezTo>
                      <a:pt x="19643" y="14692"/>
                      <a:pt x="15280" y="18769"/>
                      <a:pt x="9967" y="18769"/>
                    </a:cubicBezTo>
                    <a:cubicBezTo>
                      <a:pt x="4654" y="18769"/>
                      <a:pt x="13" y="14692"/>
                      <a:pt x="13" y="9246"/>
                    </a:cubicBezTo>
                    <a:close/>
                    <a:moveTo>
                      <a:pt x="2452" y="29646"/>
                    </a:moveTo>
                    <a:lnTo>
                      <a:pt x="17178" y="29646"/>
                    </a:lnTo>
                    <a:lnTo>
                      <a:pt x="17178" y="102553"/>
                    </a:lnTo>
                    <a:lnTo>
                      <a:pt x="2452" y="102553"/>
                    </a:lnTo>
                    <a:lnTo>
                      <a:pt x="2452" y="29646"/>
                    </a:lnTo>
                    <a:close/>
                  </a:path>
                </a:pathLst>
              </a:custGeom>
              <a:solidFill>
                <a:srgbClr val="231F20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6" name="Forma libre 55">
                <a:extLst>
                  <a:ext uri="{FF2B5EF4-FFF2-40B4-BE49-F238E27FC236}">
                    <a16:creationId xmlns:a16="http://schemas.microsoft.com/office/drawing/2014/main" id="{A3A90096-950B-DF18-7C29-80DB8E0AA9BE}"/>
                  </a:ext>
                </a:extLst>
              </p:cNvPr>
              <p:cNvSpPr/>
              <p:nvPr/>
            </p:nvSpPr>
            <p:spPr>
              <a:xfrm>
                <a:off x="5179284" y="796794"/>
                <a:ext cx="68027" cy="76825"/>
              </a:xfrm>
              <a:custGeom>
                <a:avLst/>
                <a:gdLst>
                  <a:gd name="connsiteX0" fmla="*/ 0 w 68027"/>
                  <a:gd name="connsiteY0" fmla="*/ 38485 h 76825"/>
                  <a:gd name="connsiteX1" fmla="*/ 35306 w 68027"/>
                  <a:gd name="connsiteY1" fmla="*/ 0 h 76825"/>
                  <a:gd name="connsiteX2" fmla="*/ 68027 w 68027"/>
                  <a:gd name="connsiteY2" fmla="*/ 34816 h 76825"/>
                  <a:gd name="connsiteX3" fmla="*/ 67895 w 68027"/>
                  <a:gd name="connsiteY3" fmla="*/ 44470 h 76825"/>
                  <a:gd name="connsiteX4" fmla="*/ 14594 w 68027"/>
                  <a:gd name="connsiteY4" fmla="*/ 44470 h 76825"/>
                  <a:gd name="connsiteX5" fmla="*/ 36822 w 68027"/>
                  <a:gd name="connsiteY5" fmla="*/ 64054 h 76825"/>
                  <a:gd name="connsiteX6" fmla="*/ 58640 w 68027"/>
                  <a:gd name="connsiteY6" fmla="*/ 53716 h 76825"/>
                  <a:gd name="connsiteX7" fmla="*/ 66814 w 68027"/>
                  <a:gd name="connsiteY7" fmla="*/ 62279 h 76825"/>
                  <a:gd name="connsiteX8" fmla="*/ 36690 w 68027"/>
                  <a:gd name="connsiteY8" fmla="*/ 76826 h 76825"/>
                  <a:gd name="connsiteX9" fmla="*/ 13 w 68027"/>
                  <a:gd name="connsiteY9" fmla="*/ 38472 h 76825"/>
                  <a:gd name="connsiteX10" fmla="*/ 53710 w 68027"/>
                  <a:gd name="connsiteY10" fmla="*/ 33040 h 76825"/>
                  <a:gd name="connsiteX11" fmla="*/ 34488 w 68027"/>
                  <a:gd name="connsiteY11" fmla="*/ 12771 h 76825"/>
                  <a:gd name="connsiteX12" fmla="*/ 14581 w 68027"/>
                  <a:gd name="connsiteY12" fmla="*/ 33040 h 76825"/>
                  <a:gd name="connsiteX13" fmla="*/ 53710 w 68027"/>
                  <a:gd name="connsiteY13" fmla="*/ 33040 h 76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8027" h="76825">
                    <a:moveTo>
                      <a:pt x="0" y="38485"/>
                    </a:moveTo>
                    <a:cubicBezTo>
                      <a:pt x="0" y="16310"/>
                      <a:pt x="14726" y="0"/>
                      <a:pt x="35306" y="0"/>
                    </a:cubicBezTo>
                    <a:cubicBezTo>
                      <a:pt x="55885" y="0"/>
                      <a:pt x="68027" y="16323"/>
                      <a:pt x="68027" y="34816"/>
                    </a:cubicBezTo>
                    <a:cubicBezTo>
                      <a:pt x="68027" y="37394"/>
                      <a:pt x="68027" y="39301"/>
                      <a:pt x="67895" y="44470"/>
                    </a:cubicBezTo>
                    <a:lnTo>
                      <a:pt x="14594" y="44470"/>
                    </a:lnTo>
                    <a:cubicBezTo>
                      <a:pt x="16769" y="57530"/>
                      <a:pt x="26459" y="64054"/>
                      <a:pt x="36822" y="64054"/>
                    </a:cubicBezTo>
                    <a:cubicBezTo>
                      <a:pt x="44455" y="64054"/>
                      <a:pt x="52497" y="60648"/>
                      <a:pt x="58640" y="53716"/>
                    </a:cubicBezTo>
                    <a:lnTo>
                      <a:pt x="66814" y="62279"/>
                    </a:lnTo>
                    <a:cubicBezTo>
                      <a:pt x="59313" y="71933"/>
                      <a:pt x="47869" y="76826"/>
                      <a:pt x="36690" y="76826"/>
                    </a:cubicBezTo>
                    <a:cubicBezTo>
                      <a:pt x="18154" y="76826"/>
                      <a:pt x="13" y="63910"/>
                      <a:pt x="13" y="38472"/>
                    </a:cubicBezTo>
                    <a:close/>
                    <a:moveTo>
                      <a:pt x="53710" y="33040"/>
                    </a:moveTo>
                    <a:cubicBezTo>
                      <a:pt x="53433" y="20124"/>
                      <a:pt x="44033" y="12771"/>
                      <a:pt x="34488" y="12771"/>
                    </a:cubicBezTo>
                    <a:cubicBezTo>
                      <a:pt x="25497" y="12771"/>
                      <a:pt x="16493" y="19164"/>
                      <a:pt x="14581" y="33040"/>
                    </a:cubicBezTo>
                    <a:lnTo>
                      <a:pt x="53710" y="33040"/>
                    </a:lnTo>
                    <a:close/>
                  </a:path>
                </a:pathLst>
              </a:custGeom>
              <a:solidFill>
                <a:srgbClr val="231F20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7" name="Forma libre 56">
                <a:extLst>
                  <a:ext uri="{FF2B5EF4-FFF2-40B4-BE49-F238E27FC236}">
                    <a16:creationId xmlns:a16="http://schemas.microsoft.com/office/drawing/2014/main" id="{499E0C28-7C33-8F35-AE30-1AA38714E1E5}"/>
                  </a:ext>
                </a:extLst>
              </p:cNvPr>
              <p:cNvSpPr/>
              <p:nvPr/>
            </p:nvSpPr>
            <p:spPr>
              <a:xfrm>
                <a:off x="5261207" y="796794"/>
                <a:ext cx="63795" cy="74826"/>
              </a:xfrm>
              <a:custGeom>
                <a:avLst/>
                <a:gdLst>
                  <a:gd name="connsiteX0" fmla="*/ 0 w 63795"/>
                  <a:gd name="connsiteY0" fmla="*/ 2039 h 74826"/>
                  <a:gd name="connsiteX1" fmla="*/ 13632 w 63795"/>
                  <a:gd name="connsiteY1" fmla="*/ 2039 h 74826"/>
                  <a:gd name="connsiteX2" fmla="*/ 13632 w 63795"/>
                  <a:gd name="connsiteY2" fmla="*/ 16046 h 74826"/>
                  <a:gd name="connsiteX3" fmla="*/ 14581 w 63795"/>
                  <a:gd name="connsiteY3" fmla="*/ 16046 h 74826"/>
                  <a:gd name="connsiteX4" fmla="*/ 39392 w 63795"/>
                  <a:gd name="connsiteY4" fmla="*/ 0 h 74826"/>
                  <a:gd name="connsiteX5" fmla="*/ 63795 w 63795"/>
                  <a:gd name="connsiteY5" fmla="*/ 28976 h 74826"/>
                  <a:gd name="connsiteX6" fmla="*/ 63795 w 63795"/>
                  <a:gd name="connsiteY6" fmla="*/ 74813 h 74826"/>
                  <a:gd name="connsiteX7" fmla="*/ 48937 w 63795"/>
                  <a:gd name="connsiteY7" fmla="*/ 74813 h 74826"/>
                  <a:gd name="connsiteX8" fmla="*/ 48937 w 63795"/>
                  <a:gd name="connsiteY8" fmla="*/ 33737 h 74826"/>
                  <a:gd name="connsiteX9" fmla="*/ 34079 w 63795"/>
                  <a:gd name="connsiteY9" fmla="*/ 12798 h 74826"/>
                  <a:gd name="connsiteX10" fmla="*/ 14858 w 63795"/>
                  <a:gd name="connsiteY10" fmla="*/ 38235 h 74826"/>
                  <a:gd name="connsiteX11" fmla="*/ 14858 w 63795"/>
                  <a:gd name="connsiteY11" fmla="*/ 74826 h 74826"/>
                  <a:gd name="connsiteX12" fmla="*/ 0 w 63795"/>
                  <a:gd name="connsiteY12" fmla="*/ 74826 h 74826"/>
                  <a:gd name="connsiteX13" fmla="*/ 0 w 63795"/>
                  <a:gd name="connsiteY13" fmla="*/ 2065 h 74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3795" h="74826">
                    <a:moveTo>
                      <a:pt x="0" y="2039"/>
                    </a:moveTo>
                    <a:lnTo>
                      <a:pt x="13632" y="2039"/>
                    </a:lnTo>
                    <a:lnTo>
                      <a:pt x="13632" y="16046"/>
                    </a:lnTo>
                    <a:lnTo>
                      <a:pt x="14581" y="16046"/>
                    </a:lnTo>
                    <a:cubicBezTo>
                      <a:pt x="17165" y="7076"/>
                      <a:pt x="27804" y="0"/>
                      <a:pt x="39392" y="0"/>
                    </a:cubicBezTo>
                    <a:cubicBezTo>
                      <a:pt x="55476" y="0"/>
                      <a:pt x="63795" y="11022"/>
                      <a:pt x="63795" y="28976"/>
                    </a:cubicBezTo>
                    <a:lnTo>
                      <a:pt x="63795" y="74813"/>
                    </a:lnTo>
                    <a:lnTo>
                      <a:pt x="48937" y="74813"/>
                    </a:lnTo>
                    <a:lnTo>
                      <a:pt x="48937" y="33737"/>
                    </a:lnTo>
                    <a:cubicBezTo>
                      <a:pt x="48937" y="19190"/>
                      <a:pt x="43348" y="12798"/>
                      <a:pt x="34079" y="12798"/>
                    </a:cubicBezTo>
                    <a:cubicBezTo>
                      <a:pt x="23032" y="12798"/>
                      <a:pt x="14858" y="22320"/>
                      <a:pt x="14858" y="38235"/>
                    </a:cubicBezTo>
                    <a:lnTo>
                      <a:pt x="14858" y="74826"/>
                    </a:lnTo>
                    <a:lnTo>
                      <a:pt x="0" y="74826"/>
                    </a:lnTo>
                    <a:lnTo>
                      <a:pt x="0" y="2065"/>
                    </a:lnTo>
                    <a:close/>
                  </a:path>
                </a:pathLst>
              </a:custGeom>
              <a:solidFill>
                <a:srgbClr val="231F20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8" name="Forma libre 57">
                <a:extLst>
                  <a:ext uri="{FF2B5EF4-FFF2-40B4-BE49-F238E27FC236}">
                    <a16:creationId xmlns:a16="http://schemas.microsoft.com/office/drawing/2014/main" id="{68DF4512-44F1-F500-73A6-E6D7982BD614}"/>
                  </a:ext>
                </a:extLst>
              </p:cNvPr>
              <p:cNvSpPr/>
              <p:nvPr/>
            </p:nvSpPr>
            <p:spPr>
              <a:xfrm>
                <a:off x="5338238" y="771633"/>
                <a:ext cx="70887" cy="102013"/>
              </a:xfrm>
              <a:custGeom>
                <a:avLst/>
                <a:gdLst>
                  <a:gd name="connsiteX0" fmla="*/ 0 w 70887"/>
                  <a:gd name="connsiteY0" fmla="*/ 63515 h 102013"/>
                  <a:gd name="connsiteX1" fmla="*/ 32445 w 70887"/>
                  <a:gd name="connsiteY1" fmla="*/ 25161 h 102013"/>
                  <a:gd name="connsiteX2" fmla="*/ 55490 w 70887"/>
                  <a:gd name="connsiteY2" fmla="*/ 40800 h 102013"/>
                  <a:gd name="connsiteX3" fmla="*/ 56439 w 70887"/>
                  <a:gd name="connsiteY3" fmla="*/ 40800 h 102013"/>
                  <a:gd name="connsiteX4" fmla="*/ 56439 w 70887"/>
                  <a:gd name="connsiteY4" fmla="*/ 0 h 102013"/>
                  <a:gd name="connsiteX5" fmla="*/ 70888 w 70887"/>
                  <a:gd name="connsiteY5" fmla="*/ 0 h 102013"/>
                  <a:gd name="connsiteX6" fmla="*/ 70888 w 70887"/>
                  <a:gd name="connsiteY6" fmla="*/ 99975 h 102013"/>
                  <a:gd name="connsiteX7" fmla="*/ 58482 w 70887"/>
                  <a:gd name="connsiteY7" fmla="*/ 99975 h 102013"/>
                  <a:gd name="connsiteX8" fmla="*/ 58482 w 70887"/>
                  <a:gd name="connsiteY8" fmla="*/ 85967 h 102013"/>
                  <a:gd name="connsiteX9" fmla="*/ 57665 w 70887"/>
                  <a:gd name="connsiteY9" fmla="*/ 85967 h 102013"/>
                  <a:gd name="connsiteX10" fmla="*/ 32985 w 70887"/>
                  <a:gd name="connsiteY10" fmla="*/ 102013 h 102013"/>
                  <a:gd name="connsiteX11" fmla="*/ 0 w 70887"/>
                  <a:gd name="connsiteY11" fmla="*/ 63528 h 102013"/>
                  <a:gd name="connsiteX12" fmla="*/ 35437 w 70887"/>
                  <a:gd name="connsiteY12" fmla="*/ 88269 h 102013"/>
                  <a:gd name="connsiteX13" fmla="*/ 56017 w 70887"/>
                  <a:gd name="connsiteY13" fmla="*/ 63383 h 102013"/>
                  <a:gd name="connsiteX14" fmla="*/ 35569 w 70887"/>
                  <a:gd name="connsiteY14" fmla="*/ 38906 h 102013"/>
                  <a:gd name="connsiteX15" fmla="*/ 15122 w 70887"/>
                  <a:gd name="connsiteY15" fmla="*/ 63383 h 102013"/>
                  <a:gd name="connsiteX16" fmla="*/ 35437 w 70887"/>
                  <a:gd name="connsiteY16" fmla="*/ 88269 h 102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0887" h="102013">
                    <a:moveTo>
                      <a:pt x="0" y="63515"/>
                    </a:moveTo>
                    <a:cubicBezTo>
                      <a:pt x="0" y="41208"/>
                      <a:pt x="13500" y="25161"/>
                      <a:pt x="32445" y="25161"/>
                    </a:cubicBezTo>
                    <a:cubicBezTo>
                      <a:pt x="44442" y="25161"/>
                      <a:pt x="52207" y="32501"/>
                      <a:pt x="55490" y="40800"/>
                    </a:cubicBezTo>
                    <a:lnTo>
                      <a:pt x="56439" y="40800"/>
                    </a:lnTo>
                    <a:lnTo>
                      <a:pt x="56439" y="0"/>
                    </a:lnTo>
                    <a:lnTo>
                      <a:pt x="70888" y="0"/>
                    </a:lnTo>
                    <a:lnTo>
                      <a:pt x="70888" y="99975"/>
                    </a:lnTo>
                    <a:lnTo>
                      <a:pt x="58482" y="99975"/>
                    </a:lnTo>
                    <a:lnTo>
                      <a:pt x="58482" y="85967"/>
                    </a:lnTo>
                    <a:lnTo>
                      <a:pt x="57665" y="85967"/>
                    </a:lnTo>
                    <a:cubicBezTo>
                      <a:pt x="53578" y="94950"/>
                      <a:pt x="45391" y="102013"/>
                      <a:pt x="32985" y="102013"/>
                    </a:cubicBezTo>
                    <a:cubicBezTo>
                      <a:pt x="14041" y="102013"/>
                      <a:pt x="0" y="86375"/>
                      <a:pt x="0" y="63528"/>
                    </a:cubicBezTo>
                    <a:close/>
                    <a:moveTo>
                      <a:pt x="35437" y="88269"/>
                    </a:moveTo>
                    <a:cubicBezTo>
                      <a:pt x="48252" y="88269"/>
                      <a:pt x="56017" y="76984"/>
                      <a:pt x="56017" y="63383"/>
                    </a:cubicBezTo>
                    <a:cubicBezTo>
                      <a:pt x="56017" y="49783"/>
                      <a:pt x="48792" y="38906"/>
                      <a:pt x="35569" y="38906"/>
                    </a:cubicBezTo>
                    <a:cubicBezTo>
                      <a:pt x="23704" y="38906"/>
                      <a:pt x="15122" y="48021"/>
                      <a:pt x="15122" y="63383"/>
                    </a:cubicBezTo>
                    <a:cubicBezTo>
                      <a:pt x="15122" y="78746"/>
                      <a:pt x="23032" y="88269"/>
                      <a:pt x="35437" y="88269"/>
                    </a:cubicBezTo>
                    <a:close/>
                  </a:path>
                </a:pathLst>
              </a:custGeom>
              <a:solidFill>
                <a:srgbClr val="231F20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9" name="Forma libre 58">
                <a:extLst>
                  <a:ext uri="{FF2B5EF4-FFF2-40B4-BE49-F238E27FC236}">
                    <a16:creationId xmlns:a16="http://schemas.microsoft.com/office/drawing/2014/main" id="{E0D9FC3B-55DC-220F-201D-6212CD031176}"/>
                  </a:ext>
                </a:extLst>
              </p:cNvPr>
              <p:cNvSpPr/>
              <p:nvPr/>
            </p:nvSpPr>
            <p:spPr>
              <a:xfrm>
                <a:off x="5421941" y="796794"/>
                <a:ext cx="68712" cy="76562"/>
              </a:xfrm>
              <a:custGeom>
                <a:avLst/>
                <a:gdLst>
                  <a:gd name="connsiteX0" fmla="*/ 0 w 68712"/>
                  <a:gd name="connsiteY0" fmla="*/ 56307 h 76562"/>
                  <a:gd name="connsiteX1" fmla="*/ 30124 w 68712"/>
                  <a:gd name="connsiteY1" fmla="*/ 33592 h 76562"/>
                  <a:gd name="connsiteX2" fmla="*/ 47303 w 68712"/>
                  <a:gd name="connsiteY2" fmla="*/ 33592 h 76562"/>
                  <a:gd name="connsiteX3" fmla="*/ 47303 w 68712"/>
                  <a:gd name="connsiteY3" fmla="*/ 29107 h 76562"/>
                  <a:gd name="connsiteX4" fmla="*/ 33130 w 68712"/>
                  <a:gd name="connsiteY4" fmla="*/ 12785 h 76562"/>
                  <a:gd name="connsiteX5" fmla="*/ 14185 w 68712"/>
                  <a:gd name="connsiteY5" fmla="*/ 28016 h 76562"/>
                  <a:gd name="connsiteX6" fmla="*/ 1912 w 68712"/>
                  <a:gd name="connsiteY6" fmla="*/ 22846 h 76562"/>
                  <a:gd name="connsiteX7" fmla="*/ 33130 w 68712"/>
                  <a:gd name="connsiteY7" fmla="*/ 0 h 76562"/>
                  <a:gd name="connsiteX8" fmla="*/ 61211 w 68712"/>
                  <a:gd name="connsiteY8" fmla="*/ 27476 h 76562"/>
                  <a:gd name="connsiteX9" fmla="*/ 61211 w 68712"/>
                  <a:gd name="connsiteY9" fmla="*/ 60529 h 76562"/>
                  <a:gd name="connsiteX10" fmla="*/ 63123 w 68712"/>
                  <a:gd name="connsiteY10" fmla="*/ 63107 h 76562"/>
                  <a:gd name="connsiteX11" fmla="*/ 68713 w 68712"/>
                  <a:gd name="connsiteY11" fmla="*/ 63107 h 76562"/>
                  <a:gd name="connsiteX12" fmla="*/ 68713 w 68712"/>
                  <a:gd name="connsiteY12" fmla="*/ 74800 h 76562"/>
                  <a:gd name="connsiteX13" fmla="*/ 60262 w 68712"/>
                  <a:gd name="connsiteY13" fmla="*/ 74800 h 76562"/>
                  <a:gd name="connsiteX14" fmla="*/ 50440 w 68712"/>
                  <a:gd name="connsiteY14" fmla="*/ 64186 h 76562"/>
                  <a:gd name="connsiteX15" fmla="*/ 50572 w 68712"/>
                  <a:gd name="connsiteY15" fmla="*/ 59556 h 76562"/>
                  <a:gd name="connsiteX16" fmla="*/ 49346 w 68712"/>
                  <a:gd name="connsiteY16" fmla="*/ 59556 h 76562"/>
                  <a:gd name="connsiteX17" fmla="*/ 22900 w 68712"/>
                  <a:gd name="connsiteY17" fmla="*/ 76563 h 76562"/>
                  <a:gd name="connsiteX18" fmla="*/ 0 w 68712"/>
                  <a:gd name="connsiteY18" fmla="*/ 56294 h 76562"/>
                  <a:gd name="connsiteX19" fmla="*/ 25761 w 68712"/>
                  <a:gd name="connsiteY19" fmla="*/ 63778 h 76562"/>
                  <a:gd name="connsiteX20" fmla="*/ 47303 w 68712"/>
                  <a:gd name="connsiteY20" fmla="*/ 44325 h 76562"/>
                  <a:gd name="connsiteX21" fmla="*/ 35174 w 68712"/>
                  <a:gd name="connsiteY21" fmla="*/ 44325 h 76562"/>
                  <a:gd name="connsiteX22" fmla="*/ 14185 w 68712"/>
                  <a:gd name="connsiteY22" fmla="*/ 55071 h 76562"/>
                  <a:gd name="connsiteX23" fmla="*/ 25774 w 68712"/>
                  <a:gd name="connsiteY23" fmla="*/ 63778 h 7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8712" h="76562">
                    <a:moveTo>
                      <a:pt x="0" y="56307"/>
                    </a:moveTo>
                    <a:cubicBezTo>
                      <a:pt x="0" y="41484"/>
                      <a:pt x="14317" y="33592"/>
                      <a:pt x="30124" y="33592"/>
                    </a:cubicBezTo>
                    <a:lnTo>
                      <a:pt x="47303" y="33592"/>
                    </a:lnTo>
                    <a:lnTo>
                      <a:pt x="47303" y="29107"/>
                    </a:lnTo>
                    <a:cubicBezTo>
                      <a:pt x="47303" y="18493"/>
                      <a:pt x="40764" y="12785"/>
                      <a:pt x="33130" y="12785"/>
                    </a:cubicBezTo>
                    <a:cubicBezTo>
                      <a:pt x="23730" y="12785"/>
                      <a:pt x="18549" y="17414"/>
                      <a:pt x="14185" y="28016"/>
                    </a:cubicBezTo>
                    <a:lnTo>
                      <a:pt x="1912" y="22846"/>
                    </a:lnTo>
                    <a:cubicBezTo>
                      <a:pt x="6684" y="8431"/>
                      <a:pt x="17996" y="0"/>
                      <a:pt x="33130" y="0"/>
                    </a:cubicBezTo>
                    <a:cubicBezTo>
                      <a:pt x="50032" y="0"/>
                      <a:pt x="61211" y="10062"/>
                      <a:pt x="61211" y="27476"/>
                    </a:cubicBezTo>
                    <a:lnTo>
                      <a:pt x="61211" y="60529"/>
                    </a:lnTo>
                    <a:cubicBezTo>
                      <a:pt x="61211" y="62160"/>
                      <a:pt x="61897" y="63107"/>
                      <a:pt x="63123" y="63107"/>
                    </a:cubicBezTo>
                    <a:lnTo>
                      <a:pt x="68713" y="63107"/>
                    </a:lnTo>
                    <a:lnTo>
                      <a:pt x="68713" y="74800"/>
                    </a:lnTo>
                    <a:lnTo>
                      <a:pt x="60262" y="74800"/>
                    </a:lnTo>
                    <a:cubicBezTo>
                      <a:pt x="53723" y="74800"/>
                      <a:pt x="50440" y="71131"/>
                      <a:pt x="50440" y="64186"/>
                    </a:cubicBezTo>
                    <a:lnTo>
                      <a:pt x="50572" y="59556"/>
                    </a:lnTo>
                    <a:lnTo>
                      <a:pt x="49346" y="59556"/>
                    </a:lnTo>
                    <a:cubicBezTo>
                      <a:pt x="44982" y="69210"/>
                      <a:pt x="35306" y="76563"/>
                      <a:pt x="22900" y="76563"/>
                    </a:cubicBezTo>
                    <a:cubicBezTo>
                      <a:pt x="10494" y="76563"/>
                      <a:pt x="0" y="68816"/>
                      <a:pt x="0" y="56294"/>
                    </a:cubicBezTo>
                    <a:close/>
                    <a:moveTo>
                      <a:pt x="25761" y="63778"/>
                    </a:moveTo>
                    <a:cubicBezTo>
                      <a:pt x="36123" y="63778"/>
                      <a:pt x="46208" y="53848"/>
                      <a:pt x="47303" y="44325"/>
                    </a:cubicBezTo>
                    <a:lnTo>
                      <a:pt x="35174" y="44325"/>
                    </a:lnTo>
                    <a:cubicBezTo>
                      <a:pt x="23454" y="44325"/>
                      <a:pt x="14185" y="47863"/>
                      <a:pt x="14185" y="55071"/>
                    </a:cubicBezTo>
                    <a:cubicBezTo>
                      <a:pt x="14185" y="60779"/>
                      <a:pt x="20052" y="63778"/>
                      <a:pt x="25774" y="63778"/>
                    </a:cubicBezTo>
                    <a:close/>
                  </a:path>
                </a:pathLst>
              </a:custGeom>
              <a:solidFill>
                <a:srgbClr val="231F20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</p:grpSp>
      <p:sp>
        <p:nvSpPr>
          <p:cNvPr id="30" name="Title 1">
            <a:extLst>
              <a:ext uri="{FF2B5EF4-FFF2-40B4-BE49-F238E27FC236}">
                <a16:creationId xmlns:a16="http://schemas.microsoft.com/office/drawing/2014/main" id="{9F8A4F85-2AFB-C55A-30C3-A92EBCF80C16}"/>
              </a:ext>
            </a:extLst>
          </p:cNvPr>
          <p:cNvSpPr txBox="1">
            <a:spLocks/>
          </p:cNvSpPr>
          <p:nvPr/>
        </p:nvSpPr>
        <p:spPr>
          <a:xfrm>
            <a:off x="540657" y="580494"/>
            <a:ext cx="2184893" cy="359073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ts val="3200"/>
              </a:lnSpc>
              <a:spcAft>
                <a:spcPts val="0"/>
              </a:spcAft>
              <a:buNone/>
              <a:defRPr sz="2800" b="0" i="0" spc="-70" baseline="0">
                <a:solidFill>
                  <a:schemeClr val="tx2"/>
                </a:solidFill>
                <a:latin typeface="Pulso Light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>
                <a:solidFill>
                  <a:schemeClr val="bg2"/>
                </a:solidFill>
              </a:rPr>
              <a:t>Tienda Personal</a:t>
            </a:r>
          </a:p>
        </p:txBody>
      </p:sp>
    </p:spTree>
    <p:extLst>
      <p:ext uri="{BB962C8B-B14F-4D97-AF65-F5344CB8AC3E}">
        <p14:creationId xmlns:p14="http://schemas.microsoft.com/office/powerpoint/2010/main" val="796672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771AC6-14B2-3163-C593-1C9A62199E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: esquinas redondeadas 57">
            <a:extLst>
              <a:ext uri="{FF2B5EF4-FFF2-40B4-BE49-F238E27FC236}">
                <a16:creationId xmlns:a16="http://schemas.microsoft.com/office/drawing/2014/main" id="{015D3583-68AA-68ED-4BA9-9D37031DE66D}"/>
              </a:ext>
            </a:extLst>
          </p:cNvPr>
          <p:cNvSpPr/>
          <p:nvPr/>
        </p:nvSpPr>
        <p:spPr bwMode="auto">
          <a:xfrm>
            <a:off x="3709129" y="2001543"/>
            <a:ext cx="4994601" cy="1234443"/>
          </a:xfrm>
          <a:prstGeom prst="roundRect">
            <a:avLst>
              <a:gd name="adj" fmla="val 6945"/>
            </a:avLst>
          </a:prstGeom>
          <a:solidFill>
            <a:schemeClr val="tx2"/>
          </a:soli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18" fontAlgn="auto">
              <a:spcBef>
                <a:spcPts val="0"/>
              </a:spcBef>
              <a:spcAft>
                <a:spcPts val="0"/>
              </a:spcAft>
            </a:pPr>
            <a:endParaRPr lang="es-AR" sz="1187">
              <a:solidFill>
                <a:srgbClr val="F0F0F0"/>
              </a:solidFill>
              <a:latin typeface="+mj-lt"/>
              <a:ea typeface="Roboto" panose="02000000000000000000" pitchFamily="2" charset="0"/>
            </a:endParaRPr>
          </a:p>
        </p:txBody>
      </p:sp>
      <p:sp>
        <p:nvSpPr>
          <p:cNvPr id="7" name="Rectángulo: esquinas redondeadas 57">
            <a:extLst>
              <a:ext uri="{FF2B5EF4-FFF2-40B4-BE49-F238E27FC236}">
                <a16:creationId xmlns:a16="http://schemas.microsoft.com/office/drawing/2014/main" id="{0ECEE8D5-484E-59E4-B506-92BC89E5819C}"/>
              </a:ext>
            </a:extLst>
          </p:cNvPr>
          <p:cNvSpPr/>
          <p:nvPr/>
        </p:nvSpPr>
        <p:spPr bwMode="auto">
          <a:xfrm>
            <a:off x="3709129" y="3341110"/>
            <a:ext cx="4994601" cy="1234443"/>
          </a:xfrm>
          <a:prstGeom prst="roundRect">
            <a:avLst>
              <a:gd name="adj" fmla="val 6945"/>
            </a:avLst>
          </a:prstGeom>
          <a:solidFill>
            <a:schemeClr val="tx2"/>
          </a:soli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18" fontAlgn="auto">
              <a:spcBef>
                <a:spcPts val="0"/>
              </a:spcBef>
              <a:spcAft>
                <a:spcPts val="0"/>
              </a:spcAft>
            </a:pPr>
            <a:endParaRPr lang="es-AR" sz="1187">
              <a:solidFill>
                <a:srgbClr val="F0F0F0"/>
              </a:solidFill>
              <a:latin typeface="+mj-lt"/>
              <a:ea typeface="Roboto" panose="02000000000000000000" pitchFamily="2" charset="0"/>
            </a:endParaRPr>
          </a:p>
        </p:txBody>
      </p:sp>
      <p:sp>
        <p:nvSpPr>
          <p:cNvPr id="8" name="Rectángulo: esquinas redondeadas 57">
            <a:extLst>
              <a:ext uri="{FF2B5EF4-FFF2-40B4-BE49-F238E27FC236}">
                <a16:creationId xmlns:a16="http://schemas.microsoft.com/office/drawing/2014/main" id="{F0F0E4CC-AD2E-4355-D9C3-B02C8E7AA989}"/>
              </a:ext>
            </a:extLst>
          </p:cNvPr>
          <p:cNvSpPr/>
          <p:nvPr/>
        </p:nvSpPr>
        <p:spPr bwMode="auto">
          <a:xfrm>
            <a:off x="3709129" y="675915"/>
            <a:ext cx="4994601" cy="1234443"/>
          </a:xfrm>
          <a:prstGeom prst="roundRect">
            <a:avLst>
              <a:gd name="adj" fmla="val 6945"/>
            </a:avLst>
          </a:prstGeom>
          <a:solidFill>
            <a:schemeClr val="tx2"/>
          </a:soli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18" fontAlgn="auto">
              <a:spcBef>
                <a:spcPts val="0"/>
              </a:spcBef>
              <a:spcAft>
                <a:spcPts val="0"/>
              </a:spcAft>
            </a:pPr>
            <a:endParaRPr lang="es-AR" sz="1187">
              <a:solidFill>
                <a:srgbClr val="F0F0F0"/>
              </a:solidFill>
              <a:latin typeface="+mj-lt"/>
              <a:ea typeface="Roboto" panose="02000000000000000000" pitchFamily="2" charset="0"/>
            </a:endParaRPr>
          </a:p>
        </p:txBody>
      </p:sp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D9909573-F90D-3FF9-D352-76798E8A3D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960645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5" imgW="378" imgH="379" progId="TCLayout.ActiveDocument.1">
                  <p:embed/>
                </p:oleObj>
              </mc:Choice>
              <mc:Fallback>
                <p:oleObj name="Diapositiva de think-cell" r:id="rId15" imgW="378" imgH="379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909573-F90D-3FF9-D352-76798E8A3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7F4D50CD-9287-8A70-0E33-8596FB332080}"/>
              </a:ext>
            </a:extLst>
          </p:cNvPr>
          <p:cNvSpPr txBox="1">
            <a:spLocks/>
          </p:cNvSpPr>
          <p:nvPr/>
        </p:nvSpPr>
        <p:spPr>
          <a:xfrm>
            <a:off x="540657" y="897028"/>
            <a:ext cx="2602636" cy="769441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noProof="0">
                <a:solidFill>
                  <a:schemeClr val="tx2"/>
                </a:solidFill>
                <a:latin typeface="Pulso Light" pitchFamily="2" charset="0"/>
              </a:rPr>
              <a:t>Potenciación de AI:</a:t>
            </a:r>
            <a:br>
              <a:rPr lang="es-ES_tradnl" sz="2600" b="0" noProof="0">
                <a:solidFill>
                  <a:schemeClr val="tx2"/>
                </a:solidFill>
                <a:latin typeface="Pulso Light" pitchFamily="2" charset="0"/>
              </a:rPr>
            </a:b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Contexto mundial</a:t>
            </a:r>
          </a:p>
        </p:txBody>
      </p:sp>
      <p:sp>
        <p:nvSpPr>
          <p:cNvPr id="4" name="Marcador de texto 8">
            <a:extLst>
              <a:ext uri="{FF2B5EF4-FFF2-40B4-BE49-F238E27FC236}">
                <a16:creationId xmlns:a16="http://schemas.microsoft.com/office/drawing/2014/main" id="{79F74BF7-09EE-D167-5FB2-34F1D3FC22E1}"/>
              </a:ext>
            </a:extLst>
          </p:cNvPr>
          <p:cNvSpPr txBox="1">
            <a:spLocks/>
          </p:cNvSpPr>
          <p:nvPr/>
        </p:nvSpPr>
        <p:spPr>
          <a:xfrm>
            <a:off x="540657" y="1815401"/>
            <a:ext cx="2747025" cy="5948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IA genera productividad, pero aún no logra un retorno claro ni una gestión eficiente de costos y calidad. </a:t>
            </a:r>
          </a:p>
        </p:txBody>
      </p:sp>
      <p:sp>
        <p:nvSpPr>
          <p:cNvPr id="19" name="Rectángulo redondeado 18">
            <a:extLst>
              <a:ext uri="{FF2B5EF4-FFF2-40B4-BE49-F238E27FC236}">
                <a16:creationId xmlns:a16="http://schemas.microsoft.com/office/drawing/2014/main" id="{9AD89C79-F4DC-1A4A-71CD-4D5D249803AC}"/>
              </a:ext>
            </a:extLst>
          </p:cNvPr>
          <p:cNvSpPr/>
          <p:nvPr/>
        </p:nvSpPr>
        <p:spPr>
          <a:xfrm>
            <a:off x="3840990" y="795085"/>
            <a:ext cx="996102" cy="996102"/>
          </a:xfrm>
          <a:prstGeom prst="roundRect">
            <a:avLst>
              <a:gd name="adj" fmla="val 10074"/>
            </a:avLst>
          </a:prstGeom>
          <a:blipFill dpi="0" rotWithShape="1">
            <a:blip r:embed="rId17"/>
            <a:srcRect/>
            <a:stretch>
              <a:fillRect/>
            </a:stretch>
          </a:blipFill>
          <a:ln w="28575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blipFill>
                <a:blip r:embed="rId18"/>
                <a:tile tx="0" ty="0" sx="100000" sy="100000" flip="none" algn="tl"/>
              </a:blipFill>
              <a:latin typeface="+mj-lt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92F3AC8B-2E97-887D-CB22-29FF94EB7B6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878334" y="1174026"/>
            <a:ext cx="1077030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s-AR" sz="800">
                <a:solidFill>
                  <a:srgbClr val="FFFFFF"/>
                </a:solidFill>
              </a:rPr>
              <a:t>de </a:t>
            </a:r>
            <a:r>
              <a:rPr lang="es-AR" sz="800" err="1">
                <a:solidFill>
                  <a:srgbClr val="FFFFFF"/>
                </a:solidFill>
              </a:rPr>
              <a:t>CIOs</a:t>
            </a:r>
            <a:r>
              <a:rPr lang="es-AR" sz="800">
                <a:solidFill>
                  <a:srgbClr val="FFFFFF"/>
                </a:solidFill>
              </a:rPr>
              <a:t> y líderes de IT no tienen procesos formales para rastrear la exactitud de la IA</a:t>
            </a:r>
          </a:p>
        </p:txBody>
      </p:sp>
      <p:graphicFrame>
        <p:nvGraphicFramePr>
          <p:cNvPr id="26" name="Chart 3">
            <a:extLst>
              <a:ext uri="{FF2B5EF4-FFF2-40B4-BE49-F238E27FC236}">
                <a16:creationId xmlns:a16="http://schemas.microsoft.com/office/drawing/2014/main" id="{48F296F5-ABFF-7808-3C11-3AD4026FD9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7974534"/>
              </p:ext>
            </p:extLst>
          </p:nvPr>
        </p:nvGraphicFramePr>
        <p:xfrm>
          <a:off x="4937142" y="945614"/>
          <a:ext cx="918492" cy="918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003FDF64-DF54-1437-B586-2CD636084A36}"/>
              </a:ext>
            </a:extLst>
          </p:cNvPr>
          <p:cNvSpPr txBox="1">
            <a:spLocks/>
          </p:cNvSpPr>
          <p:nvPr/>
        </p:nvSpPr>
        <p:spPr>
          <a:xfrm>
            <a:off x="5012614" y="789261"/>
            <a:ext cx="604333" cy="169277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100" b="0" spc="0" noProof="0">
                <a:solidFill>
                  <a:srgbClr val="FFFFFF"/>
                </a:solidFill>
              </a:rPr>
              <a:t>Procesos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38534C70-7573-E888-F35D-C9137C39C1D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01278" y="1314849"/>
            <a:ext cx="390220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/>
            <a:r>
              <a:rPr lang="es-AR" sz="1200" b="1">
                <a:solidFill>
                  <a:srgbClr val="FFFFFF"/>
                </a:solidFill>
                <a:latin typeface="Pulso" pitchFamily="2" charset="0"/>
              </a:rPr>
              <a:t>84%</a:t>
            </a:r>
          </a:p>
        </p:txBody>
      </p:sp>
      <p:sp>
        <p:nvSpPr>
          <p:cNvPr id="37" name="Rectángulo redondeado 36">
            <a:extLst>
              <a:ext uri="{FF2B5EF4-FFF2-40B4-BE49-F238E27FC236}">
                <a16:creationId xmlns:a16="http://schemas.microsoft.com/office/drawing/2014/main" id="{F071FA6B-A75D-97B6-CEED-9C83C0078AAC}"/>
              </a:ext>
            </a:extLst>
          </p:cNvPr>
          <p:cNvSpPr/>
          <p:nvPr/>
        </p:nvSpPr>
        <p:spPr>
          <a:xfrm>
            <a:off x="3840990" y="2125906"/>
            <a:ext cx="996102" cy="996102"/>
          </a:xfrm>
          <a:prstGeom prst="roundRect">
            <a:avLst>
              <a:gd name="adj" fmla="val 10074"/>
            </a:avLst>
          </a:prstGeom>
          <a:blipFill dpi="0" rotWithShape="1">
            <a:blip r:embed="rId20"/>
            <a:srcRect/>
            <a:stretch>
              <a:fillRect/>
            </a:stretch>
          </a:blipFill>
          <a:ln w="28575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blipFill>
                <a:blip r:embed="rId18"/>
                <a:tile tx="0" ty="0" sx="100000" sy="100000" flip="none" algn="tl"/>
              </a:blipFill>
              <a:latin typeface="+mj-lt"/>
            </a:endParaRP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C47CAD67-18A9-5D7F-0055-3B52506BCC6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878334" y="2489459"/>
            <a:ext cx="633603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s-AR" sz="800">
                <a:solidFill>
                  <a:srgbClr val="FFFFFF"/>
                </a:solidFill>
              </a:rPr>
              <a:t>Reportan ganancias de productividad con IA</a:t>
            </a:r>
          </a:p>
        </p:txBody>
      </p:sp>
      <p:graphicFrame>
        <p:nvGraphicFramePr>
          <p:cNvPr id="39" name="Chart 3">
            <a:extLst>
              <a:ext uri="{FF2B5EF4-FFF2-40B4-BE49-F238E27FC236}">
                <a16:creationId xmlns:a16="http://schemas.microsoft.com/office/drawing/2014/main" id="{9C61574E-3E96-3F41-241E-AA2DC6D52AA1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20050795"/>
              </p:ext>
            </p:extLst>
          </p:nvPr>
        </p:nvGraphicFramePr>
        <p:xfrm>
          <a:off x="4937142" y="2276435"/>
          <a:ext cx="918492" cy="918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40" name="Title 1">
            <a:extLst>
              <a:ext uri="{FF2B5EF4-FFF2-40B4-BE49-F238E27FC236}">
                <a16:creationId xmlns:a16="http://schemas.microsoft.com/office/drawing/2014/main" id="{155551DB-ACB1-CF44-DD77-EDBE9CBAD480}"/>
              </a:ext>
            </a:extLst>
          </p:cNvPr>
          <p:cNvSpPr txBox="1">
            <a:spLocks/>
          </p:cNvSpPr>
          <p:nvPr/>
        </p:nvSpPr>
        <p:spPr>
          <a:xfrm>
            <a:off x="5012614" y="2120082"/>
            <a:ext cx="1221488" cy="169277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100" b="0" spc="0" noProof="0">
                <a:solidFill>
                  <a:srgbClr val="FFFFFF"/>
                </a:solidFill>
              </a:rPr>
              <a:t>Gestión y métricas</a:t>
            </a: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4CBE6EC6-E929-5804-9A25-679FF3A8B8D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201278" y="2645670"/>
            <a:ext cx="390220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/>
            <a:r>
              <a:rPr lang="es-AR" sz="1200" b="1">
                <a:solidFill>
                  <a:srgbClr val="FFFFFF"/>
                </a:solidFill>
                <a:latin typeface="Pulso" pitchFamily="2" charset="0"/>
              </a:rPr>
              <a:t>74%</a:t>
            </a: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0D53B777-594F-BB66-CB12-4F7D9EF3C4A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650952" y="2612570"/>
            <a:ext cx="536314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s-AR" sz="800">
                <a:solidFill>
                  <a:srgbClr val="FFFFFF"/>
                </a:solidFill>
              </a:rPr>
              <a:t>Percibe un ROI por IA</a:t>
            </a:r>
          </a:p>
        </p:txBody>
      </p:sp>
      <p:graphicFrame>
        <p:nvGraphicFramePr>
          <p:cNvPr id="43" name="Chart 3">
            <a:extLst>
              <a:ext uri="{FF2B5EF4-FFF2-40B4-BE49-F238E27FC236}">
                <a16:creationId xmlns:a16="http://schemas.microsoft.com/office/drawing/2014/main" id="{DFF5877E-46CF-87C7-2838-BDCC7A8D43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39784274"/>
              </p:ext>
            </p:extLst>
          </p:nvPr>
        </p:nvGraphicFramePr>
        <p:xfrm>
          <a:off x="6709759" y="2276435"/>
          <a:ext cx="918492" cy="918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44" name="CuadroTexto 43">
            <a:extLst>
              <a:ext uri="{FF2B5EF4-FFF2-40B4-BE49-F238E27FC236}">
                <a16:creationId xmlns:a16="http://schemas.microsoft.com/office/drawing/2014/main" id="{26EF7A20-433E-3F91-1972-11E750D6BB1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973895" y="2645670"/>
            <a:ext cx="390220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/>
            <a:r>
              <a:rPr lang="es-AR" sz="1200" b="1">
                <a:solidFill>
                  <a:srgbClr val="FFFFFF"/>
                </a:solidFill>
                <a:latin typeface="Pulso" pitchFamily="2" charset="0"/>
              </a:rPr>
              <a:t>11%</a:t>
            </a:r>
          </a:p>
        </p:txBody>
      </p:sp>
      <p:sp>
        <p:nvSpPr>
          <p:cNvPr id="46" name="Rectángulo redondeado 45">
            <a:extLst>
              <a:ext uri="{FF2B5EF4-FFF2-40B4-BE49-F238E27FC236}">
                <a16:creationId xmlns:a16="http://schemas.microsoft.com/office/drawing/2014/main" id="{0121953A-8242-760D-F65C-3BD3F85660B1}"/>
              </a:ext>
            </a:extLst>
          </p:cNvPr>
          <p:cNvSpPr/>
          <p:nvPr/>
        </p:nvSpPr>
        <p:spPr>
          <a:xfrm>
            <a:off x="3840990" y="3456727"/>
            <a:ext cx="996102" cy="996102"/>
          </a:xfrm>
          <a:prstGeom prst="roundRect">
            <a:avLst>
              <a:gd name="adj" fmla="val 10074"/>
            </a:avLst>
          </a:prstGeom>
          <a:blipFill dpi="0" rotWithShape="1">
            <a:blip r:embed="rId23"/>
            <a:srcRect/>
            <a:stretch>
              <a:fillRect/>
            </a:stretch>
          </a:blipFill>
          <a:ln w="28575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blipFill>
                <a:blip r:embed="rId18"/>
                <a:tile tx="0" ty="0" sx="100000" sy="100000" flip="none" algn="tl"/>
              </a:blipFill>
              <a:latin typeface="+mj-lt"/>
            </a:endParaRP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33A90159-67A3-7643-D84A-48EF460105C3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878334" y="3820280"/>
            <a:ext cx="811740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s-AR" sz="800">
                <a:solidFill>
                  <a:srgbClr val="FFFFFF"/>
                </a:solidFill>
              </a:rPr>
              <a:t>De las organizaciones adoptaron agentes de IA</a:t>
            </a:r>
          </a:p>
        </p:txBody>
      </p:sp>
      <p:graphicFrame>
        <p:nvGraphicFramePr>
          <p:cNvPr id="48" name="Chart 3">
            <a:extLst>
              <a:ext uri="{FF2B5EF4-FFF2-40B4-BE49-F238E27FC236}">
                <a16:creationId xmlns:a16="http://schemas.microsoft.com/office/drawing/2014/main" id="{629287BA-2F1F-FFFB-A517-ACC0590CB7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6288529"/>
              </p:ext>
            </p:extLst>
          </p:nvPr>
        </p:nvGraphicFramePr>
        <p:xfrm>
          <a:off x="4937142" y="3607256"/>
          <a:ext cx="918492" cy="918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49" name="Title 1">
            <a:extLst>
              <a:ext uri="{FF2B5EF4-FFF2-40B4-BE49-F238E27FC236}">
                <a16:creationId xmlns:a16="http://schemas.microsoft.com/office/drawing/2014/main" id="{4B846CBD-CCAC-F463-936B-7ECAAEBDE799}"/>
              </a:ext>
            </a:extLst>
          </p:cNvPr>
          <p:cNvSpPr txBox="1">
            <a:spLocks/>
          </p:cNvSpPr>
          <p:nvPr/>
        </p:nvSpPr>
        <p:spPr>
          <a:xfrm>
            <a:off x="5012614" y="3450903"/>
            <a:ext cx="1550104" cy="169277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100" b="0" spc="0" noProof="0">
                <a:solidFill>
                  <a:srgbClr val="FFFFFF"/>
                </a:solidFill>
              </a:rPr>
              <a:t>Adopción y preparación</a:t>
            </a: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30086398-6656-309C-36CA-BE1757175CA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201278" y="3976491"/>
            <a:ext cx="390220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/>
            <a:r>
              <a:rPr lang="es-AR" sz="1200" b="1">
                <a:solidFill>
                  <a:srgbClr val="FFFFFF"/>
                </a:solidFill>
                <a:latin typeface="Pulso" pitchFamily="2" charset="0"/>
              </a:rPr>
              <a:t>17%</a:t>
            </a: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id="{A5FEC581-0C81-2780-4861-CC27FB51E3A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650951" y="3758725"/>
            <a:ext cx="918493" cy="61555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s-AR" sz="800">
                <a:solidFill>
                  <a:srgbClr val="FFFFFF"/>
                </a:solidFill>
              </a:rPr>
              <a:t>de los líderes de IT que exploran agentes de IA se enfocan en agentes conversacionales</a:t>
            </a:r>
          </a:p>
        </p:txBody>
      </p:sp>
      <p:graphicFrame>
        <p:nvGraphicFramePr>
          <p:cNvPr id="52" name="Chart 3">
            <a:extLst>
              <a:ext uri="{FF2B5EF4-FFF2-40B4-BE49-F238E27FC236}">
                <a16:creationId xmlns:a16="http://schemas.microsoft.com/office/drawing/2014/main" id="{E8A18C95-7B89-AECA-0FA8-F0313DB67A3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201184"/>
              </p:ext>
            </p:extLst>
          </p:nvPr>
        </p:nvGraphicFramePr>
        <p:xfrm>
          <a:off x="6709759" y="3607256"/>
          <a:ext cx="918492" cy="918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53" name="CuadroTexto 52">
            <a:extLst>
              <a:ext uri="{FF2B5EF4-FFF2-40B4-BE49-F238E27FC236}">
                <a16:creationId xmlns:a16="http://schemas.microsoft.com/office/drawing/2014/main" id="{57F3187F-A610-B78C-E442-849640C61A49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973895" y="3976491"/>
            <a:ext cx="390220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0" indent="0" defTabSz="6429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/>
            <a:r>
              <a:rPr lang="es-AR" sz="1200" b="1">
                <a:solidFill>
                  <a:srgbClr val="FFFFFF"/>
                </a:solidFill>
                <a:latin typeface="Pulso" pitchFamily="2" charset="0"/>
              </a:rPr>
              <a:t>88%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73C9568C-81C8-A505-A9BD-E592DC2A6672}"/>
              </a:ext>
            </a:extLst>
          </p:cNvPr>
          <p:cNvSpPr txBox="1"/>
          <p:nvPr/>
        </p:nvSpPr>
        <p:spPr>
          <a:xfrm>
            <a:off x="540657" y="4500793"/>
            <a:ext cx="569067" cy="9233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65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" panose="02000000000000000000" pitchFamily="2" charset="0"/>
              </a:defRPr>
            </a:lvl1pPr>
          </a:lstStyle>
          <a:p>
            <a:pPr>
              <a:spcAft>
                <a:spcPts val="200"/>
              </a:spcAft>
            </a:pPr>
            <a:r>
              <a:rPr lang="es-AR" sz="600">
                <a:latin typeface="Pulso Light" pitchFamily="2" charset="0"/>
              </a:rPr>
              <a:t>* </a:t>
            </a:r>
            <a:r>
              <a:rPr lang="es-AR" sz="600">
                <a:solidFill>
                  <a:srgbClr val="24272A">
                    <a:lumMod val="75000"/>
                    <a:lumOff val="25000"/>
                  </a:srgbClr>
                </a:solidFill>
                <a:latin typeface="Pulso Light" pitchFamily="2" charset="0"/>
                <a:cs typeface="Open Sans Light" panose="020B0306030504020204" pitchFamily="34" charset="0"/>
              </a:rPr>
              <a:t>Fuente Gartner</a:t>
            </a:r>
          </a:p>
        </p:txBody>
      </p:sp>
      <p:sp>
        <p:nvSpPr>
          <p:cNvPr id="17" name="Marcador de texto 8">
            <a:extLst>
              <a:ext uri="{FF2B5EF4-FFF2-40B4-BE49-F238E27FC236}">
                <a16:creationId xmlns:a16="http://schemas.microsoft.com/office/drawing/2014/main" id="{8687F140-CB85-7CA8-92C3-4E7DBF2417DA}"/>
              </a:ext>
            </a:extLst>
          </p:cNvPr>
          <p:cNvSpPr txBox="1">
            <a:spLocks/>
          </p:cNvSpPr>
          <p:nvPr/>
        </p:nvSpPr>
        <p:spPr>
          <a:xfrm>
            <a:off x="540657" y="2806908"/>
            <a:ext cx="2747025" cy="39171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Por cada herramienta de IA adquirida, existen </a:t>
            </a:r>
            <a:r>
              <a:rPr lang="es-ES_tradnl" sz="1100" b="1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10 costos ocultos asociados</a:t>
            </a:r>
            <a:r>
              <a:rPr lang="es-ES_tradnl" sz="1100" noProof="0">
                <a:solidFill>
                  <a:schemeClr val="bg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9BBB27CA-65A7-0646-392A-7B24CC6F6084}"/>
              </a:ext>
            </a:extLst>
          </p:cNvPr>
          <p:cNvCxnSpPr>
            <a:cxnSpLocks/>
          </p:cNvCxnSpPr>
          <p:nvPr/>
        </p:nvCxnSpPr>
        <p:spPr>
          <a:xfrm>
            <a:off x="540657" y="2670784"/>
            <a:ext cx="2651007" cy="0"/>
          </a:xfrm>
          <a:prstGeom prst="line">
            <a:avLst/>
          </a:prstGeom>
          <a:ln w="12700" cap="rnd">
            <a:solidFill>
              <a:schemeClr val="tx2">
                <a:alpha val="49589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26498CE6-69E0-A5F3-3BB2-E0843AE869EF}"/>
              </a:ext>
            </a:extLst>
          </p:cNvPr>
          <p:cNvCxnSpPr>
            <a:cxnSpLocks/>
          </p:cNvCxnSpPr>
          <p:nvPr/>
        </p:nvCxnSpPr>
        <p:spPr>
          <a:xfrm>
            <a:off x="540657" y="3334743"/>
            <a:ext cx="2651007" cy="0"/>
          </a:xfrm>
          <a:prstGeom prst="line">
            <a:avLst/>
          </a:prstGeom>
          <a:ln w="12700" cap="rnd">
            <a:solidFill>
              <a:schemeClr val="tx2">
                <a:alpha val="49589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7382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42D1F6-2E39-7DCA-6598-7279FDF178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7" descr="A computer with a screen showing a blue couch and white text&#10;&#10;AI-generated content may be incorrect.">
            <a:extLst>
              <a:ext uri="{FF2B5EF4-FFF2-40B4-BE49-F238E27FC236}">
                <a16:creationId xmlns:a16="http://schemas.microsoft.com/office/drawing/2014/main" id="{F5BAECBC-0B56-E547-1A7B-3B87216577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2501" y="1299394"/>
            <a:ext cx="4239000" cy="2791914"/>
          </a:xfrm>
          <a:prstGeom prst="rect">
            <a:avLst/>
          </a:prstGeom>
          <a:ln>
            <a:noFill/>
          </a:ln>
          <a:effectLst>
            <a:outerShdw blurRad="729632" dist="50800" dir="5400000" sx="89000" sy="89000" algn="ctr" rotWithShape="0">
              <a:srgbClr val="FFFFFF">
                <a:alpha val="30000"/>
              </a:srgbClr>
            </a:outerShdw>
          </a:effectLst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37A45B0E-B1AD-5F4D-7CD9-848E2830CF37}"/>
              </a:ext>
            </a:extLst>
          </p:cNvPr>
          <p:cNvSpPr txBox="1"/>
          <p:nvPr/>
        </p:nvSpPr>
        <p:spPr>
          <a:xfrm>
            <a:off x="6527935" y="1735201"/>
            <a:ext cx="1805230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AR"/>
            </a:defPPr>
            <a:lvl1pPr algn="ctr">
              <a:defRPr sz="1600">
                <a:solidFill>
                  <a:srgbClr val="F5F5F5">
                    <a:lumMod val="25000"/>
                  </a:srgbClr>
                </a:solidFill>
                <a:latin typeface="Montserrat" panose="00000500000000000000" pitchFamily="2" charset="0"/>
                <a:cs typeface="Segoe UI" panose="020B0502040204020203" pitchFamily="34" charset="0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500" b="1">
                <a:solidFill>
                  <a:srgbClr val="FFFFFF"/>
                </a:solidFill>
                <a:latin typeface="Pulso" pitchFamily="2" charset="0"/>
              </a:rPr>
              <a:t>+16pp.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500">
                <a:solidFill>
                  <a:srgbClr val="FFFFFF"/>
                </a:solidFill>
                <a:latin typeface="Pulso Light" pitchFamily="2" charset="0"/>
              </a:rPr>
              <a:t>NPS COMPRADOR EN TIENDA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9475DCC8-C45D-AA17-BF85-3253064C4C09}"/>
              </a:ext>
            </a:extLst>
          </p:cNvPr>
          <p:cNvSpPr txBox="1"/>
          <p:nvPr/>
        </p:nvSpPr>
        <p:spPr>
          <a:xfrm>
            <a:off x="6718437" y="3005358"/>
            <a:ext cx="143693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AR"/>
            </a:defPPr>
            <a:lvl1pPr algn="ctr">
              <a:defRPr sz="2000" b="1">
                <a:solidFill>
                  <a:srgbClr val="F5F5F5">
                    <a:lumMod val="25000"/>
                  </a:srgbClr>
                </a:solidFill>
                <a:latin typeface="Montserrat" panose="00000500000000000000" pitchFamily="2" charset="0"/>
                <a:cs typeface="Segoe UI" panose="020B0502040204020203" pitchFamily="34" charset="0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500">
                <a:solidFill>
                  <a:srgbClr val="FFFFFF"/>
                </a:solidFill>
                <a:latin typeface="Pulso" pitchFamily="2" charset="0"/>
              </a:rPr>
              <a:t>+17PP </a:t>
            </a:r>
            <a:r>
              <a:rPr lang="es-AR" sz="1500" b="0">
                <a:solidFill>
                  <a:srgbClr val="FFFFFF"/>
                </a:solidFill>
                <a:latin typeface="Pulso Light" pitchFamily="2" charset="0"/>
              </a:rPr>
              <a:t>FIDELIDAD</a:t>
            </a:r>
            <a:r>
              <a:rPr lang="es-AR" sz="1500">
                <a:solidFill>
                  <a:srgbClr val="FFFFFF"/>
                </a:solidFill>
                <a:latin typeface="Pulso" pitchFamily="2" charset="0"/>
              </a:rPr>
              <a:t> 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148B8242-0281-1842-181F-8CD56B300D45}"/>
              </a:ext>
            </a:extLst>
          </p:cNvPr>
          <p:cNvSpPr txBox="1"/>
          <p:nvPr/>
        </p:nvSpPr>
        <p:spPr>
          <a:xfrm>
            <a:off x="3390182" y="4038315"/>
            <a:ext cx="2424022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AR"/>
            </a:defPPr>
            <a:lvl1pPr algn="ctr">
              <a:defRPr sz="2000" b="1">
                <a:solidFill>
                  <a:srgbClr val="F5F5F5">
                    <a:lumMod val="25000"/>
                  </a:srgbClr>
                </a:solidFill>
                <a:latin typeface="Montserrat" panose="00000500000000000000" pitchFamily="2" charset="0"/>
                <a:cs typeface="Segoe UI" panose="020B0502040204020203" pitchFamily="34" charset="0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500" b="0">
                <a:solidFill>
                  <a:srgbClr val="FFFFFF"/>
                </a:solidFill>
                <a:latin typeface="Pulso Light" pitchFamily="2" charset="0"/>
              </a:rPr>
              <a:t>Lanzamiento </a:t>
            </a:r>
            <a:r>
              <a:rPr lang="es-AR" sz="1500">
                <a:solidFill>
                  <a:srgbClr val="FFFFFF"/>
                </a:solidFill>
                <a:latin typeface="Pulso" pitchFamily="2" charset="0"/>
              </a:rPr>
              <a:t>Enero 2026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FBE7F47-7C4A-B663-F7D0-757D4A32BA08}"/>
              </a:ext>
            </a:extLst>
          </p:cNvPr>
          <p:cNvSpPr txBox="1">
            <a:spLocks/>
          </p:cNvSpPr>
          <p:nvPr/>
        </p:nvSpPr>
        <p:spPr>
          <a:xfrm>
            <a:off x="698742" y="761336"/>
            <a:ext cx="7746518" cy="553998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ts val="3200"/>
              </a:lnSpc>
              <a:spcAft>
                <a:spcPts val="0"/>
              </a:spcAft>
              <a:buNone/>
              <a:defRPr sz="2800" b="0" i="0" spc="-70" baseline="0">
                <a:solidFill>
                  <a:schemeClr val="tx2"/>
                </a:solidFill>
                <a:latin typeface="Pulso Light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800" spc="0">
                <a:solidFill>
                  <a:srgbClr val="FFFFFF"/>
                </a:solidFill>
                <a:latin typeface="Pulso" pitchFamily="2" charset="0"/>
              </a:rPr>
              <a:t>Evolucionamos hacia un Marketplace (3P) ampliando la oferta</a:t>
            </a:r>
            <a:br>
              <a:rPr lang="es-ES_tradnl" sz="1800" spc="0">
                <a:solidFill>
                  <a:srgbClr val="FFFFFF"/>
                </a:solidFill>
                <a:latin typeface="Pulso" pitchFamily="2" charset="0"/>
              </a:rPr>
            </a:br>
            <a:r>
              <a:rPr lang="es-ES_tradnl" sz="1800" spc="0">
                <a:solidFill>
                  <a:srgbClr val="FFFFFF"/>
                </a:solidFill>
                <a:latin typeface="Pulso" pitchFamily="2" charset="0"/>
              </a:rPr>
              <a:t>y potenciando nuestra propuesta de valor al cliente</a:t>
            </a:r>
          </a:p>
        </p:txBody>
      </p:sp>
      <p:sp>
        <p:nvSpPr>
          <p:cNvPr id="3" name="Rectángulo redondeado 2">
            <a:extLst>
              <a:ext uri="{FF2B5EF4-FFF2-40B4-BE49-F238E27FC236}">
                <a16:creationId xmlns:a16="http://schemas.microsoft.com/office/drawing/2014/main" id="{962F2108-1D96-9945-746E-56FA11CEBA86}"/>
              </a:ext>
            </a:extLst>
          </p:cNvPr>
          <p:cNvSpPr/>
          <p:nvPr/>
        </p:nvSpPr>
        <p:spPr>
          <a:xfrm>
            <a:off x="3199006" y="3981091"/>
            <a:ext cx="2745988" cy="431322"/>
          </a:xfrm>
          <a:prstGeom prst="roundRect">
            <a:avLst>
              <a:gd name="adj" fmla="val 50000"/>
            </a:avLst>
          </a:prstGeom>
          <a:noFill/>
          <a:ln w="6350" cap="rnd" cmpd="sng">
            <a:solidFill>
              <a:srgbClr val="FFFFFF">
                <a:alpha val="75000"/>
              </a:srgbClr>
            </a:solidFill>
            <a:prstDash val="sysDot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>
              <a:spcBef>
                <a:spcPts val="1000"/>
              </a:spcBef>
            </a:pPr>
            <a:endParaRPr lang="es-ES_tradnl" sz="1400" b="1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4483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8B9F195D-04F8-0257-0A68-FD3DDC08939B}"/>
              </a:ext>
            </a:extLst>
          </p:cNvPr>
          <p:cNvSpPr/>
          <p:nvPr/>
        </p:nvSpPr>
        <p:spPr>
          <a:xfrm>
            <a:off x="540657" y="1579308"/>
            <a:ext cx="1404649" cy="1665086"/>
          </a:xfrm>
          <a:prstGeom prst="roundRect">
            <a:avLst>
              <a:gd name="adj" fmla="val 2806"/>
            </a:avLst>
          </a:prstGeom>
          <a:solidFill>
            <a:schemeClr val="accent2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5" name="Marcador de texto 8">
            <a:extLst>
              <a:ext uri="{FF2B5EF4-FFF2-40B4-BE49-F238E27FC236}">
                <a16:creationId xmlns:a16="http://schemas.microsoft.com/office/drawing/2014/main" id="{485F0BE8-BC7F-1688-1D75-76DBE8732558}"/>
              </a:ext>
            </a:extLst>
          </p:cNvPr>
          <p:cNvSpPr txBox="1">
            <a:spLocks/>
          </p:cNvSpPr>
          <p:nvPr/>
        </p:nvSpPr>
        <p:spPr>
          <a:xfrm>
            <a:off x="757436" y="1807870"/>
            <a:ext cx="1106669" cy="123681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es-ES_tradnl" sz="1600" noProof="0">
                <a:solidFill>
                  <a:srgbClr val="FFFFFF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lcance</a:t>
            </a:r>
            <a:endParaRPr lang="es-ES_tradnl" sz="1000" noProof="0">
              <a:solidFill>
                <a:srgbClr val="FFFFFF"/>
              </a:solidFill>
              <a:latin typeface="Pulso" pitchFamily="2" charset="0"/>
              <a:ea typeface="Roboto" panose="02000000000000000000" pitchFamily="2" charset="0"/>
              <a:cs typeface="Open Sans" pitchFamily="2" charset="0"/>
            </a:endParaRPr>
          </a:p>
          <a:p>
            <a:pPr marL="0" indent="0" defTabSz="642967" fontAlgn="auto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es-ES_tradnl" sz="1050" noProof="0">
                <a:solidFill>
                  <a:srgbClr val="FFFFFF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Ofrecer al segmento B2B, B2C y TECO una solución de autogeneración de energía solar</a:t>
            </a:r>
            <a:r>
              <a:rPr lang="es-ES_tradnl" sz="1050">
                <a:solidFill>
                  <a:srgbClr val="FFFFFF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.</a:t>
            </a:r>
            <a:endParaRPr lang="es-ES_tradnl" sz="1050" noProof="0">
              <a:solidFill>
                <a:srgbClr val="FFFFFF"/>
              </a:solidFill>
              <a:latin typeface="Pulso Light" pitchFamily="2" charset="0"/>
              <a:ea typeface="Roboto" panose="02000000000000000000" pitchFamily="2" charset="0"/>
              <a:cs typeface="Open Sans" pitchFamily="2" charset="0"/>
            </a:endParaRPr>
          </a:p>
        </p:txBody>
      </p:sp>
      <p:graphicFrame>
        <p:nvGraphicFramePr>
          <p:cNvPr id="7" name="Tabla 6">
            <a:extLst>
              <a:ext uri="{FF2B5EF4-FFF2-40B4-BE49-F238E27FC236}">
                <a16:creationId xmlns:a16="http://schemas.microsoft.com/office/drawing/2014/main" id="{5AACEEEF-2B04-8C30-DFCC-493D3AD1BF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0113689"/>
              </p:ext>
            </p:extLst>
          </p:nvPr>
        </p:nvGraphicFramePr>
        <p:xfrm>
          <a:off x="2215185" y="1579308"/>
          <a:ext cx="6242126" cy="2991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45074">
                  <a:extLst>
                    <a:ext uri="{9D8B030D-6E8A-4147-A177-3AD203B41FA5}">
                      <a16:colId xmlns:a16="http://schemas.microsoft.com/office/drawing/2014/main" val="1203848649"/>
                    </a:ext>
                  </a:extLst>
                </a:gridCol>
                <a:gridCol w="3697052">
                  <a:extLst>
                    <a:ext uri="{9D8B030D-6E8A-4147-A177-3AD203B41FA5}">
                      <a16:colId xmlns:a16="http://schemas.microsoft.com/office/drawing/2014/main" val="3300211501"/>
                    </a:ext>
                  </a:extLst>
                </a:gridCol>
              </a:tblGrid>
              <a:tr h="245622">
                <a:tc>
                  <a:txBody>
                    <a:bodyPr/>
                    <a:lstStyle/>
                    <a:p>
                      <a:pPr algn="l"/>
                      <a:r>
                        <a:rPr lang="es-ES_tradnl" sz="1000" b="0" i="0">
                          <a:solidFill>
                            <a:schemeClr val="bg2"/>
                          </a:solidFill>
                          <a:latin typeface="Pulso" pitchFamily="2" charset="0"/>
                        </a:rPr>
                        <a:t>Sinergias Relevadas</a:t>
                      </a:r>
                    </a:p>
                  </a:txBody>
                  <a:tcPr marL="108000" marR="216000" marT="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ES_tradnl" sz="1000" b="0" i="0">
                          <a:solidFill>
                            <a:schemeClr val="bg2"/>
                          </a:solidFill>
                          <a:latin typeface="Pulso" pitchFamily="2" charset="0"/>
                        </a:rPr>
                        <a:t>Incubar</a:t>
                      </a:r>
                    </a:p>
                  </a:txBody>
                  <a:tcPr marL="108000" marR="36000" marT="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1606438"/>
                  </a:ext>
                </a:extLst>
              </a:tr>
              <a:tr h="874579">
                <a:tc>
                  <a:txBody>
                    <a:bodyPr/>
                    <a:lstStyle/>
                    <a:p>
                      <a:pPr algn="l">
                        <a:spcAft>
                          <a:spcPts val="400"/>
                        </a:spcAft>
                      </a:pP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Despliegue en </a:t>
                      </a: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" pitchFamily="2" charset="0"/>
                        </a:rPr>
                        <a:t>4 sitios Teco</a:t>
                      </a: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: ahorros de energía de </a:t>
                      </a: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" pitchFamily="2" charset="0"/>
                        </a:rPr>
                        <a:t>30%</a:t>
                      </a: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 del consumo total:</a:t>
                      </a:r>
                    </a:p>
                    <a:p>
                      <a:pPr algn="l">
                        <a:spcAft>
                          <a:spcPts val="400"/>
                        </a:spcAft>
                      </a:pP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Representa ahorro </a:t>
                      </a: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" pitchFamily="2" charset="0"/>
                        </a:rPr>
                        <a:t>31% en la factura</a:t>
                      </a:r>
                    </a:p>
                    <a:p>
                      <a:pPr algn="l">
                        <a:spcAft>
                          <a:spcPts val="400"/>
                        </a:spcAft>
                      </a:pP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Promedio de repago </a:t>
                      </a: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" pitchFamily="2" charset="0"/>
                        </a:rPr>
                        <a:t>3 años</a:t>
                      </a:r>
                    </a:p>
                  </a:txBody>
                  <a:tcPr marL="108000" marR="216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400"/>
                        </a:spcAft>
                      </a:pP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" pitchFamily="2" charset="0"/>
                        </a:rPr>
                        <a:t>B2B: </a:t>
                      </a: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Escalar la venta consultiva y de equipamiento. </a:t>
                      </a:r>
                      <a:r>
                        <a:rPr lang="es-ES_tradnl" sz="1000" b="0" i="0">
                          <a:solidFill>
                            <a:schemeClr val="accent1"/>
                          </a:solidFill>
                          <a:latin typeface="Pulso" pitchFamily="2" charset="0"/>
                        </a:rPr>
                        <a:t>En proceso.</a:t>
                      </a:r>
                    </a:p>
                    <a:p>
                      <a:pPr algn="l">
                        <a:spcAft>
                          <a:spcPts val="400"/>
                        </a:spcAft>
                      </a:pP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" pitchFamily="2" charset="0"/>
                        </a:rPr>
                        <a:t>TECO: </a:t>
                      </a: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Escalar en edificios elegibles. </a:t>
                      </a:r>
                    </a:p>
                    <a:p>
                      <a:pPr algn="l">
                        <a:spcAft>
                          <a:spcPts val="400"/>
                        </a:spcAft>
                      </a:pP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" pitchFamily="2" charset="0"/>
                        </a:rPr>
                        <a:t>40 edificios 2026</a:t>
                      </a:r>
                    </a:p>
                  </a:txBody>
                  <a:tcPr marL="108000" marR="36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963716"/>
                  </a:ext>
                </a:extLst>
              </a:tr>
              <a:tr h="826662">
                <a:tc>
                  <a:txBody>
                    <a:bodyPr/>
                    <a:lstStyle/>
                    <a:p>
                      <a:pPr algn="l">
                        <a:spcAft>
                          <a:spcPts val="400"/>
                        </a:spcAft>
                      </a:pP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Existe una conveniencia de realizar  </a:t>
                      </a: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" pitchFamily="2" charset="0"/>
                        </a:rPr>
                        <a:t>Parque Comunitario Virtual</a:t>
                      </a: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 para demanda Teco. </a:t>
                      </a:r>
                    </a:p>
                    <a:p>
                      <a:pPr algn="l">
                        <a:spcAft>
                          <a:spcPts val="400"/>
                        </a:spcAft>
                      </a:pP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La Regulación lo permite</a:t>
                      </a:r>
                    </a:p>
                  </a:txBody>
                  <a:tcPr marL="108000" marR="216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400"/>
                        </a:spcAft>
                      </a:pP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" pitchFamily="2" charset="0"/>
                        </a:rPr>
                        <a:t>Locación para trial disponible</a:t>
                      </a: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, caso de negocio en análisis.</a:t>
                      </a:r>
                    </a:p>
                    <a:p>
                      <a:pPr algn="l">
                        <a:spcAft>
                          <a:spcPts val="400"/>
                        </a:spcAft>
                      </a:pP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Evaluar impacto en el operador local de energía. </a:t>
                      </a:r>
                    </a:p>
                    <a:p>
                      <a:pPr algn="l">
                        <a:spcAft>
                          <a:spcPts val="400"/>
                        </a:spcAft>
                      </a:pP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Luego de los resultados se evaluará como escalar.</a:t>
                      </a:r>
                    </a:p>
                  </a:txBody>
                  <a:tcPr marL="108000" marR="36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7424246"/>
                  </a:ext>
                </a:extLst>
              </a:tr>
              <a:tr h="874579">
                <a:tc>
                  <a:txBody>
                    <a:bodyPr/>
                    <a:lstStyle/>
                    <a:p>
                      <a:pPr algn="l">
                        <a:spcAft>
                          <a:spcPts val="400"/>
                        </a:spcAft>
                      </a:pP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Se analizó la factibilidad de negocio de Teco como un operador de cara a los segmentos B2C.</a:t>
                      </a:r>
                    </a:p>
                  </a:txBody>
                  <a:tcPr marL="108000" marR="216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400"/>
                        </a:spcAft>
                      </a:pP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Regulación restrictiva. Venta de energía solo para operadores.</a:t>
                      </a:r>
                    </a:p>
                    <a:p>
                      <a:pPr algn="l">
                        <a:spcAft>
                          <a:spcPts val="400"/>
                        </a:spcAft>
                      </a:pP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Capitalizar la experiencia de Teco en proyectos propios y B2B para trasladarlo a clientes B2C.</a:t>
                      </a:r>
                    </a:p>
                    <a:p>
                      <a:pPr algn="l">
                        <a:spcAft>
                          <a:spcPts val="400"/>
                        </a:spcAft>
                      </a:pPr>
                      <a:r>
                        <a:rPr lang="es-ES_tradnl" sz="10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" pitchFamily="2" charset="0"/>
                        </a:rPr>
                        <a:t>Evolución de la normativa y precios tarifas.</a:t>
                      </a:r>
                    </a:p>
                  </a:txBody>
                  <a:tcPr marL="108000" marR="36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4600266"/>
                  </a:ext>
                </a:extLst>
              </a:tr>
            </a:tbl>
          </a:graphicData>
        </a:graphic>
      </p:graphicFrame>
      <p:sp>
        <p:nvSpPr>
          <p:cNvPr id="14" name="Title 1">
            <a:extLst>
              <a:ext uri="{FF2B5EF4-FFF2-40B4-BE49-F238E27FC236}">
                <a16:creationId xmlns:a16="http://schemas.microsoft.com/office/drawing/2014/main" id="{B05B2BFE-0CF2-B6B6-BCDF-85D762E323E7}"/>
              </a:ext>
            </a:extLst>
          </p:cNvPr>
          <p:cNvSpPr txBox="1">
            <a:spLocks/>
          </p:cNvSpPr>
          <p:nvPr/>
        </p:nvSpPr>
        <p:spPr>
          <a:xfrm>
            <a:off x="540657" y="606143"/>
            <a:ext cx="5682244" cy="718145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tx2"/>
                </a:solidFill>
                <a:latin typeface="Pulso Light" pitchFamily="2" charset="0"/>
              </a:rPr>
              <a:t>Energía Renovable</a:t>
            </a:r>
          </a:p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bg2"/>
                </a:solidFill>
                <a:latin typeface="Pulso Light" pitchFamily="2" charset="0"/>
              </a:rPr>
              <a:t>Generación Distribuida · Paneles Solares</a:t>
            </a:r>
          </a:p>
        </p:txBody>
      </p:sp>
    </p:spTree>
    <p:extLst>
      <p:ext uri="{BB962C8B-B14F-4D97-AF65-F5344CB8AC3E}">
        <p14:creationId xmlns:p14="http://schemas.microsoft.com/office/powerpoint/2010/main" val="3769782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CB9C4A-7890-DAE6-1AFA-0569DFAC72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Marcador de texto 8">
            <a:extLst>
              <a:ext uri="{FF2B5EF4-FFF2-40B4-BE49-F238E27FC236}">
                <a16:creationId xmlns:a16="http://schemas.microsoft.com/office/drawing/2014/main" id="{34F17C57-D34F-CE2D-668C-06D5405C6847}"/>
              </a:ext>
            </a:extLst>
          </p:cNvPr>
          <p:cNvSpPr txBox="1">
            <a:spLocks/>
          </p:cNvSpPr>
          <p:nvPr/>
        </p:nvSpPr>
        <p:spPr>
          <a:xfrm>
            <a:off x="1234837" y="1573440"/>
            <a:ext cx="3700077" cy="31370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100" spc="-15">
                <a:solidFill>
                  <a:schemeClr val="bg2"/>
                </a:solidFill>
                <a:latin typeface="Pulso" pitchFamily="2" charset="0"/>
                <a:ea typeface="Open Sans Light"/>
                <a:cs typeface="Open Sans Light"/>
              </a:rPr>
              <a:t>Excelencia en la Experiencia del Cliente: </a:t>
            </a:r>
            <a:r>
              <a:rPr lang="es-AR" sz="1100" spc="-15">
                <a:latin typeface="Pulso Light" pitchFamily="2" charset="0"/>
                <a:ea typeface="Open Sans Light"/>
                <a:cs typeface="Open Sans Light"/>
              </a:rPr>
              <a:t>socio confiable y cercano con alto NPS: calidad en integración, soporte premium y ejecución impecable.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100" spc="-15">
                <a:solidFill>
                  <a:schemeClr val="bg2"/>
                </a:solidFill>
                <a:latin typeface="Pulso" pitchFamily="2" charset="0"/>
                <a:ea typeface="Open Sans Light"/>
                <a:cs typeface="Open Sans Light"/>
              </a:rPr>
              <a:t>Evolución hacia Integración de Alto Valor: </a:t>
            </a:r>
            <a:r>
              <a:rPr lang="es-AR" sz="1100" spc="-15">
                <a:latin typeface="Pulso Light" pitchFamily="2" charset="0"/>
                <a:ea typeface="Open Sans Light"/>
                <a:cs typeface="Open Sans Light"/>
              </a:rPr>
              <a:t>proyectos de alta integración (llave en mano), soluciones propias, </a:t>
            </a:r>
            <a:r>
              <a:rPr lang="es-AR" sz="1100" spc="-15" err="1">
                <a:latin typeface="Pulso Light" pitchFamily="2" charset="0"/>
                <a:ea typeface="Open Sans Light"/>
                <a:cs typeface="Open Sans Light"/>
              </a:rPr>
              <a:t>partners</a:t>
            </a:r>
            <a:r>
              <a:rPr lang="es-AR" sz="1100" spc="-15">
                <a:latin typeface="Pulso Light" pitchFamily="2" charset="0"/>
                <a:ea typeface="Open Sans Light"/>
                <a:cs typeface="Open Sans Light"/>
              </a:rPr>
              <a:t> globales y plataformas específicas), con verticalización en Agro, </a:t>
            </a:r>
            <a:r>
              <a:rPr lang="es-AR" sz="1100" spc="-15" err="1">
                <a:latin typeface="Pulso Light" pitchFamily="2" charset="0"/>
                <a:ea typeface="Open Sans Light"/>
                <a:cs typeface="Open Sans Light"/>
              </a:rPr>
              <a:t>Oil</a:t>
            </a:r>
            <a:r>
              <a:rPr lang="es-AR" sz="1100" spc="-15">
                <a:latin typeface="Pulso Light" pitchFamily="2" charset="0"/>
                <a:ea typeface="Open Sans Light"/>
                <a:cs typeface="Open Sans Light"/>
              </a:rPr>
              <a:t> &amp; Gas, Minería, Finanzas y Gobierno.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100" spc="-15">
                <a:solidFill>
                  <a:schemeClr val="bg2"/>
                </a:solidFill>
                <a:latin typeface="Pulso" pitchFamily="2" charset="0"/>
                <a:ea typeface="Open Sans Light"/>
                <a:cs typeface="Open Sans Light"/>
              </a:rPr>
              <a:t>Operador Estratégico en Infraestructura Crítica p/AI y Ecosistemas: </a:t>
            </a:r>
            <a:r>
              <a:rPr lang="es-AR" sz="1100" spc="-15">
                <a:latin typeface="Pulso Light" pitchFamily="2" charset="0"/>
                <a:ea typeface="Open Sans Light"/>
                <a:cs typeface="Open Sans Light"/>
              </a:rPr>
              <a:t>posicionamiento en infraestructura crítica nacional/regional (</a:t>
            </a:r>
            <a:r>
              <a:rPr lang="es-AR" sz="1100" spc="-15" err="1">
                <a:latin typeface="Pulso Light" pitchFamily="2" charset="0"/>
                <a:ea typeface="Open Sans Light"/>
                <a:cs typeface="Open Sans Light"/>
              </a:rPr>
              <a:t>DCs</a:t>
            </a:r>
            <a:r>
              <a:rPr lang="es-AR" sz="1100" spc="-15">
                <a:latin typeface="Pulso Light" pitchFamily="2" charset="0"/>
                <a:ea typeface="Open Sans Light"/>
                <a:cs typeface="Open Sans Light"/>
              </a:rPr>
              <a:t> AI-</a:t>
            </a:r>
            <a:r>
              <a:rPr lang="es-AR" sz="1100" spc="-15" err="1">
                <a:latin typeface="Pulso Light" pitchFamily="2" charset="0"/>
                <a:ea typeface="Open Sans Light"/>
                <a:cs typeface="Open Sans Light"/>
              </a:rPr>
              <a:t>ready</a:t>
            </a:r>
            <a:r>
              <a:rPr lang="es-AR" sz="1100" spc="-15">
                <a:latin typeface="Pulso Light" pitchFamily="2" charset="0"/>
                <a:ea typeface="Open Sans Light"/>
                <a:cs typeface="Open Sans Light"/>
              </a:rPr>
              <a:t>, conectividad soberana y </a:t>
            </a:r>
            <a:r>
              <a:rPr lang="es-AR" sz="1100" spc="-15" err="1">
                <a:latin typeface="Pulso Light" pitchFamily="2" charset="0"/>
                <a:ea typeface="Open Sans Light"/>
                <a:cs typeface="Open Sans Light"/>
              </a:rPr>
              <a:t>cloud</a:t>
            </a:r>
            <a:r>
              <a:rPr lang="es-AR" sz="1100" spc="-15">
                <a:latin typeface="Pulso Light" pitchFamily="2" charset="0"/>
                <a:ea typeface="Open Sans Light"/>
                <a:cs typeface="Open Sans Light"/>
              </a:rPr>
              <a:t> híbrida segura), para el desarrollo de soluciones con soberanía digital.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Font typeface="Tipo de letra del sistema regular"/>
              <a:buChar char="●"/>
            </a:pPr>
            <a:endParaRPr lang="es-AR" sz="1100" spc="-15">
              <a:latin typeface="Pulso Light" pitchFamily="2" charset="0"/>
              <a:ea typeface="Open Sans Light"/>
              <a:cs typeface="Open Sans Light"/>
            </a:endParaRPr>
          </a:p>
        </p:txBody>
      </p:sp>
      <p:sp>
        <p:nvSpPr>
          <p:cNvPr id="47" name="Forma libre 46">
            <a:extLst>
              <a:ext uri="{FF2B5EF4-FFF2-40B4-BE49-F238E27FC236}">
                <a16:creationId xmlns:a16="http://schemas.microsoft.com/office/drawing/2014/main" id="{E2FE6BF2-3474-0342-10A4-B25CC0C45F48}"/>
              </a:ext>
            </a:extLst>
          </p:cNvPr>
          <p:cNvSpPr/>
          <p:nvPr/>
        </p:nvSpPr>
        <p:spPr>
          <a:xfrm>
            <a:off x="4783762" y="0"/>
            <a:ext cx="3438000" cy="5148000"/>
          </a:xfrm>
          <a:custGeom>
            <a:avLst/>
            <a:gdLst>
              <a:gd name="connsiteX0" fmla="*/ 0 w 3437719"/>
              <a:gd name="connsiteY0" fmla="*/ 0 h 5143500"/>
              <a:gd name="connsiteX1" fmla="*/ 2845711 w 3437719"/>
              <a:gd name="connsiteY1" fmla="*/ 0 h 5143500"/>
              <a:gd name="connsiteX2" fmla="*/ 2859164 w 3437719"/>
              <a:gd name="connsiteY2" fmla="*/ 26279 h 5143500"/>
              <a:gd name="connsiteX3" fmla="*/ 3437719 w 3437719"/>
              <a:gd name="connsiteY3" fmla="*/ 2571759 h 5143500"/>
              <a:gd name="connsiteX4" fmla="*/ 2859164 w 3437719"/>
              <a:gd name="connsiteY4" fmla="*/ 5109548 h 5143500"/>
              <a:gd name="connsiteX5" fmla="*/ 2841774 w 3437719"/>
              <a:gd name="connsiteY5" fmla="*/ 5143500 h 5143500"/>
              <a:gd name="connsiteX6" fmla="*/ 2 w 3437719"/>
              <a:gd name="connsiteY6" fmla="*/ 5143500 h 5143500"/>
              <a:gd name="connsiteX7" fmla="*/ 73187 w 3437719"/>
              <a:gd name="connsiteY7" fmla="*/ 5076984 h 5143500"/>
              <a:gd name="connsiteX8" fmla="*/ 1110970 w 3437719"/>
              <a:gd name="connsiteY8" fmla="*/ 2571759 h 5143500"/>
              <a:gd name="connsiteX9" fmla="*/ 73187 w 3437719"/>
              <a:gd name="connsiteY9" fmla="*/ 66518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37719" h="5143500">
                <a:moveTo>
                  <a:pt x="0" y="0"/>
                </a:moveTo>
                <a:lnTo>
                  <a:pt x="2845711" y="0"/>
                </a:lnTo>
                <a:lnTo>
                  <a:pt x="2859164" y="26279"/>
                </a:lnTo>
                <a:cubicBezTo>
                  <a:pt x="3229966" y="796168"/>
                  <a:pt x="3437719" y="1659563"/>
                  <a:pt x="3437719" y="2571759"/>
                </a:cubicBezTo>
                <a:cubicBezTo>
                  <a:pt x="3437719" y="3478995"/>
                  <a:pt x="3229966" y="4340218"/>
                  <a:pt x="2859164" y="5109548"/>
                </a:cubicBezTo>
                <a:lnTo>
                  <a:pt x="2841774" y="5143500"/>
                </a:lnTo>
                <a:lnTo>
                  <a:pt x="2" y="5143500"/>
                </a:lnTo>
                <a:lnTo>
                  <a:pt x="73187" y="5076984"/>
                </a:lnTo>
                <a:cubicBezTo>
                  <a:pt x="714366" y="4435804"/>
                  <a:pt x="1110970" y="3550051"/>
                  <a:pt x="1110970" y="2571759"/>
                </a:cubicBezTo>
                <a:cubicBezTo>
                  <a:pt x="1110970" y="1593458"/>
                  <a:pt x="714366" y="707700"/>
                  <a:pt x="73187" y="66518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grpSp>
        <p:nvGrpSpPr>
          <p:cNvPr id="59" name="Grupo 58">
            <a:extLst>
              <a:ext uri="{FF2B5EF4-FFF2-40B4-BE49-F238E27FC236}">
                <a16:creationId xmlns:a16="http://schemas.microsoft.com/office/drawing/2014/main" id="{ED59C61F-4A33-F206-54A6-EC76D0584E91}"/>
              </a:ext>
            </a:extLst>
          </p:cNvPr>
          <p:cNvGrpSpPr/>
          <p:nvPr/>
        </p:nvGrpSpPr>
        <p:grpSpPr>
          <a:xfrm>
            <a:off x="117446" y="4735746"/>
            <a:ext cx="8906400" cy="268682"/>
            <a:chOff x="117446" y="4735746"/>
            <a:chExt cx="8906400" cy="268682"/>
          </a:xfrm>
        </p:grpSpPr>
        <p:sp>
          <p:nvSpPr>
            <p:cNvPr id="48" name="Rectángulo redondeado 47">
              <a:extLst>
                <a:ext uri="{FF2B5EF4-FFF2-40B4-BE49-F238E27FC236}">
                  <a16:creationId xmlns:a16="http://schemas.microsoft.com/office/drawing/2014/main" id="{89DCFDA1-F526-CB9E-E1C2-D87243515716}"/>
                </a:ext>
              </a:extLst>
            </p:cNvPr>
            <p:cNvSpPr/>
            <p:nvPr/>
          </p:nvSpPr>
          <p:spPr>
            <a:xfrm>
              <a:off x="117446" y="4735746"/>
              <a:ext cx="8906400" cy="26868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lvl="0" algn="ctr">
                <a:spcBef>
                  <a:spcPts val="1000"/>
                </a:spcBef>
              </a:pPr>
              <a:endParaRPr lang="es-AR" sz="14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  <p:grpSp>
          <p:nvGrpSpPr>
            <p:cNvPr id="49" name="Gráfico 3">
              <a:extLst>
                <a:ext uri="{FF2B5EF4-FFF2-40B4-BE49-F238E27FC236}">
                  <a16:creationId xmlns:a16="http://schemas.microsoft.com/office/drawing/2014/main" id="{A61C4098-1813-AF26-A2FE-20A2BF0C5DD5}"/>
                </a:ext>
              </a:extLst>
            </p:cNvPr>
            <p:cNvGrpSpPr/>
            <p:nvPr/>
          </p:nvGrpSpPr>
          <p:grpSpPr>
            <a:xfrm>
              <a:off x="8243851" y="4808412"/>
              <a:ext cx="549475" cy="126054"/>
              <a:chOff x="3835717" y="2907982"/>
              <a:chExt cx="4521517" cy="1037272"/>
            </a:xfrm>
            <a:solidFill>
              <a:schemeClr val="accent2"/>
            </a:solidFill>
          </p:grpSpPr>
          <p:sp>
            <p:nvSpPr>
              <p:cNvPr id="50" name="Forma libre 49">
                <a:extLst>
                  <a:ext uri="{FF2B5EF4-FFF2-40B4-BE49-F238E27FC236}">
                    <a16:creationId xmlns:a16="http://schemas.microsoft.com/office/drawing/2014/main" id="{AD3F73B5-2F03-9CAC-B11F-3BA59901C572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1" name="Forma libre 50">
                <a:extLst>
                  <a:ext uri="{FF2B5EF4-FFF2-40B4-BE49-F238E27FC236}">
                    <a16:creationId xmlns:a16="http://schemas.microsoft.com/office/drawing/2014/main" id="{203141F1-323F-AA57-27F6-A5E4294BA458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2" name="Forma libre 51">
                <a:extLst>
                  <a:ext uri="{FF2B5EF4-FFF2-40B4-BE49-F238E27FC236}">
                    <a16:creationId xmlns:a16="http://schemas.microsoft.com/office/drawing/2014/main" id="{3B405E18-F19A-4F63-A9DE-A1143D7EC416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3" name="Forma libre 52">
                <a:extLst>
                  <a:ext uri="{FF2B5EF4-FFF2-40B4-BE49-F238E27FC236}">
                    <a16:creationId xmlns:a16="http://schemas.microsoft.com/office/drawing/2014/main" id="{A2E1DDD9-8B14-A179-DF57-4AFCC582B887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4" name="Forma libre 53">
                <a:extLst>
                  <a:ext uri="{FF2B5EF4-FFF2-40B4-BE49-F238E27FC236}">
                    <a16:creationId xmlns:a16="http://schemas.microsoft.com/office/drawing/2014/main" id="{6F0008ED-8A3C-40E1-0597-18497A3423BC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5" name="Forma libre 54">
                <a:extLst>
                  <a:ext uri="{FF2B5EF4-FFF2-40B4-BE49-F238E27FC236}">
                    <a16:creationId xmlns:a16="http://schemas.microsoft.com/office/drawing/2014/main" id="{5B227483-B0A9-FA9E-AA33-A0CDEF31E1A5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6" name="Forma libre 55">
                <a:extLst>
                  <a:ext uri="{FF2B5EF4-FFF2-40B4-BE49-F238E27FC236}">
                    <a16:creationId xmlns:a16="http://schemas.microsoft.com/office/drawing/2014/main" id="{5B154F8D-8261-88DA-672B-6AE87DD871DD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7" name="Forma libre 56">
                <a:extLst>
                  <a:ext uri="{FF2B5EF4-FFF2-40B4-BE49-F238E27FC236}">
                    <a16:creationId xmlns:a16="http://schemas.microsoft.com/office/drawing/2014/main" id="{7BEEFF3D-74AE-6251-9CE5-B21D983FF5FF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58" name="Rectángulo 57">
              <a:extLst>
                <a:ext uri="{FF2B5EF4-FFF2-40B4-BE49-F238E27FC236}">
                  <a16:creationId xmlns:a16="http://schemas.microsoft.com/office/drawing/2014/main" id="{0AAF1C55-606B-FD4C-B504-8AB3A7DA7E31}"/>
                </a:ext>
              </a:extLst>
            </p:cNvPr>
            <p:cNvSpPr/>
            <p:nvPr/>
          </p:nvSpPr>
          <p:spPr>
            <a:xfrm>
              <a:off x="257485" y="4831799"/>
              <a:ext cx="1163588" cy="10464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l">
                <a:lnSpc>
                  <a:spcPct val="85000"/>
                </a:lnSpc>
              </a:pPr>
              <a:r>
                <a:rPr lang="es-ES_tradnl" sz="800" b="0" i="0" spc="-7" noProof="0">
                  <a:solidFill>
                    <a:schemeClr val="tx2"/>
                  </a:solidFill>
                  <a:latin typeface="Pulso Light" pitchFamily="2" charset="0"/>
                  <a:ea typeface="Inter Light BETA" panose="020B0402030000000004" pitchFamily="34" charset="0"/>
                </a:rPr>
                <a:t>Estrategia</a:t>
              </a:r>
              <a:r>
                <a:rPr lang="es-ES_tradnl" sz="800" b="0" i="0" spc="-7" noProof="0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  <a:t>  </a:t>
              </a:r>
              <a:r>
                <a:rPr lang="es-ES_tradnl" sz="800" b="1" i="0" spc="-7" noProof="0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  <a:t>2026  ·  2030</a:t>
              </a:r>
              <a:endPara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Extra Bold" panose="020B0502030000000004" pitchFamily="34" charset="0"/>
              </a:endParaRPr>
            </a:p>
          </p:txBody>
        </p:sp>
      </p:grpSp>
      <p:grpSp>
        <p:nvGrpSpPr>
          <p:cNvPr id="33" name="Grupo 32">
            <a:extLst>
              <a:ext uri="{FF2B5EF4-FFF2-40B4-BE49-F238E27FC236}">
                <a16:creationId xmlns:a16="http://schemas.microsoft.com/office/drawing/2014/main" id="{FB0BC4E6-2C64-DC31-49A7-63AE199347C9}"/>
              </a:ext>
            </a:extLst>
          </p:cNvPr>
          <p:cNvGrpSpPr/>
          <p:nvPr/>
        </p:nvGrpSpPr>
        <p:grpSpPr>
          <a:xfrm>
            <a:off x="540651" y="704103"/>
            <a:ext cx="4356109" cy="718147"/>
            <a:chOff x="1186436" y="701273"/>
            <a:chExt cx="1874891" cy="309093"/>
          </a:xfrm>
        </p:grpSpPr>
        <p:grpSp>
          <p:nvGrpSpPr>
            <p:cNvPr id="34" name="Grupo 33">
              <a:extLst>
                <a:ext uri="{FF2B5EF4-FFF2-40B4-BE49-F238E27FC236}">
                  <a16:creationId xmlns:a16="http://schemas.microsoft.com/office/drawing/2014/main" id="{AC264337-3A32-06DE-22C9-5EF39D1548D1}"/>
                </a:ext>
              </a:extLst>
            </p:cNvPr>
            <p:cNvGrpSpPr/>
            <p:nvPr/>
          </p:nvGrpSpPr>
          <p:grpSpPr>
            <a:xfrm>
              <a:off x="1186436" y="727786"/>
              <a:ext cx="236474" cy="236229"/>
              <a:chOff x="3955161" y="1943655"/>
              <a:chExt cx="1169097" cy="1167892"/>
            </a:xfrm>
          </p:grpSpPr>
          <p:sp>
            <p:nvSpPr>
              <p:cNvPr id="36" name="Forma libre 35">
                <a:extLst>
                  <a:ext uri="{FF2B5EF4-FFF2-40B4-BE49-F238E27FC236}">
                    <a16:creationId xmlns:a16="http://schemas.microsoft.com/office/drawing/2014/main" id="{C83160BD-CB0B-6C56-C5E3-A98CEBB06A8F}"/>
                  </a:ext>
                </a:extLst>
              </p:cNvPr>
              <p:cNvSpPr/>
              <p:nvPr/>
            </p:nvSpPr>
            <p:spPr>
              <a:xfrm>
                <a:off x="4190142" y="2178081"/>
                <a:ext cx="699134" cy="699134"/>
              </a:xfrm>
              <a:custGeom>
                <a:avLst/>
                <a:gdLst>
                  <a:gd name="connsiteX0" fmla="*/ 699135 w 699134"/>
                  <a:gd name="connsiteY0" fmla="*/ 349567 h 699134"/>
                  <a:gd name="connsiteX1" fmla="*/ 349568 w 699134"/>
                  <a:gd name="connsiteY1" fmla="*/ 699135 h 699134"/>
                  <a:gd name="connsiteX2" fmla="*/ 0 w 699134"/>
                  <a:gd name="connsiteY2" fmla="*/ 349568 h 699134"/>
                  <a:gd name="connsiteX3" fmla="*/ 349568 w 699134"/>
                  <a:gd name="connsiteY3" fmla="*/ 0 h 699134"/>
                  <a:gd name="connsiteX4" fmla="*/ 699135 w 699134"/>
                  <a:gd name="connsiteY4" fmla="*/ 349567 h 699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134" h="699134">
                    <a:moveTo>
                      <a:pt x="699135" y="349567"/>
                    </a:moveTo>
                    <a:cubicBezTo>
                      <a:pt x="699135" y="542628"/>
                      <a:pt x="542628" y="699135"/>
                      <a:pt x="349568" y="699135"/>
                    </a:cubicBezTo>
                    <a:cubicBezTo>
                      <a:pt x="156507" y="699135"/>
                      <a:pt x="0" y="542628"/>
                      <a:pt x="0" y="349568"/>
                    </a:cubicBezTo>
                    <a:cubicBezTo>
                      <a:pt x="0" y="156507"/>
                      <a:pt x="156507" y="0"/>
                      <a:pt x="349568" y="0"/>
                    </a:cubicBezTo>
                    <a:cubicBezTo>
                      <a:pt x="542628" y="0"/>
                      <a:pt x="699135" y="156507"/>
                      <a:pt x="699135" y="349567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37" name="Forma libre 36">
                <a:extLst>
                  <a:ext uri="{FF2B5EF4-FFF2-40B4-BE49-F238E27FC236}">
                    <a16:creationId xmlns:a16="http://schemas.microsoft.com/office/drawing/2014/main" id="{80B460F0-BAC8-6BDD-EF6F-D0590DCE8913}"/>
                  </a:ext>
                </a:extLst>
              </p:cNvPr>
              <p:cNvSpPr/>
              <p:nvPr/>
            </p:nvSpPr>
            <p:spPr>
              <a:xfrm>
                <a:off x="4552759" y="2731320"/>
                <a:ext cx="481275" cy="380227"/>
              </a:xfrm>
              <a:custGeom>
                <a:avLst/>
                <a:gdLst>
                  <a:gd name="connsiteX0" fmla="*/ 298704 w 481275"/>
                  <a:gd name="connsiteY0" fmla="*/ 6070 h 380227"/>
                  <a:gd name="connsiteX1" fmla="*/ 12764 w 481275"/>
                  <a:gd name="connsiteY1" fmla="*/ 171138 h 380227"/>
                  <a:gd name="connsiteX2" fmla="*/ 0 w 481275"/>
                  <a:gd name="connsiteY2" fmla="*/ 184568 h 380227"/>
                  <a:gd name="connsiteX3" fmla="*/ 0 w 481275"/>
                  <a:gd name="connsiteY3" fmla="*/ 366686 h 380227"/>
                  <a:gd name="connsiteX4" fmla="*/ 14002 w 481275"/>
                  <a:gd name="connsiteY4" fmla="*/ 380212 h 380227"/>
                  <a:gd name="connsiteX5" fmla="*/ 479203 w 481275"/>
                  <a:gd name="connsiteY5" fmla="*/ 111892 h 380227"/>
                  <a:gd name="connsiteX6" fmla="*/ 474535 w 481275"/>
                  <a:gd name="connsiteY6" fmla="*/ 93033 h 380227"/>
                  <a:gd name="connsiteX7" fmla="*/ 316611 w 481275"/>
                  <a:gd name="connsiteY7" fmla="*/ 1879 h 380227"/>
                  <a:gd name="connsiteX8" fmla="*/ 298704 w 481275"/>
                  <a:gd name="connsiteY8" fmla="*/ 6070 h 38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275" h="380227">
                    <a:moveTo>
                      <a:pt x="298704" y="6070"/>
                    </a:moveTo>
                    <a:cubicBezTo>
                      <a:pt x="235744" y="99510"/>
                      <a:pt x="131921" y="163041"/>
                      <a:pt x="12764" y="171138"/>
                    </a:cubicBezTo>
                    <a:cubicBezTo>
                      <a:pt x="5620" y="171614"/>
                      <a:pt x="0" y="177424"/>
                      <a:pt x="0" y="184568"/>
                    </a:cubicBezTo>
                    <a:lnTo>
                      <a:pt x="0" y="366686"/>
                    </a:lnTo>
                    <a:cubicBezTo>
                      <a:pt x="0" y="374306"/>
                      <a:pt x="6382" y="380592"/>
                      <a:pt x="14002" y="380212"/>
                    </a:cubicBezTo>
                    <a:cubicBezTo>
                      <a:pt x="209359" y="371258"/>
                      <a:pt x="379762" y="266578"/>
                      <a:pt x="479203" y="111892"/>
                    </a:cubicBezTo>
                    <a:cubicBezTo>
                      <a:pt x="483299" y="105510"/>
                      <a:pt x="481108" y="96843"/>
                      <a:pt x="474535" y="93033"/>
                    </a:cubicBezTo>
                    <a:lnTo>
                      <a:pt x="316611" y="1879"/>
                    </a:lnTo>
                    <a:cubicBezTo>
                      <a:pt x="310515" y="-1836"/>
                      <a:pt x="302705" y="164"/>
                      <a:pt x="298704" y="607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38" name="Forma libre 37">
                <a:extLst>
                  <a:ext uri="{FF2B5EF4-FFF2-40B4-BE49-F238E27FC236}">
                    <a16:creationId xmlns:a16="http://schemas.microsoft.com/office/drawing/2014/main" id="{E3642171-98E9-6FFE-88DE-B3E8F05CBA1E}"/>
                  </a:ext>
                </a:extLst>
              </p:cNvPr>
              <p:cNvSpPr/>
              <p:nvPr/>
            </p:nvSpPr>
            <p:spPr>
              <a:xfrm>
                <a:off x="4045385" y="1943655"/>
                <a:ext cx="481275" cy="380282"/>
              </a:xfrm>
              <a:custGeom>
                <a:avLst/>
                <a:gdLst>
                  <a:gd name="connsiteX0" fmla="*/ 182571 w 481275"/>
                  <a:gd name="connsiteY0" fmla="*/ 374158 h 380282"/>
                  <a:gd name="connsiteX1" fmla="*/ 468512 w 481275"/>
                  <a:gd name="connsiteY1" fmla="*/ 209090 h 380282"/>
                  <a:gd name="connsiteX2" fmla="*/ 481275 w 481275"/>
                  <a:gd name="connsiteY2" fmla="*/ 195660 h 380282"/>
                  <a:gd name="connsiteX3" fmla="*/ 481275 w 481275"/>
                  <a:gd name="connsiteY3" fmla="*/ 13542 h 380282"/>
                  <a:gd name="connsiteX4" fmla="*/ 467274 w 481275"/>
                  <a:gd name="connsiteY4" fmla="*/ 16 h 380282"/>
                  <a:gd name="connsiteX5" fmla="*/ 2073 w 481275"/>
                  <a:gd name="connsiteY5" fmla="*/ 268336 h 380282"/>
                  <a:gd name="connsiteX6" fmla="*/ 6740 w 481275"/>
                  <a:gd name="connsiteY6" fmla="*/ 287195 h 380282"/>
                  <a:gd name="connsiteX7" fmla="*/ 164664 w 481275"/>
                  <a:gd name="connsiteY7" fmla="*/ 378540 h 380282"/>
                  <a:gd name="connsiteX8" fmla="*/ 182571 w 481275"/>
                  <a:gd name="connsiteY8" fmla="*/ 374158 h 380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275" h="380282">
                    <a:moveTo>
                      <a:pt x="182571" y="374158"/>
                    </a:moveTo>
                    <a:cubicBezTo>
                      <a:pt x="245532" y="280718"/>
                      <a:pt x="349354" y="217186"/>
                      <a:pt x="468512" y="209090"/>
                    </a:cubicBezTo>
                    <a:cubicBezTo>
                      <a:pt x="475656" y="208614"/>
                      <a:pt x="481275" y="202804"/>
                      <a:pt x="481275" y="195660"/>
                    </a:cubicBezTo>
                    <a:lnTo>
                      <a:pt x="481275" y="13542"/>
                    </a:lnTo>
                    <a:cubicBezTo>
                      <a:pt x="481275" y="5922"/>
                      <a:pt x="474894" y="-364"/>
                      <a:pt x="467274" y="16"/>
                    </a:cubicBezTo>
                    <a:cubicBezTo>
                      <a:pt x="271916" y="8970"/>
                      <a:pt x="101514" y="113650"/>
                      <a:pt x="2073" y="268336"/>
                    </a:cubicBezTo>
                    <a:cubicBezTo>
                      <a:pt x="-2023" y="274717"/>
                      <a:pt x="168" y="283385"/>
                      <a:pt x="6740" y="287195"/>
                    </a:cubicBezTo>
                    <a:lnTo>
                      <a:pt x="164664" y="378540"/>
                    </a:lnTo>
                    <a:cubicBezTo>
                      <a:pt x="170856" y="382064"/>
                      <a:pt x="178571" y="380064"/>
                      <a:pt x="182571" y="37415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39" name="Forma libre 38">
                <a:extLst>
                  <a:ext uri="{FF2B5EF4-FFF2-40B4-BE49-F238E27FC236}">
                    <a16:creationId xmlns:a16="http://schemas.microsoft.com/office/drawing/2014/main" id="{C0275F72-B525-3E3E-66F5-489AB5D139D5}"/>
                  </a:ext>
                </a:extLst>
              </p:cNvPr>
              <p:cNvSpPr/>
              <p:nvPr/>
            </p:nvSpPr>
            <p:spPr>
              <a:xfrm>
                <a:off x="4875850" y="2251895"/>
                <a:ext cx="248408" cy="551508"/>
              </a:xfrm>
              <a:custGeom>
                <a:avLst/>
                <a:gdLst>
                  <a:gd name="connsiteX0" fmla="*/ 164493 w 248408"/>
                  <a:gd name="connsiteY0" fmla="*/ 549693 h 551508"/>
                  <a:gd name="connsiteX1" fmla="*/ 183162 w 248408"/>
                  <a:gd name="connsiteY1" fmla="*/ 544359 h 551508"/>
                  <a:gd name="connsiteX2" fmla="*/ 248409 w 248408"/>
                  <a:gd name="connsiteY2" fmla="*/ 275754 h 551508"/>
                  <a:gd name="connsiteX3" fmla="*/ 183162 w 248408"/>
                  <a:gd name="connsiteY3" fmla="*/ 7149 h 551508"/>
                  <a:gd name="connsiteX4" fmla="*/ 164493 w 248408"/>
                  <a:gd name="connsiteY4" fmla="*/ 1815 h 551508"/>
                  <a:gd name="connsiteX5" fmla="*/ 6664 w 248408"/>
                  <a:gd name="connsiteY5" fmla="*/ 92969 h 551508"/>
                  <a:gd name="connsiteX6" fmla="*/ 1425 w 248408"/>
                  <a:gd name="connsiteY6" fmla="*/ 110686 h 551508"/>
                  <a:gd name="connsiteX7" fmla="*/ 39621 w 248408"/>
                  <a:gd name="connsiteY7" fmla="*/ 275754 h 551508"/>
                  <a:gd name="connsiteX8" fmla="*/ 1425 w 248408"/>
                  <a:gd name="connsiteY8" fmla="*/ 440822 h 551508"/>
                  <a:gd name="connsiteX9" fmla="*/ 6664 w 248408"/>
                  <a:gd name="connsiteY9" fmla="*/ 458539 h 551508"/>
                  <a:gd name="connsiteX10" fmla="*/ 164493 w 248408"/>
                  <a:gd name="connsiteY10" fmla="*/ 549693 h 551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8408" h="551508">
                    <a:moveTo>
                      <a:pt x="164493" y="549693"/>
                    </a:moveTo>
                    <a:cubicBezTo>
                      <a:pt x="171065" y="553503"/>
                      <a:pt x="179638" y="551122"/>
                      <a:pt x="183162" y="544359"/>
                    </a:cubicBezTo>
                    <a:cubicBezTo>
                      <a:pt x="224882" y="463968"/>
                      <a:pt x="248409" y="372623"/>
                      <a:pt x="248409" y="275754"/>
                    </a:cubicBezTo>
                    <a:cubicBezTo>
                      <a:pt x="248409" y="178885"/>
                      <a:pt x="224787" y="87540"/>
                      <a:pt x="183162" y="7149"/>
                    </a:cubicBezTo>
                    <a:cubicBezTo>
                      <a:pt x="179638" y="386"/>
                      <a:pt x="171065" y="-1995"/>
                      <a:pt x="164493" y="1815"/>
                    </a:cubicBezTo>
                    <a:lnTo>
                      <a:pt x="6664" y="92969"/>
                    </a:lnTo>
                    <a:cubicBezTo>
                      <a:pt x="473" y="96589"/>
                      <a:pt x="-1718" y="104304"/>
                      <a:pt x="1425" y="110686"/>
                    </a:cubicBezTo>
                    <a:cubicBezTo>
                      <a:pt x="25809" y="160502"/>
                      <a:pt x="39621" y="216509"/>
                      <a:pt x="39621" y="275754"/>
                    </a:cubicBezTo>
                    <a:cubicBezTo>
                      <a:pt x="39621" y="335000"/>
                      <a:pt x="25905" y="391007"/>
                      <a:pt x="1425" y="440822"/>
                    </a:cubicBezTo>
                    <a:cubicBezTo>
                      <a:pt x="-1718" y="447204"/>
                      <a:pt x="473" y="455015"/>
                      <a:pt x="6664" y="458539"/>
                    </a:cubicBezTo>
                    <a:lnTo>
                      <a:pt x="164493" y="549693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40" name="Forma libre 39">
                <a:extLst>
                  <a:ext uri="{FF2B5EF4-FFF2-40B4-BE49-F238E27FC236}">
                    <a16:creationId xmlns:a16="http://schemas.microsoft.com/office/drawing/2014/main" id="{2B28593F-14F7-7C3F-D904-DECC30D9B0F4}"/>
                  </a:ext>
                </a:extLst>
              </p:cNvPr>
              <p:cNvSpPr/>
              <p:nvPr/>
            </p:nvSpPr>
            <p:spPr>
              <a:xfrm>
                <a:off x="4552854" y="1943845"/>
                <a:ext cx="481317" cy="380159"/>
              </a:xfrm>
              <a:custGeom>
                <a:avLst/>
                <a:gdLst>
                  <a:gd name="connsiteX0" fmla="*/ 12668 w 481317"/>
                  <a:gd name="connsiteY0" fmla="*/ 208995 h 380159"/>
                  <a:gd name="connsiteX1" fmla="*/ 298609 w 481317"/>
                  <a:gd name="connsiteY1" fmla="*/ 374063 h 380159"/>
                  <a:gd name="connsiteX2" fmla="*/ 316611 w 481317"/>
                  <a:gd name="connsiteY2" fmla="*/ 378349 h 380159"/>
                  <a:gd name="connsiteX3" fmla="*/ 474535 w 481317"/>
                  <a:gd name="connsiteY3" fmla="*/ 287195 h 380159"/>
                  <a:gd name="connsiteX4" fmla="*/ 479203 w 481317"/>
                  <a:gd name="connsiteY4" fmla="*/ 268336 h 380159"/>
                  <a:gd name="connsiteX5" fmla="*/ 14002 w 481317"/>
                  <a:gd name="connsiteY5" fmla="*/ 16 h 380159"/>
                  <a:gd name="connsiteX6" fmla="*/ 0 w 481317"/>
                  <a:gd name="connsiteY6" fmla="*/ 13542 h 380159"/>
                  <a:gd name="connsiteX7" fmla="*/ 0 w 481317"/>
                  <a:gd name="connsiteY7" fmla="*/ 195660 h 380159"/>
                  <a:gd name="connsiteX8" fmla="*/ 12668 w 481317"/>
                  <a:gd name="connsiteY8" fmla="*/ 208995 h 380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317" h="380159">
                    <a:moveTo>
                      <a:pt x="12668" y="208995"/>
                    </a:moveTo>
                    <a:cubicBezTo>
                      <a:pt x="131731" y="217091"/>
                      <a:pt x="235553" y="280623"/>
                      <a:pt x="298609" y="374063"/>
                    </a:cubicBezTo>
                    <a:cubicBezTo>
                      <a:pt x="302609" y="379969"/>
                      <a:pt x="310420" y="381969"/>
                      <a:pt x="316611" y="378349"/>
                    </a:cubicBezTo>
                    <a:lnTo>
                      <a:pt x="474535" y="287195"/>
                    </a:lnTo>
                    <a:cubicBezTo>
                      <a:pt x="481108" y="283385"/>
                      <a:pt x="483394" y="274717"/>
                      <a:pt x="479203" y="268336"/>
                    </a:cubicBezTo>
                    <a:cubicBezTo>
                      <a:pt x="379857" y="113554"/>
                      <a:pt x="209359" y="8875"/>
                      <a:pt x="14002" y="16"/>
                    </a:cubicBezTo>
                    <a:cubicBezTo>
                      <a:pt x="6382" y="-365"/>
                      <a:pt x="0" y="5922"/>
                      <a:pt x="0" y="13542"/>
                    </a:cubicBezTo>
                    <a:lnTo>
                      <a:pt x="0" y="195660"/>
                    </a:lnTo>
                    <a:cubicBezTo>
                      <a:pt x="0" y="202708"/>
                      <a:pt x="5525" y="208519"/>
                      <a:pt x="12668" y="20899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41" name="Forma libre 40">
                <a:extLst>
                  <a:ext uri="{FF2B5EF4-FFF2-40B4-BE49-F238E27FC236}">
                    <a16:creationId xmlns:a16="http://schemas.microsoft.com/office/drawing/2014/main" id="{0CE74708-401A-F93C-5A4C-F9427456212E}"/>
                  </a:ext>
                </a:extLst>
              </p:cNvPr>
              <p:cNvSpPr/>
              <p:nvPr/>
            </p:nvSpPr>
            <p:spPr>
              <a:xfrm>
                <a:off x="4045248" y="2731293"/>
                <a:ext cx="481318" cy="380159"/>
              </a:xfrm>
              <a:custGeom>
                <a:avLst/>
                <a:gdLst>
                  <a:gd name="connsiteX0" fmla="*/ 468649 w 481318"/>
                  <a:gd name="connsiteY0" fmla="*/ 171165 h 380159"/>
                  <a:gd name="connsiteX1" fmla="*/ 182709 w 481318"/>
                  <a:gd name="connsiteY1" fmla="*/ 6097 h 380159"/>
                  <a:gd name="connsiteX2" fmla="*/ 164707 w 481318"/>
                  <a:gd name="connsiteY2" fmla="*/ 1810 h 380159"/>
                  <a:gd name="connsiteX3" fmla="*/ 6782 w 481318"/>
                  <a:gd name="connsiteY3" fmla="*/ 92965 h 380159"/>
                  <a:gd name="connsiteX4" fmla="*/ 2115 w 481318"/>
                  <a:gd name="connsiteY4" fmla="*/ 111824 h 380159"/>
                  <a:gd name="connsiteX5" fmla="*/ 467316 w 481318"/>
                  <a:gd name="connsiteY5" fmla="*/ 380143 h 380159"/>
                  <a:gd name="connsiteX6" fmla="*/ 481318 w 481318"/>
                  <a:gd name="connsiteY6" fmla="*/ 366618 h 380159"/>
                  <a:gd name="connsiteX7" fmla="*/ 481318 w 481318"/>
                  <a:gd name="connsiteY7" fmla="*/ 184500 h 380159"/>
                  <a:gd name="connsiteX8" fmla="*/ 468649 w 481318"/>
                  <a:gd name="connsiteY8" fmla="*/ 171165 h 380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318" h="380159">
                    <a:moveTo>
                      <a:pt x="468649" y="171165"/>
                    </a:moveTo>
                    <a:cubicBezTo>
                      <a:pt x="349587" y="163069"/>
                      <a:pt x="245764" y="99537"/>
                      <a:pt x="182709" y="6097"/>
                    </a:cubicBezTo>
                    <a:cubicBezTo>
                      <a:pt x="178709" y="191"/>
                      <a:pt x="170898" y="-1809"/>
                      <a:pt x="164707" y="1810"/>
                    </a:cubicBezTo>
                    <a:lnTo>
                      <a:pt x="6782" y="92965"/>
                    </a:lnTo>
                    <a:cubicBezTo>
                      <a:pt x="210" y="96775"/>
                      <a:pt x="-2076" y="105442"/>
                      <a:pt x="2115" y="111824"/>
                    </a:cubicBezTo>
                    <a:cubicBezTo>
                      <a:pt x="101461" y="266605"/>
                      <a:pt x="271958" y="371285"/>
                      <a:pt x="467316" y="380143"/>
                    </a:cubicBezTo>
                    <a:cubicBezTo>
                      <a:pt x="474936" y="380525"/>
                      <a:pt x="481318" y="374238"/>
                      <a:pt x="481318" y="366618"/>
                    </a:cubicBezTo>
                    <a:lnTo>
                      <a:pt x="481318" y="184500"/>
                    </a:lnTo>
                    <a:cubicBezTo>
                      <a:pt x="481413" y="177356"/>
                      <a:pt x="475793" y="171641"/>
                      <a:pt x="468649" y="17116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42" name="Forma libre 41">
                <a:extLst>
                  <a:ext uri="{FF2B5EF4-FFF2-40B4-BE49-F238E27FC236}">
                    <a16:creationId xmlns:a16="http://schemas.microsoft.com/office/drawing/2014/main" id="{04F3A033-1A58-9C51-CEAF-741CAC3ACDD1}"/>
                  </a:ext>
                </a:extLst>
              </p:cNvPr>
              <p:cNvSpPr/>
              <p:nvPr/>
            </p:nvSpPr>
            <p:spPr>
              <a:xfrm>
                <a:off x="3955161" y="2251895"/>
                <a:ext cx="248408" cy="551508"/>
              </a:xfrm>
              <a:custGeom>
                <a:avLst/>
                <a:gdLst>
                  <a:gd name="connsiteX0" fmla="*/ 241744 w 248408"/>
                  <a:gd name="connsiteY0" fmla="*/ 458539 h 551508"/>
                  <a:gd name="connsiteX1" fmla="*/ 246983 w 248408"/>
                  <a:gd name="connsiteY1" fmla="*/ 440822 h 551508"/>
                  <a:gd name="connsiteX2" fmla="*/ 208788 w 248408"/>
                  <a:gd name="connsiteY2" fmla="*/ 275754 h 551508"/>
                  <a:gd name="connsiteX3" fmla="*/ 246983 w 248408"/>
                  <a:gd name="connsiteY3" fmla="*/ 110686 h 551508"/>
                  <a:gd name="connsiteX4" fmla="*/ 241744 w 248408"/>
                  <a:gd name="connsiteY4" fmla="*/ 92969 h 551508"/>
                  <a:gd name="connsiteX5" fmla="*/ 83915 w 248408"/>
                  <a:gd name="connsiteY5" fmla="*/ 1815 h 551508"/>
                  <a:gd name="connsiteX6" fmla="*/ 65246 w 248408"/>
                  <a:gd name="connsiteY6" fmla="*/ 7149 h 551508"/>
                  <a:gd name="connsiteX7" fmla="*/ 0 w 248408"/>
                  <a:gd name="connsiteY7" fmla="*/ 275754 h 551508"/>
                  <a:gd name="connsiteX8" fmla="*/ 65246 w 248408"/>
                  <a:gd name="connsiteY8" fmla="*/ 544359 h 551508"/>
                  <a:gd name="connsiteX9" fmla="*/ 83915 w 248408"/>
                  <a:gd name="connsiteY9" fmla="*/ 549693 h 551508"/>
                  <a:gd name="connsiteX10" fmla="*/ 241744 w 248408"/>
                  <a:gd name="connsiteY10" fmla="*/ 458539 h 551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8408" h="551508">
                    <a:moveTo>
                      <a:pt x="241744" y="458539"/>
                    </a:moveTo>
                    <a:cubicBezTo>
                      <a:pt x="247936" y="454919"/>
                      <a:pt x="250126" y="447204"/>
                      <a:pt x="246983" y="440822"/>
                    </a:cubicBezTo>
                    <a:cubicBezTo>
                      <a:pt x="222599" y="391007"/>
                      <a:pt x="208788" y="335000"/>
                      <a:pt x="208788" y="275754"/>
                    </a:cubicBezTo>
                    <a:cubicBezTo>
                      <a:pt x="208788" y="216509"/>
                      <a:pt x="222504" y="160502"/>
                      <a:pt x="246983" y="110686"/>
                    </a:cubicBezTo>
                    <a:cubicBezTo>
                      <a:pt x="250126" y="104304"/>
                      <a:pt x="247936" y="96494"/>
                      <a:pt x="241744" y="92969"/>
                    </a:cubicBezTo>
                    <a:lnTo>
                      <a:pt x="83915" y="1815"/>
                    </a:lnTo>
                    <a:cubicBezTo>
                      <a:pt x="77343" y="-1995"/>
                      <a:pt x="68771" y="386"/>
                      <a:pt x="65246" y="7149"/>
                    </a:cubicBezTo>
                    <a:cubicBezTo>
                      <a:pt x="23527" y="87540"/>
                      <a:pt x="0" y="178885"/>
                      <a:pt x="0" y="275754"/>
                    </a:cubicBezTo>
                    <a:cubicBezTo>
                      <a:pt x="0" y="372623"/>
                      <a:pt x="23622" y="463968"/>
                      <a:pt x="65246" y="544359"/>
                    </a:cubicBezTo>
                    <a:cubicBezTo>
                      <a:pt x="68771" y="551122"/>
                      <a:pt x="77343" y="553503"/>
                      <a:pt x="83915" y="549693"/>
                    </a:cubicBezTo>
                    <a:lnTo>
                      <a:pt x="241744" y="458539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35" name="Rectángulo 34">
              <a:extLst>
                <a:ext uri="{FF2B5EF4-FFF2-40B4-BE49-F238E27FC236}">
                  <a16:creationId xmlns:a16="http://schemas.microsoft.com/office/drawing/2014/main" id="{29D125CF-8EF7-97D7-EDC7-CA317D839E01}"/>
                </a:ext>
              </a:extLst>
            </p:cNvPr>
            <p:cNvSpPr/>
            <p:nvPr/>
          </p:nvSpPr>
          <p:spPr>
            <a:xfrm>
              <a:off x="1492873" y="701273"/>
              <a:ext cx="1568454" cy="30909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ts val="2800"/>
                </a:lnSpc>
              </a:pPr>
              <a:r>
                <a:rPr lang="en-US" sz="2500" b="0" i="0" spc="-60" noProof="1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  <a:t>Generación de</a:t>
              </a:r>
              <a:br>
                <a:rPr lang="en-US" sz="2500" b="0" i="0" spc="-60" noProof="1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</a:br>
              <a:r>
                <a:rPr lang="en-US" sz="2500" b="0" i="0" spc="-60" noProof="1">
                  <a:solidFill>
                    <a:schemeClr val="bg2"/>
                  </a:solidFill>
                  <a:latin typeface="Pulso" pitchFamily="2" charset="0"/>
                  <a:ea typeface="Inter Light BETA" panose="020B0402030000000004" pitchFamily="34" charset="0"/>
                </a:rPr>
                <a:t>Valor Tec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80945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A64401-C5B5-AFE5-4768-11E8833196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54D1BFED-3C43-B98F-4221-9107FB96D787}"/>
              </a:ext>
            </a:extLst>
          </p:cNvPr>
          <p:cNvGrpSpPr/>
          <p:nvPr/>
        </p:nvGrpSpPr>
        <p:grpSpPr>
          <a:xfrm>
            <a:off x="556225" y="1579308"/>
            <a:ext cx="8031550" cy="2935718"/>
            <a:chOff x="556225" y="1579308"/>
            <a:chExt cx="7991640" cy="2935718"/>
          </a:xfrm>
        </p:grpSpPr>
        <p:sp>
          <p:nvSpPr>
            <p:cNvPr id="4" name="Forma libre 3">
              <a:extLst>
                <a:ext uri="{FF2B5EF4-FFF2-40B4-BE49-F238E27FC236}">
                  <a16:creationId xmlns:a16="http://schemas.microsoft.com/office/drawing/2014/main" id="{389EA2B6-E734-3FA3-5F6E-9F480F2F2B9F}"/>
                </a:ext>
              </a:extLst>
            </p:cNvPr>
            <p:cNvSpPr/>
            <p:nvPr/>
          </p:nvSpPr>
          <p:spPr>
            <a:xfrm>
              <a:off x="556225" y="1579308"/>
              <a:ext cx="3995821" cy="2935718"/>
            </a:xfrm>
            <a:custGeom>
              <a:avLst/>
              <a:gdLst>
                <a:gd name="connsiteX0" fmla="*/ 86423 w 5327761"/>
                <a:gd name="connsiteY0" fmla="*/ 0 h 5073629"/>
                <a:gd name="connsiteX1" fmla="*/ 1769174 w 5327761"/>
                <a:gd name="connsiteY1" fmla="*/ 0 h 5073629"/>
                <a:gd name="connsiteX2" fmla="*/ 3081577 w 5327761"/>
                <a:gd name="connsiteY2" fmla="*/ 0 h 5073629"/>
                <a:gd name="connsiteX3" fmla="*/ 3826573 w 5327761"/>
                <a:gd name="connsiteY3" fmla="*/ 0 h 5073629"/>
                <a:gd name="connsiteX4" fmla="*/ 4764327 w 5327761"/>
                <a:gd name="connsiteY4" fmla="*/ 0 h 5073629"/>
                <a:gd name="connsiteX5" fmla="*/ 5327761 w 5327761"/>
                <a:gd name="connsiteY5" fmla="*/ 0 h 5073629"/>
                <a:gd name="connsiteX6" fmla="*/ 5327761 w 5327761"/>
                <a:gd name="connsiteY6" fmla="*/ 5073629 h 5073629"/>
                <a:gd name="connsiteX7" fmla="*/ 4764327 w 5327761"/>
                <a:gd name="connsiteY7" fmla="*/ 5073629 h 5073629"/>
                <a:gd name="connsiteX8" fmla="*/ 3826573 w 5327761"/>
                <a:gd name="connsiteY8" fmla="*/ 5073629 h 5073629"/>
                <a:gd name="connsiteX9" fmla="*/ 3081577 w 5327761"/>
                <a:gd name="connsiteY9" fmla="*/ 5073629 h 5073629"/>
                <a:gd name="connsiteX10" fmla="*/ 1769174 w 5327761"/>
                <a:gd name="connsiteY10" fmla="*/ 5073629 h 5073629"/>
                <a:gd name="connsiteX11" fmla="*/ 86424 w 5327761"/>
                <a:gd name="connsiteY11" fmla="*/ 5073629 h 5073629"/>
                <a:gd name="connsiteX12" fmla="*/ 1 w 5327761"/>
                <a:gd name="connsiteY12" fmla="*/ 4987206 h 5073629"/>
                <a:gd name="connsiteX13" fmla="*/ 1 w 5327761"/>
                <a:gd name="connsiteY13" fmla="*/ 3863257 h 5073629"/>
                <a:gd name="connsiteX14" fmla="*/ 0 w 5327761"/>
                <a:gd name="connsiteY14" fmla="*/ 3863256 h 5073629"/>
                <a:gd name="connsiteX15" fmla="*/ 0 w 5327761"/>
                <a:gd name="connsiteY15" fmla="*/ 86423 h 5073629"/>
                <a:gd name="connsiteX16" fmla="*/ 86423 w 5327761"/>
                <a:gd name="connsiteY16" fmla="*/ 0 h 5073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327761" h="5073629">
                  <a:moveTo>
                    <a:pt x="86423" y="0"/>
                  </a:moveTo>
                  <a:lnTo>
                    <a:pt x="1769174" y="0"/>
                  </a:lnTo>
                  <a:lnTo>
                    <a:pt x="3081577" y="0"/>
                  </a:lnTo>
                  <a:lnTo>
                    <a:pt x="3826573" y="0"/>
                  </a:lnTo>
                  <a:lnTo>
                    <a:pt x="4764327" y="0"/>
                  </a:lnTo>
                  <a:lnTo>
                    <a:pt x="5327761" y="0"/>
                  </a:lnTo>
                  <a:lnTo>
                    <a:pt x="5327761" y="5073629"/>
                  </a:lnTo>
                  <a:lnTo>
                    <a:pt x="4764327" y="5073629"/>
                  </a:lnTo>
                  <a:lnTo>
                    <a:pt x="3826573" y="5073629"/>
                  </a:lnTo>
                  <a:lnTo>
                    <a:pt x="3081577" y="5073629"/>
                  </a:lnTo>
                  <a:lnTo>
                    <a:pt x="1769174" y="5073629"/>
                  </a:lnTo>
                  <a:lnTo>
                    <a:pt x="86424" y="5073629"/>
                  </a:lnTo>
                  <a:cubicBezTo>
                    <a:pt x="38694" y="5073629"/>
                    <a:pt x="1" y="5034936"/>
                    <a:pt x="1" y="4987206"/>
                  </a:cubicBezTo>
                  <a:lnTo>
                    <a:pt x="1" y="3863257"/>
                  </a:lnTo>
                  <a:lnTo>
                    <a:pt x="0" y="3863256"/>
                  </a:lnTo>
                  <a:lnTo>
                    <a:pt x="0" y="86423"/>
                  </a:lnTo>
                  <a:cubicBezTo>
                    <a:pt x="0" y="38693"/>
                    <a:pt x="38693" y="0"/>
                    <a:pt x="8642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AR" sz="1350">
                <a:solidFill>
                  <a:srgbClr val="F0F0F0"/>
                </a:solidFill>
                <a:latin typeface="Pulso" pitchFamily="2" charset="0"/>
              </a:endParaRPr>
            </a:p>
          </p:txBody>
        </p:sp>
        <p:sp>
          <p:nvSpPr>
            <p:cNvPr id="3" name="Forma libre 2">
              <a:extLst>
                <a:ext uri="{FF2B5EF4-FFF2-40B4-BE49-F238E27FC236}">
                  <a16:creationId xmlns:a16="http://schemas.microsoft.com/office/drawing/2014/main" id="{E655E0FC-7B12-D500-0A1D-24628A21E55C}"/>
                </a:ext>
              </a:extLst>
            </p:cNvPr>
            <p:cNvSpPr/>
            <p:nvPr/>
          </p:nvSpPr>
          <p:spPr>
            <a:xfrm flipH="1">
              <a:off x="4552044" y="1579308"/>
              <a:ext cx="3995821" cy="2935718"/>
            </a:xfrm>
            <a:custGeom>
              <a:avLst/>
              <a:gdLst>
                <a:gd name="connsiteX0" fmla="*/ 86423 w 5327761"/>
                <a:gd name="connsiteY0" fmla="*/ 0 h 5073629"/>
                <a:gd name="connsiteX1" fmla="*/ 1769174 w 5327761"/>
                <a:gd name="connsiteY1" fmla="*/ 0 h 5073629"/>
                <a:gd name="connsiteX2" fmla="*/ 3081577 w 5327761"/>
                <a:gd name="connsiteY2" fmla="*/ 0 h 5073629"/>
                <a:gd name="connsiteX3" fmla="*/ 3826573 w 5327761"/>
                <a:gd name="connsiteY3" fmla="*/ 0 h 5073629"/>
                <a:gd name="connsiteX4" fmla="*/ 4764327 w 5327761"/>
                <a:gd name="connsiteY4" fmla="*/ 0 h 5073629"/>
                <a:gd name="connsiteX5" fmla="*/ 5327761 w 5327761"/>
                <a:gd name="connsiteY5" fmla="*/ 0 h 5073629"/>
                <a:gd name="connsiteX6" fmla="*/ 5327761 w 5327761"/>
                <a:gd name="connsiteY6" fmla="*/ 5073629 h 5073629"/>
                <a:gd name="connsiteX7" fmla="*/ 4764327 w 5327761"/>
                <a:gd name="connsiteY7" fmla="*/ 5073629 h 5073629"/>
                <a:gd name="connsiteX8" fmla="*/ 3826573 w 5327761"/>
                <a:gd name="connsiteY8" fmla="*/ 5073629 h 5073629"/>
                <a:gd name="connsiteX9" fmla="*/ 3081577 w 5327761"/>
                <a:gd name="connsiteY9" fmla="*/ 5073629 h 5073629"/>
                <a:gd name="connsiteX10" fmla="*/ 1769174 w 5327761"/>
                <a:gd name="connsiteY10" fmla="*/ 5073629 h 5073629"/>
                <a:gd name="connsiteX11" fmla="*/ 86424 w 5327761"/>
                <a:gd name="connsiteY11" fmla="*/ 5073629 h 5073629"/>
                <a:gd name="connsiteX12" fmla="*/ 1 w 5327761"/>
                <a:gd name="connsiteY12" fmla="*/ 4987206 h 5073629"/>
                <a:gd name="connsiteX13" fmla="*/ 1 w 5327761"/>
                <a:gd name="connsiteY13" fmla="*/ 3863257 h 5073629"/>
                <a:gd name="connsiteX14" fmla="*/ 0 w 5327761"/>
                <a:gd name="connsiteY14" fmla="*/ 3863256 h 5073629"/>
                <a:gd name="connsiteX15" fmla="*/ 0 w 5327761"/>
                <a:gd name="connsiteY15" fmla="*/ 86423 h 5073629"/>
                <a:gd name="connsiteX16" fmla="*/ 86423 w 5327761"/>
                <a:gd name="connsiteY16" fmla="*/ 0 h 5073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327761" h="5073629">
                  <a:moveTo>
                    <a:pt x="86423" y="0"/>
                  </a:moveTo>
                  <a:lnTo>
                    <a:pt x="1769174" y="0"/>
                  </a:lnTo>
                  <a:lnTo>
                    <a:pt x="3081577" y="0"/>
                  </a:lnTo>
                  <a:lnTo>
                    <a:pt x="3826573" y="0"/>
                  </a:lnTo>
                  <a:lnTo>
                    <a:pt x="4764327" y="0"/>
                  </a:lnTo>
                  <a:lnTo>
                    <a:pt x="5327761" y="0"/>
                  </a:lnTo>
                  <a:lnTo>
                    <a:pt x="5327761" y="5073629"/>
                  </a:lnTo>
                  <a:lnTo>
                    <a:pt x="4764327" y="5073629"/>
                  </a:lnTo>
                  <a:lnTo>
                    <a:pt x="3826573" y="5073629"/>
                  </a:lnTo>
                  <a:lnTo>
                    <a:pt x="3081577" y="5073629"/>
                  </a:lnTo>
                  <a:lnTo>
                    <a:pt x="1769174" y="5073629"/>
                  </a:lnTo>
                  <a:lnTo>
                    <a:pt x="86424" y="5073629"/>
                  </a:lnTo>
                  <a:cubicBezTo>
                    <a:pt x="38694" y="5073629"/>
                    <a:pt x="1" y="5034936"/>
                    <a:pt x="1" y="4987206"/>
                  </a:cubicBezTo>
                  <a:lnTo>
                    <a:pt x="1" y="3863257"/>
                  </a:lnTo>
                  <a:lnTo>
                    <a:pt x="0" y="3863256"/>
                  </a:lnTo>
                  <a:lnTo>
                    <a:pt x="0" y="86423"/>
                  </a:lnTo>
                  <a:cubicBezTo>
                    <a:pt x="0" y="38693"/>
                    <a:pt x="38693" y="0"/>
                    <a:pt x="86423" y="0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AR" sz="1350">
                <a:solidFill>
                  <a:srgbClr val="F0F0F0"/>
                </a:solidFill>
                <a:latin typeface="Pulso" pitchFamily="2" charset="0"/>
              </a:endParaRPr>
            </a:p>
          </p:txBody>
        </p:sp>
      </p:grpSp>
      <p:sp>
        <p:nvSpPr>
          <p:cNvPr id="11" name="Title 1">
            <a:extLst>
              <a:ext uri="{FF2B5EF4-FFF2-40B4-BE49-F238E27FC236}">
                <a16:creationId xmlns:a16="http://schemas.microsoft.com/office/drawing/2014/main" id="{79114662-4575-6CAD-05BD-D33928D1A4D1}"/>
              </a:ext>
            </a:extLst>
          </p:cNvPr>
          <p:cNvSpPr txBox="1">
            <a:spLocks/>
          </p:cNvSpPr>
          <p:nvPr/>
        </p:nvSpPr>
        <p:spPr>
          <a:xfrm>
            <a:off x="540657" y="606143"/>
            <a:ext cx="2085130" cy="718145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tx2"/>
                </a:solidFill>
                <a:latin typeface="Pulso Light" pitchFamily="2" charset="0"/>
              </a:rPr>
              <a:t>Negocio B2B</a:t>
            </a:r>
          </a:p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bg2"/>
                </a:solidFill>
                <a:latin typeface="Pulso Light" pitchFamily="2" charset="0"/>
              </a:rPr>
              <a:t>Mercado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70A88B2A-2717-764E-D32C-E99ABA4BCB0E}"/>
              </a:ext>
            </a:extLst>
          </p:cNvPr>
          <p:cNvSpPr txBox="1"/>
          <p:nvPr/>
        </p:nvSpPr>
        <p:spPr>
          <a:xfrm>
            <a:off x="712392" y="1722388"/>
            <a:ext cx="1396215" cy="169277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indent="0" defTabSz="914318">
              <a:lnSpc>
                <a:spcPct val="114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b="1" i="0">
                <a:solidFill>
                  <a:schemeClr val="bg1"/>
                </a:solidFill>
                <a:latin typeface="Montserrat SemiBold" pitchFamily="2" charset="77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</a:lvl2pPr>
            <a:lvl3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200"/>
            </a:lvl3pPr>
            <a:lvl4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000">
                <a:solidFill>
                  <a:schemeClr val="tx1">
                    <a:alpha val="70000"/>
                  </a:schemeClr>
                </a:solidFill>
              </a:defRPr>
            </a:lvl4pPr>
            <a:lvl5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000" baseline="0">
                <a:solidFill>
                  <a:schemeClr val="tx1">
                    <a:alpha val="50000"/>
                  </a:schemeClr>
                </a:solidFill>
              </a:defRPr>
            </a:lvl5pPr>
            <a:lvl6pPr marL="2514374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6pPr>
            <a:lvl7pPr marL="2971534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7pPr>
            <a:lvl8pPr marL="3428692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8pPr>
            <a:lvl9pPr marL="3885850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9pPr>
          </a:lstStyle>
          <a:p>
            <a:pPr defTabSz="685739" fontAlgn="auto">
              <a:lnSpc>
                <a:spcPct val="100000"/>
              </a:lnSpc>
              <a:spcAft>
                <a:spcPts val="1200"/>
              </a:spcAft>
              <a:defRPr/>
            </a:pPr>
            <a:r>
              <a:rPr lang="es-AR" sz="1100" b="0">
                <a:solidFill>
                  <a:schemeClr val="tx2"/>
                </a:solidFill>
                <a:latin typeface="Pulso" pitchFamily="2" charset="0"/>
              </a:rPr>
              <a:t>Mercado TI Argentina</a:t>
            </a:r>
          </a:p>
        </p:txBody>
      </p:sp>
      <p:graphicFrame>
        <p:nvGraphicFramePr>
          <p:cNvPr id="18" name="Gráfico 17">
            <a:extLst>
              <a:ext uri="{FF2B5EF4-FFF2-40B4-BE49-F238E27FC236}">
                <a16:creationId xmlns:a16="http://schemas.microsoft.com/office/drawing/2014/main" id="{9A82F549-DFE9-EAE8-10C7-920C9B4C2E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1733079"/>
              </p:ext>
            </p:extLst>
          </p:nvPr>
        </p:nvGraphicFramePr>
        <p:xfrm>
          <a:off x="1035876" y="1956751"/>
          <a:ext cx="3379955" cy="17971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CuadroTexto 19">
            <a:extLst>
              <a:ext uri="{FF2B5EF4-FFF2-40B4-BE49-F238E27FC236}">
                <a16:creationId xmlns:a16="http://schemas.microsoft.com/office/drawing/2014/main" id="{9A2AA507-1E14-EF9C-2092-83B1B404580F}"/>
              </a:ext>
            </a:extLst>
          </p:cNvPr>
          <p:cNvSpPr txBox="1"/>
          <p:nvPr/>
        </p:nvSpPr>
        <p:spPr>
          <a:xfrm rot="16200000">
            <a:off x="306134" y="2441927"/>
            <a:ext cx="1081093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800">
                <a:solidFill>
                  <a:schemeClr val="bg1">
                    <a:lumMod val="50000"/>
                  </a:schemeClr>
                </a:solidFill>
                <a:latin typeface="Pulso Light" pitchFamily="2" charset="0"/>
              </a:rPr>
              <a:t>Crecimiento del mercado en TI</a:t>
            </a:r>
            <a:endParaRPr lang="es-AR" sz="800">
              <a:solidFill>
                <a:schemeClr val="bg1">
                  <a:lumMod val="50000"/>
                </a:schemeClr>
              </a:solidFill>
              <a:latin typeface="Pulso Light" pitchFamily="2" charset="0"/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27985ADD-5976-EC0A-8FAB-FDD6E0CEEB09}"/>
              </a:ext>
            </a:extLst>
          </p:cNvPr>
          <p:cNvSpPr txBox="1"/>
          <p:nvPr/>
        </p:nvSpPr>
        <p:spPr>
          <a:xfrm>
            <a:off x="2952944" y="2114617"/>
            <a:ext cx="705321" cy="21544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700" err="1">
                <a:solidFill>
                  <a:srgbClr val="02B7EC"/>
                </a:solidFill>
                <a:latin typeface="Pulso" pitchFamily="2" charset="0"/>
                <a:cs typeface="+mn-cs"/>
              </a:rPr>
              <a:t>Crec</a:t>
            </a:r>
            <a:r>
              <a:rPr lang="es-ES" sz="700">
                <a:solidFill>
                  <a:srgbClr val="02B7EC"/>
                </a:solidFill>
                <a:latin typeface="Pulso" pitchFamily="2" charset="0"/>
                <a:cs typeface="+mn-cs"/>
              </a:rPr>
              <a:t> .Soluciones</a:t>
            </a:r>
            <a:br>
              <a:rPr lang="es-ES" sz="700">
                <a:solidFill>
                  <a:srgbClr val="02B7EC"/>
                </a:solidFill>
                <a:latin typeface="Pulso" pitchFamily="2" charset="0"/>
                <a:cs typeface="+mn-cs"/>
              </a:rPr>
            </a:br>
            <a:r>
              <a:rPr lang="es-ES" sz="700">
                <a:solidFill>
                  <a:srgbClr val="02B7EC"/>
                </a:solidFill>
                <a:latin typeface="Pulso" pitchFamily="2" charset="0"/>
                <a:cs typeface="+mn-cs"/>
              </a:rPr>
              <a:t>TECH (TECO)</a:t>
            </a:r>
            <a:endParaRPr lang="es-AR" sz="700">
              <a:solidFill>
                <a:srgbClr val="02B7EC"/>
              </a:solidFill>
              <a:latin typeface="Pulso" pitchFamily="2" charset="0"/>
              <a:cs typeface="+mn-cs"/>
            </a:endParaRP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8A9F8792-FBBA-C1CF-3F16-362CF91F2DB8}"/>
              </a:ext>
            </a:extLst>
          </p:cNvPr>
          <p:cNvSpPr txBox="1"/>
          <p:nvPr/>
        </p:nvSpPr>
        <p:spPr>
          <a:xfrm>
            <a:off x="1074170" y="2704353"/>
            <a:ext cx="184346" cy="10772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700">
                <a:solidFill>
                  <a:schemeClr val="accent1"/>
                </a:solidFill>
                <a:latin typeface="Pulso" pitchFamily="2" charset="0"/>
                <a:cs typeface="+mn-cs"/>
              </a:rPr>
              <a:t>ARG</a:t>
            </a:r>
            <a:endParaRPr lang="es-AR" sz="700">
              <a:solidFill>
                <a:schemeClr val="accent1"/>
              </a:solidFill>
              <a:latin typeface="Pulso" pitchFamily="2" charset="0"/>
              <a:cs typeface="+mn-cs"/>
            </a:endParaRP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ED76BB63-0134-7BBE-8800-B491C63E788B}"/>
              </a:ext>
            </a:extLst>
          </p:cNvPr>
          <p:cNvSpPr txBox="1"/>
          <p:nvPr/>
        </p:nvSpPr>
        <p:spPr>
          <a:xfrm>
            <a:off x="1035875" y="2276691"/>
            <a:ext cx="306173" cy="10772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6857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700">
                <a:solidFill>
                  <a:srgbClr val="8B939B"/>
                </a:solidFill>
                <a:latin typeface="Pulso" pitchFamily="2" charset="0"/>
                <a:cs typeface="+mn-cs"/>
              </a:rPr>
              <a:t>LATAM</a:t>
            </a:r>
            <a:endParaRPr lang="es-AR" sz="700">
              <a:solidFill>
                <a:srgbClr val="8B939B"/>
              </a:solidFill>
              <a:latin typeface="Pulso" pitchFamily="2" charset="0"/>
              <a:cs typeface="+mn-cs"/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285A3729-121F-E8C5-6D00-F61660553774}"/>
              </a:ext>
            </a:extLst>
          </p:cNvPr>
          <p:cNvSpPr txBox="1"/>
          <p:nvPr/>
        </p:nvSpPr>
        <p:spPr>
          <a:xfrm>
            <a:off x="4728168" y="1722388"/>
            <a:ext cx="1391407" cy="169277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indent="0" defTabSz="914318">
              <a:lnSpc>
                <a:spcPct val="114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b="1" i="0">
                <a:solidFill>
                  <a:schemeClr val="bg1"/>
                </a:solidFill>
                <a:latin typeface="Montserrat SemiBold" pitchFamily="2" charset="77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</a:lvl2pPr>
            <a:lvl3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200"/>
            </a:lvl3pPr>
            <a:lvl4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000">
                <a:solidFill>
                  <a:schemeClr val="tx1">
                    <a:alpha val="70000"/>
                  </a:schemeClr>
                </a:solidFill>
              </a:defRPr>
            </a:lvl4pPr>
            <a:lvl5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000" baseline="0">
                <a:solidFill>
                  <a:schemeClr val="tx1">
                    <a:alpha val="50000"/>
                  </a:schemeClr>
                </a:solidFill>
              </a:defRPr>
            </a:lvl5pPr>
            <a:lvl6pPr marL="2514374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6pPr>
            <a:lvl7pPr marL="2971534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7pPr>
            <a:lvl8pPr marL="3428692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8pPr>
            <a:lvl9pPr marL="3885850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9pPr>
          </a:lstStyle>
          <a:p>
            <a:pPr defTabSz="685739" fontAlgn="auto">
              <a:lnSpc>
                <a:spcPct val="100000"/>
              </a:lnSpc>
              <a:spcAft>
                <a:spcPts val="1200"/>
              </a:spcAft>
              <a:defRPr/>
            </a:pPr>
            <a:r>
              <a:rPr lang="es-AR" sz="1100" b="0">
                <a:solidFill>
                  <a:schemeClr val="tx2"/>
                </a:solidFill>
                <a:latin typeface="Pulso" pitchFamily="2" charset="0"/>
              </a:rPr>
              <a:t>Driver de crecimiento</a:t>
            </a:r>
          </a:p>
        </p:txBody>
      </p:sp>
      <p:graphicFrame>
        <p:nvGraphicFramePr>
          <p:cNvPr id="37" name="Gráfico 36">
            <a:extLst>
              <a:ext uri="{FF2B5EF4-FFF2-40B4-BE49-F238E27FC236}">
                <a16:creationId xmlns:a16="http://schemas.microsoft.com/office/drawing/2014/main" id="{1196D5CF-BEF8-3265-9C41-7D26D0C5CF9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5174800"/>
              </p:ext>
            </p:extLst>
          </p:nvPr>
        </p:nvGraphicFramePr>
        <p:xfrm>
          <a:off x="4731223" y="1891665"/>
          <a:ext cx="3856552" cy="1245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9" name="Gráfico 38">
            <a:extLst>
              <a:ext uri="{FF2B5EF4-FFF2-40B4-BE49-F238E27FC236}">
                <a16:creationId xmlns:a16="http://schemas.microsoft.com/office/drawing/2014/main" id="{C8748E6A-2B96-DF45-0CDF-BDA6777B84C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9180262"/>
              </p:ext>
            </p:extLst>
          </p:nvPr>
        </p:nvGraphicFramePr>
        <p:xfrm>
          <a:off x="4721705" y="3077355"/>
          <a:ext cx="3856552" cy="14228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0" name="CuadroTexto 39">
            <a:extLst>
              <a:ext uri="{FF2B5EF4-FFF2-40B4-BE49-F238E27FC236}">
                <a16:creationId xmlns:a16="http://schemas.microsoft.com/office/drawing/2014/main" id="{EDB87A1D-16E3-EE6C-B733-18EC2FB994CB}"/>
              </a:ext>
            </a:extLst>
          </p:cNvPr>
          <p:cNvSpPr txBox="1"/>
          <p:nvPr/>
        </p:nvSpPr>
        <p:spPr>
          <a:xfrm rot="16200000">
            <a:off x="4393372" y="3615253"/>
            <a:ext cx="103893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 defTabSz="685748" fontAlgn="auto">
              <a:spcBef>
                <a:spcPts val="0"/>
              </a:spcBef>
              <a:spcAft>
                <a:spcPts val="0"/>
              </a:spcAft>
              <a:defRPr sz="800" spc="-10">
                <a:latin typeface="Pulso Light" pitchFamily="2" charset="0"/>
              </a:defRPr>
            </a:lvl1pPr>
          </a:lstStyle>
          <a:p>
            <a:r>
              <a:rPr lang="es-ES" spc="0">
                <a:solidFill>
                  <a:schemeClr val="bg1">
                    <a:lumMod val="50000"/>
                  </a:schemeClr>
                </a:solidFill>
              </a:rPr>
              <a:t>Iniciativas de IT según importancia estratégica</a:t>
            </a: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A31A58AA-7B2B-98AE-1A25-3DAEEA86822D}"/>
              </a:ext>
            </a:extLst>
          </p:cNvPr>
          <p:cNvSpPr txBox="1"/>
          <p:nvPr/>
        </p:nvSpPr>
        <p:spPr>
          <a:xfrm rot="16200000">
            <a:off x="4400486" y="2355730"/>
            <a:ext cx="1024696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 defTabSz="685748" fontAlgn="auto">
              <a:spcBef>
                <a:spcPts val="0"/>
              </a:spcBef>
              <a:spcAft>
                <a:spcPts val="0"/>
              </a:spcAft>
              <a:defRPr sz="800" spc="-10">
                <a:latin typeface="Pulso Light" pitchFamily="2" charset="0"/>
              </a:defRPr>
            </a:lvl1pPr>
          </a:lstStyle>
          <a:p>
            <a:r>
              <a:rPr lang="es-ES" spc="0">
                <a:solidFill>
                  <a:schemeClr val="bg1">
                    <a:lumMod val="50000"/>
                  </a:schemeClr>
                </a:solidFill>
              </a:rPr>
              <a:t>Principales iniciativas impulsoras de inversión en IT</a:t>
            </a:r>
            <a:endParaRPr lang="es-AR" spc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6C35BE65-DEEF-8E03-7FA3-9FD1E6C93208}"/>
              </a:ext>
            </a:extLst>
          </p:cNvPr>
          <p:cNvSpPr txBox="1"/>
          <p:nvPr/>
        </p:nvSpPr>
        <p:spPr>
          <a:xfrm>
            <a:off x="709487" y="4294889"/>
            <a:ext cx="729367" cy="1054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748" fontAlgn="auto">
              <a:lnSpc>
                <a:spcPct val="130000"/>
              </a:lnSpc>
              <a:spcBef>
                <a:spcPts val="750"/>
              </a:spcBef>
              <a:spcAft>
                <a:spcPts val="0"/>
              </a:spcAft>
              <a:defRPr/>
            </a:pPr>
            <a:r>
              <a:rPr lang="es-AR" sz="6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cs typeface="+mn-cs"/>
              </a:rPr>
              <a:t>* CAGR 23-28 Latam</a:t>
            </a: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DE4F6F38-8AAF-E8A5-99FC-4F387C1F64CA}"/>
              </a:ext>
            </a:extLst>
          </p:cNvPr>
          <p:cNvSpPr txBox="1"/>
          <p:nvPr/>
        </p:nvSpPr>
        <p:spPr>
          <a:xfrm>
            <a:off x="8024687" y="4294889"/>
            <a:ext cx="392736" cy="1054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748" fontAlgn="auto">
              <a:lnSpc>
                <a:spcPct val="130000"/>
              </a:lnSpc>
              <a:spcBef>
                <a:spcPts val="750"/>
              </a:spcBef>
              <a:spcAft>
                <a:spcPts val="0"/>
              </a:spcAft>
              <a:defRPr/>
            </a:pPr>
            <a:r>
              <a:rPr lang="es-AR" sz="600">
                <a:solidFill>
                  <a:schemeClr val="bg1">
                    <a:lumMod val="25000"/>
                  </a:schemeClr>
                </a:solidFill>
                <a:latin typeface="Pulso Light" pitchFamily="2" charset="0"/>
                <a:cs typeface="+mn-cs"/>
              </a:rPr>
              <a:t>Fuente: IDC</a:t>
            </a:r>
          </a:p>
        </p:txBody>
      </p:sp>
      <p:graphicFrame>
        <p:nvGraphicFramePr>
          <p:cNvPr id="53" name="Tabla 52">
            <a:extLst>
              <a:ext uri="{FF2B5EF4-FFF2-40B4-BE49-F238E27FC236}">
                <a16:creationId xmlns:a16="http://schemas.microsoft.com/office/drawing/2014/main" id="{6AA0317F-7D9C-AF85-BABD-09338A324C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9019041"/>
              </p:ext>
            </p:extLst>
          </p:nvPr>
        </p:nvGraphicFramePr>
        <p:xfrm>
          <a:off x="1950318" y="3237758"/>
          <a:ext cx="1198492" cy="1192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9246">
                  <a:extLst>
                    <a:ext uri="{9D8B030D-6E8A-4147-A177-3AD203B41FA5}">
                      <a16:colId xmlns:a16="http://schemas.microsoft.com/office/drawing/2014/main" val="3277387807"/>
                    </a:ext>
                  </a:extLst>
                </a:gridCol>
                <a:gridCol w="599246">
                  <a:extLst>
                    <a:ext uri="{9D8B030D-6E8A-4147-A177-3AD203B41FA5}">
                      <a16:colId xmlns:a16="http://schemas.microsoft.com/office/drawing/2014/main" val="2532517683"/>
                    </a:ext>
                  </a:extLst>
                </a:gridCol>
              </a:tblGrid>
              <a:tr h="116702">
                <a:tc>
                  <a:txBody>
                    <a:bodyPr/>
                    <a:lstStyle/>
                    <a:p>
                      <a:endParaRPr lang="es-ES_tradnl" sz="700" b="0" i="0">
                        <a:latin typeface="Pulso Light" pitchFamily="2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700" b="1" i="0">
                          <a:latin typeface="Pulso" pitchFamily="2" charset="0"/>
                        </a:rPr>
                        <a:t>CAGR 25-29</a:t>
                      </a:r>
                    </a:p>
                  </a:txBody>
                  <a:tcPr marL="0" marR="0" marT="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3305133"/>
                  </a:ext>
                </a:extLst>
              </a:tr>
              <a:tr h="116702">
                <a:tc>
                  <a:txBody>
                    <a:bodyPr/>
                    <a:lstStyle/>
                    <a:p>
                      <a:r>
                        <a:rPr lang="es-ES_tradnl" sz="700" b="0" i="0">
                          <a:latin typeface="Pulso" pitchFamily="2" charset="0"/>
                        </a:rPr>
                        <a:t>Datacenter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700" b="0" i="0">
                          <a:latin typeface="Pulso" pitchFamily="2" charset="0"/>
                        </a:rPr>
                        <a:t>4%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606358"/>
                  </a:ext>
                </a:extLst>
              </a:tr>
              <a:tr h="116702">
                <a:tc>
                  <a:txBody>
                    <a:bodyPr/>
                    <a:lstStyle/>
                    <a:p>
                      <a:r>
                        <a:rPr lang="es-ES_tradnl" sz="700" b="0" i="0">
                          <a:latin typeface="Pulso" pitchFamily="2" charset="0"/>
                        </a:rPr>
                        <a:t>Cloud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700" b="0" i="0">
                          <a:latin typeface="Pulso" pitchFamily="2" charset="0"/>
                        </a:rPr>
                        <a:t>19,2%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079974"/>
                  </a:ext>
                </a:extLst>
              </a:tr>
              <a:tr h="116702">
                <a:tc>
                  <a:txBody>
                    <a:bodyPr/>
                    <a:lstStyle/>
                    <a:p>
                      <a:r>
                        <a:rPr lang="es-ES_tradnl" sz="700" b="0" i="0">
                          <a:latin typeface="Pulso Light" pitchFamily="2" charset="0"/>
                        </a:rPr>
                        <a:t>        Pública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700" b="0" i="0">
                          <a:latin typeface="Pulso Light" pitchFamily="2" charset="0"/>
                        </a:rPr>
                        <a:t>20,2%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980821"/>
                  </a:ext>
                </a:extLst>
              </a:tr>
              <a:tr h="116702">
                <a:tc>
                  <a:txBody>
                    <a:bodyPr/>
                    <a:lstStyle/>
                    <a:p>
                      <a:r>
                        <a:rPr lang="es-ES_tradnl" sz="700" b="0" i="0">
                          <a:latin typeface="Pulso Light" pitchFamily="2" charset="0"/>
                        </a:rPr>
                        <a:t>        Privada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700" b="0" i="0">
                          <a:latin typeface="Pulso Light" pitchFamily="2" charset="0"/>
                        </a:rPr>
                        <a:t>9,9%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8154522"/>
                  </a:ext>
                </a:extLst>
              </a:tr>
              <a:tr h="116702">
                <a:tc>
                  <a:txBody>
                    <a:bodyPr/>
                    <a:lstStyle/>
                    <a:p>
                      <a:r>
                        <a:rPr lang="es-ES_tradnl" sz="700" b="0" i="0">
                          <a:latin typeface="Pulso" pitchFamily="2" charset="0"/>
                        </a:rPr>
                        <a:t>Colaboración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700" b="0" i="0">
                          <a:latin typeface="Pulso" pitchFamily="2" charset="0"/>
                        </a:rPr>
                        <a:t>10%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1988215"/>
                  </a:ext>
                </a:extLst>
              </a:tr>
              <a:tr h="116702">
                <a:tc>
                  <a:txBody>
                    <a:bodyPr/>
                    <a:lstStyle/>
                    <a:p>
                      <a:r>
                        <a:rPr lang="es-ES_tradnl" sz="700" b="0" i="0">
                          <a:latin typeface="Pulso" pitchFamily="2" charset="0"/>
                        </a:rPr>
                        <a:t>Seguridad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700" b="0" i="0">
                          <a:latin typeface="Pulso" pitchFamily="2" charset="0"/>
                        </a:rPr>
                        <a:t>13,1%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7156549"/>
                  </a:ext>
                </a:extLst>
              </a:tr>
              <a:tr h="116702">
                <a:tc>
                  <a:txBody>
                    <a:bodyPr/>
                    <a:lstStyle/>
                    <a:p>
                      <a:r>
                        <a:rPr lang="es-ES_tradnl" sz="700" b="0" i="0">
                          <a:latin typeface="Pulso" pitchFamily="2" charset="0"/>
                        </a:rPr>
                        <a:t>IOT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700" b="0" i="0">
                          <a:latin typeface="Pulso" pitchFamily="2" charset="0"/>
                        </a:rPr>
                        <a:t>12,1%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3260907"/>
                  </a:ext>
                </a:extLst>
              </a:tr>
              <a:tr h="116702">
                <a:tc>
                  <a:txBody>
                    <a:bodyPr/>
                    <a:lstStyle/>
                    <a:p>
                      <a:r>
                        <a:rPr lang="es-ES_tradnl" sz="700" b="0" i="0">
                          <a:latin typeface="Pulso" pitchFamily="2" charset="0"/>
                        </a:rPr>
                        <a:t>Conectividad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700" b="0" i="0">
                          <a:latin typeface="Pulso" pitchFamily="2" charset="0"/>
                        </a:rPr>
                        <a:t>8,9%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8587848"/>
                  </a:ext>
                </a:extLst>
              </a:tr>
              <a:tr h="116702">
                <a:tc>
                  <a:txBody>
                    <a:bodyPr/>
                    <a:lstStyle/>
                    <a:p>
                      <a:r>
                        <a:rPr lang="es-ES_tradnl" sz="700" b="0" i="0">
                          <a:latin typeface="Pulso" pitchFamily="2" charset="0"/>
                        </a:rPr>
                        <a:t>Edge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_tradnl" sz="700" b="0" i="0">
                          <a:latin typeface="Pulso" pitchFamily="2" charset="0"/>
                        </a:rPr>
                        <a:t>13%*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82522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6142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F692D5-294B-05E0-4DB8-830747E81C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redondeado 7">
            <a:extLst>
              <a:ext uri="{FF2B5EF4-FFF2-40B4-BE49-F238E27FC236}">
                <a16:creationId xmlns:a16="http://schemas.microsoft.com/office/drawing/2014/main" id="{3092E182-CD06-AFC6-045A-2F3F9068A422}"/>
              </a:ext>
            </a:extLst>
          </p:cNvPr>
          <p:cNvSpPr/>
          <p:nvPr/>
        </p:nvSpPr>
        <p:spPr>
          <a:xfrm>
            <a:off x="4467282" y="1662834"/>
            <a:ext cx="3840448" cy="1341936"/>
          </a:xfrm>
          <a:prstGeom prst="roundRect">
            <a:avLst>
              <a:gd name="adj" fmla="val 5330"/>
            </a:avLst>
          </a:prstGeom>
          <a:solidFill>
            <a:srgbClr val="FFFFFF"/>
          </a:solidFill>
          <a:ln w="25400" cap="rnd" cmpd="sng">
            <a:noFill/>
            <a:prstDash val="solid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0" rIns="0" bIns="0" rtlCol="0" anchor="ctr" anchorCtr="0">
            <a:noAutofit/>
          </a:bodyPr>
          <a:lstStyle/>
          <a:p>
            <a:pPr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s-ES_tradnl" sz="850">
              <a:solidFill>
                <a:schemeClr val="tx2">
                  <a:lumMod val="75000"/>
                  <a:lumOff val="25000"/>
                </a:schemeClr>
              </a:solidFill>
              <a:latin typeface="Pulso" pitchFamily="2" charset="0"/>
              <a:ea typeface="Roboto Medium" panose="02000000000000000000" pitchFamily="2" charset="0"/>
              <a:cs typeface="Roboto" panose="02000000000000000000" pitchFamily="2" charset="0"/>
            </a:endParaRPr>
          </a:p>
        </p:txBody>
      </p:sp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E41EBF8F-B89E-417C-FA73-F4F1CE16066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51036683"/>
              </p:ext>
            </p:extLst>
          </p:nvPr>
        </p:nvGraphicFramePr>
        <p:xfrm>
          <a:off x="5638847" y="1540463"/>
          <a:ext cx="2610000" cy="158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79F43834-B57E-50E2-C7FF-B7A3641AFD85}"/>
              </a:ext>
            </a:extLst>
          </p:cNvPr>
          <p:cNvSpPr txBox="1">
            <a:spLocks/>
          </p:cNvSpPr>
          <p:nvPr/>
        </p:nvSpPr>
        <p:spPr>
          <a:xfrm>
            <a:off x="540657" y="606141"/>
            <a:ext cx="3055003" cy="718145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tx2"/>
                </a:solidFill>
                <a:latin typeface="Pulso Light" pitchFamily="2" charset="0"/>
              </a:rPr>
              <a:t>Negocio B2B</a:t>
            </a:r>
          </a:p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bg2"/>
                </a:solidFill>
                <a:latin typeface="Pulso Light" pitchFamily="2" charset="0"/>
              </a:rPr>
              <a:t>MERCADO CORE + DC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7B46E0A-611F-C580-E656-2F04D1B5346B}"/>
              </a:ext>
            </a:extLst>
          </p:cNvPr>
          <p:cNvSpPr txBox="1">
            <a:spLocks/>
          </p:cNvSpPr>
          <p:nvPr/>
        </p:nvSpPr>
        <p:spPr>
          <a:xfrm>
            <a:off x="540657" y="1313762"/>
            <a:ext cx="1112484" cy="184666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200" b="0" spc="0" noProof="0">
                <a:solidFill>
                  <a:schemeClr val="tx2"/>
                </a:solidFill>
              </a:rPr>
              <a:t>(market share) </a:t>
            </a:r>
          </a:p>
        </p:txBody>
      </p:sp>
      <p:sp>
        <p:nvSpPr>
          <p:cNvPr id="12" name="Rectángulo redondeado 7">
            <a:extLst>
              <a:ext uri="{FF2B5EF4-FFF2-40B4-BE49-F238E27FC236}">
                <a16:creationId xmlns:a16="http://schemas.microsoft.com/office/drawing/2014/main" id="{A00855E4-ED60-6190-A2AB-3B6A27BF2CAD}"/>
              </a:ext>
            </a:extLst>
          </p:cNvPr>
          <p:cNvSpPr/>
          <p:nvPr/>
        </p:nvSpPr>
        <p:spPr>
          <a:xfrm>
            <a:off x="534326" y="1669950"/>
            <a:ext cx="3840448" cy="1341936"/>
          </a:xfrm>
          <a:prstGeom prst="roundRect">
            <a:avLst>
              <a:gd name="adj" fmla="val 5330"/>
            </a:avLst>
          </a:prstGeom>
          <a:solidFill>
            <a:srgbClr val="FFFFFF"/>
          </a:solidFill>
          <a:ln w="25400" cap="rnd" cmpd="sng">
            <a:noFill/>
            <a:prstDash val="solid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0" rIns="0" bIns="0" rtlCol="0" anchor="ctr" anchorCtr="0">
            <a:noAutofit/>
          </a:bodyPr>
          <a:lstStyle/>
          <a:p>
            <a:pPr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s-ES_tradnl" sz="850">
              <a:solidFill>
                <a:schemeClr val="tx2">
                  <a:lumMod val="75000"/>
                  <a:lumOff val="25000"/>
                </a:schemeClr>
              </a:solidFill>
              <a:latin typeface="Pulso" pitchFamily="2" charset="0"/>
              <a:ea typeface="Roboto Medium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4" name="Rectángulo redondeado 7">
            <a:extLst>
              <a:ext uri="{FF2B5EF4-FFF2-40B4-BE49-F238E27FC236}">
                <a16:creationId xmlns:a16="http://schemas.microsoft.com/office/drawing/2014/main" id="{4C54673E-6979-1232-2B9F-5B456E166A4E}"/>
              </a:ext>
            </a:extLst>
          </p:cNvPr>
          <p:cNvSpPr/>
          <p:nvPr/>
        </p:nvSpPr>
        <p:spPr>
          <a:xfrm>
            <a:off x="534326" y="3099055"/>
            <a:ext cx="3840448" cy="1341936"/>
          </a:xfrm>
          <a:prstGeom prst="roundRect">
            <a:avLst>
              <a:gd name="adj" fmla="val 5330"/>
            </a:avLst>
          </a:prstGeom>
          <a:solidFill>
            <a:srgbClr val="FFFFFF"/>
          </a:solidFill>
          <a:ln w="25400" cap="rnd" cmpd="sng">
            <a:noFill/>
            <a:prstDash val="solid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0" rIns="0" bIns="0" rtlCol="0" anchor="ctr" anchorCtr="0">
            <a:noAutofit/>
          </a:bodyPr>
          <a:lstStyle/>
          <a:p>
            <a:pPr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s-ES_tradnl" sz="850">
              <a:solidFill>
                <a:schemeClr val="tx2">
                  <a:lumMod val="75000"/>
                  <a:lumOff val="25000"/>
                </a:schemeClr>
              </a:solidFill>
              <a:latin typeface="Pulso" pitchFamily="2" charset="0"/>
              <a:ea typeface="Roboto Medium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5" name="Rectángulo redondeado 7">
            <a:extLst>
              <a:ext uri="{FF2B5EF4-FFF2-40B4-BE49-F238E27FC236}">
                <a16:creationId xmlns:a16="http://schemas.microsoft.com/office/drawing/2014/main" id="{EAB134A7-8952-A4D9-7170-28D430F19DEB}"/>
              </a:ext>
            </a:extLst>
          </p:cNvPr>
          <p:cNvSpPr/>
          <p:nvPr/>
        </p:nvSpPr>
        <p:spPr>
          <a:xfrm>
            <a:off x="4467282" y="3091939"/>
            <a:ext cx="3840448" cy="1341936"/>
          </a:xfrm>
          <a:prstGeom prst="roundRect">
            <a:avLst>
              <a:gd name="adj" fmla="val 5330"/>
            </a:avLst>
          </a:prstGeom>
          <a:solidFill>
            <a:srgbClr val="FFFFFF"/>
          </a:solidFill>
          <a:ln w="25400" cap="rnd" cmpd="sng">
            <a:noFill/>
            <a:prstDash val="solid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0" rIns="0" bIns="0" rtlCol="0" anchor="ctr" anchorCtr="0">
            <a:noAutofit/>
          </a:bodyPr>
          <a:lstStyle/>
          <a:p>
            <a:pPr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s-ES_tradnl" sz="850">
              <a:solidFill>
                <a:schemeClr val="tx2">
                  <a:lumMod val="75000"/>
                  <a:lumOff val="25000"/>
                </a:schemeClr>
              </a:solidFill>
              <a:latin typeface="Pulso" pitchFamily="2" charset="0"/>
              <a:ea typeface="Roboto Medium" panose="02000000000000000000" pitchFamily="2" charset="0"/>
              <a:cs typeface="Roboto" panose="02000000000000000000" pitchFamily="2" charset="0"/>
            </a:endParaRPr>
          </a:p>
        </p:txBody>
      </p:sp>
      <p:graphicFrame>
        <p:nvGraphicFramePr>
          <p:cNvPr id="16" name="Gráfico 15">
            <a:extLst>
              <a:ext uri="{FF2B5EF4-FFF2-40B4-BE49-F238E27FC236}">
                <a16:creationId xmlns:a16="http://schemas.microsoft.com/office/drawing/2014/main" id="{20A07DFF-90F1-AA8A-E5EE-B59819520AD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6984030"/>
              </p:ext>
            </p:extLst>
          </p:nvPr>
        </p:nvGraphicFramePr>
        <p:xfrm>
          <a:off x="1707283" y="1540463"/>
          <a:ext cx="2610025" cy="158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CuadroTexto 17">
            <a:extLst>
              <a:ext uri="{FF2B5EF4-FFF2-40B4-BE49-F238E27FC236}">
                <a16:creationId xmlns:a16="http://schemas.microsoft.com/office/drawing/2014/main" id="{A96B9322-D629-9FF8-AAAF-2922EA4D363B}"/>
              </a:ext>
            </a:extLst>
          </p:cNvPr>
          <p:cNvSpPr txBox="1"/>
          <p:nvPr/>
        </p:nvSpPr>
        <p:spPr>
          <a:xfrm>
            <a:off x="2833209" y="2268689"/>
            <a:ext cx="351057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130000"/>
              </a:lnSpc>
              <a:spcBef>
                <a:spcPts val="1000"/>
              </a:spcBef>
              <a:defRPr sz="1400">
                <a:latin typeface="+mj-lt"/>
              </a:defRPr>
            </a:lvl1pPr>
          </a:lstStyle>
          <a:p>
            <a:pPr algn="ctr" defTabSz="68574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00">
                <a:solidFill>
                  <a:schemeClr val="tx2"/>
                </a:solidFill>
                <a:latin typeface="Pulso" pitchFamily="2" charset="0"/>
                <a:cs typeface="+mn-cs"/>
              </a:rPr>
              <a:t>2,5 MM</a:t>
            </a:r>
          </a:p>
        </p:txBody>
      </p:sp>
      <p:sp>
        <p:nvSpPr>
          <p:cNvPr id="1064" name="CuadroTexto 1063">
            <a:extLst>
              <a:ext uri="{FF2B5EF4-FFF2-40B4-BE49-F238E27FC236}">
                <a16:creationId xmlns:a16="http://schemas.microsoft.com/office/drawing/2014/main" id="{E424D6B1-1D66-397F-BF53-BA41F9616D0A}"/>
              </a:ext>
            </a:extLst>
          </p:cNvPr>
          <p:cNvSpPr txBox="1"/>
          <p:nvPr/>
        </p:nvSpPr>
        <p:spPr>
          <a:xfrm>
            <a:off x="712392" y="1775077"/>
            <a:ext cx="1179810" cy="169277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indent="0" defTabSz="914318">
              <a:lnSpc>
                <a:spcPct val="114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b="1" i="0">
                <a:solidFill>
                  <a:schemeClr val="bg1"/>
                </a:solidFill>
                <a:latin typeface="Montserrat SemiBold" pitchFamily="2" charset="77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</a:lvl2pPr>
            <a:lvl3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200"/>
            </a:lvl3pPr>
            <a:lvl4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000">
                <a:solidFill>
                  <a:schemeClr val="tx1">
                    <a:alpha val="70000"/>
                  </a:schemeClr>
                </a:solidFill>
              </a:defRPr>
            </a:lvl4pPr>
            <a:lvl5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000" baseline="0">
                <a:solidFill>
                  <a:schemeClr val="tx1">
                    <a:alpha val="50000"/>
                  </a:schemeClr>
                </a:solidFill>
              </a:defRPr>
            </a:lvl5pPr>
            <a:lvl6pPr marL="2514374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6pPr>
            <a:lvl7pPr marL="2971534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7pPr>
            <a:lvl8pPr marL="3428692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8pPr>
            <a:lvl9pPr marL="3885850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9pPr>
          </a:lstStyle>
          <a:p>
            <a:pPr defTabSz="685739" fontAlgn="auto">
              <a:lnSpc>
                <a:spcPct val="100000"/>
              </a:lnSpc>
              <a:spcAft>
                <a:spcPts val="1200"/>
              </a:spcAft>
              <a:defRPr/>
            </a:pPr>
            <a:r>
              <a:rPr lang="es-AR" sz="1100" b="0">
                <a:solidFill>
                  <a:schemeClr val="tx2"/>
                </a:solidFill>
                <a:latin typeface="Pulso" pitchFamily="2" charset="0"/>
              </a:rPr>
              <a:t>Abonos Human </a:t>
            </a:r>
            <a:r>
              <a:rPr lang="es-AR" sz="1100" b="0" baseline="30000">
                <a:solidFill>
                  <a:schemeClr val="tx2"/>
                </a:solidFill>
                <a:latin typeface="Pulso" pitchFamily="2" charset="0"/>
              </a:rPr>
              <a:t>(1)</a:t>
            </a:r>
          </a:p>
        </p:txBody>
      </p:sp>
      <p:sp>
        <p:nvSpPr>
          <p:cNvPr id="1067" name="CuadroTexto 1066">
            <a:extLst>
              <a:ext uri="{FF2B5EF4-FFF2-40B4-BE49-F238E27FC236}">
                <a16:creationId xmlns:a16="http://schemas.microsoft.com/office/drawing/2014/main" id="{0E673932-6954-44E2-FB31-E6BD3DAF0610}"/>
              </a:ext>
            </a:extLst>
          </p:cNvPr>
          <p:cNvSpPr txBox="1"/>
          <p:nvPr/>
        </p:nvSpPr>
        <p:spPr>
          <a:xfrm>
            <a:off x="6764773" y="2268689"/>
            <a:ext cx="351057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130000"/>
              </a:lnSpc>
              <a:spcBef>
                <a:spcPts val="1000"/>
              </a:spcBef>
              <a:defRPr sz="1400">
                <a:latin typeface="+mj-lt"/>
              </a:defRPr>
            </a:lvl1pPr>
          </a:lstStyle>
          <a:p>
            <a:pPr algn="ctr" defTabSz="68574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00">
                <a:solidFill>
                  <a:schemeClr val="tx2"/>
                </a:solidFill>
                <a:latin typeface="Pulso" pitchFamily="2" charset="0"/>
                <a:cs typeface="+mn-cs"/>
              </a:rPr>
              <a:t>2,5 MM</a:t>
            </a:r>
          </a:p>
        </p:txBody>
      </p:sp>
      <p:sp>
        <p:nvSpPr>
          <p:cNvPr id="1104" name="CuadroTexto 1103">
            <a:extLst>
              <a:ext uri="{FF2B5EF4-FFF2-40B4-BE49-F238E27FC236}">
                <a16:creationId xmlns:a16="http://schemas.microsoft.com/office/drawing/2014/main" id="{B467FCF0-AB7C-E73D-7997-282CBDA424F4}"/>
              </a:ext>
            </a:extLst>
          </p:cNvPr>
          <p:cNvSpPr txBox="1"/>
          <p:nvPr/>
        </p:nvSpPr>
        <p:spPr>
          <a:xfrm>
            <a:off x="4643956" y="1767961"/>
            <a:ext cx="1686359" cy="169277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indent="0" defTabSz="914318">
              <a:lnSpc>
                <a:spcPct val="114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b="1" i="0">
                <a:solidFill>
                  <a:schemeClr val="bg1"/>
                </a:solidFill>
                <a:latin typeface="Montserrat SemiBold" pitchFamily="2" charset="77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</a:lvl2pPr>
            <a:lvl3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200"/>
            </a:lvl3pPr>
            <a:lvl4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000">
                <a:solidFill>
                  <a:schemeClr val="tx1">
                    <a:alpha val="70000"/>
                  </a:schemeClr>
                </a:solidFill>
              </a:defRPr>
            </a:lvl4pPr>
            <a:lvl5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000" baseline="0">
                <a:solidFill>
                  <a:schemeClr val="tx1">
                    <a:alpha val="50000"/>
                  </a:schemeClr>
                </a:solidFill>
              </a:defRPr>
            </a:lvl5pPr>
            <a:lvl6pPr marL="2514374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6pPr>
            <a:lvl7pPr marL="2971534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7pPr>
            <a:lvl8pPr marL="3428692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8pPr>
            <a:lvl9pPr marL="3885850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9pPr>
          </a:lstStyle>
          <a:p>
            <a:pPr defTabSz="685739" fontAlgn="auto">
              <a:lnSpc>
                <a:spcPct val="100000"/>
              </a:lnSpc>
              <a:spcAft>
                <a:spcPts val="1200"/>
              </a:spcAft>
              <a:defRPr/>
            </a:pPr>
            <a:r>
              <a:rPr lang="es-AR" sz="1100" b="0">
                <a:solidFill>
                  <a:schemeClr val="tx2"/>
                </a:solidFill>
                <a:latin typeface="Pulso" pitchFamily="2" charset="0"/>
              </a:rPr>
              <a:t>Internet No Dedicado </a:t>
            </a:r>
            <a:r>
              <a:rPr lang="es-AR" sz="1100" b="0" baseline="30000">
                <a:solidFill>
                  <a:schemeClr val="tx2"/>
                </a:solidFill>
                <a:latin typeface="Pulso" pitchFamily="2" charset="0"/>
              </a:rPr>
              <a:t>(1)(2)</a:t>
            </a:r>
          </a:p>
        </p:txBody>
      </p:sp>
      <p:sp>
        <p:nvSpPr>
          <p:cNvPr id="1188" name="CuadroTexto 1187">
            <a:extLst>
              <a:ext uri="{FF2B5EF4-FFF2-40B4-BE49-F238E27FC236}">
                <a16:creationId xmlns:a16="http://schemas.microsoft.com/office/drawing/2014/main" id="{FB96488A-FA7B-BD3C-2EDB-4904550434D1}"/>
              </a:ext>
            </a:extLst>
          </p:cNvPr>
          <p:cNvSpPr txBox="1"/>
          <p:nvPr/>
        </p:nvSpPr>
        <p:spPr>
          <a:xfrm>
            <a:off x="2833209" y="3693457"/>
            <a:ext cx="351057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130000"/>
              </a:lnSpc>
              <a:spcBef>
                <a:spcPts val="1000"/>
              </a:spcBef>
              <a:defRPr sz="1400">
                <a:latin typeface="+mj-lt"/>
              </a:defRPr>
            </a:lvl1pPr>
          </a:lstStyle>
          <a:p>
            <a:pPr algn="ctr" defTabSz="68574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00">
                <a:solidFill>
                  <a:schemeClr val="tx2"/>
                </a:solidFill>
                <a:latin typeface="Pulso" pitchFamily="2" charset="0"/>
                <a:cs typeface="+mn-cs"/>
              </a:rPr>
              <a:t>2,5 MM</a:t>
            </a:r>
          </a:p>
        </p:txBody>
      </p:sp>
      <p:sp>
        <p:nvSpPr>
          <p:cNvPr id="1225" name="CuadroTexto 1224">
            <a:extLst>
              <a:ext uri="{FF2B5EF4-FFF2-40B4-BE49-F238E27FC236}">
                <a16:creationId xmlns:a16="http://schemas.microsoft.com/office/drawing/2014/main" id="{CAFA7FD9-957E-3A4E-2C4E-7058D600B776}"/>
              </a:ext>
            </a:extLst>
          </p:cNvPr>
          <p:cNvSpPr txBox="1"/>
          <p:nvPr/>
        </p:nvSpPr>
        <p:spPr>
          <a:xfrm>
            <a:off x="712392" y="3202462"/>
            <a:ext cx="1064394" cy="169277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indent="0" defTabSz="914318">
              <a:lnSpc>
                <a:spcPct val="114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b="1" i="0">
                <a:solidFill>
                  <a:schemeClr val="bg1"/>
                </a:solidFill>
                <a:latin typeface="Montserrat SemiBold" pitchFamily="2" charset="77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</a:lvl2pPr>
            <a:lvl3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200"/>
            </a:lvl3pPr>
            <a:lvl4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000">
                <a:solidFill>
                  <a:schemeClr val="tx1">
                    <a:alpha val="70000"/>
                  </a:schemeClr>
                </a:solidFill>
              </a:defRPr>
            </a:lvl4pPr>
            <a:lvl5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000" baseline="0">
                <a:solidFill>
                  <a:schemeClr val="tx1">
                    <a:alpha val="50000"/>
                  </a:schemeClr>
                </a:solidFill>
              </a:defRPr>
            </a:lvl5pPr>
            <a:lvl6pPr marL="2514374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6pPr>
            <a:lvl7pPr marL="2971534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7pPr>
            <a:lvl8pPr marL="3428692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8pPr>
            <a:lvl9pPr marL="3885850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9pPr>
          </a:lstStyle>
          <a:p>
            <a:pPr defTabSz="685739" fontAlgn="auto">
              <a:lnSpc>
                <a:spcPct val="100000"/>
              </a:lnSpc>
              <a:spcAft>
                <a:spcPts val="1200"/>
              </a:spcAft>
              <a:defRPr/>
            </a:pPr>
            <a:r>
              <a:rPr lang="es-AR" sz="1100" b="0">
                <a:solidFill>
                  <a:schemeClr val="tx2"/>
                </a:solidFill>
                <a:latin typeface="Pulso" pitchFamily="2" charset="0"/>
              </a:rPr>
              <a:t>Dedicado + Dato</a:t>
            </a:r>
          </a:p>
        </p:txBody>
      </p:sp>
      <p:sp>
        <p:nvSpPr>
          <p:cNvPr id="1227" name="CuadroTexto 1226">
            <a:extLst>
              <a:ext uri="{FF2B5EF4-FFF2-40B4-BE49-F238E27FC236}">
                <a16:creationId xmlns:a16="http://schemas.microsoft.com/office/drawing/2014/main" id="{5C5D592B-2128-4144-1996-7E9DEF9858F7}"/>
              </a:ext>
            </a:extLst>
          </p:cNvPr>
          <p:cNvSpPr txBox="1"/>
          <p:nvPr/>
        </p:nvSpPr>
        <p:spPr>
          <a:xfrm>
            <a:off x="6764773" y="3693457"/>
            <a:ext cx="351057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130000"/>
              </a:lnSpc>
              <a:spcBef>
                <a:spcPts val="1000"/>
              </a:spcBef>
              <a:defRPr sz="1400">
                <a:latin typeface="+mj-lt"/>
              </a:defRPr>
            </a:lvl1pPr>
          </a:lstStyle>
          <a:p>
            <a:pPr algn="ctr" defTabSz="68574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00">
                <a:solidFill>
                  <a:schemeClr val="tx2"/>
                </a:solidFill>
                <a:latin typeface="Pulso" pitchFamily="2" charset="0"/>
                <a:cs typeface="+mn-cs"/>
              </a:rPr>
              <a:t>2,5 MM</a:t>
            </a:r>
          </a:p>
        </p:txBody>
      </p:sp>
      <p:sp>
        <p:nvSpPr>
          <p:cNvPr id="1264" name="CuadroTexto 1263">
            <a:extLst>
              <a:ext uri="{FF2B5EF4-FFF2-40B4-BE49-F238E27FC236}">
                <a16:creationId xmlns:a16="http://schemas.microsoft.com/office/drawing/2014/main" id="{EE5C3D2D-D778-DB10-2A82-D56E098535CE}"/>
              </a:ext>
            </a:extLst>
          </p:cNvPr>
          <p:cNvSpPr txBox="1"/>
          <p:nvPr/>
        </p:nvSpPr>
        <p:spPr>
          <a:xfrm>
            <a:off x="4642186" y="3139091"/>
            <a:ext cx="732573" cy="404983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indent="0" defTabSz="914318">
              <a:lnSpc>
                <a:spcPct val="114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b="1" i="0">
                <a:solidFill>
                  <a:schemeClr val="bg1"/>
                </a:solidFill>
                <a:latin typeface="Montserrat SemiBold" pitchFamily="2" charset="77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</a:lvl2pPr>
            <a:lvl3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200"/>
            </a:lvl3pPr>
            <a:lvl4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000">
                <a:solidFill>
                  <a:schemeClr val="tx1">
                    <a:alpha val="70000"/>
                  </a:schemeClr>
                </a:solidFill>
              </a:defRPr>
            </a:lvl4pPr>
            <a:lvl5pPr marL="0" indent="0" defTabSz="914318">
              <a:lnSpc>
                <a:spcPct val="150000"/>
              </a:lnSpc>
              <a:spcBef>
                <a:spcPts val="499"/>
              </a:spcBef>
              <a:buFont typeface="Arial" panose="020B0604020202020204" pitchFamily="34" charset="0"/>
              <a:buNone/>
              <a:defRPr sz="1000" baseline="0">
                <a:solidFill>
                  <a:schemeClr val="tx1">
                    <a:alpha val="50000"/>
                  </a:schemeClr>
                </a:solidFill>
              </a:defRPr>
            </a:lvl5pPr>
            <a:lvl6pPr marL="2514374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6pPr>
            <a:lvl7pPr marL="2971534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7pPr>
            <a:lvl8pPr marL="3428692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8pPr>
            <a:lvl9pPr marL="3885850" indent="-228580" defTabSz="914318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9pPr>
          </a:lstStyle>
          <a:p>
            <a:pPr defTabSz="685739" fontAlgn="auto">
              <a:lnSpc>
                <a:spcPct val="150000"/>
              </a:lnSpc>
              <a:spcAft>
                <a:spcPts val="1200"/>
              </a:spcAft>
              <a:defRPr/>
            </a:pPr>
            <a:r>
              <a:rPr lang="es-AR" sz="1100" b="0" err="1">
                <a:solidFill>
                  <a:schemeClr val="tx2"/>
                </a:solidFill>
                <a:latin typeface="Pulso" pitchFamily="2" charset="0"/>
              </a:rPr>
              <a:t>Datacenter</a:t>
            </a:r>
            <a:br>
              <a:rPr lang="es-AR" sz="1100" b="0">
                <a:solidFill>
                  <a:schemeClr val="tx2"/>
                </a:solidFill>
                <a:latin typeface="Pulso" pitchFamily="2" charset="0"/>
              </a:rPr>
            </a:br>
            <a:r>
              <a:rPr lang="es-AR" sz="1100" b="0" baseline="30000">
                <a:solidFill>
                  <a:schemeClr val="tx2"/>
                </a:solidFill>
                <a:latin typeface="Pulso" pitchFamily="2" charset="0"/>
              </a:rPr>
              <a:t>(revenue share)</a:t>
            </a: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6FFB1D70-CA42-1B7A-7463-7D61F171686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76184784"/>
              </p:ext>
            </p:extLst>
          </p:nvPr>
        </p:nvGraphicFramePr>
        <p:xfrm>
          <a:off x="1707308" y="2967848"/>
          <a:ext cx="2610000" cy="1587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F5D4105B-CF18-1783-69B9-4F9CA569C9A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1652101"/>
              </p:ext>
            </p:extLst>
          </p:nvPr>
        </p:nvGraphicFramePr>
        <p:xfrm>
          <a:off x="5635301" y="2966273"/>
          <a:ext cx="2610000" cy="158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10" name="Grupo 9">
            <a:extLst>
              <a:ext uri="{FF2B5EF4-FFF2-40B4-BE49-F238E27FC236}">
                <a16:creationId xmlns:a16="http://schemas.microsoft.com/office/drawing/2014/main" id="{4E2B28DD-F512-251B-6CA8-23414EE554C9}"/>
              </a:ext>
            </a:extLst>
          </p:cNvPr>
          <p:cNvGrpSpPr/>
          <p:nvPr/>
        </p:nvGrpSpPr>
        <p:grpSpPr>
          <a:xfrm>
            <a:off x="3532883" y="1940794"/>
            <a:ext cx="474688" cy="93839"/>
            <a:chOff x="2449147" y="2050732"/>
            <a:chExt cx="4244889" cy="839152"/>
          </a:xfrm>
        </p:grpSpPr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4C3945A5-B3EB-7D89-5870-25E95D6DD053}"/>
                </a:ext>
              </a:extLst>
            </p:cNvPr>
            <p:cNvSpPr/>
            <p:nvPr/>
          </p:nvSpPr>
          <p:spPr>
            <a:xfrm>
              <a:off x="2449147" y="2138362"/>
              <a:ext cx="340798" cy="736282"/>
            </a:xfrm>
            <a:custGeom>
              <a:avLst/>
              <a:gdLst>
                <a:gd name="connsiteX0" fmla="*/ 219901 w 340798"/>
                <a:gd name="connsiteY0" fmla="*/ 0 h 736282"/>
                <a:gd name="connsiteX1" fmla="*/ 99003 w 340798"/>
                <a:gd name="connsiteY1" fmla="*/ 0 h 736282"/>
                <a:gd name="connsiteX2" fmla="*/ 91387 w 340798"/>
                <a:gd name="connsiteY2" fmla="*/ 133350 h 736282"/>
                <a:gd name="connsiteX3" fmla="*/ 0 w 340798"/>
                <a:gd name="connsiteY3" fmla="*/ 133350 h 736282"/>
                <a:gd name="connsiteX4" fmla="*/ 0 w 340798"/>
                <a:gd name="connsiteY4" fmla="*/ 240030 h 736282"/>
                <a:gd name="connsiteX5" fmla="*/ 90435 w 340798"/>
                <a:gd name="connsiteY5" fmla="*/ 240030 h 736282"/>
                <a:gd name="connsiteX6" fmla="*/ 91387 w 340798"/>
                <a:gd name="connsiteY6" fmla="*/ 601980 h 736282"/>
                <a:gd name="connsiteX7" fmla="*/ 197054 w 340798"/>
                <a:gd name="connsiteY7" fmla="*/ 736283 h 736282"/>
                <a:gd name="connsiteX8" fmla="*/ 340799 w 340798"/>
                <a:gd name="connsiteY8" fmla="*/ 736283 h 736282"/>
                <a:gd name="connsiteX9" fmla="*/ 340799 w 340798"/>
                <a:gd name="connsiteY9" fmla="*/ 618173 h 736282"/>
                <a:gd name="connsiteX10" fmla="*/ 238940 w 340798"/>
                <a:gd name="connsiteY10" fmla="*/ 618173 h 736282"/>
                <a:gd name="connsiteX11" fmla="*/ 220853 w 340798"/>
                <a:gd name="connsiteY11" fmla="*/ 594360 h 736282"/>
                <a:gd name="connsiteX12" fmla="*/ 220853 w 340798"/>
                <a:gd name="connsiteY12" fmla="*/ 239077 h 736282"/>
                <a:gd name="connsiteX13" fmla="*/ 340799 w 340798"/>
                <a:gd name="connsiteY13" fmla="*/ 239077 h 736282"/>
                <a:gd name="connsiteX14" fmla="*/ 340799 w 340798"/>
                <a:gd name="connsiteY14" fmla="*/ 132398 h 736282"/>
                <a:gd name="connsiteX15" fmla="*/ 219901 w 340798"/>
                <a:gd name="connsiteY15" fmla="*/ 132398 h 736282"/>
                <a:gd name="connsiteX16" fmla="*/ 219901 w 340798"/>
                <a:gd name="connsiteY16" fmla="*/ 0 h 73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0798" h="736282">
                  <a:moveTo>
                    <a:pt x="219901" y="0"/>
                  </a:moveTo>
                  <a:lnTo>
                    <a:pt x="99003" y="0"/>
                  </a:lnTo>
                  <a:lnTo>
                    <a:pt x="91387" y="133350"/>
                  </a:lnTo>
                  <a:lnTo>
                    <a:pt x="0" y="133350"/>
                  </a:lnTo>
                  <a:lnTo>
                    <a:pt x="0" y="240030"/>
                  </a:lnTo>
                  <a:lnTo>
                    <a:pt x="90435" y="240030"/>
                  </a:lnTo>
                  <a:lnTo>
                    <a:pt x="91387" y="601980"/>
                  </a:lnTo>
                  <a:cubicBezTo>
                    <a:pt x="91387" y="691515"/>
                    <a:pt x="126610" y="736283"/>
                    <a:pt x="197054" y="736283"/>
                  </a:cubicBezTo>
                  <a:lnTo>
                    <a:pt x="340799" y="736283"/>
                  </a:lnTo>
                  <a:lnTo>
                    <a:pt x="340799" y="618173"/>
                  </a:lnTo>
                  <a:lnTo>
                    <a:pt x="238940" y="618173"/>
                  </a:lnTo>
                  <a:cubicBezTo>
                    <a:pt x="224661" y="618173"/>
                    <a:pt x="220853" y="615315"/>
                    <a:pt x="220853" y="594360"/>
                  </a:cubicBezTo>
                  <a:lnTo>
                    <a:pt x="220853" y="239077"/>
                  </a:lnTo>
                  <a:lnTo>
                    <a:pt x="340799" y="239077"/>
                  </a:lnTo>
                  <a:lnTo>
                    <a:pt x="340799" y="132398"/>
                  </a:lnTo>
                  <a:lnTo>
                    <a:pt x="219901" y="132398"/>
                  </a:lnTo>
                  <a:lnTo>
                    <a:pt x="219901" y="0"/>
                  </a:ln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E472BDBD-A4A4-FCBB-1BE7-F16B290727A9}"/>
                </a:ext>
              </a:extLst>
            </p:cNvPr>
            <p:cNvSpPr/>
            <p:nvPr/>
          </p:nvSpPr>
          <p:spPr>
            <a:xfrm>
              <a:off x="2838496" y="2254567"/>
              <a:ext cx="572122" cy="634365"/>
            </a:xfrm>
            <a:custGeom>
              <a:avLst/>
              <a:gdLst>
                <a:gd name="connsiteX0" fmla="*/ 297961 w 572122"/>
                <a:gd name="connsiteY0" fmla="*/ 0 h 634365"/>
                <a:gd name="connsiteX1" fmla="*/ 86628 w 572122"/>
                <a:gd name="connsiteY1" fmla="*/ 90488 h 634365"/>
                <a:gd name="connsiteX2" fmla="*/ 0 w 572122"/>
                <a:gd name="connsiteY2" fmla="*/ 318135 h 634365"/>
                <a:gd name="connsiteX3" fmla="*/ 82820 w 572122"/>
                <a:gd name="connsiteY3" fmla="*/ 544830 h 634365"/>
                <a:gd name="connsiteX4" fmla="*/ 309384 w 572122"/>
                <a:gd name="connsiteY4" fmla="*/ 634365 h 634365"/>
                <a:gd name="connsiteX5" fmla="*/ 449321 w 572122"/>
                <a:gd name="connsiteY5" fmla="*/ 603885 h 634365"/>
                <a:gd name="connsiteX6" fmla="*/ 561651 w 572122"/>
                <a:gd name="connsiteY6" fmla="*/ 515303 h 634365"/>
                <a:gd name="connsiteX7" fmla="*/ 564507 w 572122"/>
                <a:gd name="connsiteY7" fmla="*/ 511493 h 634365"/>
                <a:gd name="connsiteX8" fmla="*/ 489303 w 572122"/>
                <a:gd name="connsiteY8" fmla="*/ 435293 h 634365"/>
                <a:gd name="connsiteX9" fmla="*/ 485495 w 572122"/>
                <a:gd name="connsiteY9" fmla="*/ 440055 h 634365"/>
                <a:gd name="connsiteX10" fmla="*/ 320808 w 572122"/>
                <a:gd name="connsiteY10" fmla="*/ 514350 h 634365"/>
                <a:gd name="connsiteX11" fmla="*/ 136129 w 572122"/>
                <a:gd name="connsiteY11" fmla="*/ 371475 h 634365"/>
                <a:gd name="connsiteX12" fmla="*/ 571171 w 572122"/>
                <a:gd name="connsiteY12" fmla="*/ 371475 h 634365"/>
                <a:gd name="connsiteX13" fmla="*/ 571171 w 572122"/>
                <a:gd name="connsiteY13" fmla="*/ 366713 h 634365"/>
                <a:gd name="connsiteX14" fmla="*/ 572123 w 572122"/>
                <a:gd name="connsiteY14" fmla="*/ 287655 h 634365"/>
                <a:gd name="connsiteX15" fmla="*/ 498823 w 572122"/>
                <a:gd name="connsiteY15" fmla="*/ 85725 h 634365"/>
                <a:gd name="connsiteX16" fmla="*/ 297961 w 572122"/>
                <a:gd name="connsiteY16" fmla="*/ 0 h 634365"/>
                <a:gd name="connsiteX17" fmla="*/ 137081 w 572122"/>
                <a:gd name="connsiteY17" fmla="*/ 268605 h 634365"/>
                <a:gd name="connsiteX18" fmla="*/ 300817 w 572122"/>
                <a:gd name="connsiteY18" fmla="*/ 125730 h 634365"/>
                <a:gd name="connsiteX19" fmla="*/ 445513 w 572122"/>
                <a:gd name="connsiteY19" fmla="*/ 268605 h 634365"/>
                <a:gd name="connsiteX20" fmla="*/ 137081 w 572122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2122" h="634365">
                  <a:moveTo>
                    <a:pt x="297961" y="0"/>
                  </a:moveTo>
                  <a:cubicBezTo>
                    <a:pt x="217045" y="0"/>
                    <a:pt x="141841" y="32385"/>
                    <a:pt x="86628" y="90488"/>
                  </a:cubicBezTo>
                  <a:cubicBezTo>
                    <a:pt x="30462" y="149543"/>
                    <a:pt x="0" y="230505"/>
                    <a:pt x="0" y="318135"/>
                  </a:cubicBezTo>
                  <a:cubicBezTo>
                    <a:pt x="0" y="405765"/>
                    <a:pt x="28559" y="487680"/>
                    <a:pt x="82820" y="544830"/>
                  </a:cubicBezTo>
                  <a:cubicBezTo>
                    <a:pt x="138985" y="603885"/>
                    <a:pt x="217045" y="634365"/>
                    <a:pt x="309384" y="634365"/>
                  </a:cubicBezTo>
                  <a:cubicBezTo>
                    <a:pt x="357934" y="634365"/>
                    <a:pt x="406483" y="623888"/>
                    <a:pt x="449321" y="603885"/>
                  </a:cubicBezTo>
                  <a:cubicBezTo>
                    <a:pt x="494063" y="582930"/>
                    <a:pt x="532141" y="553403"/>
                    <a:pt x="561651" y="515303"/>
                  </a:cubicBezTo>
                  <a:lnTo>
                    <a:pt x="564507" y="511493"/>
                  </a:lnTo>
                  <a:lnTo>
                    <a:pt x="489303" y="435293"/>
                  </a:lnTo>
                  <a:lnTo>
                    <a:pt x="485495" y="440055"/>
                  </a:lnTo>
                  <a:cubicBezTo>
                    <a:pt x="444561" y="487680"/>
                    <a:pt x="384588" y="514350"/>
                    <a:pt x="320808" y="514350"/>
                  </a:cubicBezTo>
                  <a:cubicBezTo>
                    <a:pt x="211333" y="514350"/>
                    <a:pt x="150408" y="467678"/>
                    <a:pt x="136129" y="371475"/>
                  </a:cubicBezTo>
                  <a:lnTo>
                    <a:pt x="571171" y="371475"/>
                  </a:lnTo>
                  <a:lnTo>
                    <a:pt x="571171" y="366713"/>
                  </a:lnTo>
                  <a:cubicBezTo>
                    <a:pt x="572123" y="324803"/>
                    <a:pt x="572123" y="309563"/>
                    <a:pt x="572123" y="287655"/>
                  </a:cubicBezTo>
                  <a:cubicBezTo>
                    <a:pt x="572123" y="210503"/>
                    <a:pt x="546420" y="139065"/>
                    <a:pt x="498823" y="85725"/>
                  </a:cubicBezTo>
                  <a:cubicBezTo>
                    <a:pt x="450273" y="29528"/>
                    <a:pt x="380781" y="0"/>
                    <a:pt x="297961" y="0"/>
                  </a:cubicBezTo>
                  <a:close/>
                  <a:moveTo>
                    <a:pt x="137081" y="268605"/>
                  </a:moveTo>
                  <a:cubicBezTo>
                    <a:pt x="150408" y="172403"/>
                    <a:pt x="203718" y="125730"/>
                    <a:pt x="300817" y="125730"/>
                  </a:cubicBezTo>
                  <a:cubicBezTo>
                    <a:pt x="383636" y="125730"/>
                    <a:pt x="441706" y="182880"/>
                    <a:pt x="445513" y="268605"/>
                  </a:cubicBezTo>
                  <a:lnTo>
                    <a:pt x="137081" y="268605"/>
                  </a:ln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3080EDF0-F6B8-65FD-161B-D9E7FD1061CE}"/>
                </a:ext>
              </a:extLst>
            </p:cNvPr>
            <p:cNvSpPr/>
            <p:nvPr/>
          </p:nvSpPr>
          <p:spPr>
            <a:xfrm>
              <a:off x="3786639" y="2254567"/>
              <a:ext cx="572122" cy="634365"/>
            </a:xfrm>
            <a:custGeom>
              <a:avLst/>
              <a:gdLst>
                <a:gd name="connsiteX0" fmla="*/ 297961 w 572122"/>
                <a:gd name="connsiteY0" fmla="*/ 0 h 634365"/>
                <a:gd name="connsiteX1" fmla="*/ 86628 w 572122"/>
                <a:gd name="connsiteY1" fmla="*/ 90488 h 634365"/>
                <a:gd name="connsiteX2" fmla="*/ 0 w 572122"/>
                <a:gd name="connsiteY2" fmla="*/ 318135 h 634365"/>
                <a:gd name="connsiteX3" fmla="*/ 82820 w 572122"/>
                <a:gd name="connsiteY3" fmla="*/ 544830 h 634365"/>
                <a:gd name="connsiteX4" fmla="*/ 309384 w 572122"/>
                <a:gd name="connsiteY4" fmla="*/ 634365 h 634365"/>
                <a:gd name="connsiteX5" fmla="*/ 449321 w 572122"/>
                <a:gd name="connsiteY5" fmla="*/ 603885 h 634365"/>
                <a:gd name="connsiteX6" fmla="*/ 561651 w 572122"/>
                <a:gd name="connsiteY6" fmla="*/ 515303 h 634365"/>
                <a:gd name="connsiteX7" fmla="*/ 564507 w 572122"/>
                <a:gd name="connsiteY7" fmla="*/ 511493 h 634365"/>
                <a:gd name="connsiteX8" fmla="*/ 489303 w 572122"/>
                <a:gd name="connsiteY8" fmla="*/ 435293 h 634365"/>
                <a:gd name="connsiteX9" fmla="*/ 485495 w 572122"/>
                <a:gd name="connsiteY9" fmla="*/ 440055 h 634365"/>
                <a:gd name="connsiteX10" fmla="*/ 320808 w 572122"/>
                <a:gd name="connsiteY10" fmla="*/ 514350 h 634365"/>
                <a:gd name="connsiteX11" fmla="*/ 136129 w 572122"/>
                <a:gd name="connsiteY11" fmla="*/ 371475 h 634365"/>
                <a:gd name="connsiteX12" fmla="*/ 571171 w 572122"/>
                <a:gd name="connsiteY12" fmla="*/ 371475 h 634365"/>
                <a:gd name="connsiteX13" fmla="*/ 571171 w 572122"/>
                <a:gd name="connsiteY13" fmla="*/ 366713 h 634365"/>
                <a:gd name="connsiteX14" fmla="*/ 572123 w 572122"/>
                <a:gd name="connsiteY14" fmla="*/ 287655 h 634365"/>
                <a:gd name="connsiteX15" fmla="*/ 498823 w 572122"/>
                <a:gd name="connsiteY15" fmla="*/ 85725 h 634365"/>
                <a:gd name="connsiteX16" fmla="*/ 297961 w 572122"/>
                <a:gd name="connsiteY16" fmla="*/ 0 h 634365"/>
                <a:gd name="connsiteX17" fmla="*/ 136129 w 572122"/>
                <a:gd name="connsiteY17" fmla="*/ 268605 h 634365"/>
                <a:gd name="connsiteX18" fmla="*/ 299865 w 572122"/>
                <a:gd name="connsiteY18" fmla="*/ 125730 h 634365"/>
                <a:gd name="connsiteX19" fmla="*/ 444561 w 572122"/>
                <a:gd name="connsiteY19" fmla="*/ 268605 h 634365"/>
                <a:gd name="connsiteX20" fmla="*/ 136129 w 572122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2122" h="634365">
                  <a:moveTo>
                    <a:pt x="297961" y="0"/>
                  </a:moveTo>
                  <a:cubicBezTo>
                    <a:pt x="217045" y="0"/>
                    <a:pt x="141841" y="32385"/>
                    <a:pt x="86628" y="90488"/>
                  </a:cubicBezTo>
                  <a:cubicBezTo>
                    <a:pt x="30462" y="149543"/>
                    <a:pt x="0" y="230505"/>
                    <a:pt x="0" y="318135"/>
                  </a:cubicBezTo>
                  <a:cubicBezTo>
                    <a:pt x="0" y="405765"/>
                    <a:pt x="28559" y="487680"/>
                    <a:pt x="82820" y="544830"/>
                  </a:cubicBezTo>
                  <a:cubicBezTo>
                    <a:pt x="138985" y="603885"/>
                    <a:pt x="217045" y="634365"/>
                    <a:pt x="309384" y="634365"/>
                  </a:cubicBezTo>
                  <a:cubicBezTo>
                    <a:pt x="357934" y="634365"/>
                    <a:pt x="406483" y="623888"/>
                    <a:pt x="449321" y="603885"/>
                  </a:cubicBezTo>
                  <a:cubicBezTo>
                    <a:pt x="494063" y="582930"/>
                    <a:pt x="532141" y="553403"/>
                    <a:pt x="561651" y="515303"/>
                  </a:cubicBezTo>
                  <a:lnTo>
                    <a:pt x="564507" y="511493"/>
                  </a:lnTo>
                  <a:lnTo>
                    <a:pt x="489303" y="435293"/>
                  </a:lnTo>
                  <a:lnTo>
                    <a:pt x="485495" y="440055"/>
                  </a:lnTo>
                  <a:cubicBezTo>
                    <a:pt x="444561" y="487680"/>
                    <a:pt x="384588" y="514350"/>
                    <a:pt x="320808" y="514350"/>
                  </a:cubicBezTo>
                  <a:cubicBezTo>
                    <a:pt x="211333" y="514350"/>
                    <a:pt x="150408" y="467678"/>
                    <a:pt x="136129" y="371475"/>
                  </a:cubicBezTo>
                  <a:lnTo>
                    <a:pt x="571171" y="371475"/>
                  </a:lnTo>
                  <a:lnTo>
                    <a:pt x="571171" y="366713"/>
                  </a:lnTo>
                  <a:cubicBezTo>
                    <a:pt x="572123" y="324803"/>
                    <a:pt x="572123" y="309563"/>
                    <a:pt x="572123" y="287655"/>
                  </a:cubicBezTo>
                  <a:cubicBezTo>
                    <a:pt x="572123" y="210503"/>
                    <a:pt x="546420" y="139065"/>
                    <a:pt x="498823" y="85725"/>
                  </a:cubicBezTo>
                  <a:cubicBezTo>
                    <a:pt x="450273" y="29528"/>
                    <a:pt x="379829" y="0"/>
                    <a:pt x="297961" y="0"/>
                  </a:cubicBezTo>
                  <a:close/>
                  <a:moveTo>
                    <a:pt x="136129" y="268605"/>
                  </a:moveTo>
                  <a:cubicBezTo>
                    <a:pt x="149456" y="172403"/>
                    <a:pt x="202766" y="125730"/>
                    <a:pt x="299865" y="125730"/>
                  </a:cubicBezTo>
                  <a:cubicBezTo>
                    <a:pt x="382685" y="125730"/>
                    <a:pt x="440754" y="182880"/>
                    <a:pt x="444561" y="268605"/>
                  </a:cubicBezTo>
                  <a:lnTo>
                    <a:pt x="136129" y="268605"/>
                  </a:ln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1" name="Forma libre 20">
              <a:extLst>
                <a:ext uri="{FF2B5EF4-FFF2-40B4-BE49-F238E27FC236}">
                  <a16:creationId xmlns:a16="http://schemas.microsoft.com/office/drawing/2014/main" id="{126DECD2-1DD5-8939-F7B8-CF446A9FECD4}"/>
                </a:ext>
              </a:extLst>
            </p:cNvPr>
            <p:cNvSpPr/>
            <p:nvPr/>
          </p:nvSpPr>
          <p:spPr>
            <a:xfrm>
              <a:off x="3508670" y="2050732"/>
              <a:ext cx="232276" cy="823912"/>
            </a:xfrm>
            <a:custGeom>
              <a:avLst/>
              <a:gdLst>
                <a:gd name="connsiteX0" fmla="*/ 134225 w 232276"/>
                <a:gd name="connsiteY0" fmla="*/ 701040 h 823912"/>
                <a:gd name="connsiteX1" fmla="*/ 130417 w 232276"/>
                <a:gd name="connsiteY1" fmla="*/ 681038 h 823912"/>
                <a:gd name="connsiteX2" fmla="*/ 130417 w 232276"/>
                <a:gd name="connsiteY2" fmla="*/ 0 h 823912"/>
                <a:gd name="connsiteX3" fmla="*/ 0 w 232276"/>
                <a:gd name="connsiteY3" fmla="*/ 0 h 823912"/>
                <a:gd name="connsiteX4" fmla="*/ 0 w 232276"/>
                <a:gd name="connsiteY4" fmla="*/ 688658 h 823912"/>
                <a:gd name="connsiteX5" fmla="*/ 26655 w 232276"/>
                <a:gd name="connsiteY5" fmla="*/ 789623 h 823912"/>
                <a:gd name="connsiteX6" fmla="*/ 106619 w 232276"/>
                <a:gd name="connsiteY6" fmla="*/ 823913 h 823912"/>
                <a:gd name="connsiteX7" fmla="*/ 232276 w 232276"/>
                <a:gd name="connsiteY7" fmla="*/ 823913 h 823912"/>
                <a:gd name="connsiteX8" fmla="*/ 232276 w 232276"/>
                <a:gd name="connsiteY8" fmla="*/ 705803 h 823912"/>
                <a:gd name="connsiteX9" fmla="*/ 147553 w 232276"/>
                <a:gd name="connsiteY9" fmla="*/ 705803 h 823912"/>
                <a:gd name="connsiteX10" fmla="*/ 134225 w 232276"/>
                <a:gd name="connsiteY10" fmla="*/ 701040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2276" h="823912">
                  <a:moveTo>
                    <a:pt x="134225" y="701040"/>
                  </a:moveTo>
                  <a:cubicBezTo>
                    <a:pt x="132321" y="698183"/>
                    <a:pt x="130417" y="691515"/>
                    <a:pt x="130417" y="681038"/>
                  </a:cubicBezTo>
                  <a:lnTo>
                    <a:pt x="130417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0" y="766763"/>
                    <a:pt x="26655" y="789623"/>
                  </a:cubicBezTo>
                  <a:cubicBezTo>
                    <a:pt x="44742" y="812483"/>
                    <a:pt x="71396" y="823913"/>
                    <a:pt x="106619" y="823913"/>
                  </a:cubicBezTo>
                  <a:lnTo>
                    <a:pt x="232276" y="823913"/>
                  </a:lnTo>
                  <a:lnTo>
                    <a:pt x="232276" y="705803"/>
                  </a:lnTo>
                  <a:lnTo>
                    <a:pt x="147553" y="705803"/>
                  </a:lnTo>
                  <a:cubicBezTo>
                    <a:pt x="138033" y="705803"/>
                    <a:pt x="135177" y="702945"/>
                    <a:pt x="134225" y="701040"/>
                  </a:cubicBez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2" name="Forma libre 21">
              <a:extLst>
                <a:ext uri="{FF2B5EF4-FFF2-40B4-BE49-F238E27FC236}">
                  <a16:creationId xmlns:a16="http://schemas.microsoft.com/office/drawing/2014/main" id="{461F220E-3A28-9A7E-ECBD-C0379BFADFDB}"/>
                </a:ext>
              </a:extLst>
            </p:cNvPr>
            <p:cNvSpPr/>
            <p:nvPr/>
          </p:nvSpPr>
          <p:spPr>
            <a:xfrm>
              <a:off x="5786690" y="2254567"/>
              <a:ext cx="907346" cy="619125"/>
            </a:xfrm>
            <a:custGeom>
              <a:avLst/>
              <a:gdLst>
                <a:gd name="connsiteX0" fmla="*/ 856757 w 907346"/>
                <a:gd name="connsiteY0" fmla="*/ 64770 h 619125"/>
                <a:gd name="connsiteX1" fmla="*/ 706348 w 907346"/>
                <a:gd name="connsiteY1" fmla="*/ 0 h 619125"/>
                <a:gd name="connsiteX2" fmla="*/ 579739 w 907346"/>
                <a:gd name="connsiteY2" fmla="*/ 41910 h 619125"/>
                <a:gd name="connsiteX3" fmla="*/ 506438 w 907346"/>
                <a:gd name="connsiteY3" fmla="*/ 144780 h 619125"/>
                <a:gd name="connsiteX4" fmla="*/ 500727 w 907346"/>
                <a:gd name="connsiteY4" fmla="*/ 144780 h 619125"/>
                <a:gd name="connsiteX5" fmla="*/ 317952 w 907346"/>
                <a:gd name="connsiteY5" fmla="*/ 0 h 619125"/>
                <a:gd name="connsiteX6" fmla="*/ 124706 w 907346"/>
                <a:gd name="connsiteY6" fmla="*/ 130493 h 619125"/>
                <a:gd name="connsiteX7" fmla="*/ 119946 w 907346"/>
                <a:gd name="connsiteY7" fmla="*/ 130493 h 619125"/>
                <a:gd name="connsiteX8" fmla="*/ 111378 w 907346"/>
                <a:gd name="connsiteY8" fmla="*/ 16193 h 619125"/>
                <a:gd name="connsiteX9" fmla="*/ 0 w 907346"/>
                <a:gd name="connsiteY9" fmla="*/ 16193 h 619125"/>
                <a:gd name="connsiteX10" fmla="*/ 0 w 907346"/>
                <a:gd name="connsiteY10" fmla="*/ 619125 h 619125"/>
                <a:gd name="connsiteX11" fmla="*/ 130417 w 907346"/>
                <a:gd name="connsiteY11" fmla="*/ 619125 h 619125"/>
                <a:gd name="connsiteX12" fmla="*/ 130417 w 907346"/>
                <a:gd name="connsiteY12" fmla="*/ 282893 h 619125"/>
                <a:gd name="connsiteX13" fmla="*/ 161832 w 907346"/>
                <a:gd name="connsiteY13" fmla="*/ 174308 h 619125"/>
                <a:gd name="connsiteX14" fmla="*/ 277018 w 907346"/>
                <a:gd name="connsiteY14" fmla="*/ 111443 h 619125"/>
                <a:gd name="connsiteX15" fmla="*/ 388396 w 907346"/>
                <a:gd name="connsiteY15" fmla="*/ 257175 h 619125"/>
                <a:gd name="connsiteX16" fmla="*/ 388396 w 907346"/>
                <a:gd name="connsiteY16" fmla="*/ 619125 h 619125"/>
                <a:gd name="connsiteX17" fmla="*/ 518814 w 907346"/>
                <a:gd name="connsiteY17" fmla="*/ 619125 h 619125"/>
                <a:gd name="connsiteX18" fmla="*/ 518814 w 907346"/>
                <a:gd name="connsiteY18" fmla="*/ 282893 h 619125"/>
                <a:gd name="connsiteX19" fmla="*/ 552132 w 907346"/>
                <a:gd name="connsiteY19" fmla="*/ 172403 h 619125"/>
                <a:gd name="connsiteX20" fmla="*/ 666366 w 907346"/>
                <a:gd name="connsiteY20" fmla="*/ 111443 h 619125"/>
                <a:gd name="connsiteX21" fmla="*/ 747282 w 907346"/>
                <a:gd name="connsiteY21" fmla="*/ 145733 h 619125"/>
                <a:gd name="connsiteX22" fmla="*/ 776793 w 907346"/>
                <a:gd name="connsiteY22" fmla="*/ 257175 h 619125"/>
                <a:gd name="connsiteX23" fmla="*/ 776793 w 907346"/>
                <a:gd name="connsiteY23" fmla="*/ 619125 h 619125"/>
                <a:gd name="connsiteX24" fmla="*/ 907210 w 907346"/>
                <a:gd name="connsiteY24" fmla="*/ 619125 h 619125"/>
                <a:gd name="connsiteX25" fmla="*/ 907210 w 907346"/>
                <a:gd name="connsiteY25" fmla="*/ 240983 h 619125"/>
                <a:gd name="connsiteX26" fmla="*/ 856757 w 907346"/>
                <a:gd name="connsiteY26" fmla="*/ 64770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07346" h="619125">
                  <a:moveTo>
                    <a:pt x="856757" y="64770"/>
                  </a:moveTo>
                  <a:cubicBezTo>
                    <a:pt x="821534" y="21908"/>
                    <a:pt x="770129" y="0"/>
                    <a:pt x="706348" y="0"/>
                  </a:cubicBezTo>
                  <a:cubicBezTo>
                    <a:pt x="656847" y="0"/>
                    <a:pt x="614009" y="14288"/>
                    <a:pt x="579739" y="41910"/>
                  </a:cubicBezTo>
                  <a:cubicBezTo>
                    <a:pt x="550228" y="65723"/>
                    <a:pt x="525477" y="100013"/>
                    <a:pt x="506438" y="144780"/>
                  </a:cubicBezTo>
                  <a:lnTo>
                    <a:pt x="500727" y="144780"/>
                  </a:lnTo>
                  <a:cubicBezTo>
                    <a:pt x="475024" y="51435"/>
                    <a:pt x="410291" y="0"/>
                    <a:pt x="317952" y="0"/>
                  </a:cubicBezTo>
                  <a:cubicBezTo>
                    <a:pt x="225612" y="0"/>
                    <a:pt x="159928" y="46673"/>
                    <a:pt x="124706" y="130493"/>
                  </a:cubicBezTo>
                  <a:lnTo>
                    <a:pt x="119946" y="130493"/>
                  </a:lnTo>
                  <a:lnTo>
                    <a:pt x="111378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0417" y="619125"/>
                  </a:lnTo>
                  <a:lnTo>
                    <a:pt x="130417" y="282893"/>
                  </a:lnTo>
                  <a:cubicBezTo>
                    <a:pt x="130417" y="254318"/>
                    <a:pt x="138985" y="210503"/>
                    <a:pt x="161832" y="174308"/>
                  </a:cubicBezTo>
                  <a:cubicBezTo>
                    <a:pt x="179919" y="145733"/>
                    <a:pt x="215141" y="111443"/>
                    <a:pt x="277018" y="111443"/>
                  </a:cubicBezTo>
                  <a:cubicBezTo>
                    <a:pt x="351270" y="111443"/>
                    <a:pt x="388396" y="160020"/>
                    <a:pt x="388396" y="257175"/>
                  </a:cubicBezTo>
                  <a:lnTo>
                    <a:pt x="388396" y="619125"/>
                  </a:lnTo>
                  <a:lnTo>
                    <a:pt x="518814" y="619125"/>
                  </a:lnTo>
                  <a:lnTo>
                    <a:pt x="518814" y="282893"/>
                  </a:lnTo>
                  <a:cubicBezTo>
                    <a:pt x="518814" y="244793"/>
                    <a:pt x="531189" y="202883"/>
                    <a:pt x="552132" y="172403"/>
                  </a:cubicBezTo>
                  <a:cubicBezTo>
                    <a:pt x="571171" y="144780"/>
                    <a:pt x="606393" y="111443"/>
                    <a:pt x="666366" y="111443"/>
                  </a:cubicBezTo>
                  <a:cubicBezTo>
                    <a:pt x="701588" y="111443"/>
                    <a:pt x="729195" y="122873"/>
                    <a:pt x="747282" y="145733"/>
                  </a:cubicBezTo>
                  <a:cubicBezTo>
                    <a:pt x="767273" y="169545"/>
                    <a:pt x="776793" y="207645"/>
                    <a:pt x="776793" y="257175"/>
                  </a:cubicBezTo>
                  <a:lnTo>
                    <a:pt x="776793" y="619125"/>
                  </a:lnTo>
                  <a:lnTo>
                    <a:pt x="907210" y="619125"/>
                  </a:lnTo>
                  <a:lnTo>
                    <a:pt x="907210" y="240983"/>
                  </a:lnTo>
                  <a:cubicBezTo>
                    <a:pt x="909114" y="166688"/>
                    <a:pt x="891027" y="106680"/>
                    <a:pt x="856757" y="64770"/>
                  </a:cubicBez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3" name="Forma libre 22">
              <a:extLst>
                <a:ext uri="{FF2B5EF4-FFF2-40B4-BE49-F238E27FC236}">
                  <a16:creationId xmlns:a16="http://schemas.microsoft.com/office/drawing/2014/main" id="{17E3EF11-C9AB-31BD-D2F0-E89761217D25}"/>
                </a:ext>
              </a:extLst>
            </p:cNvPr>
            <p:cNvSpPr/>
            <p:nvPr/>
          </p:nvSpPr>
          <p:spPr>
            <a:xfrm>
              <a:off x="4437774" y="2254567"/>
              <a:ext cx="566411" cy="635317"/>
            </a:xfrm>
            <a:custGeom>
              <a:avLst/>
              <a:gdLst>
                <a:gd name="connsiteX0" fmla="*/ 293201 w 566411"/>
                <a:gd name="connsiteY0" fmla="*/ 129540 h 635317"/>
                <a:gd name="connsiteX1" fmla="*/ 297009 w 566411"/>
                <a:gd name="connsiteY1" fmla="*/ 129540 h 635317"/>
                <a:gd name="connsiteX2" fmla="*/ 458841 w 566411"/>
                <a:gd name="connsiteY2" fmla="*/ 234315 h 635317"/>
                <a:gd name="connsiteX3" fmla="*/ 566411 w 566411"/>
                <a:gd name="connsiteY3" fmla="*/ 186690 h 635317"/>
                <a:gd name="connsiteX4" fmla="*/ 288442 w 566411"/>
                <a:gd name="connsiteY4" fmla="*/ 0 h 635317"/>
                <a:gd name="connsiteX5" fmla="*/ 82820 w 566411"/>
                <a:gd name="connsiteY5" fmla="*/ 91440 h 635317"/>
                <a:gd name="connsiteX6" fmla="*/ 0 w 566411"/>
                <a:gd name="connsiteY6" fmla="*/ 320993 h 635317"/>
                <a:gd name="connsiteX7" fmla="*/ 290345 w 566411"/>
                <a:gd name="connsiteY7" fmla="*/ 635318 h 635317"/>
                <a:gd name="connsiteX8" fmla="*/ 446465 w 566411"/>
                <a:gd name="connsiteY8" fmla="*/ 597218 h 635317"/>
                <a:gd name="connsiteX9" fmla="*/ 561651 w 566411"/>
                <a:gd name="connsiteY9" fmla="*/ 481013 h 635317"/>
                <a:gd name="connsiteX10" fmla="*/ 563556 w 566411"/>
                <a:gd name="connsiteY10" fmla="*/ 477203 h 635317"/>
                <a:gd name="connsiteX11" fmla="*/ 473120 w 566411"/>
                <a:gd name="connsiteY11" fmla="*/ 417195 h 635317"/>
                <a:gd name="connsiteX12" fmla="*/ 470264 w 566411"/>
                <a:gd name="connsiteY12" fmla="*/ 421958 h 635317"/>
                <a:gd name="connsiteX13" fmla="*/ 301769 w 566411"/>
                <a:gd name="connsiteY13" fmla="*/ 515303 h 635317"/>
                <a:gd name="connsiteX14" fmla="*/ 179919 w 566411"/>
                <a:gd name="connsiteY14" fmla="*/ 461010 h 635317"/>
                <a:gd name="connsiteX15" fmla="*/ 132321 w 566411"/>
                <a:gd name="connsiteY15" fmla="*/ 320040 h 635317"/>
                <a:gd name="connsiteX16" fmla="*/ 181823 w 566411"/>
                <a:gd name="connsiteY16" fmla="*/ 179070 h 635317"/>
                <a:gd name="connsiteX17" fmla="*/ 293201 w 566411"/>
                <a:gd name="connsiteY17" fmla="*/ 12954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66411" h="635317">
                  <a:moveTo>
                    <a:pt x="293201" y="129540"/>
                  </a:moveTo>
                  <a:lnTo>
                    <a:pt x="297009" y="129540"/>
                  </a:lnTo>
                  <a:cubicBezTo>
                    <a:pt x="317952" y="130493"/>
                    <a:pt x="417907" y="138113"/>
                    <a:pt x="458841" y="234315"/>
                  </a:cubicBezTo>
                  <a:lnTo>
                    <a:pt x="566411" y="186690"/>
                  </a:lnTo>
                  <a:cubicBezTo>
                    <a:pt x="566411" y="186690"/>
                    <a:pt x="515958" y="0"/>
                    <a:pt x="288442" y="0"/>
                  </a:cubicBezTo>
                  <a:cubicBezTo>
                    <a:pt x="208477" y="0"/>
                    <a:pt x="135177" y="32385"/>
                    <a:pt x="82820" y="91440"/>
                  </a:cubicBezTo>
                  <a:cubicBezTo>
                    <a:pt x="29511" y="150495"/>
                    <a:pt x="0" y="231458"/>
                    <a:pt x="0" y="320993"/>
                  </a:cubicBezTo>
                  <a:cubicBezTo>
                    <a:pt x="0" y="502920"/>
                    <a:pt x="121850" y="635318"/>
                    <a:pt x="290345" y="635318"/>
                  </a:cubicBezTo>
                  <a:cubicBezTo>
                    <a:pt x="348414" y="635318"/>
                    <a:pt x="400772" y="622935"/>
                    <a:pt x="446465" y="597218"/>
                  </a:cubicBezTo>
                  <a:cubicBezTo>
                    <a:pt x="494063" y="570548"/>
                    <a:pt x="533093" y="531495"/>
                    <a:pt x="561651" y="481013"/>
                  </a:cubicBezTo>
                  <a:lnTo>
                    <a:pt x="563556" y="477203"/>
                  </a:lnTo>
                  <a:lnTo>
                    <a:pt x="473120" y="417195"/>
                  </a:lnTo>
                  <a:lnTo>
                    <a:pt x="470264" y="421958"/>
                  </a:lnTo>
                  <a:cubicBezTo>
                    <a:pt x="432186" y="481013"/>
                    <a:pt x="370309" y="515303"/>
                    <a:pt x="301769" y="515303"/>
                  </a:cubicBezTo>
                  <a:cubicBezTo>
                    <a:pt x="254171" y="515303"/>
                    <a:pt x="210381" y="496253"/>
                    <a:pt x="179919" y="461010"/>
                  </a:cubicBezTo>
                  <a:cubicBezTo>
                    <a:pt x="149457" y="425768"/>
                    <a:pt x="132321" y="375285"/>
                    <a:pt x="132321" y="320040"/>
                  </a:cubicBezTo>
                  <a:cubicBezTo>
                    <a:pt x="132321" y="261938"/>
                    <a:pt x="149457" y="213360"/>
                    <a:pt x="181823" y="179070"/>
                  </a:cubicBezTo>
                  <a:cubicBezTo>
                    <a:pt x="212285" y="146685"/>
                    <a:pt x="251315" y="129540"/>
                    <a:pt x="293201" y="129540"/>
                  </a:cubicBez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4" name="Forma libre 23">
              <a:extLst>
                <a:ext uri="{FF2B5EF4-FFF2-40B4-BE49-F238E27FC236}">
                  <a16:creationId xmlns:a16="http://schemas.microsoft.com/office/drawing/2014/main" id="{9E8481F3-2025-546E-8BA3-E52718AE7538}"/>
                </a:ext>
              </a:extLst>
            </p:cNvPr>
            <p:cNvSpPr/>
            <p:nvPr/>
          </p:nvSpPr>
          <p:spPr>
            <a:xfrm>
              <a:off x="5079390" y="2254567"/>
              <a:ext cx="605441" cy="226695"/>
            </a:xfrm>
            <a:custGeom>
              <a:avLst/>
              <a:gdLst>
                <a:gd name="connsiteX0" fmla="*/ 302721 w 605441"/>
                <a:gd name="connsiteY0" fmla="*/ 125730 h 226695"/>
                <a:gd name="connsiteX1" fmla="*/ 471216 w 605441"/>
                <a:gd name="connsiteY1" fmla="*/ 226695 h 226695"/>
                <a:gd name="connsiteX2" fmla="*/ 605441 w 605441"/>
                <a:gd name="connsiteY2" fmla="*/ 226695 h 226695"/>
                <a:gd name="connsiteX3" fmla="*/ 302721 w 605441"/>
                <a:gd name="connsiteY3" fmla="*/ 0 h 226695"/>
                <a:gd name="connsiteX4" fmla="*/ 0 w 605441"/>
                <a:gd name="connsiteY4" fmla="*/ 226695 h 226695"/>
                <a:gd name="connsiteX5" fmla="*/ 135177 w 605441"/>
                <a:gd name="connsiteY5" fmla="*/ 226695 h 226695"/>
                <a:gd name="connsiteX6" fmla="*/ 302721 w 605441"/>
                <a:gd name="connsiteY6" fmla="*/ 125730 h 226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5441" h="226695">
                  <a:moveTo>
                    <a:pt x="302721" y="125730"/>
                  </a:moveTo>
                  <a:cubicBezTo>
                    <a:pt x="375069" y="125730"/>
                    <a:pt x="438850" y="166688"/>
                    <a:pt x="471216" y="226695"/>
                  </a:cubicBezTo>
                  <a:lnTo>
                    <a:pt x="605441" y="226695"/>
                  </a:lnTo>
                  <a:cubicBezTo>
                    <a:pt x="566411" y="95250"/>
                    <a:pt x="445514" y="0"/>
                    <a:pt x="302721" y="0"/>
                  </a:cubicBezTo>
                  <a:cubicBezTo>
                    <a:pt x="159928" y="0"/>
                    <a:pt x="39030" y="96203"/>
                    <a:pt x="0" y="226695"/>
                  </a:cubicBezTo>
                  <a:lnTo>
                    <a:pt x="135177" y="226695"/>
                  </a:lnTo>
                  <a:cubicBezTo>
                    <a:pt x="166592" y="166688"/>
                    <a:pt x="230372" y="125730"/>
                    <a:pt x="302721" y="125730"/>
                  </a:cubicBez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5" name="Forma libre 24">
              <a:extLst>
                <a:ext uri="{FF2B5EF4-FFF2-40B4-BE49-F238E27FC236}">
                  <a16:creationId xmlns:a16="http://schemas.microsoft.com/office/drawing/2014/main" id="{B2AF5AD5-75EC-AFEA-3FB4-727FF3061280}"/>
                </a:ext>
              </a:extLst>
            </p:cNvPr>
            <p:cNvSpPr/>
            <p:nvPr/>
          </p:nvSpPr>
          <p:spPr>
            <a:xfrm>
              <a:off x="5066062" y="2543175"/>
              <a:ext cx="632095" cy="345757"/>
            </a:xfrm>
            <a:custGeom>
              <a:avLst/>
              <a:gdLst>
                <a:gd name="connsiteX0" fmla="*/ 505486 w 632095"/>
                <a:gd name="connsiteY0" fmla="*/ 0 h 345757"/>
                <a:gd name="connsiteX1" fmla="*/ 507390 w 632095"/>
                <a:gd name="connsiteY1" fmla="*/ 28575 h 345757"/>
                <a:gd name="connsiteX2" fmla="*/ 316048 w 632095"/>
                <a:gd name="connsiteY2" fmla="*/ 220027 h 345757"/>
                <a:gd name="connsiteX3" fmla="*/ 124706 w 632095"/>
                <a:gd name="connsiteY3" fmla="*/ 28575 h 345757"/>
                <a:gd name="connsiteX4" fmla="*/ 126610 w 632095"/>
                <a:gd name="connsiteY4" fmla="*/ 0 h 345757"/>
                <a:gd name="connsiteX5" fmla="*/ 952 w 632095"/>
                <a:gd name="connsiteY5" fmla="*/ 0 h 345757"/>
                <a:gd name="connsiteX6" fmla="*/ 0 w 632095"/>
                <a:gd name="connsiteY6" fmla="*/ 28575 h 345757"/>
                <a:gd name="connsiteX7" fmla="*/ 316048 w 632095"/>
                <a:gd name="connsiteY7" fmla="*/ 345758 h 345757"/>
                <a:gd name="connsiteX8" fmla="*/ 632096 w 632095"/>
                <a:gd name="connsiteY8" fmla="*/ 28575 h 345757"/>
                <a:gd name="connsiteX9" fmla="*/ 631144 w 632095"/>
                <a:gd name="connsiteY9" fmla="*/ 0 h 345757"/>
                <a:gd name="connsiteX10" fmla="*/ 505486 w 632095"/>
                <a:gd name="connsiteY10" fmla="*/ 0 h 345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2095" h="345757">
                  <a:moveTo>
                    <a:pt x="505486" y="0"/>
                  </a:moveTo>
                  <a:cubicBezTo>
                    <a:pt x="506438" y="9525"/>
                    <a:pt x="507390" y="19050"/>
                    <a:pt x="507390" y="28575"/>
                  </a:cubicBezTo>
                  <a:cubicBezTo>
                    <a:pt x="507390" y="134302"/>
                    <a:pt x="421715" y="220027"/>
                    <a:pt x="316048" y="220027"/>
                  </a:cubicBezTo>
                  <a:cubicBezTo>
                    <a:pt x="210381" y="220027"/>
                    <a:pt x="124706" y="134302"/>
                    <a:pt x="124706" y="28575"/>
                  </a:cubicBezTo>
                  <a:cubicBezTo>
                    <a:pt x="124706" y="19050"/>
                    <a:pt x="125658" y="9525"/>
                    <a:pt x="126610" y="0"/>
                  </a:cubicBezTo>
                  <a:lnTo>
                    <a:pt x="952" y="0"/>
                  </a:lnTo>
                  <a:cubicBezTo>
                    <a:pt x="0" y="9525"/>
                    <a:pt x="0" y="19050"/>
                    <a:pt x="0" y="28575"/>
                  </a:cubicBezTo>
                  <a:cubicBezTo>
                    <a:pt x="0" y="203835"/>
                    <a:pt x="141841" y="345758"/>
                    <a:pt x="316048" y="345758"/>
                  </a:cubicBezTo>
                  <a:cubicBezTo>
                    <a:pt x="490255" y="345758"/>
                    <a:pt x="632096" y="202883"/>
                    <a:pt x="632096" y="28575"/>
                  </a:cubicBezTo>
                  <a:cubicBezTo>
                    <a:pt x="632096" y="19050"/>
                    <a:pt x="632096" y="9525"/>
                    <a:pt x="631144" y="0"/>
                  </a:cubicBezTo>
                  <a:lnTo>
                    <a:pt x="505486" y="0"/>
                  </a:ln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grpSp>
        <p:nvGrpSpPr>
          <p:cNvPr id="26" name="Gráfico 61">
            <a:extLst>
              <a:ext uri="{FF2B5EF4-FFF2-40B4-BE49-F238E27FC236}">
                <a16:creationId xmlns:a16="http://schemas.microsoft.com/office/drawing/2014/main" id="{0DF7B2BF-A756-6854-C19B-BB8805DAA809}"/>
              </a:ext>
            </a:extLst>
          </p:cNvPr>
          <p:cNvGrpSpPr>
            <a:grpSpLocks noChangeAspect="1"/>
          </p:cNvGrpSpPr>
          <p:nvPr/>
        </p:nvGrpSpPr>
        <p:grpSpPr>
          <a:xfrm>
            <a:off x="3518513" y="2657061"/>
            <a:ext cx="576000" cy="137955"/>
            <a:chOff x="0" y="1477046"/>
            <a:chExt cx="7770161" cy="1860995"/>
          </a:xfrm>
          <a:solidFill>
            <a:srgbClr val="0066FF"/>
          </a:solidFill>
        </p:grpSpPr>
        <p:grpSp>
          <p:nvGrpSpPr>
            <p:cNvPr id="27" name="Gráfico 61">
              <a:extLst>
                <a:ext uri="{FF2B5EF4-FFF2-40B4-BE49-F238E27FC236}">
                  <a16:creationId xmlns:a16="http://schemas.microsoft.com/office/drawing/2014/main" id="{7C6C4AF0-CA93-8BA6-72AC-8C81ADE215C5}"/>
                </a:ext>
              </a:extLst>
            </p:cNvPr>
            <p:cNvGrpSpPr/>
            <p:nvPr/>
          </p:nvGrpSpPr>
          <p:grpSpPr>
            <a:xfrm>
              <a:off x="0" y="1477046"/>
              <a:ext cx="1864779" cy="1860995"/>
              <a:chOff x="0" y="1477046"/>
              <a:chExt cx="1864779" cy="1860995"/>
            </a:xfrm>
            <a:solidFill>
              <a:srgbClr val="0066FF"/>
            </a:solidFill>
          </p:grpSpPr>
          <p:sp>
            <p:nvSpPr>
              <p:cNvPr id="39" name="Forma libre 38">
                <a:extLst>
                  <a:ext uri="{FF2B5EF4-FFF2-40B4-BE49-F238E27FC236}">
                    <a16:creationId xmlns:a16="http://schemas.microsoft.com/office/drawing/2014/main" id="{7AEF27F0-5165-58B5-8996-8D9CEB2A806F}"/>
                  </a:ext>
                </a:extLst>
              </p:cNvPr>
              <p:cNvSpPr/>
              <p:nvPr/>
            </p:nvSpPr>
            <p:spPr>
              <a:xfrm>
                <a:off x="0" y="1477046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40" name="Forma libre 39">
                <a:extLst>
                  <a:ext uri="{FF2B5EF4-FFF2-40B4-BE49-F238E27FC236}">
                    <a16:creationId xmlns:a16="http://schemas.microsoft.com/office/drawing/2014/main" id="{E113F48A-1A57-6BE0-B9B5-31AB2D2EEE84}"/>
                  </a:ext>
                </a:extLst>
              </p:cNvPr>
              <p:cNvSpPr/>
              <p:nvPr/>
            </p:nvSpPr>
            <p:spPr>
              <a:xfrm>
                <a:off x="654164" y="1477046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41" name="Forma libre 40">
                <a:extLst>
                  <a:ext uri="{FF2B5EF4-FFF2-40B4-BE49-F238E27FC236}">
                    <a16:creationId xmlns:a16="http://schemas.microsoft.com/office/drawing/2014/main" id="{123280FA-E02F-7EA8-6D73-B098F8618AF4}"/>
                  </a:ext>
                </a:extLst>
              </p:cNvPr>
              <p:cNvSpPr/>
              <p:nvPr/>
            </p:nvSpPr>
            <p:spPr>
              <a:xfrm>
                <a:off x="1308329" y="1477046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42" name="Forma libre 41">
                <a:extLst>
                  <a:ext uri="{FF2B5EF4-FFF2-40B4-BE49-F238E27FC236}">
                    <a16:creationId xmlns:a16="http://schemas.microsoft.com/office/drawing/2014/main" id="{D6D49E0C-125E-30CE-C763-F457D1A1CE79}"/>
                  </a:ext>
                </a:extLst>
              </p:cNvPr>
              <p:cNvSpPr/>
              <p:nvPr/>
            </p:nvSpPr>
            <p:spPr>
              <a:xfrm>
                <a:off x="654164" y="2129883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43" name="Forma libre 42">
                <a:extLst>
                  <a:ext uri="{FF2B5EF4-FFF2-40B4-BE49-F238E27FC236}">
                    <a16:creationId xmlns:a16="http://schemas.microsoft.com/office/drawing/2014/main" id="{061CBF71-4D8D-819B-84C6-10C3DAA06076}"/>
                  </a:ext>
                </a:extLst>
              </p:cNvPr>
              <p:cNvSpPr/>
              <p:nvPr/>
            </p:nvSpPr>
            <p:spPr>
              <a:xfrm>
                <a:off x="654164" y="2782720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grpSp>
          <p:nvGrpSpPr>
            <p:cNvPr id="28" name="Gráfico 61">
              <a:extLst>
                <a:ext uri="{FF2B5EF4-FFF2-40B4-BE49-F238E27FC236}">
                  <a16:creationId xmlns:a16="http://schemas.microsoft.com/office/drawing/2014/main" id="{E17BD6D2-168E-9C35-6F37-406CBC155EC3}"/>
                </a:ext>
              </a:extLst>
            </p:cNvPr>
            <p:cNvGrpSpPr/>
            <p:nvPr/>
          </p:nvGrpSpPr>
          <p:grpSpPr>
            <a:xfrm>
              <a:off x="2198947" y="1998124"/>
              <a:ext cx="5571214" cy="914865"/>
              <a:chOff x="2198947" y="1998124"/>
              <a:chExt cx="5571214" cy="914865"/>
            </a:xfrm>
            <a:solidFill>
              <a:srgbClr val="0066FF"/>
            </a:solidFill>
          </p:grpSpPr>
          <p:sp>
            <p:nvSpPr>
              <p:cNvPr id="29" name="Forma libre 28">
                <a:extLst>
                  <a:ext uri="{FF2B5EF4-FFF2-40B4-BE49-F238E27FC236}">
                    <a16:creationId xmlns:a16="http://schemas.microsoft.com/office/drawing/2014/main" id="{BAD6C5E8-5CCE-C7AE-BE16-4F3AD661D8D1}"/>
                  </a:ext>
                </a:extLst>
              </p:cNvPr>
              <p:cNvSpPr/>
              <p:nvPr/>
            </p:nvSpPr>
            <p:spPr>
              <a:xfrm>
                <a:off x="2198947" y="2036833"/>
                <a:ext cx="678779" cy="862757"/>
              </a:xfrm>
              <a:custGeom>
                <a:avLst/>
                <a:gdLst>
                  <a:gd name="connsiteX0" fmla="*/ 258831 w 678779"/>
                  <a:gd name="connsiteY0" fmla="*/ 154091 h 862757"/>
                  <a:gd name="connsiteX1" fmla="*/ 0 w 678779"/>
                  <a:gd name="connsiteY1" fmla="*/ 154091 h 862757"/>
                  <a:gd name="connsiteX2" fmla="*/ 0 w 678779"/>
                  <a:gd name="connsiteY2" fmla="*/ 0 h 862757"/>
                  <a:gd name="connsiteX3" fmla="*/ 678780 w 678779"/>
                  <a:gd name="connsiteY3" fmla="*/ 0 h 862757"/>
                  <a:gd name="connsiteX4" fmla="*/ 678780 w 678779"/>
                  <a:gd name="connsiteY4" fmla="*/ 154091 h 862757"/>
                  <a:gd name="connsiteX5" fmla="*/ 419202 w 678779"/>
                  <a:gd name="connsiteY5" fmla="*/ 154091 h 862757"/>
                  <a:gd name="connsiteX6" fmla="*/ 419202 w 678779"/>
                  <a:gd name="connsiteY6" fmla="*/ 862758 h 862757"/>
                  <a:gd name="connsiteX7" fmla="*/ 258831 w 678779"/>
                  <a:gd name="connsiteY7" fmla="*/ 862758 h 862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8779" h="862757">
                    <a:moveTo>
                      <a:pt x="258831" y="154091"/>
                    </a:moveTo>
                    <a:lnTo>
                      <a:pt x="0" y="154091"/>
                    </a:lnTo>
                    <a:lnTo>
                      <a:pt x="0" y="0"/>
                    </a:lnTo>
                    <a:lnTo>
                      <a:pt x="678780" y="0"/>
                    </a:lnTo>
                    <a:lnTo>
                      <a:pt x="678780" y="154091"/>
                    </a:lnTo>
                    <a:lnTo>
                      <a:pt x="419202" y="154091"/>
                    </a:lnTo>
                    <a:lnTo>
                      <a:pt x="419202" y="862758"/>
                    </a:lnTo>
                    <a:lnTo>
                      <a:pt x="258831" y="862758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30" name="Forma libre 29">
                <a:extLst>
                  <a:ext uri="{FF2B5EF4-FFF2-40B4-BE49-F238E27FC236}">
                    <a16:creationId xmlns:a16="http://schemas.microsoft.com/office/drawing/2014/main" id="{2B8194F9-DF95-40A2-F867-5590BAAD9BE8}"/>
                  </a:ext>
                </a:extLst>
              </p:cNvPr>
              <p:cNvSpPr/>
              <p:nvPr/>
            </p:nvSpPr>
            <p:spPr>
              <a:xfrm>
                <a:off x="2809103" y="2258664"/>
                <a:ext cx="629549" cy="653581"/>
              </a:xfrm>
              <a:custGeom>
                <a:avLst/>
                <a:gdLst>
                  <a:gd name="connsiteX0" fmla="*/ 475146 w 629549"/>
                  <a:gd name="connsiteY0" fmla="*/ 271705 h 653581"/>
                  <a:gd name="connsiteX1" fmla="*/ 320742 w 629549"/>
                  <a:gd name="connsiteY1" fmla="*/ 130270 h 653581"/>
                  <a:gd name="connsiteX2" fmla="*/ 153658 w 629549"/>
                  <a:gd name="connsiteY2" fmla="*/ 271705 h 653581"/>
                  <a:gd name="connsiteX3" fmla="*/ 475146 w 629549"/>
                  <a:gd name="connsiteY3" fmla="*/ 271705 h 653581"/>
                  <a:gd name="connsiteX4" fmla="*/ 610902 w 629549"/>
                  <a:gd name="connsiteY4" fmla="*/ 456316 h 653581"/>
                  <a:gd name="connsiteX5" fmla="*/ 320742 w 629549"/>
                  <a:gd name="connsiteY5" fmla="*/ 653582 h 653581"/>
                  <a:gd name="connsiteX6" fmla="*/ 0 w 629549"/>
                  <a:gd name="connsiteY6" fmla="*/ 326791 h 653581"/>
                  <a:gd name="connsiteX7" fmla="*/ 320742 w 629549"/>
                  <a:gd name="connsiteY7" fmla="*/ 0 h 653581"/>
                  <a:gd name="connsiteX8" fmla="*/ 629549 w 629549"/>
                  <a:gd name="connsiteY8" fmla="*/ 314136 h 653581"/>
                  <a:gd name="connsiteX9" fmla="*/ 625820 w 629549"/>
                  <a:gd name="connsiteY9" fmla="*/ 358800 h 653581"/>
                  <a:gd name="connsiteX10" fmla="*/ 623582 w 629549"/>
                  <a:gd name="connsiteY10" fmla="*/ 375921 h 653581"/>
                  <a:gd name="connsiteX11" fmla="*/ 154404 w 629549"/>
                  <a:gd name="connsiteY11" fmla="*/ 375921 h 653581"/>
                  <a:gd name="connsiteX12" fmla="*/ 321488 w 629549"/>
                  <a:gd name="connsiteY12" fmla="*/ 524056 h 653581"/>
                  <a:gd name="connsiteX13" fmla="*/ 451277 w 629549"/>
                  <a:gd name="connsiteY13" fmla="*/ 456316 h 653581"/>
                  <a:gd name="connsiteX14" fmla="*/ 610902 w 629549"/>
                  <a:gd name="connsiteY14" fmla="*/ 456316 h 65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29549" h="653581">
                    <a:moveTo>
                      <a:pt x="475146" y="271705"/>
                    </a:moveTo>
                    <a:cubicBezTo>
                      <a:pt x="461719" y="191310"/>
                      <a:pt x="408760" y="130270"/>
                      <a:pt x="320742" y="130270"/>
                    </a:cubicBezTo>
                    <a:cubicBezTo>
                      <a:pt x="226757" y="130270"/>
                      <a:pt x="172306" y="192055"/>
                      <a:pt x="153658" y="271705"/>
                    </a:cubicBezTo>
                    <a:lnTo>
                      <a:pt x="475146" y="271705"/>
                    </a:lnTo>
                    <a:close/>
                    <a:moveTo>
                      <a:pt x="610902" y="456316"/>
                    </a:moveTo>
                    <a:cubicBezTo>
                      <a:pt x="597475" y="505446"/>
                      <a:pt x="519155" y="653582"/>
                      <a:pt x="320742" y="653582"/>
                    </a:cubicBezTo>
                    <a:cubicBezTo>
                      <a:pt x="135756" y="653582"/>
                      <a:pt x="0" y="518101"/>
                      <a:pt x="0" y="326791"/>
                    </a:cubicBezTo>
                    <a:cubicBezTo>
                      <a:pt x="0" y="135480"/>
                      <a:pt x="135756" y="0"/>
                      <a:pt x="320742" y="0"/>
                    </a:cubicBezTo>
                    <a:cubicBezTo>
                      <a:pt x="493793" y="0"/>
                      <a:pt x="629549" y="135480"/>
                      <a:pt x="629549" y="314136"/>
                    </a:cubicBezTo>
                    <a:cubicBezTo>
                      <a:pt x="629549" y="332746"/>
                      <a:pt x="627312" y="347634"/>
                      <a:pt x="625820" y="358800"/>
                    </a:cubicBezTo>
                    <a:lnTo>
                      <a:pt x="623582" y="375921"/>
                    </a:lnTo>
                    <a:lnTo>
                      <a:pt x="154404" y="375921"/>
                    </a:lnTo>
                    <a:cubicBezTo>
                      <a:pt x="167830" y="463760"/>
                      <a:pt x="233470" y="524056"/>
                      <a:pt x="321488" y="524056"/>
                    </a:cubicBezTo>
                    <a:cubicBezTo>
                      <a:pt x="394587" y="524056"/>
                      <a:pt x="438596" y="482370"/>
                      <a:pt x="451277" y="456316"/>
                    </a:cubicBezTo>
                    <a:lnTo>
                      <a:pt x="610902" y="456316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31" name="Forma libre 30">
                <a:extLst>
                  <a:ext uri="{FF2B5EF4-FFF2-40B4-BE49-F238E27FC236}">
                    <a16:creationId xmlns:a16="http://schemas.microsoft.com/office/drawing/2014/main" id="{34543A4D-004F-F11E-4766-98835AF454AD}"/>
                  </a:ext>
                </a:extLst>
              </p:cNvPr>
              <p:cNvSpPr/>
              <p:nvPr/>
            </p:nvSpPr>
            <p:spPr>
              <a:xfrm>
                <a:off x="3531146" y="2036833"/>
                <a:ext cx="154403" cy="862757"/>
              </a:xfrm>
              <a:custGeom>
                <a:avLst/>
                <a:gdLst>
                  <a:gd name="connsiteX0" fmla="*/ 0 w 154403"/>
                  <a:gd name="connsiteY0" fmla="*/ 0 h 862757"/>
                  <a:gd name="connsiteX1" fmla="*/ 154404 w 154403"/>
                  <a:gd name="connsiteY1" fmla="*/ 0 h 862757"/>
                  <a:gd name="connsiteX2" fmla="*/ 154404 w 154403"/>
                  <a:gd name="connsiteY2" fmla="*/ 862758 h 862757"/>
                  <a:gd name="connsiteX3" fmla="*/ 0 w 154403"/>
                  <a:gd name="connsiteY3" fmla="*/ 862758 h 862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4403" h="862757">
                    <a:moveTo>
                      <a:pt x="0" y="0"/>
                    </a:moveTo>
                    <a:lnTo>
                      <a:pt x="154404" y="0"/>
                    </a:lnTo>
                    <a:lnTo>
                      <a:pt x="154404" y="862758"/>
                    </a:lnTo>
                    <a:lnTo>
                      <a:pt x="0" y="862758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32" name="Forma libre 31">
                <a:extLst>
                  <a:ext uri="{FF2B5EF4-FFF2-40B4-BE49-F238E27FC236}">
                    <a16:creationId xmlns:a16="http://schemas.microsoft.com/office/drawing/2014/main" id="{F208146B-C572-F52B-5C73-8FEBE85DBFDE}"/>
                  </a:ext>
                </a:extLst>
              </p:cNvPr>
              <p:cNvSpPr/>
              <p:nvPr/>
            </p:nvSpPr>
            <p:spPr>
              <a:xfrm>
                <a:off x="3778788" y="2258664"/>
                <a:ext cx="629549" cy="653581"/>
              </a:xfrm>
              <a:custGeom>
                <a:avLst/>
                <a:gdLst>
                  <a:gd name="connsiteX0" fmla="*/ 474400 w 629549"/>
                  <a:gd name="connsiteY0" fmla="*/ 271705 h 653581"/>
                  <a:gd name="connsiteX1" fmla="*/ 319996 w 629549"/>
                  <a:gd name="connsiteY1" fmla="*/ 130270 h 653581"/>
                  <a:gd name="connsiteX2" fmla="*/ 152912 w 629549"/>
                  <a:gd name="connsiteY2" fmla="*/ 271705 h 653581"/>
                  <a:gd name="connsiteX3" fmla="*/ 474400 w 629549"/>
                  <a:gd name="connsiteY3" fmla="*/ 271705 h 653581"/>
                  <a:gd name="connsiteX4" fmla="*/ 610902 w 629549"/>
                  <a:gd name="connsiteY4" fmla="*/ 456316 h 653581"/>
                  <a:gd name="connsiteX5" fmla="*/ 320742 w 629549"/>
                  <a:gd name="connsiteY5" fmla="*/ 653582 h 653581"/>
                  <a:gd name="connsiteX6" fmla="*/ 0 w 629549"/>
                  <a:gd name="connsiteY6" fmla="*/ 326791 h 653581"/>
                  <a:gd name="connsiteX7" fmla="*/ 320742 w 629549"/>
                  <a:gd name="connsiteY7" fmla="*/ 0 h 653581"/>
                  <a:gd name="connsiteX8" fmla="*/ 629549 w 629549"/>
                  <a:gd name="connsiteY8" fmla="*/ 314136 h 653581"/>
                  <a:gd name="connsiteX9" fmla="*/ 625820 w 629549"/>
                  <a:gd name="connsiteY9" fmla="*/ 358800 h 653581"/>
                  <a:gd name="connsiteX10" fmla="*/ 623582 w 629549"/>
                  <a:gd name="connsiteY10" fmla="*/ 375921 h 653581"/>
                  <a:gd name="connsiteX11" fmla="*/ 154404 w 629549"/>
                  <a:gd name="connsiteY11" fmla="*/ 375921 h 653581"/>
                  <a:gd name="connsiteX12" fmla="*/ 321488 w 629549"/>
                  <a:gd name="connsiteY12" fmla="*/ 524056 h 653581"/>
                  <a:gd name="connsiteX13" fmla="*/ 451276 w 629549"/>
                  <a:gd name="connsiteY13" fmla="*/ 456316 h 653581"/>
                  <a:gd name="connsiteX14" fmla="*/ 610902 w 629549"/>
                  <a:gd name="connsiteY14" fmla="*/ 456316 h 65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29549" h="653581">
                    <a:moveTo>
                      <a:pt x="474400" y="271705"/>
                    </a:moveTo>
                    <a:cubicBezTo>
                      <a:pt x="460974" y="191310"/>
                      <a:pt x="408014" y="130270"/>
                      <a:pt x="319996" y="130270"/>
                    </a:cubicBezTo>
                    <a:cubicBezTo>
                      <a:pt x="226011" y="130270"/>
                      <a:pt x="171559" y="192055"/>
                      <a:pt x="152912" y="271705"/>
                    </a:cubicBezTo>
                    <a:lnTo>
                      <a:pt x="474400" y="271705"/>
                    </a:lnTo>
                    <a:close/>
                    <a:moveTo>
                      <a:pt x="610902" y="456316"/>
                    </a:moveTo>
                    <a:cubicBezTo>
                      <a:pt x="597475" y="505446"/>
                      <a:pt x="519155" y="653582"/>
                      <a:pt x="320742" y="653582"/>
                    </a:cubicBezTo>
                    <a:cubicBezTo>
                      <a:pt x="135756" y="653582"/>
                      <a:pt x="0" y="518101"/>
                      <a:pt x="0" y="326791"/>
                    </a:cubicBezTo>
                    <a:cubicBezTo>
                      <a:pt x="0" y="135480"/>
                      <a:pt x="135756" y="0"/>
                      <a:pt x="320742" y="0"/>
                    </a:cubicBezTo>
                    <a:cubicBezTo>
                      <a:pt x="493793" y="0"/>
                      <a:pt x="629549" y="135480"/>
                      <a:pt x="629549" y="314136"/>
                    </a:cubicBezTo>
                    <a:cubicBezTo>
                      <a:pt x="629549" y="332746"/>
                      <a:pt x="627312" y="347634"/>
                      <a:pt x="625820" y="358800"/>
                    </a:cubicBezTo>
                    <a:lnTo>
                      <a:pt x="623582" y="375921"/>
                    </a:lnTo>
                    <a:lnTo>
                      <a:pt x="154404" y="375921"/>
                    </a:lnTo>
                    <a:cubicBezTo>
                      <a:pt x="167830" y="463760"/>
                      <a:pt x="233471" y="524056"/>
                      <a:pt x="321488" y="524056"/>
                    </a:cubicBezTo>
                    <a:cubicBezTo>
                      <a:pt x="394587" y="524056"/>
                      <a:pt x="438596" y="482370"/>
                      <a:pt x="451276" y="456316"/>
                    </a:cubicBezTo>
                    <a:lnTo>
                      <a:pt x="610902" y="456316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33" name="Forma libre 32">
                <a:extLst>
                  <a:ext uri="{FF2B5EF4-FFF2-40B4-BE49-F238E27FC236}">
                    <a16:creationId xmlns:a16="http://schemas.microsoft.com/office/drawing/2014/main" id="{AC3EE23A-8937-6DAF-59C3-910F418A2729}"/>
                  </a:ext>
                </a:extLst>
              </p:cNvPr>
              <p:cNvSpPr/>
              <p:nvPr/>
            </p:nvSpPr>
            <p:spPr>
              <a:xfrm>
                <a:off x="4444888" y="2024923"/>
                <a:ext cx="395333" cy="875412"/>
              </a:xfrm>
              <a:custGeom>
                <a:avLst/>
                <a:gdLst>
                  <a:gd name="connsiteX0" fmla="*/ 105173 w 395333"/>
                  <a:gd name="connsiteY0" fmla="*/ 394531 h 875412"/>
                  <a:gd name="connsiteX1" fmla="*/ 0 w 395333"/>
                  <a:gd name="connsiteY1" fmla="*/ 394531 h 875412"/>
                  <a:gd name="connsiteX2" fmla="*/ 0 w 395333"/>
                  <a:gd name="connsiteY2" fmla="*/ 246396 h 875412"/>
                  <a:gd name="connsiteX3" fmla="*/ 105173 w 395333"/>
                  <a:gd name="connsiteY3" fmla="*/ 246396 h 875412"/>
                  <a:gd name="connsiteX4" fmla="*/ 105173 w 395333"/>
                  <a:gd name="connsiteY4" fmla="*/ 154091 h 875412"/>
                  <a:gd name="connsiteX5" fmla="*/ 259577 w 395333"/>
                  <a:gd name="connsiteY5" fmla="*/ 0 h 875412"/>
                  <a:gd name="connsiteX6" fmla="*/ 395333 w 395333"/>
                  <a:gd name="connsiteY6" fmla="*/ 0 h 875412"/>
                  <a:gd name="connsiteX7" fmla="*/ 395333 w 395333"/>
                  <a:gd name="connsiteY7" fmla="*/ 135481 h 875412"/>
                  <a:gd name="connsiteX8" fmla="*/ 302840 w 395333"/>
                  <a:gd name="connsiteY8" fmla="*/ 135481 h 875412"/>
                  <a:gd name="connsiteX9" fmla="*/ 259577 w 395333"/>
                  <a:gd name="connsiteY9" fmla="*/ 178656 h 875412"/>
                  <a:gd name="connsiteX10" fmla="*/ 259577 w 395333"/>
                  <a:gd name="connsiteY10" fmla="*/ 246396 h 875412"/>
                  <a:gd name="connsiteX11" fmla="*/ 395333 w 395333"/>
                  <a:gd name="connsiteY11" fmla="*/ 246396 h 875412"/>
                  <a:gd name="connsiteX12" fmla="*/ 395333 w 395333"/>
                  <a:gd name="connsiteY12" fmla="*/ 394531 h 875412"/>
                  <a:gd name="connsiteX13" fmla="*/ 259577 w 395333"/>
                  <a:gd name="connsiteY13" fmla="*/ 394531 h 875412"/>
                  <a:gd name="connsiteX14" fmla="*/ 259577 w 395333"/>
                  <a:gd name="connsiteY14" fmla="*/ 875413 h 875412"/>
                  <a:gd name="connsiteX15" fmla="*/ 105173 w 395333"/>
                  <a:gd name="connsiteY15" fmla="*/ 875413 h 875412"/>
                  <a:gd name="connsiteX16" fmla="*/ 105173 w 395333"/>
                  <a:gd name="connsiteY16" fmla="*/ 394531 h 875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95333" h="875412">
                    <a:moveTo>
                      <a:pt x="105173" y="394531"/>
                    </a:moveTo>
                    <a:lnTo>
                      <a:pt x="0" y="394531"/>
                    </a:lnTo>
                    <a:lnTo>
                      <a:pt x="0" y="246396"/>
                    </a:lnTo>
                    <a:lnTo>
                      <a:pt x="105173" y="246396"/>
                    </a:lnTo>
                    <a:lnTo>
                      <a:pt x="105173" y="154091"/>
                    </a:lnTo>
                    <a:cubicBezTo>
                      <a:pt x="105173" y="60296"/>
                      <a:pt x="165592" y="0"/>
                      <a:pt x="259577" y="0"/>
                    </a:cubicBezTo>
                    <a:lnTo>
                      <a:pt x="395333" y="0"/>
                    </a:lnTo>
                    <a:lnTo>
                      <a:pt x="395333" y="135481"/>
                    </a:lnTo>
                    <a:lnTo>
                      <a:pt x="302840" y="135481"/>
                    </a:lnTo>
                    <a:cubicBezTo>
                      <a:pt x="278225" y="135481"/>
                      <a:pt x="259577" y="154091"/>
                      <a:pt x="259577" y="178656"/>
                    </a:cubicBezTo>
                    <a:lnTo>
                      <a:pt x="259577" y="246396"/>
                    </a:lnTo>
                    <a:lnTo>
                      <a:pt x="395333" y="246396"/>
                    </a:lnTo>
                    <a:lnTo>
                      <a:pt x="395333" y="394531"/>
                    </a:lnTo>
                    <a:lnTo>
                      <a:pt x="259577" y="394531"/>
                    </a:lnTo>
                    <a:lnTo>
                      <a:pt x="259577" y="875413"/>
                    </a:lnTo>
                    <a:lnTo>
                      <a:pt x="105173" y="875413"/>
                    </a:lnTo>
                    <a:lnTo>
                      <a:pt x="105173" y="394531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34" name="Forma libre 33">
                <a:extLst>
                  <a:ext uri="{FF2B5EF4-FFF2-40B4-BE49-F238E27FC236}">
                    <a16:creationId xmlns:a16="http://schemas.microsoft.com/office/drawing/2014/main" id="{836119C2-EFDF-C127-C491-D2CB253E0E06}"/>
                  </a:ext>
                </a:extLst>
              </p:cNvPr>
              <p:cNvSpPr/>
              <p:nvPr/>
            </p:nvSpPr>
            <p:spPr>
              <a:xfrm>
                <a:off x="5598067" y="2258664"/>
                <a:ext cx="580319" cy="640927"/>
              </a:xfrm>
              <a:custGeom>
                <a:avLst/>
                <a:gdLst>
                  <a:gd name="connsiteX0" fmla="*/ 0 w 580319"/>
                  <a:gd name="connsiteY0" fmla="*/ 12655 h 640927"/>
                  <a:gd name="connsiteX1" fmla="*/ 141723 w 580319"/>
                  <a:gd name="connsiteY1" fmla="*/ 12655 h 640927"/>
                  <a:gd name="connsiteX2" fmla="*/ 154404 w 580319"/>
                  <a:gd name="connsiteY2" fmla="*/ 74440 h 640927"/>
                  <a:gd name="connsiteX3" fmla="*/ 160371 w 580319"/>
                  <a:gd name="connsiteY3" fmla="*/ 74440 h 640927"/>
                  <a:gd name="connsiteX4" fmla="*/ 202142 w 580319"/>
                  <a:gd name="connsiteY4" fmla="*/ 37220 h 640927"/>
                  <a:gd name="connsiteX5" fmla="*/ 333423 w 580319"/>
                  <a:gd name="connsiteY5" fmla="*/ 0 h 640927"/>
                  <a:gd name="connsiteX6" fmla="*/ 580319 w 580319"/>
                  <a:gd name="connsiteY6" fmla="*/ 265006 h 640927"/>
                  <a:gd name="connsiteX7" fmla="*/ 580319 w 580319"/>
                  <a:gd name="connsiteY7" fmla="*/ 640927 h 640927"/>
                  <a:gd name="connsiteX8" fmla="*/ 425915 w 580319"/>
                  <a:gd name="connsiteY8" fmla="*/ 640927 h 640927"/>
                  <a:gd name="connsiteX9" fmla="*/ 425915 w 580319"/>
                  <a:gd name="connsiteY9" fmla="*/ 277661 h 640927"/>
                  <a:gd name="connsiteX10" fmla="*/ 290160 w 580319"/>
                  <a:gd name="connsiteY10" fmla="*/ 142180 h 640927"/>
                  <a:gd name="connsiteX11" fmla="*/ 154404 w 580319"/>
                  <a:gd name="connsiteY11" fmla="*/ 277661 h 640927"/>
                  <a:gd name="connsiteX12" fmla="*/ 154404 w 580319"/>
                  <a:gd name="connsiteY12" fmla="*/ 640927 h 640927"/>
                  <a:gd name="connsiteX13" fmla="*/ 0 w 580319"/>
                  <a:gd name="connsiteY13" fmla="*/ 640927 h 640927"/>
                  <a:gd name="connsiteX14" fmla="*/ 0 w 580319"/>
                  <a:gd name="connsiteY14" fmla="*/ 12655 h 640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80319" h="640927">
                    <a:moveTo>
                      <a:pt x="0" y="12655"/>
                    </a:moveTo>
                    <a:lnTo>
                      <a:pt x="141723" y="12655"/>
                    </a:lnTo>
                    <a:lnTo>
                      <a:pt x="154404" y="74440"/>
                    </a:lnTo>
                    <a:lnTo>
                      <a:pt x="160371" y="74440"/>
                    </a:lnTo>
                    <a:cubicBezTo>
                      <a:pt x="171560" y="61041"/>
                      <a:pt x="186478" y="48386"/>
                      <a:pt x="202142" y="37220"/>
                    </a:cubicBezTo>
                    <a:cubicBezTo>
                      <a:pt x="230487" y="18610"/>
                      <a:pt x="273750" y="0"/>
                      <a:pt x="333423" y="0"/>
                    </a:cubicBezTo>
                    <a:cubicBezTo>
                      <a:pt x="475146" y="0"/>
                      <a:pt x="580319" y="104960"/>
                      <a:pt x="580319" y="265006"/>
                    </a:cubicBezTo>
                    <a:lnTo>
                      <a:pt x="580319" y="640927"/>
                    </a:lnTo>
                    <a:lnTo>
                      <a:pt x="425915" y="640927"/>
                    </a:lnTo>
                    <a:lnTo>
                      <a:pt x="425915" y="277661"/>
                    </a:lnTo>
                    <a:cubicBezTo>
                      <a:pt x="425915" y="197266"/>
                      <a:pt x="369972" y="142180"/>
                      <a:pt x="290160" y="142180"/>
                    </a:cubicBezTo>
                    <a:cubicBezTo>
                      <a:pt x="209601" y="142180"/>
                      <a:pt x="154404" y="198010"/>
                      <a:pt x="154404" y="277661"/>
                    </a:cubicBezTo>
                    <a:lnTo>
                      <a:pt x="154404" y="640927"/>
                    </a:lnTo>
                    <a:lnTo>
                      <a:pt x="0" y="640927"/>
                    </a:lnTo>
                    <a:lnTo>
                      <a:pt x="0" y="12655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35" name="Forma libre 34">
                <a:extLst>
                  <a:ext uri="{FF2B5EF4-FFF2-40B4-BE49-F238E27FC236}">
                    <a16:creationId xmlns:a16="http://schemas.microsoft.com/office/drawing/2014/main" id="{2774736E-D5D5-66E0-1099-8266CFF18589}"/>
                  </a:ext>
                </a:extLst>
              </p:cNvPr>
              <p:cNvSpPr/>
              <p:nvPr/>
            </p:nvSpPr>
            <p:spPr>
              <a:xfrm>
                <a:off x="6544629" y="2258664"/>
                <a:ext cx="616868" cy="653581"/>
              </a:xfrm>
              <a:custGeom>
                <a:avLst/>
                <a:gdLst>
                  <a:gd name="connsiteX0" fmla="*/ 616869 w 616868"/>
                  <a:gd name="connsiteY0" fmla="*/ 407186 h 653581"/>
                  <a:gd name="connsiteX1" fmla="*/ 320742 w 616868"/>
                  <a:gd name="connsiteY1" fmla="*/ 653582 h 653581"/>
                  <a:gd name="connsiteX2" fmla="*/ 0 w 616868"/>
                  <a:gd name="connsiteY2" fmla="*/ 326791 h 653581"/>
                  <a:gd name="connsiteX3" fmla="*/ 320742 w 616868"/>
                  <a:gd name="connsiteY3" fmla="*/ 0 h 653581"/>
                  <a:gd name="connsiteX4" fmla="*/ 616869 w 616868"/>
                  <a:gd name="connsiteY4" fmla="*/ 240441 h 653581"/>
                  <a:gd name="connsiteX5" fmla="*/ 462465 w 616868"/>
                  <a:gd name="connsiteY5" fmla="*/ 240441 h 653581"/>
                  <a:gd name="connsiteX6" fmla="*/ 320742 w 616868"/>
                  <a:gd name="connsiteY6" fmla="*/ 142180 h 653581"/>
                  <a:gd name="connsiteX7" fmla="*/ 153658 w 616868"/>
                  <a:gd name="connsiteY7" fmla="*/ 326791 h 653581"/>
                  <a:gd name="connsiteX8" fmla="*/ 320742 w 616868"/>
                  <a:gd name="connsiteY8" fmla="*/ 511402 h 653581"/>
                  <a:gd name="connsiteX9" fmla="*/ 462465 w 616868"/>
                  <a:gd name="connsiteY9" fmla="*/ 406442 h 653581"/>
                  <a:gd name="connsiteX10" fmla="*/ 616869 w 616868"/>
                  <a:gd name="connsiteY10" fmla="*/ 406442 h 65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6868" h="653581">
                    <a:moveTo>
                      <a:pt x="616869" y="407186"/>
                    </a:moveTo>
                    <a:cubicBezTo>
                      <a:pt x="596729" y="505446"/>
                      <a:pt x="519154" y="653582"/>
                      <a:pt x="320742" y="653582"/>
                    </a:cubicBezTo>
                    <a:cubicBezTo>
                      <a:pt x="135756" y="653582"/>
                      <a:pt x="0" y="518101"/>
                      <a:pt x="0" y="326791"/>
                    </a:cubicBezTo>
                    <a:cubicBezTo>
                      <a:pt x="0" y="135480"/>
                      <a:pt x="135756" y="0"/>
                      <a:pt x="320742" y="0"/>
                    </a:cubicBezTo>
                    <a:cubicBezTo>
                      <a:pt x="519900" y="0"/>
                      <a:pt x="597475" y="148135"/>
                      <a:pt x="616869" y="240441"/>
                    </a:cubicBezTo>
                    <a:lnTo>
                      <a:pt x="462465" y="240441"/>
                    </a:lnTo>
                    <a:cubicBezTo>
                      <a:pt x="449038" y="204710"/>
                      <a:pt x="413235" y="142180"/>
                      <a:pt x="320742" y="142180"/>
                    </a:cubicBezTo>
                    <a:cubicBezTo>
                      <a:pt x="228249" y="142180"/>
                      <a:pt x="153658" y="215876"/>
                      <a:pt x="153658" y="326791"/>
                    </a:cubicBezTo>
                    <a:cubicBezTo>
                      <a:pt x="153658" y="437706"/>
                      <a:pt x="227503" y="511402"/>
                      <a:pt x="320742" y="511402"/>
                    </a:cubicBezTo>
                    <a:cubicBezTo>
                      <a:pt x="413981" y="511402"/>
                      <a:pt x="449038" y="449617"/>
                      <a:pt x="462465" y="406442"/>
                    </a:cubicBezTo>
                    <a:lnTo>
                      <a:pt x="616869" y="406442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36" name="Forma libre 35">
                <a:extLst>
                  <a:ext uri="{FF2B5EF4-FFF2-40B4-BE49-F238E27FC236}">
                    <a16:creationId xmlns:a16="http://schemas.microsoft.com/office/drawing/2014/main" id="{D00B8877-AEF1-5CAB-0F63-4ECEE3EE2906}"/>
                  </a:ext>
                </a:extLst>
              </p:cNvPr>
              <p:cNvSpPr/>
              <p:nvPr/>
            </p:nvSpPr>
            <p:spPr>
              <a:xfrm>
                <a:off x="7214458" y="2259408"/>
                <a:ext cx="555703" cy="653581"/>
              </a:xfrm>
              <a:custGeom>
                <a:avLst/>
                <a:gdLst>
                  <a:gd name="connsiteX0" fmla="*/ 401300 w 555703"/>
                  <a:gd name="connsiteY0" fmla="*/ 369222 h 653581"/>
                  <a:gd name="connsiteX1" fmla="*/ 271512 w 555703"/>
                  <a:gd name="connsiteY1" fmla="*/ 369222 h 653581"/>
                  <a:gd name="connsiteX2" fmla="*/ 154404 w 555703"/>
                  <a:gd name="connsiteY2" fmla="*/ 449617 h 653581"/>
                  <a:gd name="connsiteX3" fmla="*/ 252864 w 555703"/>
                  <a:gd name="connsiteY3" fmla="*/ 530012 h 653581"/>
                  <a:gd name="connsiteX4" fmla="*/ 401300 w 555703"/>
                  <a:gd name="connsiteY4" fmla="*/ 388576 h 653581"/>
                  <a:gd name="connsiteX5" fmla="*/ 401300 w 555703"/>
                  <a:gd name="connsiteY5" fmla="*/ 369222 h 653581"/>
                  <a:gd name="connsiteX6" fmla="*/ 413235 w 555703"/>
                  <a:gd name="connsiteY6" fmla="*/ 579142 h 653581"/>
                  <a:gd name="connsiteX7" fmla="*/ 407268 w 555703"/>
                  <a:gd name="connsiteY7" fmla="*/ 579142 h 653581"/>
                  <a:gd name="connsiteX8" fmla="*/ 364005 w 555703"/>
                  <a:gd name="connsiteY8" fmla="*/ 616362 h 653581"/>
                  <a:gd name="connsiteX9" fmla="*/ 228249 w 555703"/>
                  <a:gd name="connsiteY9" fmla="*/ 653582 h 653581"/>
                  <a:gd name="connsiteX10" fmla="*/ 0 w 555703"/>
                  <a:gd name="connsiteY10" fmla="*/ 462271 h 653581"/>
                  <a:gd name="connsiteX11" fmla="*/ 259577 w 555703"/>
                  <a:gd name="connsiteY11" fmla="*/ 252351 h 653581"/>
                  <a:gd name="connsiteX12" fmla="*/ 401300 w 555703"/>
                  <a:gd name="connsiteY12" fmla="*/ 252351 h 653581"/>
                  <a:gd name="connsiteX13" fmla="*/ 401300 w 555703"/>
                  <a:gd name="connsiteY13" fmla="*/ 239696 h 653581"/>
                  <a:gd name="connsiteX14" fmla="*/ 290159 w 555703"/>
                  <a:gd name="connsiteY14" fmla="*/ 122826 h 653581"/>
                  <a:gd name="connsiteX15" fmla="*/ 179019 w 555703"/>
                  <a:gd name="connsiteY15" fmla="*/ 203221 h 653581"/>
                  <a:gd name="connsiteX16" fmla="*/ 24615 w 555703"/>
                  <a:gd name="connsiteY16" fmla="*/ 203221 h 653581"/>
                  <a:gd name="connsiteX17" fmla="*/ 290159 w 555703"/>
                  <a:gd name="connsiteY17" fmla="*/ 0 h 653581"/>
                  <a:gd name="connsiteX18" fmla="*/ 555704 w 555703"/>
                  <a:gd name="connsiteY18" fmla="*/ 240441 h 653581"/>
                  <a:gd name="connsiteX19" fmla="*/ 555704 w 555703"/>
                  <a:gd name="connsiteY19" fmla="*/ 640927 h 653581"/>
                  <a:gd name="connsiteX20" fmla="*/ 425916 w 555703"/>
                  <a:gd name="connsiteY20" fmla="*/ 640927 h 653581"/>
                  <a:gd name="connsiteX21" fmla="*/ 413235 w 555703"/>
                  <a:gd name="connsiteY21" fmla="*/ 579142 h 65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5703" h="653581">
                    <a:moveTo>
                      <a:pt x="401300" y="369222"/>
                    </a:moveTo>
                    <a:lnTo>
                      <a:pt x="271512" y="369222"/>
                    </a:lnTo>
                    <a:cubicBezTo>
                      <a:pt x="190953" y="369222"/>
                      <a:pt x="154404" y="399742"/>
                      <a:pt x="154404" y="449617"/>
                    </a:cubicBezTo>
                    <a:cubicBezTo>
                      <a:pt x="154404" y="498747"/>
                      <a:pt x="190207" y="530012"/>
                      <a:pt x="252864" y="530012"/>
                    </a:cubicBezTo>
                    <a:cubicBezTo>
                      <a:pt x="346849" y="530012"/>
                      <a:pt x="401300" y="475671"/>
                      <a:pt x="401300" y="388576"/>
                    </a:cubicBezTo>
                    <a:lnTo>
                      <a:pt x="401300" y="369222"/>
                    </a:lnTo>
                    <a:close/>
                    <a:moveTo>
                      <a:pt x="413235" y="579142"/>
                    </a:moveTo>
                    <a:lnTo>
                      <a:pt x="407268" y="579142"/>
                    </a:lnTo>
                    <a:cubicBezTo>
                      <a:pt x="396079" y="592541"/>
                      <a:pt x="381161" y="605196"/>
                      <a:pt x="364005" y="616362"/>
                    </a:cubicBezTo>
                    <a:cubicBezTo>
                      <a:pt x="334168" y="634972"/>
                      <a:pt x="290906" y="653582"/>
                      <a:pt x="228249" y="653582"/>
                    </a:cubicBezTo>
                    <a:cubicBezTo>
                      <a:pt x="85034" y="653582"/>
                      <a:pt x="0" y="565743"/>
                      <a:pt x="0" y="462271"/>
                    </a:cubicBezTo>
                    <a:cubicBezTo>
                      <a:pt x="0" y="338701"/>
                      <a:pt x="86526" y="252351"/>
                      <a:pt x="259577" y="252351"/>
                    </a:cubicBezTo>
                    <a:lnTo>
                      <a:pt x="401300" y="252351"/>
                    </a:lnTo>
                    <a:lnTo>
                      <a:pt x="401300" y="239696"/>
                    </a:lnTo>
                    <a:cubicBezTo>
                      <a:pt x="401300" y="170467"/>
                      <a:pt x="359530" y="122826"/>
                      <a:pt x="290159" y="122826"/>
                    </a:cubicBezTo>
                    <a:cubicBezTo>
                      <a:pt x="220790" y="122826"/>
                      <a:pt x="184986" y="167490"/>
                      <a:pt x="179019" y="203221"/>
                    </a:cubicBezTo>
                    <a:lnTo>
                      <a:pt x="24615" y="203221"/>
                    </a:lnTo>
                    <a:cubicBezTo>
                      <a:pt x="38041" y="99749"/>
                      <a:pt x="122329" y="0"/>
                      <a:pt x="290159" y="0"/>
                    </a:cubicBezTo>
                    <a:cubicBezTo>
                      <a:pt x="450530" y="0"/>
                      <a:pt x="555704" y="105705"/>
                      <a:pt x="555704" y="240441"/>
                    </a:cubicBezTo>
                    <a:lnTo>
                      <a:pt x="555704" y="640927"/>
                    </a:lnTo>
                    <a:lnTo>
                      <a:pt x="425916" y="640927"/>
                    </a:lnTo>
                    <a:lnTo>
                      <a:pt x="413235" y="579142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37" name="Forma libre 36">
                <a:extLst>
                  <a:ext uri="{FF2B5EF4-FFF2-40B4-BE49-F238E27FC236}">
                    <a16:creationId xmlns:a16="http://schemas.microsoft.com/office/drawing/2014/main" id="{52834792-B433-0230-6EF6-AA137EF882DD}"/>
                  </a:ext>
                </a:extLst>
              </p:cNvPr>
              <p:cNvSpPr/>
              <p:nvPr/>
            </p:nvSpPr>
            <p:spPr>
              <a:xfrm>
                <a:off x="6282068" y="1998124"/>
                <a:ext cx="183494" cy="901466"/>
              </a:xfrm>
              <a:custGeom>
                <a:avLst/>
                <a:gdLst>
                  <a:gd name="connsiteX0" fmla="*/ 14918 w 183494"/>
                  <a:gd name="connsiteY0" fmla="*/ 273194 h 901466"/>
                  <a:gd name="connsiteX1" fmla="*/ 169322 w 183494"/>
                  <a:gd name="connsiteY1" fmla="*/ 273194 h 901466"/>
                  <a:gd name="connsiteX2" fmla="*/ 169322 w 183494"/>
                  <a:gd name="connsiteY2" fmla="*/ 901467 h 901466"/>
                  <a:gd name="connsiteX3" fmla="*/ 14918 w 183494"/>
                  <a:gd name="connsiteY3" fmla="*/ 901467 h 901466"/>
                  <a:gd name="connsiteX4" fmla="*/ 14918 w 183494"/>
                  <a:gd name="connsiteY4" fmla="*/ 273194 h 901466"/>
                  <a:gd name="connsiteX5" fmla="*/ 183494 w 183494"/>
                  <a:gd name="connsiteY5" fmla="*/ 91561 h 901466"/>
                  <a:gd name="connsiteX6" fmla="*/ 91747 w 183494"/>
                  <a:gd name="connsiteY6" fmla="*/ 0 h 901466"/>
                  <a:gd name="connsiteX7" fmla="*/ 0 w 183494"/>
                  <a:gd name="connsiteY7" fmla="*/ 91561 h 901466"/>
                  <a:gd name="connsiteX8" fmla="*/ 91747 w 183494"/>
                  <a:gd name="connsiteY8" fmla="*/ 183122 h 901466"/>
                  <a:gd name="connsiteX9" fmla="*/ 183494 w 183494"/>
                  <a:gd name="connsiteY9" fmla="*/ 91561 h 901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3494" h="901466">
                    <a:moveTo>
                      <a:pt x="14918" y="273194"/>
                    </a:moveTo>
                    <a:lnTo>
                      <a:pt x="169322" y="273194"/>
                    </a:lnTo>
                    <a:lnTo>
                      <a:pt x="169322" y="901467"/>
                    </a:lnTo>
                    <a:lnTo>
                      <a:pt x="14918" y="901467"/>
                    </a:lnTo>
                    <a:lnTo>
                      <a:pt x="14918" y="273194"/>
                    </a:lnTo>
                    <a:close/>
                    <a:moveTo>
                      <a:pt x="183494" y="91561"/>
                    </a:moveTo>
                    <a:cubicBezTo>
                      <a:pt x="183494" y="40942"/>
                      <a:pt x="142469" y="0"/>
                      <a:pt x="91747" y="0"/>
                    </a:cubicBezTo>
                    <a:cubicBezTo>
                      <a:pt x="41025" y="0"/>
                      <a:pt x="0" y="40942"/>
                      <a:pt x="0" y="91561"/>
                    </a:cubicBezTo>
                    <a:cubicBezTo>
                      <a:pt x="0" y="142180"/>
                      <a:pt x="41025" y="183122"/>
                      <a:pt x="91747" y="183122"/>
                    </a:cubicBezTo>
                    <a:cubicBezTo>
                      <a:pt x="142469" y="182378"/>
                      <a:pt x="183494" y="142180"/>
                      <a:pt x="183494" y="915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38" name="Forma libre 37">
                <a:extLst>
                  <a:ext uri="{FF2B5EF4-FFF2-40B4-BE49-F238E27FC236}">
                    <a16:creationId xmlns:a16="http://schemas.microsoft.com/office/drawing/2014/main" id="{9CCF30D2-AADD-4B67-382B-126CCE7A4E64}"/>
                  </a:ext>
                </a:extLst>
              </p:cNvPr>
              <p:cNvSpPr/>
              <p:nvPr/>
            </p:nvSpPr>
            <p:spPr>
              <a:xfrm>
                <a:off x="4863344" y="2006313"/>
                <a:ext cx="642229" cy="905932"/>
              </a:xfrm>
              <a:custGeom>
                <a:avLst/>
                <a:gdLst>
                  <a:gd name="connsiteX0" fmla="*/ 487826 w 642229"/>
                  <a:gd name="connsiteY0" fmla="*/ 579142 h 905932"/>
                  <a:gd name="connsiteX1" fmla="*/ 320742 w 642229"/>
                  <a:gd name="connsiteY1" fmla="*/ 394531 h 905932"/>
                  <a:gd name="connsiteX2" fmla="*/ 153658 w 642229"/>
                  <a:gd name="connsiteY2" fmla="*/ 579142 h 905932"/>
                  <a:gd name="connsiteX3" fmla="*/ 320742 w 642229"/>
                  <a:gd name="connsiteY3" fmla="*/ 763753 h 905932"/>
                  <a:gd name="connsiteX4" fmla="*/ 487826 w 642229"/>
                  <a:gd name="connsiteY4" fmla="*/ 579142 h 905932"/>
                  <a:gd name="connsiteX5" fmla="*/ 642230 w 642229"/>
                  <a:gd name="connsiteY5" fmla="*/ 579142 h 905932"/>
                  <a:gd name="connsiteX6" fmla="*/ 320742 w 642229"/>
                  <a:gd name="connsiteY6" fmla="*/ 905933 h 905932"/>
                  <a:gd name="connsiteX7" fmla="*/ 0 w 642229"/>
                  <a:gd name="connsiteY7" fmla="*/ 579142 h 905932"/>
                  <a:gd name="connsiteX8" fmla="*/ 320742 w 642229"/>
                  <a:gd name="connsiteY8" fmla="*/ 252351 h 905932"/>
                  <a:gd name="connsiteX9" fmla="*/ 642230 w 642229"/>
                  <a:gd name="connsiteY9" fmla="*/ 579142 h 905932"/>
                  <a:gd name="connsiteX10" fmla="*/ 376685 w 642229"/>
                  <a:gd name="connsiteY10" fmla="*/ 0 h 905932"/>
                  <a:gd name="connsiteX11" fmla="*/ 537056 w 642229"/>
                  <a:gd name="connsiteY11" fmla="*/ 0 h 905932"/>
                  <a:gd name="connsiteX12" fmla="*/ 388620 w 642229"/>
                  <a:gd name="connsiteY12" fmla="*/ 178656 h 905932"/>
                  <a:gd name="connsiteX13" fmla="*/ 258831 w 642229"/>
                  <a:gd name="connsiteY13" fmla="*/ 178656 h 905932"/>
                  <a:gd name="connsiteX14" fmla="*/ 376685 w 642229"/>
                  <a:gd name="connsiteY14" fmla="*/ 0 h 905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42229" h="905932">
                    <a:moveTo>
                      <a:pt x="487826" y="579142"/>
                    </a:moveTo>
                    <a:cubicBezTo>
                      <a:pt x="487826" y="468227"/>
                      <a:pt x="413981" y="394531"/>
                      <a:pt x="320742" y="394531"/>
                    </a:cubicBezTo>
                    <a:cubicBezTo>
                      <a:pt x="228249" y="394531"/>
                      <a:pt x="153658" y="468227"/>
                      <a:pt x="153658" y="579142"/>
                    </a:cubicBezTo>
                    <a:cubicBezTo>
                      <a:pt x="153658" y="690057"/>
                      <a:pt x="227503" y="763753"/>
                      <a:pt x="320742" y="763753"/>
                    </a:cubicBezTo>
                    <a:cubicBezTo>
                      <a:pt x="413981" y="763753"/>
                      <a:pt x="487826" y="690057"/>
                      <a:pt x="487826" y="579142"/>
                    </a:cubicBezTo>
                    <a:moveTo>
                      <a:pt x="642230" y="579142"/>
                    </a:moveTo>
                    <a:cubicBezTo>
                      <a:pt x="642230" y="770452"/>
                      <a:pt x="506474" y="905933"/>
                      <a:pt x="320742" y="905933"/>
                    </a:cubicBezTo>
                    <a:cubicBezTo>
                      <a:pt x="135756" y="905933"/>
                      <a:pt x="0" y="770452"/>
                      <a:pt x="0" y="579142"/>
                    </a:cubicBezTo>
                    <a:cubicBezTo>
                      <a:pt x="0" y="387832"/>
                      <a:pt x="135756" y="252351"/>
                      <a:pt x="320742" y="252351"/>
                    </a:cubicBezTo>
                    <a:cubicBezTo>
                      <a:pt x="506474" y="252351"/>
                      <a:pt x="642230" y="387832"/>
                      <a:pt x="642230" y="579142"/>
                    </a:cubicBezTo>
                    <a:moveTo>
                      <a:pt x="376685" y="0"/>
                    </a:moveTo>
                    <a:lnTo>
                      <a:pt x="537056" y="0"/>
                    </a:lnTo>
                    <a:lnTo>
                      <a:pt x="388620" y="178656"/>
                    </a:lnTo>
                    <a:lnTo>
                      <a:pt x="258831" y="178656"/>
                    </a:lnTo>
                    <a:lnTo>
                      <a:pt x="376685" y="0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</p:grpSp>
      <p:grpSp>
        <p:nvGrpSpPr>
          <p:cNvPr id="44" name="Grupo 43">
            <a:extLst>
              <a:ext uri="{FF2B5EF4-FFF2-40B4-BE49-F238E27FC236}">
                <a16:creationId xmlns:a16="http://schemas.microsoft.com/office/drawing/2014/main" id="{7133AD42-C068-EFA0-C4D0-CDFD30A9ABC9}"/>
              </a:ext>
            </a:extLst>
          </p:cNvPr>
          <p:cNvGrpSpPr/>
          <p:nvPr/>
        </p:nvGrpSpPr>
        <p:grpSpPr>
          <a:xfrm>
            <a:off x="2103744" y="2147594"/>
            <a:ext cx="314453" cy="113018"/>
            <a:chOff x="4146550" y="2419350"/>
            <a:chExt cx="848056" cy="304799"/>
          </a:xfrm>
        </p:grpSpPr>
        <p:sp>
          <p:nvSpPr>
            <p:cNvPr id="45" name="Forma libre 44">
              <a:extLst>
                <a:ext uri="{FF2B5EF4-FFF2-40B4-BE49-F238E27FC236}">
                  <a16:creationId xmlns:a16="http://schemas.microsoft.com/office/drawing/2014/main" id="{C1417C03-43B2-AC8C-635F-763A8473EC20}"/>
                </a:ext>
              </a:extLst>
            </p:cNvPr>
            <p:cNvSpPr/>
            <p:nvPr/>
          </p:nvSpPr>
          <p:spPr>
            <a:xfrm>
              <a:off x="4696070" y="2555407"/>
              <a:ext cx="167444" cy="168742"/>
            </a:xfrm>
            <a:custGeom>
              <a:avLst/>
              <a:gdLst>
                <a:gd name="connsiteX0" fmla="*/ 143085 w 167444"/>
                <a:gd name="connsiteY0" fmla="*/ 24652 h 168742"/>
                <a:gd name="connsiteX1" fmla="*/ 83531 w 167444"/>
                <a:gd name="connsiteY1" fmla="*/ 0 h 168742"/>
                <a:gd name="connsiteX2" fmla="*/ 24751 w 167444"/>
                <a:gd name="connsiteY2" fmla="*/ 24652 h 168742"/>
                <a:gd name="connsiteX3" fmla="*/ 0 w 167444"/>
                <a:gd name="connsiteY3" fmla="*/ 84371 h 168742"/>
                <a:gd name="connsiteX4" fmla="*/ 24751 w 167444"/>
                <a:gd name="connsiteY4" fmla="*/ 143703 h 168742"/>
                <a:gd name="connsiteX5" fmla="*/ 83531 w 167444"/>
                <a:gd name="connsiteY5" fmla="*/ 168743 h 168742"/>
                <a:gd name="connsiteX6" fmla="*/ 143085 w 167444"/>
                <a:gd name="connsiteY6" fmla="*/ 143703 h 168742"/>
                <a:gd name="connsiteX7" fmla="*/ 167445 w 167444"/>
                <a:gd name="connsiteY7" fmla="*/ 84371 h 168742"/>
                <a:gd name="connsiteX8" fmla="*/ 143085 w 167444"/>
                <a:gd name="connsiteY8" fmla="*/ 24652 h 168742"/>
                <a:gd name="connsiteX9" fmla="*/ 114852 w 167444"/>
                <a:gd name="connsiteY9" fmla="*/ 115555 h 168742"/>
                <a:gd name="connsiteX10" fmla="*/ 83532 w 167444"/>
                <a:gd name="connsiteY10" fmla="*/ 128652 h 168742"/>
                <a:gd name="connsiteX11" fmla="*/ 52595 w 167444"/>
                <a:gd name="connsiteY11" fmla="*/ 115555 h 168742"/>
                <a:gd name="connsiteX12" fmla="*/ 39443 w 167444"/>
                <a:gd name="connsiteY12" fmla="*/ 84346 h 168742"/>
                <a:gd name="connsiteX13" fmla="*/ 52595 w 167444"/>
                <a:gd name="connsiteY13" fmla="*/ 52754 h 168742"/>
                <a:gd name="connsiteX14" fmla="*/ 83532 w 167444"/>
                <a:gd name="connsiteY14" fmla="*/ 40040 h 168742"/>
                <a:gd name="connsiteX15" fmla="*/ 115241 w 167444"/>
                <a:gd name="connsiteY15" fmla="*/ 52754 h 168742"/>
                <a:gd name="connsiteX16" fmla="*/ 128003 w 167444"/>
                <a:gd name="connsiteY16" fmla="*/ 84346 h 168742"/>
                <a:gd name="connsiteX17" fmla="*/ 114852 w 167444"/>
                <a:gd name="connsiteY17" fmla="*/ 115555 h 168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7444" h="168742">
                  <a:moveTo>
                    <a:pt x="143085" y="24652"/>
                  </a:moveTo>
                  <a:cubicBezTo>
                    <a:pt x="126456" y="8086"/>
                    <a:pt x="106345" y="0"/>
                    <a:pt x="83531" y="0"/>
                  </a:cubicBezTo>
                  <a:cubicBezTo>
                    <a:pt x="60711" y="0"/>
                    <a:pt x="40990" y="8086"/>
                    <a:pt x="24751" y="24652"/>
                  </a:cubicBezTo>
                  <a:cubicBezTo>
                    <a:pt x="8117" y="41218"/>
                    <a:pt x="0" y="61253"/>
                    <a:pt x="0" y="84371"/>
                  </a:cubicBezTo>
                  <a:cubicBezTo>
                    <a:pt x="0" y="107489"/>
                    <a:pt x="8117" y="127519"/>
                    <a:pt x="24751" y="143703"/>
                  </a:cubicBezTo>
                  <a:cubicBezTo>
                    <a:pt x="40990" y="160269"/>
                    <a:pt x="60711" y="168743"/>
                    <a:pt x="83531" y="168743"/>
                  </a:cubicBezTo>
                  <a:cubicBezTo>
                    <a:pt x="106345" y="168743"/>
                    <a:pt x="126456" y="160269"/>
                    <a:pt x="143085" y="143703"/>
                  </a:cubicBezTo>
                  <a:cubicBezTo>
                    <a:pt x="159323" y="127519"/>
                    <a:pt x="167445" y="107489"/>
                    <a:pt x="167445" y="84371"/>
                  </a:cubicBezTo>
                  <a:cubicBezTo>
                    <a:pt x="167445" y="61253"/>
                    <a:pt x="159323" y="41218"/>
                    <a:pt x="143085" y="24652"/>
                  </a:cubicBezTo>
                  <a:close/>
                  <a:moveTo>
                    <a:pt x="114852" y="115555"/>
                  </a:moveTo>
                  <a:cubicBezTo>
                    <a:pt x="106345" y="124412"/>
                    <a:pt x="95904" y="128652"/>
                    <a:pt x="83532" y="128652"/>
                  </a:cubicBezTo>
                  <a:cubicBezTo>
                    <a:pt x="71543" y="128652"/>
                    <a:pt x="61100" y="124412"/>
                    <a:pt x="52595" y="115555"/>
                  </a:cubicBezTo>
                  <a:cubicBezTo>
                    <a:pt x="44082" y="106693"/>
                    <a:pt x="39443" y="96290"/>
                    <a:pt x="39443" y="84346"/>
                  </a:cubicBezTo>
                  <a:cubicBezTo>
                    <a:pt x="39443" y="71632"/>
                    <a:pt x="44082" y="61229"/>
                    <a:pt x="52595" y="52754"/>
                  </a:cubicBezTo>
                  <a:cubicBezTo>
                    <a:pt x="61100" y="43892"/>
                    <a:pt x="71543" y="39652"/>
                    <a:pt x="83532" y="40040"/>
                  </a:cubicBezTo>
                  <a:cubicBezTo>
                    <a:pt x="95904" y="39652"/>
                    <a:pt x="106345" y="43892"/>
                    <a:pt x="115241" y="52754"/>
                  </a:cubicBezTo>
                  <a:cubicBezTo>
                    <a:pt x="123364" y="61229"/>
                    <a:pt x="127613" y="71632"/>
                    <a:pt x="128003" y="84346"/>
                  </a:cubicBezTo>
                  <a:cubicBezTo>
                    <a:pt x="127613" y="96290"/>
                    <a:pt x="123364" y="106693"/>
                    <a:pt x="114852" y="115555"/>
                  </a:cubicBez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6" name="Forma libre 45">
              <a:extLst>
                <a:ext uri="{FF2B5EF4-FFF2-40B4-BE49-F238E27FC236}">
                  <a16:creationId xmlns:a16="http://schemas.microsoft.com/office/drawing/2014/main" id="{6D4DA8A8-DAE3-8270-BDE0-219DFAA8295D}"/>
                </a:ext>
              </a:extLst>
            </p:cNvPr>
            <p:cNvSpPr/>
            <p:nvPr/>
          </p:nvSpPr>
          <p:spPr>
            <a:xfrm>
              <a:off x="4146550" y="2514125"/>
              <a:ext cx="203020" cy="208059"/>
            </a:xfrm>
            <a:custGeom>
              <a:avLst/>
              <a:gdLst>
                <a:gd name="connsiteX0" fmla="*/ 103635 w 203020"/>
                <a:gd name="connsiteY0" fmla="*/ 15 h 208059"/>
                <a:gd name="connsiteX1" fmla="*/ 30547 w 203020"/>
                <a:gd name="connsiteY1" fmla="*/ 30448 h 208059"/>
                <a:gd name="connsiteX2" fmla="*/ 0 w 203020"/>
                <a:gd name="connsiteY2" fmla="*/ 104034 h 208059"/>
                <a:gd name="connsiteX3" fmla="*/ 30547 w 203020"/>
                <a:gd name="connsiteY3" fmla="*/ 178008 h 208059"/>
                <a:gd name="connsiteX4" fmla="*/ 103635 w 203020"/>
                <a:gd name="connsiteY4" fmla="*/ 208059 h 208059"/>
                <a:gd name="connsiteX5" fmla="*/ 166671 w 203020"/>
                <a:gd name="connsiteY5" fmla="*/ 186864 h 208059"/>
                <a:gd name="connsiteX6" fmla="*/ 203021 w 203020"/>
                <a:gd name="connsiteY6" fmla="*/ 131774 h 208059"/>
                <a:gd name="connsiteX7" fmla="*/ 160869 w 203020"/>
                <a:gd name="connsiteY7" fmla="*/ 131774 h 208059"/>
                <a:gd name="connsiteX8" fmla="*/ 138055 w 203020"/>
                <a:gd name="connsiteY8" fmla="*/ 158361 h 208059"/>
                <a:gd name="connsiteX9" fmla="*/ 103635 w 203020"/>
                <a:gd name="connsiteY9" fmla="*/ 168375 h 208059"/>
                <a:gd name="connsiteX10" fmla="*/ 58390 w 203020"/>
                <a:gd name="connsiteY10" fmla="*/ 149498 h 208059"/>
                <a:gd name="connsiteX11" fmla="*/ 39832 w 203020"/>
                <a:gd name="connsiteY11" fmla="*/ 104034 h 208059"/>
                <a:gd name="connsiteX12" fmla="*/ 58390 w 203020"/>
                <a:gd name="connsiteY12" fmla="*/ 58576 h 208059"/>
                <a:gd name="connsiteX13" fmla="*/ 103635 w 203020"/>
                <a:gd name="connsiteY13" fmla="*/ 39698 h 208059"/>
                <a:gd name="connsiteX14" fmla="*/ 138055 w 203020"/>
                <a:gd name="connsiteY14" fmla="*/ 50102 h 208059"/>
                <a:gd name="connsiteX15" fmla="*/ 160869 w 203020"/>
                <a:gd name="connsiteY15" fmla="*/ 76682 h 208059"/>
                <a:gd name="connsiteX16" fmla="*/ 203021 w 203020"/>
                <a:gd name="connsiteY16" fmla="*/ 76682 h 208059"/>
                <a:gd name="connsiteX17" fmla="*/ 166671 w 203020"/>
                <a:gd name="connsiteY17" fmla="*/ 21591 h 208059"/>
                <a:gd name="connsiteX18" fmla="*/ 103635 w 203020"/>
                <a:gd name="connsiteY18" fmla="*/ 15 h 208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3020" h="208059">
                  <a:moveTo>
                    <a:pt x="103635" y="15"/>
                  </a:moveTo>
                  <a:cubicBezTo>
                    <a:pt x="74635" y="-374"/>
                    <a:pt x="50658" y="9648"/>
                    <a:pt x="30547" y="30448"/>
                  </a:cubicBezTo>
                  <a:cubicBezTo>
                    <a:pt x="10052" y="50872"/>
                    <a:pt x="0" y="75142"/>
                    <a:pt x="0" y="104034"/>
                  </a:cubicBezTo>
                  <a:cubicBezTo>
                    <a:pt x="0" y="132544"/>
                    <a:pt x="10052" y="157590"/>
                    <a:pt x="30547" y="178008"/>
                  </a:cubicBezTo>
                  <a:cubicBezTo>
                    <a:pt x="50658" y="198038"/>
                    <a:pt x="74635" y="208059"/>
                    <a:pt x="103635" y="208059"/>
                  </a:cubicBezTo>
                  <a:cubicBezTo>
                    <a:pt x="126839" y="208059"/>
                    <a:pt x="148107" y="201119"/>
                    <a:pt x="166671" y="186864"/>
                  </a:cubicBezTo>
                  <a:cubicBezTo>
                    <a:pt x="184847" y="172227"/>
                    <a:pt x="196835" y="154120"/>
                    <a:pt x="203021" y="131774"/>
                  </a:cubicBezTo>
                  <a:lnTo>
                    <a:pt x="160869" y="131774"/>
                  </a:lnTo>
                  <a:cubicBezTo>
                    <a:pt x="155457" y="142559"/>
                    <a:pt x="147724" y="151421"/>
                    <a:pt x="138055" y="158361"/>
                  </a:cubicBezTo>
                  <a:cubicBezTo>
                    <a:pt x="127229" y="164905"/>
                    <a:pt x="116014" y="168375"/>
                    <a:pt x="103635" y="168375"/>
                  </a:cubicBezTo>
                  <a:cubicBezTo>
                    <a:pt x="85850" y="168375"/>
                    <a:pt x="70769" y="161824"/>
                    <a:pt x="58390" y="149498"/>
                  </a:cubicBezTo>
                  <a:cubicBezTo>
                    <a:pt x="45628" y="136784"/>
                    <a:pt x="39442" y="121758"/>
                    <a:pt x="39832" y="104034"/>
                  </a:cubicBezTo>
                  <a:cubicBezTo>
                    <a:pt x="39442" y="86316"/>
                    <a:pt x="45628" y="71290"/>
                    <a:pt x="58390" y="58576"/>
                  </a:cubicBezTo>
                  <a:cubicBezTo>
                    <a:pt x="70769" y="46243"/>
                    <a:pt x="85850" y="39698"/>
                    <a:pt x="103635" y="39698"/>
                  </a:cubicBezTo>
                  <a:cubicBezTo>
                    <a:pt x="116014" y="39698"/>
                    <a:pt x="127229" y="43162"/>
                    <a:pt x="138055" y="50102"/>
                  </a:cubicBezTo>
                  <a:cubicBezTo>
                    <a:pt x="147724" y="56646"/>
                    <a:pt x="155457" y="65891"/>
                    <a:pt x="160869" y="76682"/>
                  </a:cubicBezTo>
                  <a:lnTo>
                    <a:pt x="203021" y="76682"/>
                  </a:lnTo>
                  <a:cubicBezTo>
                    <a:pt x="196835" y="54335"/>
                    <a:pt x="184847" y="35846"/>
                    <a:pt x="166671" y="21591"/>
                  </a:cubicBezTo>
                  <a:cubicBezTo>
                    <a:pt x="148107" y="6948"/>
                    <a:pt x="126839" y="-374"/>
                    <a:pt x="103635" y="15"/>
                  </a:cubicBez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7" name="Forma libre 46">
              <a:extLst>
                <a:ext uri="{FF2B5EF4-FFF2-40B4-BE49-F238E27FC236}">
                  <a16:creationId xmlns:a16="http://schemas.microsoft.com/office/drawing/2014/main" id="{B2B1B13F-3100-3BC1-9584-AE11A0B8913D}"/>
                </a:ext>
              </a:extLst>
            </p:cNvPr>
            <p:cNvSpPr/>
            <p:nvPr/>
          </p:nvSpPr>
          <p:spPr>
            <a:xfrm>
              <a:off x="4370058" y="2514125"/>
              <a:ext cx="40216" cy="208814"/>
            </a:xfrm>
            <a:custGeom>
              <a:avLst/>
              <a:gdLst>
                <a:gd name="connsiteX0" fmla="*/ 0 w 40216"/>
                <a:gd name="connsiteY0" fmla="*/ 208815 h 208814"/>
                <a:gd name="connsiteX1" fmla="*/ 40216 w 40216"/>
                <a:gd name="connsiteY1" fmla="*/ 208815 h 208814"/>
                <a:gd name="connsiteX2" fmla="*/ 40216 w 40216"/>
                <a:gd name="connsiteY2" fmla="*/ 0 h 208814"/>
                <a:gd name="connsiteX3" fmla="*/ 0 w 40216"/>
                <a:gd name="connsiteY3" fmla="*/ 0 h 208814"/>
                <a:gd name="connsiteX4" fmla="*/ 0 w 40216"/>
                <a:gd name="connsiteY4" fmla="*/ 208815 h 208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216" h="208814">
                  <a:moveTo>
                    <a:pt x="0" y="208815"/>
                  </a:moveTo>
                  <a:lnTo>
                    <a:pt x="40216" y="208815"/>
                  </a:lnTo>
                  <a:lnTo>
                    <a:pt x="40216" y="0"/>
                  </a:lnTo>
                  <a:lnTo>
                    <a:pt x="0" y="0"/>
                  </a:lnTo>
                  <a:lnTo>
                    <a:pt x="0" y="208815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8" name="Forma libre 47">
              <a:extLst>
                <a:ext uri="{FF2B5EF4-FFF2-40B4-BE49-F238E27FC236}">
                  <a16:creationId xmlns:a16="http://schemas.microsoft.com/office/drawing/2014/main" id="{9CF978B8-C682-C0EF-D0E6-E0E4706A4854}"/>
                </a:ext>
              </a:extLst>
            </p:cNvPr>
            <p:cNvSpPr/>
            <p:nvPr/>
          </p:nvSpPr>
          <p:spPr>
            <a:xfrm>
              <a:off x="4599402" y="2555741"/>
              <a:ext cx="93200" cy="167208"/>
            </a:xfrm>
            <a:custGeom>
              <a:avLst/>
              <a:gdLst>
                <a:gd name="connsiteX0" fmla="*/ 66903 w 93200"/>
                <a:gd name="connsiteY0" fmla="*/ 5011 h 167208"/>
                <a:gd name="connsiteX1" fmla="*/ 38286 w 93200"/>
                <a:gd name="connsiteY1" fmla="*/ 27740 h 167208"/>
                <a:gd name="connsiteX2" fmla="*/ 38286 w 93200"/>
                <a:gd name="connsiteY2" fmla="*/ 7322 h 167208"/>
                <a:gd name="connsiteX3" fmla="*/ 0 w 93200"/>
                <a:gd name="connsiteY3" fmla="*/ 6933 h 167208"/>
                <a:gd name="connsiteX4" fmla="*/ 0 w 93200"/>
                <a:gd name="connsiteY4" fmla="*/ 167209 h 167208"/>
                <a:gd name="connsiteX5" fmla="*/ 39833 w 93200"/>
                <a:gd name="connsiteY5" fmla="*/ 167209 h 167208"/>
                <a:gd name="connsiteX6" fmla="*/ 39833 w 93200"/>
                <a:gd name="connsiteY6" fmla="*/ 90541 h 167208"/>
                <a:gd name="connsiteX7" fmla="*/ 44862 w 93200"/>
                <a:gd name="connsiteY7" fmla="*/ 62414 h 167208"/>
                <a:gd name="connsiteX8" fmla="*/ 58787 w 93200"/>
                <a:gd name="connsiteY8" fmla="*/ 47006 h 167208"/>
                <a:gd name="connsiteX9" fmla="*/ 80828 w 93200"/>
                <a:gd name="connsiteY9" fmla="*/ 40066 h 167208"/>
                <a:gd name="connsiteX10" fmla="*/ 93200 w 93200"/>
                <a:gd name="connsiteY10" fmla="*/ 40837 h 167208"/>
                <a:gd name="connsiteX11" fmla="*/ 92816 w 93200"/>
                <a:gd name="connsiteY11" fmla="*/ 0 h 167208"/>
                <a:gd name="connsiteX12" fmla="*/ 82375 w 93200"/>
                <a:gd name="connsiteY12" fmla="*/ 771 h 167208"/>
                <a:gd name="connsiteX13" fmla="*/ 66903 w 93200"/>
                <a:gd name="connsiteY13" fmla="*/ 5011 h 167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3200" h="167208">
                  <a:moveTo>
                    <a:pt x="66903" y="5011"/>
                  </a:moveTo>
                  <a:cubicBezTo>
                    <a:pt x="56077" y="9251"/>
                    <a:pt x="46408" y="16567"/>
                    <a:pt x="38286" y="27740"/>
                  </a:cubicBezTo>
                  <a:lnTo>
                    <a:pt x="38286" y="7322"/>
                  </a:lnTo>
                  <a:lnTo>
                    <a:pt x="0" y="6933"/>
                  </a:lnTo>
                  <a:lnTo>
                    <a:pt x="0" y="167209"/>
                  </a:lnTo>
                  <a:lnTo>
                    <a:pt x="39833" y="167209"/>
                  </a:lnTo>
                  <a:lnTo>
                    <a:pt x="39833" y="90541"/>
                  </a:lnTo>
                  <a:cubicBezTo>
                    <a:pt x="39833" y="77438"/>
                    <a:pt x="41379" y="68194"/>
                    <a:pt x="44862" y="62414"/>
                  </a:cubicBezTo>
                  <a:cubicBezTo>
                    <a:pt x="47571" y="56250"/>
                    <a:pt x="52594" y="51240"/>
                    <a:pt x="58787" y="47006"/>
                  </a:cubicBezTo>
                  <a:cubicBezTo>
                    <a:pt x="65746" y="42383"/>
                    <a:pt x="73089" y="40066"/>
                    <a:pt x="80828" y="40066"/>
                  </a:cubicBezTo>
                  <a:lnTo>
                    <a:pt x="93200" y="40837"/>
                  </a:lnTo>
                  <a:lnTo>
                    <a:pt x="92816" y="0"/>
                  </a:lnTo>
                  <a:lnTo>
                    <a:pt x="82375" y="771"/>
                  </a:lnTo>
                  <a:lnTo>
                    <a:pt x="66903" y="5011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49" name="Forma libre 48">
              <a:extLst>
                <a:ext uri="{FF2B5EF4-FFF2-40B4-BE49-F238E27FC236}">
                  <a16:creationId xmlns:a16="http://schemas.microsoft.com/office/drawing/2014/main" id="{FDF72822-CF5D-4F70-AD7D-C68415BE4DE5}"/>
                </a:ext>
              </a:extLst>
            </p:cNvPr>
            <p:cNvSpPr/>
            <p:nvPr/>
          </p:nvSpPr>
          <p:spPr>
            <a:xfrm>
              <a:off x="4844960" y="2439404"/>
              <a:ext cx="122589" cy="122131"/>
            </a:xfrm>
            <a:custGeom>
              <a:avLst/>
              <a:gdLst>
                <a:gd name="connsiteX0" fmla="*/ 25524 w 122589"/>
                <a:gd name="connsiteY0" fmla="*/ 122132 h 122131"/>
                <a:gd name="connsiteX1" fmla="*/ 122589 w 122589"/>
                <a:gd name="connsiteY1" fmla="*/ 25429 h 122131"/>
                <a:gd name="connsiteX2" fmla="*/ 97066 w 122589"/>
                <a:gd name="connsiteY2" fmla="*/ 0 h 122131"/>
                <a:gd name="connsiteX3" fmla="*/ 0 w 122589"/>
                <a:gd name="connsiteY3" fmla="*/ 96704 h 122131"/>
                <a:gd name="connsiteX4" fmla="*/ 25524 w 122589"/>
                <a:gd name="connsiteY4" fmla="*/ 122132 h 122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589" h="122131">
                  <a:moveTo>
                    <a:pt x="25524" y="122132"/>
                  </a:moveTo>
                  <a:lnTo>
                    <a:pt x="122589" y="25429"/>
                  </a:lnTo>
                  <a:lnTo>
                    <a:pt x="97066" y="0"/>
                  </a:lnTo>
                  <a:lnTo>
                    <a:pt x="0" y="96704"/>
                  </a:lnTo>
                  <a:lnTo>
                    <a:pt x="25524" y="122132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1" name="Forma libre 50">
              <a:extLst>
                <a:ext uri="{FF2B5EF4-FFF2-40B4-BE49-F238E27FC236}">
                  <a16:creationId xmlns:a16="http://schemas.microsoft.com/office/drawing/2014/main" id="{6B4D347A-7158-C693-932D-2BA75228B74A}"/>
                </a:ext>
              </a:extLst>
            </p:cNvPr>
            <p:cNvSpPr/>
            <p:nvPr/>
          </p:nvSpPr>
          <p:spPr>
            <a:xfrm>
              <a:off x="4766443" y="2419350"/>
              <a:ext cx="35965" cy="103636"/>
            </a:xfrm>
            <a:custGeom>
              <a:avLst/>
              <a:gdLst>
                <a:gd name="connsiteX0" fmla="*/ 0 w 35965"/>
                <a:gd name="connsiteY0" fmla="*/ 103637 h 103636"/>
                <a:gd name="connsiteX1" fmla="*/ 35966 w 35965"/>
                <a:gd name="connsiteY1" fmla="*/ 103637 h 103636"/>
                <a:gd name="connsiteX2" fmla="*/ 35966 w 35965"/>
                <a:gd name="connsiteY2" fmla="*/ 0 h 103636"/>
                <a:gd name="connsiteX3" fmla="*/ 0 w 35965"/>
                <a:gd name="connsiteY3" fmla="*/ 0 h 103636"/>
                <a:gd name="connsiteX4" fmla="*/ 0 w 35965"/>
                <a:gd name="connsiteY4" fmla="*/ 103637 h 103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965" h="103636">
                  <a:moveTo>
                    <a:pt x="0" y="103637"/>
                  </a:moveTo>
                  <a:lnTo>
                    <a:pt x="35966" y="103637"/>
                  </a:lnTo>
                  <a:lnTo>
                    <a:pt x="35966" y="0"/>
                  </a:lnTo>
                  <a:lnTo>
                    <a:pt x="0" y="0"/>
                  </a:lnTo>
                  <a:lnTo>
                    <a:pt x="0" y="103637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53" name="Forma libre 52">
              <a:extLst>
                <a:ext uri="{FF2B5EF4-FFF2-40B4-BE49-F238E27FC236}">
                  <a16:creationId xmlns:a16="http://schemas.microsoft.com/office/drawing/2014/main" id="{6E29120A-AF8C-2B5E-C16C-27D85BDE879A}"/>
                </a:ext>
              </a:extLst>
            </p:cNvPr>
            <p:cNvSpPr/>
            <p:nvPr/>
          </p:nvSpPr>
          <p:spPr>
            <a:xfrm>
              <a:off x="4888262" y="2601571"/>
              <a:ext cx="106344" cy="35831"/>
            </a:xfrm>
            <a:custGeom>
              <a:avLst/>
              <a:gdLst>
                <a:gd name="connsiteX0" fmla="*/ 0 w 106344"/>
                <a:gd name="connsiteY0" fmla="*/ 35831 h 35831"/>
                <a:gd name="connsiteX1" fmla="*/ 106345 w 106344"/>
                <a:gd name="connsiteY1" fmla="*/ 35831 h 35831"/>
                <a:gd name="connsiteX2" fmla="*/ 106345 w 106344"/>
                <a:gd name="connsiteY2" fmla="*/ 0 h 35831"/>
                <a:gd name="connsiteX3" fmla="*/ 0 w 106344"/>
                <a:gd name="connsiteY3" fmla="*/ 0 h 35831"/>
                <a:gd name="connsiteX4" fmla="*/ 0 w 106344"/>
                <a:gd name="connsiteY4" fmla="*/ 35831 h 35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344" h="35831">
                  <a:moveTo>
                    <a:pt x="0" y="35831"/>
                  </a:moveTo>
                  <a:lnTo>
                    <a:pt x="106345" y="35831"/>
                  </a:lnTo>
                  <a:lnTo>
                    <a:pt x="106345" y="0"/>
                  </a:lnTo>
                  <a:lnTo>
                    <a:pt x="0" y="0"/>
                  </a:lnTo>
                  <a:lnTo>
                    <a:pt x="0" y="35831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61" name="Forma libre 60">
              <a:extLst>
                <a:ext uri="{FF2B5EF4-FFF2-40B4-BE49-F238E27FC236}">
                  <a16:creationId xmlns:a16="http://schemas.microsoft.com/office/drawing/2014/main" id="{5C260F37-E19F-F007-6044-621116E72602}"/>
                </a:ext>
              </a:extLst>
            </p:cNvPr>
            <p:cNvSpPr/>
            <p:nvPr/>
          </p:nvSpPr>
          <p:spPr>
            <a:xfrm>
              <a:off x="4433858" y="2554913"/>
              <a:ext cx="138466" cy="168007"/>
            </a:xfrm>
            <a:custGeom>
              <a:avLst/>
              <a:gdLst>
                <a:gd name="connsiteX0" fmla="*/ 71564 w 138466"/>
                <a:gd name="connsiteY0" fmla="*/ 28 h 168007"/>
                <a:gd name="connsiteX1" fmla="*/ 14720 w 138466"/>
                <a:gd name="connsiteY1" fmla="*/ 21217 h 168007"/>
                <a:gd name="connsiteX2" fmla="*/ 3115 w 138466"/>
                <a:gd name="connsiteY2" fmla="*/ 56278 h 168007"/>
                <a:gd name="connsiteX3" fmla="*/ 43331 w 138466"/>
                <a:gd name="connsiteY3" fmla="*/ 56278 h 168007"/>
                <a:gd name="connsiteX4" fmla="*/ 49133 w 138466"/>
                <a:gd name="connsiteY4" fmla="*/ 41635 h 168007"/>
                <a:gd name="connsiteX5" fmla="*/ 70401 w 138466"/>
                <a:gd name="connsiteY5" fmla="*/ 33931 h 168007"/>
                <a:gd name="connsiteX6" fmla="*/ 90129 w 138466"/>
                <a:gd name="connsiteY6" fmla="*/ 37783 h 168007"/>
                <a:gd name="connsiteX7" fmla="*/ 97088 w 138466"/>
                <a:gd name="connsiteY7" fmla="*/ 51268 h 168007"/>
                <a:gd name="connsiteX8" fmla="*/ 87808 w 138466"/>
                <a:gd name="connsiteY8" fmla="*/ 63600 h 168007"/>
                <a:gd name="connsiteX9" fmla="*/ 56866 w 138466"/>
                <a:gd name="connsiteY9" fmla="*/ 68605 h 168007"/>
                <a:gd name="connsiteX10" fmla="*/ 22063 w 138466"/>
                <a:gd name="connsiteY10" fmla="*/ 79008 h 168007"/>
                <a:gd name="connsiteX11" fmla="*/ 22 w 138466"/>
                <a:gd name="connsiteY11" fmla="*/ 122543 h 168007"/>
                <a:gd name="connsiteX12" fmla="*/ 13557 w 138466"/>
                <a:gd name="connsiteY12" fmla="*/ 156834 h 168007"/>
                <a:gd name="connsiteX13" fmla="*/ 46430 w 138466"/>
                <a:gd name="connsiteY13" fmla="*/ 168008 h 168007"/>
                <a:gd name="connsiteX14" fmla="*/ 98244 w 138466"/>
                <a:gd name="connsiteY14" fmla="*/ 151442 h 168007"/>
                <a:gd name="connsiteX15" fmla="*/ 98244 w 138466"/>
                <a:gd name="connsiteY15" fmla="*/ 168008 h 168007"/>
                <a:gd name="connsiteX16" fmla="*/ 138466 w 138466"/>
                <a:gd name="connsiteY16" fmla="*/ 168008 h 168007"/>
                <a:gd name="connsiteX17" fmla="*/ 138466 w 138466"/>
                <a:gd name="connsiteY17" fmla="*/ 50116 h 168007"/>
                <a:gd name="connsiteX18" fmla="*/ 118356 w 138466"/>
                <a:gd name="connsiteY18" fmla="*/ 10432 h 168007"/>
                <a:gd name="connsiteX19" fmla="*/ 71564 w 138466"/>
                <a:gd name="connsiteY19" fmla="*/ 28 h 168007"/>
                <a:gd name="connsiteX20" fmla="*/ 88577 w 138466"/>
                <a:gd name="connsiteY20" fmla="*/ 90573 h 168007"/>
                <a:gd name="connsiteX21" fmla="*/ 96309 w 138466"/>
                <a:gd name="connsiteY21" fmla="*/ 86339 h 168007"/>
                <a:gd name="connsiteX22" fmla="*/ 96309 w 138466"/>
                <a:gd name="connsiteY22" fmla="*/ 102517 h 168007"/>
                <a:gd name="connsiteX23" fmla="*/ 85094 w 138466"/>
                <a:gd name="connsiteY23" fmla="*/ 131415 h 168007"/>
                <a:gd name="connsiteX24" fmla="*/ 59954 w 138466"/>
                <a:gd name="connsiteY24" fmla="*/ 139507 h 168007"/>
                <a:gd name="connsiteX25" fmla="*/ 45652 w 138466"/>
                <a:gd name="connsiteY25" fmla="*/ 134885 h 168007"/>
                <a:gd name="connsiteX26" fmla="*/ 39849 w 138466"/>
                <a:gd name="connsiteY26" fmla="*/ 119089 h 168007"/>
                <a:gd name="connsiteX27" fmla="*/ 49518 w 138466"/>
                <a:gd name="connsiteY27" fmla="*/ 100976 h 168007"/>
                <a:gd name="connsiteX28" fmla="*/ 68466 w 138466"/>
                <a:gd name="connsiteY28" fmla="*/ 95583 h 168007"/>
                <a:gd name="connsiteX29" fmla="*/ 88577 w 138466"/>
                <a:gd name="connsiteY29" fmla="*/ 90573 h 168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38466" h="168007">
                  <a:moveTo>
                    <a:pt x="71564" y="28"/>
                  </a:moveTo>
                  <a:cubicBezTo>
                    <a:pt x="44494" y="-354"/>
                    <a:pt x="25546" y="6962"/>
                    <a:pt x="14720" y="21217"/>
                  </a:cubicBezTo>
                  <a:cubicBezTo>
                    <a:pt x="7755" y="30079"/>
                    <a:pt x="4278" y="41635"/>
                    <a:pt x="3115" y="56278"/>
                  </a:cubicBezTo>
                  <a:lnTo>
                    <a:pt x="43331" y="56278"/>
                  </a:lnTo>
                  <a:cubicBezTo>
                    <a:pt x="44104" y="49345"/>
                    <a:pt x="46430" y="44723"/>
                    <a:pt x="49133" y="41635"/>
                  </a:cubicBezTo>
                  <a:cubicBezTo>
                    <a:pt x="53390" y="36242"/>
                    <a:pt x="60349" y="33549"/>
                    <a:pt x="70401" y="33931"/>
                  </a:cubicBezTo>
                  <a:cubicBezTo>
                    <a:pt x="78913" y="33549"/>
                    <a:pt x="85489" y="35090"/>
                    <a:pt x="90129" y="37783"/>
                  </a:cubicBezTo>
                  <a:cubicBezTo>
                    <a:pt x="94768" y="40094"/>
                    <a:pt x="96698" y="44723"/>
                    <a:pt x="97088" y="51268"/>
                  </a:cubicBezTo>
                  <a:cubicBezTo>
                    <a:pt x="97088" y="56660"/>
                    <a:pt x="93994" y="60901"/>
                    <a:pt x="87808" y="63600"/>
                  </a:cubicBezTo>
                  <a:lnTo>
                    <a:pt x="56866" y="68605"/>
                  </a:lnTo>
                  <a:cubicBezTo>
                    <a:pt x="42558" y="70533"/>
                    <a:pt x="30959" y="73997"/>
                    <a:pt x="22063" y="79008"/>
                  </a:cubicBezTo>
                  <a:cubicBezTo>
                    <a:pt x="6981" y="87870"/>
                    <a:pt x="-362" y="102125"/>
                    <a:pt x="22" y="122543"/>
                  </a:cubicBezTo>
                  <a:cubicBezTo>
                    <a:pt x="-362" y="136798"/>
                    <a:pt x="4278" y="148359"/>
                    <a:pt x="13557" y="156834"/>
                  </a:cubicBezTo>
                  <a:cubicBezTo>
                    <a:pt x="21679" y="163767"/>
                    <a:pt x="32895" y="167619"/>
                    <a:pt x="46430" y="168008"/>
                  </a:cubicBezTo>
                  <a:cubicBezTo>
                    <a:pt x="68471" y="167619"/>
                    <a:pt x="85872" y="162227"/>
                    <a:pt x="98244" y="151442"/>
                  </a:cubicBezTo>
                  <a:lnTo>
                    <a:pt x="98244" y="168008"/>
                  </a:lnTo>
                  <a:lnTo>
                    <a:pt x="138466" y="168008"/>
                  </a:lnTo>
                  <a:lnTo>
                    <a:pt x="138466" y="50116"/>
                  </a:lnTo>
                  <a:cubicBezTo>
                    <a:pt x="138466" y="30849"/>
                    <a:pt x="131501" y="17365"/>
                    <a:pt x="118356" y="10432"/>
                  </a:cubicBezTo>
                  <a:cubicBezTo>
                    <a:pt x="104437" y="3110"/>
                    <a:pt x="88966" y="-354"/>
                    <a:pt x="71564" y="28"/>
                  </a:cubicBezTo>
                  <a:close/>
                  <a:moveTo>
                    <a:pt x="88577" y="90573"/>
                  </a:moveTo>
                  <a:lnTo>
                    <a:pt x="96309" y="86339"/>
                  </a:lnTo>
                  <a:lnTo>
                    <a:pt x="96309" y="102517"/>
                  </a:lnTo>
                  <a:cubicBezTo>
                    <a:pt x="96309" y="116390"/>
                    <a:pt x="92443" y="126022"/>
                    <a:pt x="85094" y="131415"/>
                  </a:cubicBezTo>
                  <a:cubicBezTo>
                    <a:pt x="77356" y="136807"/>
                    <a:pt x="69239" y="139507"/>
                    <a:pt x="59954" y="139507"/>
                  </a:cubicBezTo>
                  <a:cubicBezTo>
                    <a:pt x="54157" y="139507"/>
                    <a:pt x="49518" y="137967"/>
                    <a:pt x="45652" y="134885"/>
                  </a:cubicBezTo>
                  <a:cubicBezTo>
                    <a:pt x="41779" y="131415"/>
                    <a:pt x="39849" y="126404"/>
                    <a:pt x="39849" y="119089"/>
                  </a:cubicBezTo>
                  <a:cubicBezTo>
                    <a:pt x="39849" y="110998"/>
                    <a:pt x="42942" y="105216"/>
                    <a:pt x="49518" y="100976"/>
                  </a:cubicBezTo>
                  <a:cubicBezTo>
                    <a:pt x="53384" y="98665"/>
                    <a:pt x="59954" y="96742"/>
                    <a:pt x="68466" y="95583"/>
                  </a:cubicBezTo>
                  <a:lnTo>
                    <a:pt x="88577" y="90573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grpSp>
        <p:nvGrpSpPr>
          <p:cNvPr id="62" name="Grupo 61">
            <a:extLst>
              <a:ext uri="{FF2B5EF4-FFF2-40B4-BE49-F238E27FC236}">
                <a16:creationId xmlns:a16="http://schemas.microsoft.com/office/drawing/2014/main" id="{80B81C4F-6408-4268-F48E-636026F0B786}"/>
              </a:ext>
            </a:extLst>
          </p:cNvPr>
          <p:cNvGrpSpPr/>
          <p:nvPr/>
        </p:nvGrpSpPr>
        <p:grpSpPr>
          <a:xfrm>
            <a:off x="7389109" y="1856155"/>
            <a:ext cx="474688" cy="93839"/>
            <a:chOff x="2449147" y="2050732"/>
            <a:chExt cx="4244889" cy="839152"/>
          </a:xfrm>
        </p:grpSpPr>
        <p:sp>
          <p:nvSpPr>
            <p:cNvPr id="63" name="Forma libre 62">
              <a:extLst>
                <a:ext uri="{FF2B5EF4-FFF2-40B4-BE49-F238E27FC236}">
                  <a16:creationId xmlns:a16="http://schemas.microsoft.com/office/drawing/2014/main" id="{38F0667C-6653-D029-8086-C213FAA42EBA}"/>
                </a:ext>
              </a:extLst>
            </p:cNvPr>
            <p:cNvSpPr/>
            <p:nvPr/>
          </p:nvSpPr>
          <p:spPr>
            <a:xfrm>
              <a:off x="2449147" y="2138362"/>
              <a:ext cx="340798" cy="736282"/>
            </a:xfrm>
            <a:custGeom>
              <a:avLst/>
              <a:gdLst>
                <a:gd name="connsiteX0" fmla="*/ 219901 w 340798"/>
                <a:gd name="connsiteY0" fmla="*/ 0 h 736282"/>
                <a:gd name="connsiteX1" fmla="*/ 99003 w 340798"/>
                <a:gd name="connsiteY1" fmla="*/ 0 h 736282"/>
                <a:gd name="connsiteX2" fmla="*/ 91387 w 340798"/>
                <a:gd name="connsiteY2" fmla="*/ 133350 h 736282"/>
                <a:gd name="connsiteX3" fmla="*/ 0 w 340798"/>
                <a:gd name="connsiteY3" fmla="*/ 133350 h 736282"/>
                <a:gd name="connsiteX4" fmla="*/ 0 w 340798"/>
                <a:gd name="connsiteY4" fmla="*/ 240030 h 736282"/>
                <a:gd name="connsiteX5" fmla="*/ 90435 w 340798"/>
                <a:gd name="connsiteY5" fmla="*/ 240030 h 736282"/>
                <a:gd name="connsiteX6" fmla="*/ 91387 w 340798"/>
                <a:gd name="connsiteY6" fmla="*/ 601980 h 736282"/>
                <a:gd name="connsiteX7" fmla="*/ 197054 w 340798"/>
                <a:gd name="connsiteY7" fmla="*/ 736283 h 736282"/>
                <a:gd name="connsiteX8" fmla="*/ 340799 w 340798"/>
                <a:gd name="connsiteY8" fmla="*/ 736283 h 736282"/>
                <a:gd name="connsiteX9" fmla="*/ 340799 w 340798"/>
                <a:gd name="connsiteY9" fmla="*/ 618173 h 736282"/>
                <a:gd name="connsiteX10" fmla="*/ 238940 w 340798"/>
                <a:gd name="connsiteY10" fmla="*/ 618173 h 736282"/>
                <a:gd name="connsiteX11" fmla="*/ 220853 w 340798"/>
                <a:gd name="connsiteY11" fmla="*/ 594360 h 736282"/>
                <a:gd name="connsiteX12" fmla="*/ 220853 w 340798"/>
                <a:gd name="connsiteY12" fmla="*/ 239077 h 736282"/>
                <a:gd name="connsiteX13" fmla="*/ 340799 w 340798"/>
                <a:gd name="connsiteY13" fmla="*/ 239077 h 736282"/>
                <a:gd name="connsiteX14" fmla="*/ 340799 w 340798"/>
                <a:gd name="connsiteY14" fmla="*/ 132398 h 736282"/>
                <a:gd name="connsiteX15" fmla="*/ 219901 w 340798"/>
                <a:gd name="connsiteY15" fmla="*/ 132398 h 736282"/>
                <a:gd name="connsiteX16" fmla="*/ 219901 w 340798"/>
                <a:gd name="connsiteY16" fmla="*/ 0 h 73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0798" h="736282">
                  <a:moveTo>
                    <a:pt x="219901" y="0"/>
                  </a:moveTo>
                  <a:lnTo>
                    <a:pt x="99003" y="0"/>
                  </a:lnTo>
                  <a:lnTo>
                    <a:pt x="91387" y="133350"/>
                  </a:lnTo>
                  <a:lnTo>
                    <a:pt x="0" y="133350"/>
                  </a:lnTo>
                  <a:lnTo>
                    <a:pt x="0" y="240030"/>
                  </a:lnTo>
                  <a:lnTo>
                    <a:pt x="90435" y="240030"/>
                  </a:lnTo>
                  <a:lnTo>
                    <a:pt x="91387" y="601980"/>
                  </a:lnTo>
                  <a:cubicBezTo>
                    <a:pt x="91387" y="691515"/>
                    <a:pt x="126610" y="736283"/>
                    <a:pt x="197054" y="736283"/>
                  </a:cubicBezTo>
                  <a:lnTo>
                    <a:pt x="340799" y="736283"/>
                  </a:lnTo>
                  <a:lnTo>
                    <a:pt x="340799" y="618173"/>
                  </a:lnTo>
                  <a:lnTo>
                    <a:pt x="238940" y="618173"/>
                  </a:lnTo>
                  <a:cubicBezTo>
                    <a:pt x="224661" y="618173"/>
                    <a:pt x="220853" y="615315"/>
                    <a:pt x="220853" y="594360"/>
                  </a:cubicBezTo>
                  <a:lnTo>
                    <a:pt x="220853" y="239077"/>
                  </a:lnTo>
                  <a:lnTo>
                    <a:pt x="340799" y="239077"/>
                  </a:lnTo>
                  <a:lnTo>
                    <a:pt x="340799" y="132398"/>
                  </a:lnTo>
                  <a:lnTo>
                    <a:pt x="219901" y="132398"/>
                  </a:lnTo>
                  <a:lnTo>
                    <a:pt x="219901" y="0"/>
                  </a:ln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24" name="Forma libre 1023">
              <a:extLst>
                <a:ext uri="{FF2B5EF4-FFF2-40B4-BE49-F238E27FC236}">
                  <a16:creationId xmlns:a16="http://schemas.microsoft.com/office/drawing/2014/main" id="{7BEBF116-603A-EF09-7B8D-CB72FA2DCDF5}"/>
                </a:ext>
              </a:extLst>
            </p:cNvPr>
            <p:cNvSpPr/>
            <p:nvPr/>
          </p:nvSpPr>
          <p:spPr>
            <a:xfrm>
              <a:off x="2838496" y="2254567"/>
              <a:ext cx="572122" cy="634365"/>
            </a:xfrm>
            <a:custGeom>
              <a:avLst/>
              <a:gdLst>
                <a:gd name="connsiteX0" fmla="*/ 297961 w 572122"/>
                <a:gd name="connsiteY0" fmla="*/ 0 h 634365"/>
                <a:gd name="connsiteX1" fmla="*/ 86628 w 572122"/>
                <a:gd name="connsiteY1" fmla="*/ 90488 h 634365"/>
                <a:gd name="connsiteX2" fmla="*/ 0 w 572122"/>
                <a:gd name="connsiteY2" fmla="*/ 318135 h 634365"/>
                <a:gd name="connsiteX3" fmla="*/ 82820 w 572122"/>
                <a:gd name="connsiteY3" fmla="*/ 544830 h 634365"/>
                <a:gd name="connsiteX4" fmla="*/ 309384 w 572122"/>
                <a:gd name="connsiteY4" fmla="*/ 634365 h 634365"/>
                <a:gd name="connsiteX5" fmla="*/ 449321 w 572122"/>
                <a:gd name="connsiteY5" fmla="*/ 603885 h 634365"/>
                <a:gd name="connsiteX6" fmla="*/ 561651 w 572122"/>
                <a:gd name="connsiteY6" fmla="*/ 515303 h 634365"/>
                <a:gd name="connsiteX7" fmla="*/ 564507 w 572122"/>
                <a:gd name="connsiteY7" fmla="*/ 511493 h 634365"/>
                <a:gd name="connsiteX8" fmla="*/ 489303 w 572122"/>
                <a:gd name="connsiteY8" fmla="*/ 435293 h 634365"/>
                <a:gd name="connsiteX9" fmla="*/ 485495 w 572122"/>
                <a:gd name="connsiteY9" fmla="*/ 440055 h 634365"/>
                <a:gd name="connsiteX10" fmla="*/ 320808 w 572122"/>
                <a:gd name="connsiteY10" fmla="*/ 514350 h 634365"/>
                <a:gd name="connsiteX11" fmla="*/ 136129 w 572122"/>
                <a:gd name="connsiteY11" fmla="*/ 371475 h 634365"/>
                <a:gd name="connsiteX12" fmla="*/ 571171 w 572122"/>
                <a:gd name="connsiteY12" fmla="*/ 371475 h 634365"/>
                <a:gd name="connsiteX13" fmla="*/ 571171 w 572122"/>
                <a:gd name="connsiteY13" fmla="*/ 366713 h 634365"/>
                <a:gd name="connsiteX14" fmla="*/ 572123 w 572122"/>
                <a:gd name="connsiteY14" fmla="*/ 287655 h 634365"/>
                <a:gd name="connsiteX15" fmla="*/ 498823 w 572122"/>
                <a:gd name="connsiteY15" fmla="*/ 85725 h 634365"/>
                <a:gd name="connsiteX16" fmla="*/ 297961 w 572122"/>
                <a:gd name="connsiteY16" fmla="*/ 0 h 634365"/>
                <a:gd name="connsiteX17" fmla="*/ 137081 w 572122"/>
                <a:gd name="connsiteY17" fmla="*/ 268605 h 634365"/>
                <a:gd name="connsiteX18" fmla="*/ 300817 w 572122"/>
                <a:gd name="connsiteY18" fmla="*/ 125730 h 634365"/>
                <a:gd name="connsiteX19" fmla="*/ 445513 w 572122"/>
                <a:gd name="connsiteY19" fmla="*/ 268605 h 634365"/>
                <a:gd name="connsiteX20" fmla="*/ 137081 w 572122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2122" h="634365">
                  <a:moveTo>
                    <a:pt x="297961" y="0"/>
                  </a:moveTo>
                  <a:cubicBezTo>
                    <a:pt x="217045" y="0"/>
                    <a:pt x="141841" y="32385"/>
                    <a:pt x="86628" y="90488"/>
                  </a:cubicBezTo>
                  <a:cubicBezTo>
                    <a:pt x="30462" y="149543"/>
                    <a:pt x="0" y="230505"/>
                    <a:pt x="0" y="318135"/>
                  </a:cubicBezTo>
                  <a:cubicBezTo>
                    <a:pt x="0" y="405765"/>
                    <a:pt x="28559" y="487680"/>
                    <a:pt x="82820" y="544830"/>
                  </a:cubicBezTo>
                  <a:cubicBezTo>
                    <a:pt x="138985" y="603885"/>
                    <a:pt x="217045" y="634365"/>
                    <a:pt x="309384" y="634365"/>
                  </a:cubicBezTo>
                  <a:cubicBezTo>
                    <a:pt x="357934" y="634365"/>
                    <a:pt x="406483" y="623888"/>
                    <a:pt x="449321" y="603885"/>
                  </a:cubicBezTo>
                  <a:cubicBezTo>
                    <a:pt x="494063" y="582930"/>
                    <a:pt x="532141" y="553403"/>
                    <a:pt x="561651" y="515303"/>
                  </a:cubicBezTo>
                  <a:lnTo>
                    <a:pt x="564507" y="511493"/>
                  </a:lnTo>
                  <a:lnTo>
                    <a:pt x="489303" y="435293"/>
                  </a:lnTo>
                  <a:lnTo>
                    <a:pt x="485495" y="440055"/>
                  </a:lnTo>
                  <a:cubicBezTo>
                    <a:pt x="444561" y="487680"/>
                    <a:pt x="384588" y="514350"/>
                    <a:pt x="320808" y="514350"/>
                  </a:cubicBezTo>
                  <a:cubicBezTo>
                    <a:pt x="211333" y="514350"/>
                    <a:pt x="150408" y="467678"/>
                    <a:pt x="136129" y="371475"/>
                  </a:cubicBezTo>
                  <a:lnTo>
                    <a:pt x="571171" y="371475"/>
                  </a:lnTo>
                  <a:lnTo>
                    <a:pt x="571171" y="366713"/>
                  </a:lnTo>
                  <a:cubicBezTo>
                    <a:pt x="572123" y="324803"/>
                    <a:pt x="572123" y="309563"/>
                    <a:pt x="572123" y="287655"/>
                  </a:cubicBezTo>
                  <a:cubicBezTo>
                    <a:pt x="572123" y="210503"/>
                    <a:pt x="546420" y="139065"/>
                    <a:pt x="498823" y="85725"/>
                  </a:cubicBezTo>
                  <a:cubicBezTo>
                    <a:pt x="450273" y="29528"/>
                    <a:pt x="380781" y="0"/>
                    <a:pt x="297961" y="0"/>
                  </a:cubicBezTo>
                  <a:close/>
                  <a:moveTo>
                    <a:pt x="137081" y="268605"/>
                  </a:moveTo>
                  <a:cubicBezTo>
                    <a:pt x="150408" y="172403"/>
                    <a:pt x="203718" y="125730"/>
                    <a:pt x="300817" y="125730"/>
                  </a:cubicBezTo>
                  <a:cubicBezTo>
                    <a:pt x="383636" y="125730"/>
                    <a:pt x="441706" y="182880"/>
                    <a:pt x="445513" y="268605"/>
                  </a:cubicBezTo>
                  <a:lnTo>
                    <a:pt x="137081" y="268605"/>
                  </a:ln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26" name="Forma libre 1025">
              <a:extLst>
                <a:ext uri="{FF2B5EF4-FFF2-40B4-BE49-F238E27FC236}">
                  <a16:creationId xmlns:a16="http://schemas.microsoft.com/office/drawing/2014/main" id="{97446FFF-0EAA-EE09-5288-3ED1032707B7}"/>
                </a:ext>
              </a:extLst>
            </p:cNvPr>
            <p:cNvSpPr/>
            <p:nvPr/>
          </p:nvSpPr>
          <p:spPr>
            <a:xfrm>
              <a:off x="3786639" y="2254567"/>
              <a:ext cx="572122" cy="634365"/>
            </a:xfrm>
            <a:custGeom>
              <a:avLst/>
              <a:gdLst>
                <a:gd name="connsiteX0" fmla="*/ 297961 w 572122"/>
                <a:gd name="connsiteY0" fmla="*/ 0 h 634365"/>
                <a:gd name="connsiteX1" fmla="*/ 86628 w 572122"/>
                <a:gd name="connsiteY1" fmla="*/ 90488 h 634365"/>
                <a:gd name="connsiteX2" fmla="*/ 0 w 572122"/>
                <a:gd name="connsiteY2" fmla="*/ 318135 h 634365"/>
                <a:gd name="connsiteX3" fmla="*/ 82820 w 572122"/>
                <a:gd name="connsiteY3" fmla="*/ 544830 h 634365"/>
                <a:gd name="connsiteX4" fmla="*/ 309384 w 572122"/>
                <a:gd name="connsiteY4" fmla="*/ 634365 h 634365"/>
                <a:gd name="connsiteX5" fmla="*/ 449321 w 572122"/>
                <a:gd name="connsiteY5" fmla="*/ 603885 h 634365"/>
                <a:gd name="connsiteX6" fmla="*/ 561651 w 572122"/>
                <a:gd name="connsiteY6" fmla="*/ 515303 h 634365"/>
                <a:gd name="connsiteX7" fmla="*/ 564507 w 572122"/>
                <a:gd name="connsiteY7" fmla="*/ 511493 h 634365"/>
                <a:gd name="connsiteX8" fmla="*/ 489303 w 572122"/>
                <a:gd name="connsiteY8" fmla="*/ 435293 h 634365"/>
                <a:gd name="connsiteX9" fmla="*/ 485495 w 572122"/>
                <a:gd name="connsiteY9" fmla="*/ 440055 h 634365"/>
                <a:gd name="connsiteX10" fmla="*/ 320808 w 572122"/>
                <a:gd name="connsiteY10" fmla="*/ 514350 h 634365"/>
                <a:gd name="connsiteX11" fmla="*/ 136129 w 572122"/>
                <a:gd name="connsiteY11" fmla="*/ 371475 h 634365"/>
                <a:gd name="connsiteX12" fmla="*/ 571171 w 572122"/>
                <a:gd name="connsiteY12" fmla="*/ 371475 h 634365"/>
                <a:gd name="connsiteX13" fmla="*/ 571171 w 572122"/>
                <a:gd name="connsiteY13" fmla="*/ 366713 h 634365"/>
                <a:gd name="connsiteX14" fmla="*/ 572123 w 572122"/>
                <a:gd name="connsiteY14" fmla="*/ 287655 h 634365"/>
                <a:gd name="connsiteX15" fmla="*/ 498823 w 572122"/>
                <a:gd name="connsiteY15" fmla="*/ 85725 h 634365"/>
                <a:gd name="connsiteX16" fmla="*/ 297961 w 572122"/>
                <a:gd name="connsiteY16" fmla="*/ 0 h 634365"/>
                <a:gd name="connsiteX17" fmla="*/ 136129 w 572122"/>
                <a:gd name="connsiteY17" fmla="*/ 268605 h 634365"/>
                <a:gd name="connsiteX18" fmla="*/ 299865 w 572122"/>
                <a:gd name="connsiteY18" fmla="*/ 125730 h 634365"/>
                <a:gd name="connsiteX19" fmla="*/ 444561 w 572122"/>
                <a:gd name="connsiteY19" fmla="*/ 268605 h 634365"/>
                <a:gd name="connsiteX20" fmla="*/ 136129 w 572122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2122" h="634365">
                  <a:moveTo>
                    <a:pt x="297961" y="0"/>
                  </a:moveTo>
                  <a:cubicBezTo>
                    <a:pt x="217045" y="0"/>
                    <a:pt x="141841" y="32385"/>
                    <a:pt x="86628" y="90488"/>
                  </a:cubicBezTo>
                  <a:cubicBezTo>
                    <a:pt x="30462" y="149543"/>
                    <a:pt x="0" y="230505"/>
                    <a:pt x="0" y="318135"/>
                  </a:cubicBezTo>
                  <a:cubicBezTo>
                    <a:pt x="0" y="405765"/>
                    <a:pt x="28559" y="487680"/>
                    <a:pt x="82820" y="544830"/>
                  </a:cubicBezTo>
                  <a:cubicBezTo>
                    <a:pt x="138985" y="603885"/>
                    <a:pt x="217045" y="634365"/>
                    <a:pt x="309384" y="634365"/>
                  </a:cubicBezTo>
                  <a:cubicBezTo>
                    <a:pt x="357934" y="634365"/>
                    <a:pt x="406483" y="623888"/>
                    <a:pt x="449321" y="603885"/>
                  </a:cubicBezTo>
                  <a:cubicBezTo>
                    <a:pt x="494063" y="582930"/>
                    <a:pt x="532141" y="553403"/>
                    <a:pt x="561651" y="515303"/>
                  </a:cubicBezTo>
                  <a:lnTo>
                    <a:pt x="564507" y="511493"/>
                  </a:lnTo>
                  <a:lnTo>
                    <a:pt x="489303" y="435293"/>
                  </a:lnTo>
                  <a:lnTo>
                    <a:pt x="485495" y="440055"/>
                  </a:lnTo>
                  <a:cubicBezTo>
                    <a:pt x="444561" y="487680"/>
                    <a:pt x="384588" y="514350"/>
                    <a:pt x="320808" y="514350"/>
                  </a:cubicBezTo>
                  <a:cubicBezTo>
                    <a:pt x="211333" y="514350"/>
                    <a:pt x="150408" y="467678"/>
                    <a:pt x="136129" y="371475"/>
                  </a:cubicBezTo>
                  <a:lnTo>
                    <a:pt x="571171" y="371475"/>
                  </a:lnTo>
                  <a:lnTo>
                    <a:pt x="571171" y="366713"/>
                  </a:lnTo>
                  <a:cubicBezTo>
                    <a:pt x="572123" y="324803"/>
                    <a:pt x="572123" y="309563"/>
                    <a:pt x="572123" y="287655"/>
                  </a:cubicBezTo>
                  <a:cubicBezTo>
                    <a:pt x="572123" y="210503"/>
                    <a:pt x="546420" y="139065"/>
                    <a:pt x="498823" y="85725"/>
                  </a:cubicBezTo>
                  <a:cubicBezTo>
                    <a:pt x="450273" y="29528"/>
                    <a:pt x="379829" y="0"/>
                    <a:pt x="297961" y="0"/>
                  </a:cubicBezTo>
                  <a:close/>
                  <a:moveTo>
                    <a:pt x="136129" y="268605"/>
                  </a:moveTo>
                  <a:cubicBezTo>
                    <a:pt x="149456" y="172403"/>
                    <a:pt x="202766" y="125730"/>
                    <a:pt x="299865" y="125730"/>
                  </a:cubicBezTo>
                  <a:cubicBezTo>
                    <a:pt x="382685" y="125730"/>
                    <a:pt x="440754" y="182880"/>
                    <a:pt x="444561" y="268605"/>
                  </a:cubicBezTo>
                  <a:lnTo>
                    <a:pt x="136129" y="268605"/>
                  </a:ln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44" name="Forma libre 1043">
              <a:extLst>
                <a:ext uri="{FF2B5EF4-FFF2-40B4-BE49-F238E27FC236}">
                  <a16:creationId xmlns:a16="http://schemas.microsoft.com/office/drawing/2014/main" id="{44C11F2A-6A7F-9248-505F-6474D26653E9}"/>
                </a:ext>
              </a:extLst>
            </p:cNvPr>
            <p:cNvSpPr/>
            <p:nvPr/>
          </p:nvSpPr>
          <p:spPr>
            <a:xfrm>
              <a:off x="3508670" y="2050732"/>
              <a:ext cx="232276" cy="823912"/>
            </a:xfrm>
            <a:custGeom>
              <a:avLst/>
              <a:gdLst>
                <a:gd name="connsiteX0" fmla="*/ 134225 w 232276"/>
                <a:gd name="connsiteY0" fmla="*/ 701040 h 823912"/>
                <a:gd name="connsiteX1" fmla="*/ 130417 w 232276"/>
                <a:gd name="connsiteY1" fmla="*/ 681038 h 823912"/>
                <a:gd name="connsiteX2" fmla="*/ 130417 w 232276"/>
                <a:gd name="connsiteY2" fmla="*/ 0 h 823912"/>
                <a:gd name="connsiteX3" fmla="*/ 0 w 232276"/>
                <a:gd name="connsiteY3" fmla="*/ 0 h 823912"/>
                <a:gd name="connsiteX4" fmla="*/ 0 w 232276"/>
                <a:gd name="connsiteY4" fmla="*/ 688658 h 823912"/>
                <a:gd name="connsiteX5" fmla="*/ 26655 w 232276"/>
                <a:gd name="connsiteY5" fmla="*/ 789623 h 823912"/>
                <a:gd name="connsiteX6" fmla="*/ 106619 w 232276"/>
                <a:gd name="connsiteY6" fmla="*/ 823913 h 823912"/>
                <a:gd name="connsiteX7" fmla="*/ 232276 w 232276"/>
                <a:gd name="connsiteY7" fmla="*/ 823913 h 823912"/>
                <a:gd name="connsiteX8" fmla="*/ 232276 w 232276"/>
                <a:gd name="connsiteY8" fmla="*/ 705803 h 823912"/>
                <a:gd name="connsiteX9" fmla="*/ 147553 w 232276"/>
                <a:gd name="connsiteY9" fmla="*/ 705803 h 823912"/>
                <a:gd name="connsiteX10" fmla="*/ 134225 w 232276"/>
                <a:gd name="connsiteY10" fmla="*/ 701040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2276" h="823912">
                  <a:moveTo>
                    <a:pt x="134225" y="701040"/>
                  </a:moveTo>
                  <a:cubicBezTo>
                    <a:pt x="132321" y="698183"/>
                    <a:pt x="130417" y="691515"/>
                    <a:pt x="130417" y="681038"/>
                  </a:cubicBezTo>
                  <a:lnTo>
                    <a:pt x="130417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0" y="766763"/>
                    <a:pt x="26655" y="789623"/>
                  </a:cubicBezTo>
                  <a:cubicBezTo>
                    <a:pt x="44742" y="812483"/>
                    <a:pt x="71396" y="823913"/>
                    <a:pt x="106619" y="823913"/>
                  </a:cubicBezTo>
                  <a:lnTo>
                    <a:pt x="232276" y="823913"/>
                  </a:lnTo>
                  <a:lnTo>
                    <a:pt x="232276" y="705803"/>
                  </a:lnTo>
                  <a:lnTo>
                    <a:pt x="147553" y="705803"/>
                  </a:lnTo>
                  <a:cubicBezTo>
                    <a:pt x="138033" y="705803"/>
                    <a:pt x="135177" y="702945"/>
                    <a:pt x="134225" y="701040"/>
                  </a:cubicBez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45" name="Forma libre 1044">
              <a:extLst>
                <a:ext uri="{FF2B5EF4-FFF2-40B4-BE49-F238E27FC236}">
                  <a16:creationId xmlns:a16="http://schemas.microsoft.com/office/drawing/2014/main" id="{A70F8171-4146-A0AD-951A-16B72FDD20C1}"/>
                </a:ext>
              </a:extLst>
            </p:cNvPr>
            <p:cNvSpPr/>
            <p:nvPr/>
          </p:nvSpPr>
          <p:spPr>
            <a:xfrm>
              <a:off x="5786690" y="2254567"/>
              <a:ext cx="907346" cy="619125"/>
            </a:xfrm>
            <a:custGeom>
              <a:avLst/>
              <a:gdLst>
                <a:gd name="connsiteX0" fmla="*/ 856757 w 907346"/>
                <a:gd name="connsiteY0" fmla="*/ 64770 h 619125"/>
                <a:gd name="connsiteX1" fmla="*/ 706348 w 907346"/>
                <a:gd name="connsiteY1" fmla="*/ 0 h 619125"/>
                <a:gd name="connsiteX2" fmla="*/ 579739 w 907346"/>
                <a:gd name="connsiteY2" fmla="*/ 41910 h 619125"/>
                <a:gd name="connsiteX3" fmla="*/ 506438 w 907346"/>
                <a:gd name="connsiteY3" fmla="*/ 144780 h 619125"/>
                <a:gd name="connsiteX4" fmla="*/ 500727 w 907346"/>
                <a:gd name="connsiteY4" fmla="*/ 144780 h 619125"/>
                <a:gd name="connsiteX5" fmla="*/ 317952 w 907346"/>
                <a:gd name="connsiteY5" fmla="*/ 0 h 619125"/>
                <a:gd name="connsiteX6" fmla="*/ 124706 w 907346"/>
                <a:gd name="connsiteY6" fmla="*/ 130493 h 619125"/>
                <a:gd name="connsiteX7" fmla="*/ 119946 w 907346"/>
                <a:gd name="connsiteY7" fmla="*/ 130493 h 619125"/>
                <a:gd name="connsiteX8" fmla="*/ 111378 w 907346"/>
                <a:gd name="connsiteY8" fmla="*/ 16193 h 619125"/>
                <a:gd name="connsiteX9" fmla="*/ 0 w 907346"/>
                <a:gd name="connsiteY9" fmla="*/ 16193 h 619125"/>
                <a:gd name="connsiteX10" fmla="*/ 0 w 907346"/>
                <a:gd name="connsiteY10" fmla="*/ 619125 h 619125"/>
                <a:gd name="connsiteX11" fmla="*/ 130417 w 907346"/>
                <a:gd name="connsiteY11" fmla="*/ 619125 h 619125"/>
                <a:gd name="connsiteX12" fmla="*/ 130417 w 907346"/>
                <a:gd name="connsiteY12" fmla="*/ 282893 h 619125"/>
                <a:gd name="connsiteX13" fmla="*/ 161832 w 907346"/>
                <a:gd name="connsiteY13" fmla="*/ 174308 h 619125"/>
                <a:gd name="connsiteX14" fmla="*/ 277018 w 907346"/>
                <a:gd name="connsiteY14" fmla="*/ 111443 h 619125"/>
                <a:gd name="connsiteX15" fmla="*/ 388396 w 907346"/>
                <a:gd name="connsiteY15" fmla="*/ 257175 h 619125"/>
                <a:gd name="connsiteX16" fmla="*/ 388396 w 907346"/>
                <a:gd name="connsiteY16" fmla="*/ 619125 h 619125"/>
                <a:gd name="connsiteX17" fmla="*/ 518814 w 907346"/>
                <a:gd name="connsiteY17" fmla="*/ 619125 h 619125"/>
                <a:gd name="connsiteX18" fmla="*/ 518814 w 907346"/>
                <a:gd name="connsiteY18" fmla="*/ 282893 h 619125"/>
                <a:gd name="connsiteX19" fmla="*/ 552132 w 907346"/>
                <a:gd name="connsiteY19" fmla="*/ 172403 h 619125"/>
                <a:gd name="connsiteX20" fmla="*/ 666366 w 907346"/>
                <a:gd name="connsiteY20" fmla="*/ 111443 h 619125"/>
                <a:gd name="connsiteX21" fmla="*/ 747282 w 907346"/>
                <a:gd name="connsiteY21" fmla="*/ 145733 h 619125"/>
                <a:gd name="connsiteX22" fmla="*/ 776793 w 907346"/>
                <a:gd name="connsiteY22" fmla="*/ 257175 h 619125"/>
                <a:gd name="connsiteX23" fmla="*/ 776793 w 907346"/>
                <a:gd name="connsiteY23" fmla="*/ 619125 h 619125"/>
                <a:gd name="connsiteX24" fmla="*/ 907210 w 907346"/>
                <a:gd name="connsiteY24" fmla="*/ 619125 h 619125"/>
                <a:gd name="connsiteX25" fmla="*/ 907210 w 907346"/>
                <a:gd name="connsiteY25" fmla="*/ 240983 h 619125"/>
                <a:gd name="connsiteX26" fmla="*/ 856757 w 907346"/>
                <a:gd name="connsiteY26" fmla="*/ 64770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07346" h="619125">
                  <a:moveTo>
                    <a:pt x="856757" y="64770"/>
                  </a:moveTo>
                  <a:cubicBezTo>
                    <a:pt x="821534" y="21908"/>
                    <a:pt x="770129" y="0"/>
                    <a:pt x="706348" y="0"/>
                  </a:cubicBezTo>
                  <a:cubicBezTo>
                    <a:pt x="656847" y="0"/>
                    <a:pt x="614009" y="14288"/>
                    <a:pt x="579739" y="41910"/>
                  </a:cubicBezTo>
                  <a:cubicBezTo>
                    <a:pt x="550228" y="65723"/>
                    <a:pt x="525477" y="100013"/>
                    <a:pt x="506438" y="144780"/>
                  </a:cubicBezTo>
                  <a:lnTo>
                    <a:pt x="500727" y="144780"/>
                  </a:lnTo>
                  <a:cubicBezTo>
                    <a:pt x="475024" y="51435"/>
                    <a:pt x="410291" y="0"/>
                    <a:pt x="317952" y="0"/>
                  </a:cubicBezTo>
                  <a:cubicBezTo>
                    <a:pt x="225612" y="0"/>
                    <a:pt x="159928" y="46673"/>
                    <a:pt x="124706" y="130493"/>
                  </a:cubicBezTo>
                  <a:lnTo>
                    <a:pt x="119946" y="130493"/>
                  </a:lnTo>
                  <a:lnTo>
                    <a:pt x="111378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0417" y="619125"/>
                  </a:lnTo>
                  <a:lnTo>
                    <a:pt x="130417" y="282893"/>
                  </a:lnTo>
                  <a:cubicBezTo>
                    <a:pt x="130417" y="254318"/>
                    <a:pt x="138985" y="210503"/>
                    <a:pt x="161832" y="174308"/>
                  </a:cubicBezTo>
                  <a:cubicBezTo>
                    <a:pt x="179919" y="145733"/>
                    <a:pt x="215141" y="111443"/>
                    <a:pt x="277018" y="111443"/>
                  </a:cubicBezTo>
                  <a:cubicBezTo>
                    <a:pt x="351270" y="111443"/>
                    <a:pt x="388396" y="160020"/>
                    <a:pt x="388396" y="257175"/>
                  </a:cubicBezTo>
                  <a:lnTo>
                    <a:pt x="388396" y="619125"/>
                  </a:lnTo>
                  <a:lnTo>
                    <a:pt x="518814" y="619125"/>
                  </a:lnTo>
                  <a:lnTo>
                    <a:pt x="518814" y="282893"/>
                  </a:lnTo>
                  <a:cubicBezTo>
                    <a:pt x="518814" y="244793"/>
                    <a:pt x="531189" y="202883"/>
                    <a:pt x="552132" y="172403"/>
                  </a:cubicBezTo>
                  <a:cubicBezTo>
                    <a:pt x="571171" y="144780"/>
                    <a:pt x="606393" y="111443"/>
                    <a:pt x="666366" y="111443"/>
                  </a:cubicBezTo>
                  <a:cubicBezTo>
                    <a:pt x="701588" y="111443"/>
                    <a:pt x="729195" y="122873"/>
                    <a:pt x="747282" y="145733"/>
                  </a:cubicBezTo>
                  <a:cubicBezTo>
                    <a:pt x="767273" y="169545"/>
                    <a:pt x="776793" y="207645"/>
                    <a:pt x="776793" y="257175"/>
                  </a:cubicBezTo>
                  <a:lnTo>
                    <a:pt x="776793" y="619125"/>
                  </a:lnTo>
                  <a:lnTo>
                    <a:pt x="907210" y="619125"/>
                  </a:lnTo>
                  <a:lnTo>
                    <a:pt x="907210" y="240983"/>
                  </a:lnTo>
                  <a:cubicBezTo>
                    <a:pt x="909114" y="166688"/>
                    <a:pt x="891027" y="106680"/>
                    <a:pt x="856757" y="64770"/>
                  </a:cubicBez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46" name="Forma libre 1045">
              <a:extLst>
                <a:ext uri="{FF2B5EF4-FFF2-40B4-BE49-F238E27FC236}">
                  <a16:creationId xmlns:a16="http://schemas.microsoft.com/office/drawing/2014/main" id="{62451B6B-8F78-808F-CD28-A5436A012385}"/>
                </a:ext>
              </a:extLst>
            </p:cNvPr>
            <p:cNvSpPr/>
            <p:nvPr/>
          </p:nvSpPr>
          <p:spPr>
            <a:xfrm>
              <a:off x="4437774" y="2254567"/>
              <a:ext cx="566411" cy="635317"/>
            </a:xfrm>
            <a:custGeom>
              <a:avLst/>
              <a:gdLst>
                <a:gd name="connsiteX0" fmla="*/ 293201 w 566411"/>
                <a:gd name="connsiteY0" fmla="*/ 129540 h 635317"/>
                <a:gd name="connsiteX1" fmla="*/ 297009 w 566411"/>
                <a:gd name="connsiteY1" fmla="*/ 129540 h 635317"/>
                <a:gd name="connsiteX2" fmla="*/ 458841 w 566411"/>
                <a:gd name="connsiteY2" fmla="*/ 234315 h 635317"/>
                <a:gd name="connsiteX3" fmla="*/ 566411 w 566411"/>
                <a:gd name="connsiteY3" fmla="*/ 186690 h 635317"/>
                <a:gd name="connsiteX4" fmla="*/ 288442 w 566411"/>
                <a:gd name="connsiteY4" fmla="*/ 0 h 635317"/>
                <a:gd name="connsiteX5" fmla="*/ 82820 w 566411"/>
                <a:gd name="connsiteY5" fmla="*/ 91440 h 635317"/>
                <a:gd name="connsiteX6" fmla="*/ 0 w 566411"/>
                <a:gd name="connsiteY6" fmla="*/ 320993 h 635317"/>
                <a:gd name="connsiteX7" fmla="*/ 290345 w 566411"/>
                <a:gd name="connsiteY7" fmla="*/ 635318 h 635317"/>
                <a:gd name="connsiteX8" fmla="*/ 446465 w 566411"/>
                <a:gd name="connsiteY8" fmla="*/ 597218 h 635317"/>
                <a:gd name="connsiteX9" fmla="*/ 561651 w 566411"/>
                <a:gd name="connsiteY9" fmla="*/ 481013 h 635317"/>
                <a:gd name="connsiteX10" fmla="*/ 563556 w 566411"/>
                <a:gd name="connsiteY10" fmla="*/ 477203 h 635317"/>
                <a:gd name="connsiteX11" fmla="*/ 473120 w 566411"/>
                <a:gd name="connsiteY11" fmla="*/ 417195 h 635317"/>
                <a:gd name="connsiteX12" fmla="*/ 470264 w 566411"/>
                <a:gd name="connsiteY12" fmla="*/ 421958 h 635317"/>
                <a:gd name="connsiteX13" fmla="*/ 301769 w 566411"/>
                <a:gd name="connsiteY13" fmla="*/ 515303 h 635317"/>
                <a:gd name="connsiteX14" fmla="*/ 179919 w 566411"/>
                <a:gd name="connsiteY14" fmla="*/ 461010 h 635317"/>
                <a:gd name="connsiteX15" fmla="*/ 132321 w 566411"/>
                <a:gd name="connsiteY15" fmla="*/ 320040 h 635317"/>
                <a:gd name="connsiteX16" fmla="*/ 181823 w 566411"/>
                <a:gd name="connsiteY16" fmla="*/ 179070 h 635317"/>
                <a:gd name="connsiteX17" fmla="*/ 293201 w 566411"/>
                <a:gd name="connsiteY17" fmla="*/ 12954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66411" h="635317">
                  <a:moveTo>
                    <a:pt x="293201" y="129540"/>
                  </a:moveTo>
                  <a:lnTo>
                    <a:pt x="297009" y="129540"/>
                  </a:lnTo>
                  <a:cubicBezTo>
                    <a:pt x="317952" y="130493"/>
                    <a:pt x="417907" y="138113"/>
                    <a:pt x="458841" y="234315"/>
                  </a:cubicBezTo>
                  <a:lnTo>
                    <a:pt x="566411" y="186690"/>
                  </a:lnTo>
                  <a:cubicBezTo>
                    <a:pt x="566411" y="186690"/>
                    <a:pt x="515958" y="0"/>
                    <a:pt x="288442" y="0"/>
                  </a:cubicBezTo>
                  <a:cubicBezTo>
                    <a:pt x="208477" y="0"/>
                    <a:pt x="135177" y="32385"/>
                    <a:pt x="82820" y="91440"/>
                  </a:cubicBezTo>
                  <a:cubicBezTo>
                    <a:pt x="29511" y="150495"/>
                    <a:pt x="0" y="231458"/>
                    <a:pt x="0" y="320993"/>
                  </a:cubicBezTo>
                  <a:cubicBezTo>
                    <a:pt x="0" y="502920"/>
                    <a:pt x="121850" y="635318"/>
                    <a:pt x="290345" y="635318"/>
                  </a:cubicBezTo>
                  <a:cubicBezTo>
                    <a:pt x="348414" y="635318"/>
                    <a:pt x="400772" y="622935"/>
                    <a:pt x="446465" y="597218"/>
                  </a:cubicBezTo>
                  <a:cubicBezTo>
                    <a:pt x="494063" y="570548"/>
                    <a:pt x="533093" y="531495"/>
                    <a:pt x="561651" y="481013"/>
                  </a:cubicBezTo>
                  <a:lnTo>
                    <a:pt x="563556" y="477203"/>
                  </a:lnTo>
                  <a:lnTo>
                    <a:pt x="473120" y="417195"/>
                  </a:lnTo>
                  <a:lnTo>
                    <a:pt x="470264" y="421958"/>
                  </a:lnTo>
                  <a:cubicBezTo>
                    <a:pt x="432186" y="481013"/>
                    <a:pt x="370309" y="515303"/>
                    <a:pt x="301769" y="515303"/>
                  </a:cubicBezTo>
                  <a:cubicBezTo>
                    <a:pt x="254171" y="515303"/>
                    <a:pt x="210381" y="496253"/>
                    <a:pt x="179919" y="461010"/>
                  </a:cubicBezTo>
                  <a:cubicBezTo>
                    <a:pt x="149457" y="425768"/>
                    <a:pt x="132321" y="375285"/>
                    <a:pt x="132321" y="320040"/>
                  </a:cubicBezTo>
                  <a:cubicBezTo>
                    <a:pt x="132321" y="261938"/>
                    <a:pt x="149457" y="213360"/>
                    <a:pt x="181823" y="179070"/>
                  </a:cubicBezTo>
                  <a:cubicBezTo>
                    <a:pt x="212285" y="146685"/>
                    <a:pt x="251315" y="129540"/>
                    <a:pt x="293201" y="129540"/>
                  </a:cubicBez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47" name="Forma libre 1046">
              <a:extLst>
                <a:ext uri="{FF2B5EF4-FFF2-40B4-BE49-F238E27FC236}">
                  <a16:creationId xmlns:a16="http://schemas.microsoft.com/office/drawing/2014/main" id="{7A64B5DA-A3B9-782C-F813-69B269528FB9}"/>
                </a:ext>
              </a:extLst>
            </p:cNvPr>
            <p:cNvSpPr/>
            <p:nvPr/>
          </p:nvSpPr>
          <p:spPr>
            <a:xfrm>
              <a:off x="5079390" y="2254567"/>
              <a:ext cx="605441" cy="226695"/>
            </a:xfrm>
            <a:custGeom>
              <a:avLst/>
              <a:gdLst>
                <a:gd name="connsiteX0" fmla="*/ 302721 w 605441"/>
                <a:gd name="connsiteY0" fmla="*/ 125730 h 226695"/>
                <a:gd name="connsiteX1" fmla="*/ 471216 w 605441"/>
                <a:gd name="connsiteY1" fmla="*/ 226695 h 226695"/>
                <a:gd name="connsiteX2" fmla="*/ 605441 w 605441"/>
                <a:gd name="connsiteY2" fmla="*/ 226695 h 226695"/>
                <a:gd name="connsiteX3" fmla="*/ 302721 w 605441"/>
                <a:gd name="connsiteY3" fmla="*/ 0 h 226695"/>
                <a:gd name="connsiteX4" fmla="*/ 0 w 605441"/>
                <a:gd name="connsiteY4" fmla="*/ 226695 h 226695"/>
                <a:gd name="connsiteX5" fmla="*/ 135177 w 605441"/>
                <a:gd name="connsiteY5" fmla="*/ 226695 h 226695"/>
                <a:gd name="connsiteX6" fmla="*/ 302721 w 605441"/>
                <a:gd name="connsiteY6" fmla="*/ 125730 h 226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5441" h="226695">
                  <a:moveTo>
                    <a:pt x="302721" y="125730"/>
                  </a:moveTo>
                  <a:cubicBezTo>
                    <a:pt x="375069" y="125730"/>
                    <a:pt x="438850" y="166688"/>
                    <a:pt x="471216" y="226695"/>
                  </a:cubicBezTo>
                  <a:lnTo>
                    <a:pt x="605441" y="226695"/>
                  </a:lnTo>
                  <a:cubicBezTo>
                    <a:pt x="566411" y="95250"/>
                    <a:pt x="445514" y="0"/>
                    <a:pt x="302721" y="0"/>
                  </a:cubicBezTo>
                  <a:cubicBezTo>
                    <a:pt x="159928" y="0"/>
                    <a:pt x="39030" y="96203"/>
                    <a:pt x="0" y="226695"/>
                  </a:cubicBezTo>
                  <a:lnTo>
                    <a:pt x="135177" y="226695"/>
                  </a:lnTo>
                  <a:cubicBezTo>
                    <a:pt x="166592" y="166688"/>
                    <a:pt x="230372" y="125730"/>
                    <a:pt x="302721" y="125730"/>
                  </a:cubicBez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48" name="Forma libre 1047">
              <a:extLst>
                <a:ext uri="{FF2B5EF4-FFF2-40B4-BE49-F238E27FC236}">
                  <a16:creationId xmlns:a16="http://schemas.microsoft.com/office/drawing/2014/main" id="{D90A7078-6A50-31A2-5DA0-57FAA669C6B9}"/>
                </a:ext>
              </a:extLst>
            </p:cNvPr>
            <p:cNvSpPr/>
            <p:nvPr/>
          </p:nvSpPr>
          <p:spPr>
            <a:xfrm>
              <a:off x="5066062" y="2543175"/>
              <a:ext cx="632095" cy="345757"/>
            </a:xfrm>
            <a:custGeom>
              <a:avLst/>
              <a:gdLst>
                <a:gd name="connsiteX0" fmla="*/ 505486 w 632095"/>
                <a:gd name="connsiteY0" fmla="*/ 0 h 345757"/>
                <a:gd name="connsiteX1" fmla="*/ 507390 w 632095"/>
                <a:gd name="connsiteY1" fmla="*/ 28575 h 345757"/>
                <a:gd name="connsiteX2" fmla="*/ 316048 w 632095"/>
                <a:gd name="connsiteY2" fmla="*/ 220027 h 345757"/>
                <a:gd name="connsiteX3" fmla="*/ 124706 w 632095"/>
                <a:gd name="connsiteY3" fmla="*/ 28575 h 345757"/>
                <a:gd name="connsiteX4" fmla="*/ 126610 w 632095"/>
                <a:gd name="connsiteY4" fmla="*/ 0 h 345757"/>
                <a:gd name="connsiteX5" fmla="*/ 952 w 632095"/>
                <a:gd name="connsiteY5" fmla="*/ 0 h 345757"/>
                <a:gd name="connsiteX6" fmla="*/ 0 w 632095"/>
                <a:gd name="connsiteY6" fmla="*/ 28575 h 345757"/>
                <a:gd name="connsiteX7" fmla="*/ 316048 w 632095"/>
                <a:gd name="connsiteY7" fmla="*/ 345758 h 345757"/>
                <a:gd name="connsiteX8" fmla="*/ 632096 w 632095"/>
                <a:gd name="connsiteY8" fmla="*/ 28575 h 345757"/>
                <a:gd name="connsiteX9" fmla="*/ 631144 w 632095"/>
                <a:gd name="connsiteY9" fmla="*/ 0 h 345757"/>
                <a:gd name="connsiteX10" fmla="*/ 505486 w 632095"/>
                <a:gd name="connsiteY10" fmla="*/ 0 h 345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2095" h="345757">
                  <a:moveTo>
                    <a:pt x="505486" y="0"/>
                  </a:moveTo>
                  <a:cubicBezTo>
                    <a:pt x="506438" y="9525"/>
                    <a:pt x="507390" y="19050"/>
                    <a:pt x="507390" y="28575"/>
                  </a:cubicBezTo>
                  <a:cubicBezTo>
                    <a:pt x="507390" y="134302"/>
                    <a:pt x="421715" y="220027"/>
                    <a:pt x="316048" y="220027"/>
                  </a:cubicBezTo>
                  <a:cubicBezTo>
                    <a:pt x="210381" y="220027"/>
                    <a:pt x="124706" y="134302"/>
                    <a:pt x="124706" y="28575"/>
                  </a:cubicBezTo>
                  <a:cubicBezTo>
                    <a:pt x="124706" y="19050"/>
                    <a:pt x="125658" y="9525"/>
                    <a:pt x="126610" y="0"/>
                  </a:cubicBezTo>
                  <a:lnTo>
                    <a:pt x="952" y="0"/>
                  </a:lnTo>
                  <a:cubicBezTo>
                    <a:pt x="0" y="9525"/>
                    <a:pt x="0" y="19050"/>
                    <a:pt x="0" y="28575"/>
                  </a:cubicBezTo>
                  <a:cubicBezTo>
                    <a:pt x="0" y="203835"/>
                    <a:pt x="141841" y="345758"/>
                    <a:pt x="316048" y="345758"/>
                  </a:cubicBezTo>
                  <a:cubicBezTo>
                    <a:pt x="490255" y="345758"/>
                    <a:pt x="632096" y="202883"/>
                    <a:pt x="632096" y="28575"/>
                  </a:cubicBezTo>
                  <a:cubicBezTo>
                    <a:pt x="632096" y="19050"/>
                    <a:pt x="632096" y="9525"/>
                    <a:pt x="631144" y="0"/>
                  </a:cubicBezTo>
                  <a:lnTo>
                    <a:pt x="505486" y="0"/>
                  </a:ln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grpSp>
        <p:nvGrpSpPr>
          <p:cNvPr id="1049" name="Gráfico 61">
            <a:extLst>
              <a:ext uri="{FF2B5EF4-FFF2-40B4-BE49-F238E27FC236}">
                <a16:creationId xmlns:a16="http://schemas.microsoft.com/office/drawing/2014/main" id="{DACADB0F-76CE-0360-1D8E-2C1B9415E1DD}"/>
              </a:ext>
            </a:extLst>
          </p:cNvPr>
          <p:cNvGrpSpPr>
            <a:grpSpLocks noChangeAspect="1"/>
          </p:cNvGrpSpPr>
          <p:nvPr/>
        </p:nvGrpSpPr>
        <p:grpSpPr>
          <a:xfrm>
            <a:off x="7483058" y="2578866"/>
            <a:ext cx="576000" cy="137955"/>
            <a:chOff x="0" y="1477046"/>
            <a:chExt cx="7770161" cy="1860995"/>
          </a:xfrm>
          <a:solidFill>
            <a:srgbClr val="0066FF"/>
          </a:solidFill>
        </p:grpSpPr>
        <p:grpSp>
          <p:nvGrpSpPr>
            <p:cNvPr id="1050" name="Gráfico 61">
              <a:extLst>
                <a:ext uri="{FF2B5EF4-FFF2-40B4-BE49-F238E27FC236}">
                  <a16:creationId xmlns:a16="http://schemas.microsoft.com/office/drawing/2014/main" id="{1AB61AC3-0A7B-D15A-99F1-FC6306F50C75}"/>
                </a:ext>
              </a:extLst>
            </p:cNvPr>
            <p:cNvGrpSpPr/>
            <p:nvPr/>
          </p:nvGrpSpPr>
          <p:grpSpPr>
            <a:xfrm>
              <a:off x="0" y="1477046"/>
              <a:ext cx="1864779" cy="1860995"/>
              <a:chOff x="0" y="1477046"/>
              <a:chExt cx="1864779" cy="1860995"/>
            </a:xfrm>
            <a:solidFill>
              <a:srgbClr val="0066FF"/>
            </a:solidFill>
          </p:grpSpPr>
          <p:sp>
            <p:nvSpPr>
              <p:cNvPr id="1111" name="Forma libre 1110">
                <a:extLst>
                  <a:ext uri="{FF2B5EF4-FFF2-40B4-BE49-F238E27FC236}">
                    <a16:creationId xmlns:a16="http://schemas.microsoft.com/office/drawing/2014/main" id="{264D71A1-CEED-B5E7-6980-473224F3564E}"/>
                  </a:ext>
                </a:extLst>
              </p:cNvPr>
              <p:cNvSpPr/>
              <p:nvPr/>
            </p:nvSpPr>
            <p:spPr>
              <a:xfrm>
                <a:off x="0" y="1477046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12" name="Forma libre 1111">
                <a:extLst>
                  <a:ext uri="{FF2B5EF4-FFF2-40B4-BE49-F238E27FC236}">
                    <a16:creationId xmlns:a16="http://schemas.microsoft.com/office/drawing/2014/main" id="{91058135-BCC6-F58B-232E-FCF6F9490223}"/>
                  </a:ext>
                </a:extLst>
              </p:cNvPr>
              <p:cNvSpPr/>
              <p:nvPr/>
            </p:nvSpPr>
            <p:spPr>
              <a:xfrm>
                <a:off x="654164" y="1477046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13" name="Forma libre 1112">
                <a:extLst>
                  <a:ext uri="{FF2B5EF4-FFF2-40B4-BE49-F238E27FC236}">
                    <a16:creationId xmlns:a16="http://schemas.microsoft.com/office/drawing/2014/main" id="{054100CE-7CAB-F9C2-3FE0-6326A1C5B552}"/>
                  </a:ext>
                </a:extLst>
              </p:cNvPr>
              <p:cNvSpPr/>
              <p:nvPr/>
            </p:nvSpPr>
            <p:spPr>
              <a:xfrm>
                <a:off x="1308329" y="1477046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14" name="Forma libre 1113">
                <a:extLst>
                  <a:ext uri="{FF2B5EF4-FFF2-40B4-BE49-F238E27FC236}">
                    <a16:creationId xmlns:a16="http://schemas.microsoft.com/office/drawing/2014/main" id="{B0D055EB-B2C9-D2F3-46FB-DB2A20C46613}"/>
                  </a:ext>
                </a:extLst>
              </p:cNvPr>
              <p:cNvSpPr/>
              <p:nvPr/>
            </p:nvSpPr>
            <p:spPr>
              <a:xfrm>
                <a:off x="654164" y="2129883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15" name="Forma libre 1114">
                <a:extLst>
                  <a:ext uri="{FF2B5EF4-FFF2-40B4-BE49-F238E27FC236}">
                    <a16:creationId xmlns:a16="http://schemas.microsoft.com/office/drawing/2014/main" id="{A6BAD445-C90C-C0F8-9A6F-9C7F854EDD34}"/>
                  </a:ext>
                </a:extLst>
              </p:cNvPr>
              <p:cNvSpPr/>
              <p:nvPr/>
            </p:nvSpPr>
            <p:spPr>
              <a:xfrm>
                <a:off x="654164" y="2782720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grpSp>
          <p:nvGrpSpPr>
            <p:cNvPr id="1051" name="Gráfico 61">
              <a:extLst>
                <a:ext uri="{FF2B5EF4-FFF2-40B4-BE49-F238E27FC236}">
                  <a16:creationId xmlns:a16="http://schemas.microsoft.com/office/drawing/2014/main" id="{F7DA5A22-EEBA-0EE9-23D2-8EA634994CF3}"/>
                </a:ext>
              </a:extLst>
            </p:cNvPr>
            <p:cNvGrpSpPr/>
            <p:nvPr/>
          </p:nvGrpSpPr>
          <p:grpSpPr>
            <a:xfrm>
              <a:off x="2198947" y="1998124"/>
              <a:ext cx="5571214" cy="914865"/>
              <a:chOff x="2198947" y="1998124"/>
              <a:chExt cx="5571214" cy="914865"/>
            </a:xfrm>
            <a:solidFill>
              <a:srgbClr val="0066FF"/>
            </a:solidFill>
          </p:grpSpPr>
          <p:sp>
            <p:nvSpPr>
              <p:cNvPr id="1052" name="Forma libre 1051">
                <a:extLst>
                  <a:ext uri="{FF2B5EF4-FFF2-40B4-BE49-F238E27FC236}">
                    <a16:creationId xmlns:a16="http://schemas.microsoft.com/office/drawing/2014/main" id="{E4779390-80F4-5A3D-7A3F-22548DA68318}"/>
                  </a:ext>
                </a:extLst>
              </p:cNvPr>
              <p:cNvSpPr/>
              <p:nvPr/>
            </p:nvSpPr>
            <p:spPr>
              <a:xfrm>
                <a:off x="2198947" y="2036833"/>
                <a:ext cx="678779" cy="862757"/>
              </a:xfrm>
              <a:custGeom>
                <a:avLst/>
                <a:gdLst>
                  <a:gd name="connsiteX0" fmla="*/ 258831 w 678779"/>
                  <a:gd name="connsiteY0" fmla="*/ 154091 h 862757"/>
                  <a:gd name="connsiteX1" fmla="*/ 0 w 678779"/>
                  <a:gd name="connsiteY1" fmla="*/ 154091 h 862757"/>
                  <a:gd name="connsiteX2" fmla="*/ 0 w 678779"/>
                  <a:gd name="connsiteY2" fmla="*/ 0 h 862757"/>
                  <a:gd name="connsiteX3" fmla="*/ 678780 w 678779"/>
                  <a:gd name="connsiteY3" fmla="*/ 0 h 862757"/>
                  <a:gd name="connsiteX4" fmla="*/ 678780 w 678779"/>
                  <a:gd name="connsiteY4" fmla="*/ 154091 h 862757"/>
                  <a:gd name="connsiteX5" fmla="*/ 419202 w 678779"/>
                  <a:gd name="connsiteY5" fmla="*/ 154091 h 862757"/>
                  <a:gd name="connsiteX6" fmla="*/ 419202 w 678779"/>
                  <a:gd name="connsiteY6" fmla="*/ 862758 h 862757"/>
                  <a:gd name="connsiteX7" fmla="*/ 258831 w 678779"/>
                  <a:gd name="connsiteY7" fmla="*/ 862758 h 862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8779" h="862757">
                    <a:moveTo>
                      <a:pt x="258831" y="154091"/>
                    </a:moveTo>
                    <a:lnTo>
                      <a:pt x="0" y="154091"/>
                    </a:lnTo>
                    <a:lnTo>
                      <a:pt x="0" y="0"/>
                    </a:lnTo>
                    <a:lnTo>
                      <a:pt x="678780" y="0"/>
                    </a:lnTo>
                    <a:lnTo>
                      <a:pt x="678780" y="154091"/>
                    </a:lnTo>
                    <a:lnTo>
                      <a:pt x="419202" y="154091"/>
                    </a:lnTo>
                    <a:lnTo>
                      <a:pt x="419202" y="862758"/>
                    </a:lnTo>
                    <a:lnTo>
                      <a:pt x="258831" y="862758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053" name="Forma libre 1052">
                <a:extLst>
                  <a:ext uri="{FF2B5EF4-FFF2-40B4-BE49-F238E27FC236}">
                    <a16:creationId xmlns:a16="http://schemas.microsoft.com/office/drawing/2014/main" id="{781F46E9-09E9-6D6D-6C06-0F6D25793832}"/>
                  </a:ext>
                </a:extLst>
              </p:cNvPr>
              <p:cNvSpPr/>
              <p:nvPr/>
            </p:nvSpPr>
            <p:spPr>
              <a:xfrm>
                <a:off x="2809103" y="2258664"/>
                <a:ext cx="629549" cy="653581"/>
              </a:xfrm>
              <a:custGeom>
                <a:avLst/>
                <a:gdLst>
                  <a:gd name="connsiteX0" fmla="*/ 475146 w 629549"/>
                  <a:gd name="connsiteY0" fmla="*/ 271705 h 653581"/>
                  <a:gd name="connsiteX1" fmla="*/ 320742 w 629549"/>
                  <a:gd name="connsiteY1" fmla="*/ 130270 h 653581"/>
                  <a:gd name="connsiteX2" fmla="*/ 153658 w 629549"/>
                  <a:gd name="connsiteY2" fmla="*/ 271705 h 653581"/>
                  <a:gd name="connsiteX3" fmla="*/ 475146 w 629549"/>
                  <a:gd name="connsiteY3" fmla="*/ 271705 h 653581"/>
                  <a:gd name="connsiteX4" fmla="*/ 610902 w 629549"/>
                  <a:gd name="connsiteY4" fmla="*/ 456316 h 653581"/>
                  <a:gd name="connsiteX5" fmla="*/ 320742 w 629549"/>
                  <a:gd name="connsiteY5" fmla="*/ 653582 h 653581"/>
                  <a:gd name="connsiteX6" fmla="*/ 0 w 629549"/>
                  <a:gd name="connsiteY6" fmla="*/ 326791 h 653581"/>
                  <a:gd name="connsiteX7" fmla="*/ 320742 w 629549"/>
                  <a:gd name="connsiteY7" fmla="*/ 0 h 653581"/>
                  <a:gd name="connsiteX8" fmla="*/ 629549 w 629549"/>
                  <a:gd name="connsiteY8" fmla="*/ 314136 h 653581"/>
                  <a:gd name="connsiteX9" fmla="*/ 625820 w 629549"/>
                  <a:gd name="connsiteY9" fmla="*/ 358800 h 653581"/>
                  <a:gd name="connsiteX10" fmla="*/ 623582 w 629549"/>
                  <a:gd name="connsiteY10" fmla="*/ 375921 h 653581"/>
                  <a:gd name="connsiteX11" fmla="*/ 154404 w 629549"/>
                  <a:gd name="connsiteY11" fmla="*/ 375921 h 653581"/>
                  <a:gd name="connsiteX12" fmla="*/ 321488 w 629549"/>
                  <a:gd name="connsiteY12" fmla="*/ 524056 h 653581"/>
                  <a:gd name="connsiteX13" fmla="*/ 451277 w 629549"/>
                  <a:gd name="connsiteY13" fmla="*/ 456316 h 653581"/>
                  <a:gd name="connsiteX14" fmla="*/ 610902 w 629549"/>
                  <a:gd name="connsiteY14" fmla="*/ 456316 h 65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29549" h="653581">
                    <a:moveTo>
                      <a:pt x="475146" y="271705"/>
                    </a:moveTo>
                    <a:cubicBezTo>
                      <a:pt x="461719" y="191310"/>
                      <a:pt x="408760" y="130270"/>
                      <a:pt x="320742" y="130270"/>
                    </a:cubicBezTo>
                    <a:cubicBezTo>
                      <a:pt x="226757" y="130270"/>
                      <a:pt x="172306" y="192055"/>
                      <a:pt x="153658" y="271705"/>
                    </a:cubicBezTo>
                    <a:lnTo>
                      <a:pt x="475146" y="271705"/>
                    </a:lnTo>
                    <a:close/>
                    <a:moveTo>
                      <a:pt x="610902" y="456316"/>
                    </a:moveTo>
                    <a:cubicBezTo>
                      <a:pt x="597475" y="505446"/>
                      <a:pt x="519155" y="653582"/>
                      <a:pt x="320742" y="653582"/>
                    </a:cubicBezTo>
                    <a:cubicBezTo>
                      <a:pt x="135756" y="653582"/>
                      <a:pt x="0" y="518101"/>
                      <a:pt x="0" y="326791"/>
                    </a:cubicBezTo>
                    <a:cubicBezTo>
                      <a:pt x="0" y="135480"/>
                      <a:pt x="135756" y="0"/>
                      <a:pt x="320742" y="0"/>
                    </a:cubicBezTo>
                    <a:cubicBezTo>
                      <a:pt x="493793" y="0"/>
                      <a:pt x="629549" y="135480"/>
                      <a:pt x="629549" y="314136"/>
                    </a:cubicBezTo>
                    <a:cubicBezTo>
                      <a:pt x="629549" y="332746"/>
                      <a:pt x="627312" y="347634"/>
                      <a:pt x="625820" y="358800"/>
                    </a:cubicBezTo>
                    <a:lnTo>
                      <a:pt x="623582" y="375921"/>
                    </a:lnTo>
                    <a:lnTo>
                      <a:pt x="154404" y="375921"/>
                    </a:lnTo>
                    <a:cubicBezTo>
                      <a:pt x="167830" y="463760"/>
                      <a:pt x="233470" y="524056"/>
                      <a:pt x="321488" y="524056"/>
                    </a:cubicBezTo>
                    <a:cubicBezTo>
                      <a:pt x="394587" y="524056"/>
                      <a:pt x="438596" y="482370"/>
                      <a:pt x="451277" y="456316"/>
                    </a:cubicBezTo>
                    <a:lnTo>
                      <a:pt x="610902" y="456316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054" name="Forma libre 1053">
                <a:extLst>
                  <a:ext uri="{FF2B5EF4-FFF2-40B4-BE49-F238E27FC236}">
                    <a16:creationId xmlns:a16="http://schemas.microsoft.com/office/drawing/2014/main" id="{E1EC92F6-E62B-59B5-D864-65B3ADA8C34B}"/>
                  </a:ext>
                </a:extLst>
              </p:cNvPr>
              <p:cNvSpPr/>
              <p:nvPr/>
            </p:nvSpPr>
            <p:spPr>
              <a:xfrm>
                <a:off x="3531146" y="2036833"/>
                <a:ext cx="154403" cy="862757"/>
              </a:xfrm>
              <a:custGeom>
                <a:avLst/>
                <a:gdLst>
                  <a:gd name="connsiteX0" fmla="*/ 0 w 154403"/>
                  <a:gd name="connsiteY0" fmla="*/ 0 h 862757"/>
                  <a:gd name="connsiteX1" fmla="*/ 154404 w 154403"/>
                  <a:gd name="connsiteY1" fmla="*/ 0 h 862757"/>
                  <a:gd name="connsiteX2" fmla="*/ 154404 w 154403"/>
                  <a:gd name="connsiteY2" fmla="*/ 862758 h 862757"/>
                  <a:gd name="connsiteX3" fmla="*/ 0 w 154403"/>
                  <a:gd name="connsiteY3" fmla="*/ 862758 h 862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4403" h="862757">
                    <a:moveTo>
                      <a:pt x="0" y="0"/>
                    </a:moveTo>
                    <a:lnTo>
                      <a:pt x="154404" y="0"/>
                    </a:lnTo>
                    <a:lnTo>
                      <a:pt x="154404" y="862758"/>
                    </a:lnTo>
                    <a:lnTo>
                      <a:pt x="0" y="862758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065" name="Forma libre 1064">
                <a:extLst>
                  <a:ext uri="{FF2B5EF4-FFF2-40B4-BE49-F238E27FC236}">
                    <a16:creationId xmlns:a16="http://schemas.microsoft.com/office/drawing/2014/main" id="{F66CC478-0801-23E8-30C8-AFC52FF18E89}"/>
                  </a:ext>
                </a:extLst>
              </p:cNvPr>
              <p:cNvSpPr/>
              <p:nvPr/>
            </p:nvSpPr>
            <p:spPr>
              <a:xfrm>
                <a:off x="3778788" y="2258664"/>
                <a:ext cx="629549" cy="653581"/>
              </a:xfrm>
              <a:custGeom>
                <a:avLst/>
                <a:gdLst>
                  <a:gd name="connsiteX0" fmla="*/ 474400 w 629549"/>
                  <a:gd name="connsiteY0" fmla="*/ 271705 h 653581"/>
                  <a:gd name="connsiteX1" fmla="*/ 319996 w 629549"/>
                  <a:gd name="connsiteY1" fmla="*/ 130270 h 653581"/>
                  <a:gd name="connsiteX2" fmla="*/ 152912 w 629549"/>
                  <a:gd name="connsiteY2" fmla="*/ 271705 h 653581"/>
                  <a:gd name="connsiteX3" fmla="*/ 474400 w 629549"/>
                  <a:gd name="connsiteY3" fmla="*/ 271705 h 653581"/>
                  <a:gd name="connsiteX4" fmla="*/ 610902 w 629549"/>
                  <a:gd name="connsiteY4" fmla="*/ 456316 h 653581"/>
                  <a:gd name="connsiteX5" fmla="*/ 320742 w 629549"/>
                  <a:gd name="connsiteY5" fmla="*/ 653582 h 653581"/>
                  <a:gd name="connsiteX6" fmla="*/ 0 w 629549"/>
                  <a:gd name="connsiteY6" fmla="*/ 326791 h 653581"/>
                  <a:gd name="connsiteX7" fmla="*/ 320742 w 629549"/>
                  <a:gd name="connsiteY7" fmla="*/ 0 h 653581"/>
                  <a:gd name="connsiteX8" fmla="*/ 629549 w 629549"/>
                  <a:gd name="connsiteY8" fmla="*/ 314136 h 653581"/>
                  <a:gd name="connsiteX9" fmla="*/ 625820 w 629549"/>
                  <a:gd name="connsiteY9" fmla="*/ 358800 h 653581"/>
                  <a:gd name="connsiteX10" fmla="*/ 623582 w 629549"/>
                  <a:gd name="connsiteY10" fmla="*/ 375921 h 653581"/>
                  <a:gd name="connsiteX11" fmla="*/ 154404 w 629549"/>
                  <a:gd name="connsiteY11" fmla="*/ 375921 h 653581"/>
                  <a:gd name="connsiteX12" fmla="*/ 321488 w 629549"/>
                  <a:gd name="connsiteY12" fmla="*/ 524056 h 653581"/>
                  <a:gd name="connsiteX13" fmla="*/ 451276 w 629549"/>
                  <a:gd name="connsiteY13" fmla="*/ 456316 h 653581"/>
                  <a:gd name="connsiteX14" fmla="*/ 610902 w 629549"/>
                  <a:gd name="connsiteY14" fmla="*/ 456316 h 65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29549" h="653581">
                    <a:moveTo>
                      <a:pt x="474400" y="271705"/>
                    </a:moveTo>
                    <a:cubicBezTo>
                      <a:pt x="460974" y="191310"/>
                      <a:pt x="408014" y="130270"/>
                      <a:pt x="319996" y="130270"/>
                    </a:cubicBezTo>
                    <a:cubicBezTo>
                      <a:pt x="226011" y="130270"/>
                      <a:pt x="171559" y="192055"/>
                      <a:pt x="152912" y="271705"/>
                    </a:cubicBezTo>
                    <a:lnTo>
                      <a:pt x="474400" y="271705"/>
                    </a:lnTo>
                    <a:close/>
                    <a:moveTo>
                      <a:pt x="610902" y="456316"/>
                    </a:moveTo>
                    <a:cubicBezTo>
                      <a:pt x="597475" y="505446"/>
                      <a:pt x="519155" y="653582"/>
                      <a:pt x="320742" y="653582"/>
                    </a:cubicBezTo>
                    <a:cubicBezTo>
                      <a:pt x="135756" y="653582"/>
                      <a:pt x="0" y="518101"/>
                      <a:pt x="0" y="326791"/>
                    </a:cubicBezTo>
                    <a:cubicBezTo>
                      <a:pt x="0" y="135480"/>
                      <a:pt x="135756" y="0"/>
                      <a:pt x="320742" y="0"/>
                    </a:cubicBezTo>
                    <a:cubicBezTo>
                      <a:pt x="493793" y="0"/>
                      <a:pt x="629549" y="135480"/>
                      <a:pt x="629549" y="314136"/>
                    </a:cubicBezTo>
                    <a:cubicBezTo>
                      <a:pt x="629549" y="332746"/>
                      <a:pt x="627312" y="347634"/>
                      <a:pt x="625820" y="358800"/>
                    </a:cubicBezTo>
                    <a:lnTo>
                      <a:pt x="623582" y="375921"/>
                    </a:lnTo>
                    <a:lnTo>
                      <a:pt x="154404" y="375921"/>
                    </a:lnTo>
                    <a:cubicBezTo>
                      <a:pt x="167830" y="463760"/>
                      <a:pt x="233471" y="524056"/>
                      <a:pt x="321488" y="524056"/>
                    </a:cubicBezTo>
                    <a:cubicBezTo>
                      <a:pt x="394587" y="524056"/>
                      <a:pt x="438596" y="482370"/>
                      <a:pt x="451276" y="456316"/>
                    </a:cubicBezTo>
                    <a:lnTo>
                      <a:pt x="610902" y="456316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05" name="Forma libre 1104">
                <a:extLst>
                  <a:ext uri="{FF2B5EF4-FFF2-40B4-BE49-F238E27FC236}">
                    <a16:creationId xmlns:a16="http://schemas.microsoft.com/office/drawing/2014/main" id="{0BE18EE5-28BA-FAF6-70E0-0171EA619D1D}"/>
                  </a:ext>
                </a:extLst>
              </p:cNvPr>
              <p:cNvSpPr/>
              <p:nvPr/>
            </p:nvSpPr>
            <p:spPr>
              <a:xfrm>
                <a:off x="4444888" y="2024923"/>
                <a:ext cx="395333" cy="875412"/>
              </a:xfrm>
              <a:custGeom>
                <a:avLst/>
                <a:gdLst>
                  <a:gd name="connsiteX0" fmla="*/ 105173 w 395333"/>
                  <a:gd name="connsiteY0" fmla="*/ 394531 h 875412"/>
                  <a:gd name="connsiteX1" fmla="*/ 0 w 395333"/>
                  <a:gd name="connsiteY1" fmla="*/ 394531 h 875412"/>
                  <a:gd name="connsiteX2" fmla="*/ 0 w 395333"/>
                  <a:gd name="connsiteY2" fmla="*/ 246396 h 875412"/>
                  <a:gd name="connsiteX3" fmla="*/ 105173 w 395333"/>
                  <a:gd name="connsiteY3" fmla="*/ 246396 h 875412"/>
                  <a:gd name="connsiteX4" fmla="*/ 105173 w 395333"/>
                  <a:gd name="connsiteY4" fmla="*/ 154091 h 875412"/>
                  <a:gd name="connsiteX5" fmla="*/ 259577 w 395333"/>
                  <a:gd name="connsiteY5" fmla="*/ 0 h 875412"/>
                  <a:gd name="connsiteX6" fmla="*/ 395333 w 395333"/>
                  <a:gd name="connsiteY6" fmla="*/ 0 h 875412"/>
                  <a:gd name="connsiteX7" fmla="*/ 395333 w 395333"/>
                  <a:gd name="connsiteY7" fmla="*/ 135481 h 875412"/>
                  <a:gd name="connsiteX8" fmla="*/ 302840 w 395333"/>
                  <a:gd name="connsiteY8" fmla="*/ 135481 h 875412"/>
                  <a:gd name="connsiteX9" fmla="*/ 259577 w 395333"/>
                  <a:gd name="connsiteY9" fmla="*/ 178656 h 875412"/>
                  <a:gd name="connsiteX10" fmla="*/ 259577 w 395333"/>
                  <a:gd name="connsiteY10" fmla="*/ 246396 h 875412"/>
                  <a:gd name="connsiteX11" fmla="*/ 395333 w 395333"/>
                  <a:gd name="connsiteY11" fmla="*/ 246396 h 875412"/>
                  <a:gd name="connsiteX12" fmla="*/ 395333 w 395333"/>
                  <a:gd name="connsiteY12" fmla="*/ 394531 h 875412"/>
                  <a:gd name="connsiteX13" fmla="*/ 259577 w 395333"/>
                  <a:gd name="connsiteY13" fmla="*/ 394531 h 875412"/>
                  <a:gd name="connsiteX14" fmla="*/ 259577 w 395333"/>
                  <a:gd name="connsiteY14" fmla="*/ 875413 h 875412"/>
                  <a:gd name="connsiteX15" fmla="*/ 105173 w 395333"/>
                  <a:gd name="connsiteY15" fmla="*/ 875413 h 875412"/>
                  <a:gd name="connsiteX16" fmla="*/ 105173 w 395333"/>
                  <a:gd name="connsiteY16" fmla="*/ 394531 h 875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95333" h="875412">
                    <a:moveTo>
                      <a:pt x="105173" y="394531"/>
                    </a:moveTo>
                    <a:lnTo>
                      <a:pt x="0" y="394531"/>
                    </a:lnTo>
                    <a:lnTo>
                      <a:pt x="0" y="246396"/>
                    </a:lnTo>
                    <a:lnTo>
                      <a:pt x="105173" y="246396"/>
                    </a:lnTo>
                    <a:lnTo>
                      <a:pt x="105173" y="154091"/>
                    </a:lnTo>
                    <a:cubicBezTo>
                      <a:pt x="105173" y="60296"/>
                      <a:pt x="165592" y="0"/>
                      <a:pt x="259577" y="0"/>
                    </a:cubicBezTo>
                    <a:lnTo>
                      <a:pt x="395333" y="0"/>
                    </a:lnTo>
                    <a:lnTo>
                      <a:pt x="395333" y="135481"/>
                    </a:lnTo>
                    <a:lnTo>
                      <a:pt x="302840" y="135481"/>
                    </a:lnTo>
                    <a:cubicBezTo>
                      <a:pt x="278225" y="135481"/>
                      <a:pt x="259577" y="154091"/>
                      <a:pt x="259577" y="178656"/>
                    </a:cubicBezTo>
                    <a:lnTo>
                      <a:pt x="259577" y="246396"/>
                    </a:lnTo>
                    <a:lnTo>
                      <a:pt x="395333" y="246396"/>
                    </a:lnTo>
                    <a:lnTo>
                      <a:pt x="395333" y="394531"/>
                    </a:lnTo>
                    <a:lnTo>
                      <a:pt x="259577" y="394531"/>
                    </a:lnTo>
                    <a:lnTo>
                      <a:pt x="259577" y="875413"/>
                    </a:lnTo>
                    <a:lnTo>
                      <a:pt x="105173" y="875413"/>
                    </a:lnTo>
                    <a:lnTo>
                      <a:pt x="105173" y="394531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06" name="Forma libre 1105">
                <a:extLst>
                  <a:ext uri="{FF2B5EF4-FFF2-40B4-BE49-F238E27FC236}">
                    <a16:creationId xmlns:a16="http://schemas.microsoft.com/office/drawing/2014/main" id="{D0D30DD5-B0A0-3663-6F26-1010CA2ECDA2}"/>
                  </a:ext>
                </a:extLst>
              </p:cNvPr>
              <p:cNvSpPr/>
              <p:nvPr/>
            </p:nvSpPr>
            <p:spPr>
              <a:xfrm>
                <a:off x="5598067" y="2258664"/>
                <a:ext cx="580319" cy="640927"/>
              </a:xfrm>
              <a:custGeom>
                <a:avLst/>
                <a:gdLst>
                  <a:gd name="connsiteX0" fmla="*/ 0 w 580319"/>
                  <a:gd name="connsiteY0" fmla="*/ 12655 h 640927"/>
                  <a:gd name="connsiteX1" fmla="*/ 141723 w 580319"/>
                  <a:gd name="connsiteY1" fmla="*/ 12655 h 640927"/>
                  <a:gd name="connsiteX2" fmla="*/ 154404 w 580319"/>
                  <a:gd name="connsiteY2" fmla="*/ 74440 h 640927"/>
                  <a:gd name="connsiteX3" fmla="*/ 160371 w 580319"/>
                  <a:gd name="connsiteY3" fmla="*/ 74440 h 640927"/>
                  <a:gd name="connsiteX4" fmla="*/ 202142 w 580319"/>
                  <a:gd name="connsiteY4" fmla="*/ 37220 h 640927"/>
                  <a:gd name="connsiteX5" fmla="*/ 333423 w 580319"/>
                  <a:gd name="connsiteY5" fmla="*/ 0 h 640927"/>
                  <a:gd name="connsiteX6" fmla="*/ 580319 w 580319"/>
                  <a:gd name="connsiteY6" fmla="*/ 265006 h 640927"/>
                  <a:gd name="connsiteX7" fmla="*/ 580319 w 580319"/>
                  <a:gd name="connsiteY7" fmla="*/ 640927 h 640927"/>
                  <a:gd name="connsiteX8" fmla="*/ 425915 w 580319"/>
                  <a:gd name="connsiteY8" fmla="*/ 640927 h 640927"/>
                  <a:gd name="connsiteX9" fmla="*/ 425915 w 580319"/>
                  <a:gd name="connsiteY9" fmla="*/ 277661 h 640927"/>
                  <a:gd name="connsiteX10" fmla="*/ 290160 w 580319"/>
                  <a:gd name="connsiteY10" fmla="*/ 142180 h 640927"/>
                  <a:gd name="connsiteX11" fmla="*/ 154404 w 580319"/>
                  <a:gd name="connsiteY11" fmla="*/ 277661 h 640927"/>
                  <a:gd name="connsiteX12" fmla="*/ 154404 w 580319"/>
                  <a:gd name="connsiteY12" fmla="*/ 640927 h 640927"/>
                  <a:gd name="connsiteX13" fmla="*/ 0 w 580319"/>
                  <a:gd name="connsiteY13" fmla="*/ 640927 h 640927"/>
                  <a:gd name="connsiteX14" fmla="*/ 0 w 580319"/>
                  <a:gd name="connsiteY14" fmla="*/ 12655 h 640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80319" h="640927">
                    <a:moveTo>
                      <a:pt x="0" y="12655"/>
                    </a:moveTo>
                    <a:lnTo>
                      <a:pt x="141723" y="12655"/>
                    </a:lnTo>
                    <a:lnTo>
                      <a:pt x="154404" y="74440"/>
                    </a:lnTo>
                    <a:lnTo>
                      <a:pt x="160371" y="74440"/>
                    </a:lnTo>
                    <a:cubicBezTo>
                      <a:pt x="171560" y="61041"/>
                      <a:pt x="186478" y="48386"/>
                      <a:pt x="202142" y="37220"/>
                    </a:cubicBezTo>
                    <a:cubicBezTo>
                      <a:pt x="230487" y="18610"/>
                      <a:pt x="273750" y="0"/>
                      <a:pt x="333423" y="0"/>
                    </a:cubicBezTo>
                    <a:cubicBezTo>
                      <a:pt x="475146" y="0"/>
                      <a:pt x="580319" y="104960"/>
                      <a:pt x="580319" y="265006"/>
                    </a:cubicBezTo>
                    <a:lnTo>
                      <a:pt x="580319" y="640927"/>
                    </a:lnTo>
                    <a:lnTo>
                      <a:pt x="425915" y="640927"/>
                    </a:lnTo>
                    <a:lnTo>
                      <a:pt x="425915" y="277661"/>
                    </a:lnTo>
                    <a:cubicBezTo>
                      <a:pt x="425915" y="197266"/>
                      <a:pt x="369972" y="142180"/>
                      <a:pt x="290160" y="142180"/>
                    </a:cubicBezTo>
                    <a:cubicBezTo>
                      <a:pt x="209601" y="142180"/>
                      <a:pt x="154404" y="198010"/>
                      <a:pt x="154404" y="277661"/>
                    </a:cubicBezTo>
                    <a:lnTo>
                      <a:pt x="154404" y="640927"/>
                    </a:lnTo>
                    <a:lnTo>
                      <a:pt x="0" y="640927"/>
                    </a:lnTo>
                    <a:lnTo>
                      <a:pt x="0" y="12655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07" name="Forma libre 1106">
                <a:extLst>
                  <a:ext uri="{FF2B5EF4-FFF2-40B4-BE49-F238E27FC236}">
                    <a16:creationId xmlns:a16="http://schemas.microsoft.com/office/drawing/2014/main" id="{60FF4007-DAC3-E0EB-A398-45E7FDDD89C2}"/>
                  </a:ext>
                </a:extLst>
              </p:cNvPr>
              <p:cNvSpPr/>
              <p:nvPr/>
            </p:nvSpPr>
            <p:spPr>
              <a:xfrm>
                <a:off x="6544629" y="2258664"/>
                <a:ext cx="616868" cy="653581"/>
              </a:xfrm>
              <a:custGeom>
                <a:avLst/>
                <a:gdLst>
                  <a:gd name="connsiteX0" fmla="*/ 616869 w 616868"/>
                  <a:gd name="connsiteY0" fmla="*/ 407186 h 653581"/>
                  <a:gd name="connsiteX1" fmla="*/ 320742 w 616868"/>
                  <a:gd name="connsiteY1" fmla="*/ 653582 h 653581"/>
                  <a:gd name="connsiteX2" fmla="*/ 0 w 616868"/>
                  <a:gd name="connsiteY2" fmla="*/ 326791 h 653581"/>
                  <a:gd name="connsiteX3" fmla="*/ 320742 w 616868"/>
                  <a:gd name="connsiteY3" fmla="*/ 0 h 653581"/>
                  <a:gd name="connsiteX4" fmla="*/ 616869 w 616868"/>
                  <a:gd name="connsiteY4" fmla="*/ 240441 h 653581"/>
                  <a:gd name="connsiteX5" fmla="*/ 462465 w 616868"/>
                  <a:gd name="connsiteY5" fmla="*/ 240441 h 653581"/>
                  <a:gd name="connsiteX6" fmla="*/ 320742 w 616868"/>
                  <a:gd name="connsiteY6" fmla="*/ 142180 h 653581"/>
                  <a:gd name="connsiteX7" fmla="*/ 153658 w 616868"/>
                  <a:gd name="connsiteY7" fmla="*/ 326791 h 653581"/>
                  <a:gd name="connsiteX8" fmla="*/ 320742 w 616868"/>
                  <a:gd name="connsiteY8" fmla="*/ 511402 h 653581"/>
                  <a:gd name="connsiteX9" fmla="*/ 462465 w 616868"/>
                  <a:gd name="connsiteY9" fmla="*/ 406442 h 653581"/>
                  <a:gd name="connsiteX10" fmla="*/ 616869 w 616868"/>
                  <a:gd name="connsiteY10" fmla="*/ 406442 h 65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6868" h="653581">
                    <a:moveTo>
                      <a:pt x="616869" y="407186"/>
                    </a:moveTo>
                    <a:cubicBezTo>
                      <a:pt x="596729" y="505446"/>
                      <a:pt x="519154" y="653582"/>
                      <a:pt x="320742" y="653582"/>
                    </a:cubicBezTo>
                    <a:cubicBezTo>
                      <a:pt x="135756" y="653582"/>
                      <a:pt x="0" y="518101"/>
                      <a:pt x="0" y="326791"/>
                    </a:cubicBezTo>
                    <a:cubicBezTo>
                      <a:pt x="0" y="135480"/>
                      <a:pt x="135756" y="0"/>
                      <a:pt x="320742" y="0"/>
                    </a:cubicBezTo>
                    <a:cubicBezTo>
                      <a:pt x="519900" y="0"/>
                      <a:pt x="597475" y="148135"/>
                      <a:pt x="616869" y="240441"/>
                    </a:cubicBezTo>
                    <a:lnTo>
                      <a:pt x="462465" y="240441"/>
                    </a:lnTo>
                    <a:cubicBezTo>
                      <a:pt x="449038" y="204710"/>
                      <a:pt x="413235" y="142180"/>
                      <a:pt x="320742" y="142180"/>
                    </a:cubicBezTo>
                    <a:cubicBezTo>
                      <a:pt x="228249" y="142180"/>
                      <a:pt x="153658" y="215876"/>
                      <a:pt x="153658" y="326791"/>
                    </a:cubicBezTo>
                    <a:cubicBezTo>
                      <a:pt x="153658" y="437706"/>
                      <a:pt x="227503" y="511402"/>
                      <a:pt x="320742" y="511402"/>
                    </a:cubicBezTo>
                    <a:cubicBezTo>
                      <a:pt x="413981" y="511402"/>
                      <a:pt x="449038" y="449617"/>
                      <a:pt x="462465" y="406442"/>
                    </a:cubicBezTo>
                    <a:lnTo>
                      <a:pt x="616869" y="406442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08" name="Forma libre 1107">
                <a:extLst>
                  <a:ext uri="{FF2B5EF4-FFF2-40B4-BE49-F238E27FC236}">
                    <a16:creationId xmlns:a16="http://schemas.microsoft.com/office/drawing/2014/main" id="{9658F6A0-F2F1-56E8-2B79-E1565492EF82}"/>
                  </a:ext>
                </a:extLst>
              </p:cNvPr>
              <p:cNvSpPr/>
              <p:nvPr/>
            </p:nvSpPr>
            <p:spPr>
              <a:xfrm>
                <a:off x="7214458" y="2259408"/>
                <a:ext cx="555703" cy="653581"/>
              </a:xfrm>
              <a:custGeom>
                <a:avLst/>
                <a:gdLst>
                  <a:gd name="connsiteX0" fmla="*/ 401300 w 555703"/>
                  <a:gd name="connsiteY0" fmla="*/ 369222 h 653581"/>
                  <a:gd name="connsiteX1" fmla="*/ 271512 w 555703"/>
                  <a:gd name="connsiteY1" fmla="*/ 369222 h 653581"/>
                  <a:gd name="connsiteX2" fmla="*/ 154404 w 555703"/>
                  <a:gd name="connsiteY2" fmla="*/ 449617 h 653581"/>
                  <a:gd name="connsiteX3" fmla="*/ 252864 w 555703"/>
                  <a:gd name="connsiteY3" fmla="*/ 530012 h 653581"/>
                  <a:gd name="connsiteX4" fmla="*/ 401300 w 555703"/>
                  <a:gd name="connsiteY4" fmla="*/ 388576 h 653581"/>
                  <a:gd name="connsiteX5" fmla="*/ 401300 w 555703"/>
                  <a:gd name="connsiteY5" fmla="*/ 369222 h 653581"/>
                  <a:gd name="connsiteX6" fmla="*/ 413235 w 555703"/>
                  <a:gd name="connsiteY6" fmla="*/ 579142 h 653581"/>
                  <a:gd name="connsiteX7" fmla="*/ 407268 w 555703"/>
                  <a:gd name="connsiteY7" fmla="*/ 579142 h 653581"/>
                  <a:gd name="connsiteX8" fmla="*/ 364005 w 555703"/>
                  <a:gd name="connsiteY8" fmla="*/ 616362 h 653581"/>
                  <a:gd name="connsiteX9" fmla="*/ 228249 w 555703"/>
                  <a:gd name="connsiteY9" fmla="*/ 653582 h 653581"/>
                  <a:gd name="connsiteX10" fmla="*/ 0 w 555703"/>
                  <a:gd name="connsiteY10" fmla="*/ 462271 h 653581"/>
                  <a:gd name="connsiteX11" fmla="*/ 259577 w 555703"/>
                  <a:gd name="connsiteY11" fmla="*/ 252351 h 653581"/>
                  <a:gd name="connsiteX12" fmla="*/ 401300 w 555703"/>
                  <a:gd name="connsiteY12" fmla="*/ 252351 h 653581"/>
                  <a:gd name="connsiteX13" fmla="*/ 401300 w 555703"/>
                  <a:gd name="connsiteY13" fmla="*/ 239696 h 653581"/>
                  <a:gd name="connsiteX14" fmla="*/ 290159 w 555703"/>
                  <a:gd name="connsiteY14" fmla="*/ 122826 h 653581"/>
                  <a:gd name="connsiteX15" fmla="*/ 179019 w 555703"/>
                  <a:gd name="connsiteY15" fmla="*/ 203221 h 653581"/>
                  <a:gd name="connsiteX16" fmla="*/ 24615 w 555703"/>
                  <a:gd name="connsiteY16" fmla="*/ 203221 h 653581"/>
                  <a:gd name="connsiteX17" fmla="*/ 290159 w 555703"/>
                  <a:gd name="connsiteY17" fmla="*/ 0 h 653581"/>
                  <a:gd name="connsiteX18" fmla="*/ 555704 w 555703"/>
                  <a:gd name="connsiteY18" fmla="*/ 240441 h 653581"/>
                  <a:gd name="connsiteX19" fmla="*/ 555704 w 555703"/>
                  <a:gd name="connsiteY19" fmla="*/ 640927 h 653581"/>
                  <a:gd name="connsiteX20" fmla="*/ 425916 w 555703"/>
                  <a:gd name="connsiteY20" fmla="*/ 640927 h 653581"/>
                  <a:gd name="connsiteX21" fmla="*/ 413235 w 555703"/>
                  <a:gd name="connsiteY21" fmla="*/ 579142 h 65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5703" h="653581">
                    <a:moveTo>
                      <a:pt x="401300" y="369222"/>
                    </a:moveTo>
                    <a:lnTo>
                      <a:pt x="271512" y="369222"/>
                    </a:lnTo>
                    <a:cubicBezTo>
                      <a:pt x="190953" y="369222"/>
                      <a:pt x="154404" y="399742"/>
                      <a:pt x="154404" y="449617"/>
                    </a:cubicBezTo>
                    <a:cubicBezTo>
                      <a:pt x="154404" y="498747"/>
                      <a:pt x="190207" y="530012"/>
                      <a:pt x="252864" y="530012"/>
                    </a:cubicBezTo>
                    <a:cubicBezTo>
                      <a:pt x="346849" y="530012"/>
                      <a:pt x="401300" y="475671"/>
                      <a:pt x="401300" y="388576"/>
                    </a:cubicBezTo>
                    <a:lnTo>
                      <a:pt x="401300" y="369222"/>
                    </a:lnTo>
                    <a:close/>
                    <a:moveTo>
                      <a:pt x="413235" y="579142"/>
                    </a:moveTo>
                    <a:lnTo>
                      <a:pt x="407268" y="579142"/>
                    </a:lnTo>
                    <a:cubicBezTo>
                      <a:pt x="396079" y="592541"/>
                      <a:pt x="381161" y="605196"/>
                      <a:pt x="364005" y="616362"/>
                    </a:cubicBezTo>
                    <a:cubicBezTo>
                      <a:pt x="334168" y="634972"/>
                      <a:pt x="290906" y="653582"/>
                      <a:pt x="228249" y="653582"/>
                    </a:cubicBezTo>
                    <a:cubicBezTo>
                      <a:pt x="85034" y="653582"/>
                      <a:pt x="0" y="565743"/>
                      <a:pt x="0" y="462271"/>
                    </a:cubicBezTo>
                    <a:cubicBezTo>
                      <a:pt x="0" y="338701"/>
                      <a:pt x="86526" y="252351"/>
                      <a:pt x="259577" y="252351"/>
                    </a:cubicBezTo>
                    <a:lnTo>
                      <a:pt x="401300" y="252351"/>
                    </a:lnTo>
                    <a:lnTo>
                      <a:pt x="401300" y="239696"/>
                    </a:lnTo>
                    <a:cubicBezTo>
                      <a:pt x="401300" y="170467"/>
                      <a:pt x="359530" y="122826"/>
                      <a:pt x="290159" y="122826"/>
                    </a:cubicBezTo>
                    <a:cubicBezTo>
                      <a:pt x="220790" y="122826"/>
                      <a:pt x="184986" y="167490"/>
                      <a:pt x="179019" y="203221"/>
                    </a:cubicBezTo>
                    <a:lnTo>
                      <a:pt x="24615" y="203221"/>
                    </a:lnTo>
                    <a:cubicBezTo>
                      <a:pt x="38041" y="99749"/>
                      <a:pt x="122329" y="0"/>
                      <a:pt x="290159" y="0"/>
                    </a:cubicBezTo>
                    <a:cubicBezTo>
                      <a:pt x="450530" y="0"/>
                      <a:pt x="555704" y="105705"/>
                      <a:pt x="555704" y="240441"/>
                    </a:cubicBezTo>
                    <a:lnTo>
                      <a:pt x="555704" y="640927"/>
                    </a:lnTo>
                    <a:lnTo>
                      <a:pt x="425916" y="640927"/>
                    </a:lnTo>
                    <a:lnTo>
                      <a:pt x="413235" y="579142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09" name="Forma libre 1108">
                <a:extLst>
                  <a:ext uri="{FF2B5EF4-FFF2-40B4-BE49-F238E27FC236}">
                    <a16:creationId xmlns:a16="http://schemas.microsoft.com/office/drawing/2014/main" id="{4A0EF2A4-230F-1AB4-D345-81CB66A9FDE4}"/>
                  </a:ext>
                </a:extLst>
              </p:cNvPr>
              <p:cNvSpPr/>
              <p:nvPr/>
            </p:nvSpPr>
            <p:spPr>
              <a:xfrm>
                <a:off x="6282068" y="1998124"/>
                <a:ext cx="183494" cy="901466"/>
              </a:xfrm>
              <a:custGeom>
                <a:avLst/>
                <a:gdLst>
                  <a:gd name="connsiteX0" fmla="*/ 14918 w 183494"/>
                  <a:gd name="connsiteY0" fmla="*/ 273194 h 901466"/>
                  <a:gd name="connsiteX1" fmla="*/ 169322 w 183494"/>
                  <a:gd name="connsiteY1" fmla="*/ 273194 h 901466"/>
                  <a:gd name="connsiteX2" fmla="*/ 169322 w 183494"/>
                  <a:gd name="connsiteY2" fmla="*/ 901467 h 901466"/>
                  <a:gd name="connsiteX3" fmla="*/ 14918 w 183494"/>
                  <a:gd name="connsiteY3" fmla="*/ 901467 h 901466"/>
                  <a:gd name="connsiteX4" fmla="*/ 14918 w 183494"/>
                  <a:gd name="connsiteY4" fmla="*/ 273194 h 901466"/>
                  <a:gd name="connsiteX5" fmla="*/ 183494 w 183494"/>
                  <a:gd name="connsiteY5" fmla="*/ 91561 h 901466"/>
                  <a:gd name="connsiteX6" fmla="*/ 91747 w 183494"/>
                  <a:gd name="connsiteY6" fmla="*/ 0 h 901466"/>
                  <a:gd name="connsiteX7" fmla="*/ 0 w 183494"/>
                  <a:gd name="connsiteY7" fmla="*/ 91561 h 901466"/>
                  <a:gd name="connsiteX8" fmla="*/ 91747 w 183494"/>
                  <a:gd name="connsiteY8" fmla="*/ 183122 h 901466"/>
                  <a:gd name="connsiteX9" fmla="*/ 183494 w 183494"/>
                  <a:gd name="connsiteY9" fmla="*/ 91561 h 901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3494" h="901466">
                    <a:moveTo>
                      <a:pt x="14918" y="273194"/>
                    </a:moveTo>
                    <a:lnTo>
                      <a:pt x="169322" y="273194"/>
                    </a:lnTo>
                    <a:lnTo>
                      <a:pt x="169322" y="901467"/>
                    </a:lnTo>
                    <a:lnTo>
                      <a:pt x="14918" y="901467"/>
                    </a:lnTo>
                    <a:lnTo>
                      <a:pt x="14918" y="273194"/>
                    </a:lnTo>
                    <a:close/>
                    <a:moveTo>
                      <a:pt x="183494" y="91561"/>
                    </a:moveTo>
                    <a:cubicBezTo>
                      <a:pt x="183494" y="40942"/>
                      <a:pt x="142469" y="0"/>
                      <a:pt x="91747" y="0"/>
                    </a:cubicBezTo>
                    <a:cubicBezTo>
                      <a:pt x="41025" y="0"/>
                      <a:pt x="0" y="40942"/>
                      <a:pt x="0" y="91561"/>
                    </a:cubicBezTo>
                    <a:cubicBezTo>
                      <a:pt x="0" y="142180"/>
                      <a:pt x="41025" y="183122"/>
                      <a:pt x="91747" y="183122"/>
                    </a:cubicBezTo>
                    <a:cubicBezTo>
                      <a:pt x="142469" y="182378"/>
                      <a:pt x="183494" y="142180"/>
                      <a:pt x="183494" y="915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10" name="Forma libre 1109">
                <a:extLst>
                  <a:ext uri="{FF2B5EF4-FFF2-40B4-BE49-F238E27FC236}">
                    <a16:creationId xmlns:a16="http://schemas.microsoft.com/office/drawing/2014/main" id="{ABE62114-DF8C-9F4C-31B3-8DFF05F4CED5}"/>
                  </a:ext>
                </a:extLst>
              </p:cNvPr>
              <p:cNvSpPr/>
              <p:nvPr/>
            </p:nvSpPr>
            <p:spPr>
              <a:xfrm>
                <a:off x="4863344" y="2006313"/>
                <a:ext cx="642229" cy="905932"/>
              </a:xfrm>
              <a:custGeom>
                <a:avLst/>
                <a:gdLst>
                  <a:gd name="connsiteX0" fmla="*/ 487826 w 642229"/>
                  <a:gd name="connsiteY0" fmla="*/ 579142 h 905932"/>
                  <a:gd name="connsiteX1" fmla="*/ 320742 w 642229"/>
                  <a:gd name="connsiteY1" fmla="*/ 394531 h 905932"/>
                  <a:gd name="connsiteX2" fmla="*/ 153658 w 642229"/>
                  <a:gd name="connsiteY2" fmla="*/ 579142 h 905932"/>
                  <a:gd name="connsiteX3" fmla="*/ 320742 w 642229"/>
                  <a:gd name="connsiteY3" fmla="*/ 763753 h 905932"/>
                  <a:gd name="connsiteX4" fmla="*/ 487826 w 642229"/>
                  <a:gd name="connsiteY4" fmla="*/ 579142 h 905932"/>
                  <a:gd name="connsiteX5" fmla="*/ 642230 w 642229"/>
                  <a:gd name="connsiteY5" fmla="*/ 579142 h 905932"/>
                  <a:gd name="connsiteX6" fmla="*/ 320742 w 642229"/>
                  <a:gd name="connsiteY6" fmla="*/ 905933 h 905932"/>
                  <a:gd name="connsiteX7" fmla="*/ 0 w 642229"/>
                  <a:gd name="connsiteY7" fmla="*/ 579142 h 905932"/>
                  <a:gd name="connsiteX8" fmla="*/ 320742 w 642229"/>
                  <a:gd name="connsiteY8" fmla="*/ 252351 h 905932"/>
                  <a:gd name="connsiteX9" fmla="*/ 642230 w 642229"/>
                  <a:gd name="connsiteY9" fmla="*/ 579142 h 905932"/>
                  <a:gd name="connsiteX10" fmla="*/ 376685 w 642229"/>
                  <a:gd name="connsiteY10" fmla="*/ 0 h 905932"/>
                  <a:gd name="connsiteX11" fmla="*/ 537056 w 642229"/>
                  <a:gd name="connsiteY11" fmla="*/ 0 h 905932"/>
                  <a:gd name="connsiteX12" fmla="*/ 388620 w 642229"/>
                  <a:gd name="connsiteY12" fmla="*/ 178656 h 905932"/>
                  <a:gd name="connsiteX13" fmla="*/ 258831 w 642229"/>
                  <a:gd name="connsiteY13" fmla="*/ 178656 h 905932"/>
                  <a:gd name="connsiteX14" fmla="*/ 376685 w 642229"/>
                  <a:gd name="connsiteY14" fmla="*/ 0 h 905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42229" h="905932">
                    <a:moveTo>
                      <a:pt x="487826" y="579142"/>
                    </a:moveTo>
                    <a:cubicBezTo>
                      <a:pt x="487826" y="468227"/>
                      <a:pt x="413981" y="394531"/>
                      <a:pt x="320742" y="394531"/>
                    </a:cubicBezTo>
                    <a:cubicBezTo>
                      <a:pt x="228249" y="394531"/>
                      <a:pt x="153658" y="468227"/>
                      <a:pt x="153658" y="579142"/>
                    </a:cubicBezTo>
                    <a:cubicBezTo>
                      <a:pt x="153658" y="690057"/>
                      <a:pt x="227503" y="763753"/>
                      <a:pt x="320742" y="763753"/>
                    </a:cubicBezTo>
                    <a:cubicBezTo>
                      <a:pt x="413981" y="763753"/>
                      <a:pt x="487826" y="690057"/>
                      <a:pt x="487826" y="579142"/>
                    </a:cubicBezTo>
                    <a:moveTo>
                      <a:pt x="642230" y="579142"/>
                    </a:moveTo>
                    <a:cubicBezTo>
                      <a:pt x="642230" y="770452"/>
                      <a:pt x="506474" y="905933"/>
                      <a:pt x="320742" y="905933"/>
                    </a:cubicBezTo>
                    <a:cubicBezTo>
                      <a:pt x="135756" y="905933"/>
                      <a:pt x="0" y="770452"/>
                      <a:pt x="0" y="579142"/>
                    </a:cubicBezTo>
                    <a:cubicBezTo>
                      <a:pt x="0" y="387832"/>
                      <a:pt x="135756" y="252351"/>
                      <a:pt x="320742" y="252351"/>
                    </a:cubicBezTo>
                    <a:cubicBezTo>
                      <a:pt x="506474" y="252351"/>
                      <a:pt x="642230" y="387832"/>
                      <a:pt x="642230" y="579142"/>
                    </a:cubicBezTo>
                    <a:moveTo>
                      <a:pt x="376685" y="0"/>
                    </a:moveTo>
                    <a:lnTo>
                      <a:pt x="537056" y="0"/>
                    </a:lnTo>
                    <a:lnTo>
                      <a:pt x="388620" y="178656"/>
                    </a:lnTo>
                    <a:lnTo>
                      <a:pt x="258831" y="178656"/>
                    </a:lnTo>
                    <a:lnTo>
                      <a:pt x="376685" y="0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</p:grpSp>
      <p:grpSp>
        <p:nvGrpSpPr>
          <p:cNvPr id="1116" name="Grupo 1115">
            <a:extLst>
              <a:ext uri="{FF2B5EF4-FFF2-40B4-BE49-F238E27FC236}">
                <a16:creationId xmlns:a16="http://schemas.microsoft.com/office/drawing/2014/main" id="{D29152FB-D8C6-21C8-4A1F-5EC18A8CA2EA}"/>
              </a:ext>
            </a:extLst>
          </p:cNvPr>
          <p:cNvGrpSpPr/>
          <p:nvPr/>
        </p:nvGrpSpPr>
        <p:grpSpPr>
          <a:xfrm>
            <a:off x="6264254" y="2787794"/>
            <a:ext cx="314453" cy="113018"/>
            <a:chOff x="4146550" y="2419350"/>
            <a:chExt cx="848056" cy="304799"/>
          </a:xfrm>
        </p:grpSpPr>
        <p:sp>
          <p:nvSpPr>
            <p:cNvPr id="1117" name="Forma libre 1116">
              <a:extLst>
                <a:ext uri="{FF2B5EF4-FFF2-40B4-BE49-F238E27FC236}">
                  <a16:creationId xmlns:a16="http://schemas.microsoft.com/office/drawing/2014/main" id="{6DE1E595-2C61-6F4F-3C62-C1238A62CAC9}"/>
                </a:ext>
              </a:extLst>
            </p:cNvPr>
            <p:cNvSpPr/>
            <p:nvPr/>
          </p:nvSpPr>
          <p:spPr>
            <a:xfrm>
              <a:off x="4696070" y="2555407"/>
              <a:ext cx="167444" cy="168742"/>
            </a:xfrm>
            <a:custGeom>
              <a:avLst/>
              <a:gdLst>
                <a:gd name="connsiteX0" fmla="*/ 143085 w 167444"/>
                <a:gd name="connsiteY0" fmla="*/ 24652 h 168742"/>
                <a:gd name="connsiteX1" fmla="*/ 83531 w 167444"/>
                <a:gd name="connsiteY1" fmla="*/ 0 h 168742"/>
                <a:gd name="connsiteX2" fmla="*/ 24751 w 167444"/>
                <a:gd name="connsiteY2" fmla="*/ 24652 h 168742"/>
                <a:gd name="connsiteX3" fmla="*/ 0 w 167444"/>
                <a:gd name="connsiteY3" fmla="*/ 84371 h 168742"/>
                <a:gd name="connsiteX4" fmla="*/ 24751 w 167444"/>
                <a:gd name="connsiteY4" fmla="*/ 143703 h 168742"/>
                <a:gd name="connsiteX5" fmla="*/ 83531 w 167444"/>
                <a:gd name="connsiteY5" fmla="*/ 168743 h 168742"/>
                <a:gd name="connsiteX6" fmla="*/ 143085 w 167444"/>
                <a:gd name="connsiteY6" fmla="*/ 143703 h 168742"/>
                <a:gd name="connsiteX7" fmla="*/ 167445 w 167444"/>
                <a:gd name="connsiteY7" fmla="*/ 84371 h 168742"/>
                <a:gd name="connsiteX8" fmla="*/ 143085 w 167444"/>
                <a:gd name="connsiteY8" fmla="*/ 24652 h 168742"/>
                <a:gd name="connsiteX9" fmla="*/ 114852 w 167444"/>
                <a:gd name="connsiteY9" fmla="*/ 115555 h 168742"/>
                <a:gd name="connsiteX10" fmla="*/ 83532 w 167444"/>
                <a:gd name="connsiteY10" fmla="*/ 128652 h 168742"/>
                <a:gd name="connsiteX11" fmla="*/ 52595 w 167444"/>
                <a:gd name="connsiteY11" fmla="*/ 115555 h 168742"/>
                <a:gd name="connsiteX12" fmla="*/ 39443 w 167444"/>
                <a:gd name="connsiteY12" fmla="*/ 84346 h 168742"/>
                <a:gd name="connsiteX13" fmla="*/ 52595 w 167444"/>
                <a:gd name="connsiteY13" fmla="*/ 52754 h 168742"/>
                <a:gd name="connsiteX14" fmla="*/ 83532 w 167444"/>
                <a:gd name="connsiteY14" fmla="*/ 40040 h 168742"/>
                <a:gd name="connsiteX15" fmla="*/ 115241 w 167444"/>
                <a:gd name="connsiteY15" fmla="*/ 52754 h 168742"/>
                <a:gd name="connsiteX16" fmla="*/ 128003 w 167444"/>
                <a:gd name="connsiteY16" fmla="*/ 84346 h 168742"/>
                <a:gd name="connsiteX17" fmla="*/ 114852 w 167444"/>
                <a:gd name="connsiteY17" fmla="*/ 115555 h 168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7444" h="168742">
                  <a:moveTo>
                    <a:pt x="143085" y="24652"/>
                  </a:moveTo>
                  <a:cubicBezTo>
                    <a:pt x="126456" y="8086"/>
                    <a:pt x="106345" y="0"/>
                    <a:pt x="83531" y="0"/>
                  </a:cubicBezTo>
                  <a:cubicBezTo>
                    <a:pt x="60711" y="0"/>
                    <a:pt x="40990" y="8086"/>
                    <a:pt x="24751" y="24652"/>
                  </a:cubicBezTo>
                  <a:cubicBezTo>
                    <a:pt x="8117" y="41218"/>
                    <a:pt x="0" y="61253"/>
                    <a:pt x="0" y="84371"/>
                  </a:cubicBezTo>
                  <a:cubicBezTo>
                    <a:pt x="0" y="107489"/>
                    <a:pt x="8117" y="127519"/>
                    <a:pt x="24751" y="143703"/>
                  </a:cubicBezTo>
                  <a:cubicBezTo>
                    <a:pt x="40990" y="160269"/>
                    <a:pt x="60711" y="168743"/>
                    <a:pt x="83531" y="168743"/>
                  </a:cubicBezTo>
                  <a:cubicBezTo>
                    <a:pt x="106345" y="168743"/>
                    <a:pt x="126456" y="160269"/>
                    <a:pt x="143085" y="143703"/>
                  </a:cubicBezTo>
                  <a:cubicBezTo>
                    <a:pt x="159323" y="127519"/>
                    <a:pt x="167445" y="107489"/>
                    <a:pt x="167445" y="84371"/>
                  </a:cubicBezTo>
                  <a:cubicBezTo>
                    <a:pt x="167445" y="61253"/>
                    <a:pt x="159323" y="41218"/>
                    <a:pt x="143085" y="24652"/>
                  </a:cubicBezTo>
                  <a:close/>
                  <a:moveTo>
                    <a:pt x="114852" y="115555"/>
                  </a:moveTo>
                  <a:cubicBezTo>
                    <a:pt x="106345" y="124412"/>
                    <a:pt x="95904" y="128652"/>
                    <a:pt x="83532" y="128652"/>
                  </a:cubicBezTo>
                  <a:cubicBezTo>
                    <a:pt x="71543" y="128652"/>
                    <a:pt x="61100" y="124412"/>
                    <a:pt x="52595" y="115555"/>
                  </a:cubicBezTo>
                  <a:cubicBezTo>
                    <a:pt x="44082" y="106693"/>
                    <a:pt x="39443" y="96290"/>
                    <a:pt x="39443" y="84346"/>
                  </a:cubicBezTo>
                  <a:cubicBezTo>
                    <a:pt x="39443" y="71632"/>
                    <a:pt x="44082" y="61229"/>
                    <a:pt x="52595" y="52754"/>
                  </a:cubicBezTo>
                  <a:cubicBezTo>
                    <a:pt x="61100" y="43892"/>
                    <a:pt x="71543" y="39652"/>
                    <a:pt x="83532" y="40040"/>
                  </a:cubicBezTo>
                  <a:cubicBezTo>
                    <a:pt x="95904" y="39652"/>
                    <a:pt x="106345" y="43892"/>
                    <a:pt x="115241" y="52754"/>
                  </a:cubicBezTo>
                  <a:cubicBezTo>
                    <a:pt x="123364" y="61229"/>
                    <a:pt x="127613" y="71632"/>
                    <a:pt x="128003" y="84346"/>
                  </a:cubicBezTo>
                  <a:cubicBezTo>
                    <a:pt x="127613" y="96290"/>
                    <a:pt x="123364" y="106693"/>
                    <a:pt x="114852" y="115555"/>
                  </a:cubicBez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18" name="Forma libre 1117">
              <a:extLst>
                <a:ext uri="{FF2B5EF4-FFF2-40B4-BE49-F238E27FC236}">
                  <a16:creationId xmlns:a16="http://schemas.microsoft.com/office/drawing/2014/main" id="{619D61CA-006A-F7A9-F2A5-C670596CEA14}"/>
                </a:ext>
              </a:extLst>
            </p:cNvPr>
            <p:cNvSpPr/>
            <p:nvPr/>
          </p:nvSpPr>
          <p:spPr>
            <a:xfrm>
              <a:off x="4146550" y="2514125"/>
              <a:ext cx="203020" cy="208059"/>
            </a:xfrm>
            <a:custGeom>
              <a:avLst/>
              <a:gdLst>
                <a:gd name="connsiteX0" fmla="*/ 103635 w 203020"/>
                <a:gd name="connsiteY0" fmla="*/ 15 h 208059"/>
                <a:gd name="connsiteX1" fmla="*/ 30547 w 203020"/>
                <a:gd name="connsiteY1" fmla="*/ 30448 h 208059"/>
                <a:gd name="connsiteX2" fmla="*/ 0 w 203020"/>
                <a:gd name="connsiteY2" fmla="*/ 104034 h 208059"/>
                <a:gd name="connsiteX3" fmla="*/ 30547 w 203020"/>
                <a:gd name="connsiteY3" fmla="*/ 178008 h 208059"/>
                <a:gd name="connsiteX4" fmla="*/ 103635 w 203020"/>
                <a:gd name="connsiteY4" fmla="*/ 208059 h 208059"/>
                <a:gd name="connsiteX5" fmla="*/ 166671 w 203020"/>
                <a:gd name="connsiteY5" fmla="*/ 186864 h 208059"/>
                <a:gd name="connsiteX6" fmla="*/ 203021 w 203020"/>
                <a:gd name="connsiteY6" fmla="*/ 131774 h 208059"/>
                <a:gd name="connsiteX7" fmla="*/ 160869 w 203020"/>
                <a:gd name="connsiteY7" fmla="*/ 131774 h 208059"/>
                <a:gd name="connsiteX8" fmla="*/ 138055 w 203020"/>
                <a:gd name="connsiteY8" fmla="*/ 158361 h 208059"/>
                <a:gd name="connsiteX9" fmla="*/ 103635 w 203020"/>
                <a:gd name="connsiteY9" fmla="*/ 168375 h 208059"/>
                <a:gd name="connsiteX10" fmla="*/ 58390 w 203020"/>
                <a:gd name="connsiteY10" fmla="*/ 149498 h 208059"/>
                <a:gd name="connsiteX11" fmla="*/ 39832 w 203020"/>
                <a:gd name="connsiteY11" fmla="*/ 104034 h 208059"/>
                <a:gd name="connsiteX12" fmla="*/ 58390 w 203020"/>
                <a:gd name="connsiteY12" fmla="*/ 58576 h 208059"/>
                <a:gd name="connsiteX13" fmla="*/ 103635 w 203020"/>
                <a:gd name="connsiteY13" fmla="*/ 39698 h 208059"/>
                <a:gd name="connsiteX14" fmla="*/ 138055 w 203020"/>
                <a:gd name="connsiteY14" fmla="*/ 50102 h 208059"/>
                <a:gd name="connsiteX15" fmla="*/ 160869 w 203020"/>
                <a:gd name="connsiteY15" fmla="*/ 76682 h 208059"/>
                <a:gd name="connsiteX16" fmla="*/ 203021 w 203020"/>
                <a:gd name="connsiteY16" fmla="*/ 76682 h 208059"/>
                <a:gd name="connsiteX17" fmla="*/ 166671 w 203020"/>
                <a:gd name="connsiteY17" fmla="*/ 21591 h 208059"/>
                <a:gd name="connsiteX18" fmla="*/ 103635 w 203020"/>
                <a:gd name="connsiteY18" fmla="*/ 15 h 208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3020" h="208059">
                  <a:moveTo>
                    <a:pt x="103635" y="15"/>
                  </a:moveTo>
                  <a:cubicBezTo>
                    <a:pt x="74635" y="-374"/>
                    <a:pt x="50658" y="9648"/>
                    <a:pt x="30547" y="30448"/>
                  </a:cubicBezTo>
                  <a:cubicBezTo>
                    <a:pt x="10052" y="50872"/>
                    <a:pt x="0" y="75142"/>
                    <a:pt x="0" y="104034"/>
                  </a:cubicBezTo>
                  <a:cubicBezTo>
                    <a:pt x="0" y="132544"/>
                    <a:pt x="10052" y="157590"/>
                    <a:pt x="30547" y="178008"/>
                  </a:cubicBezTo>
                  <a:cubicBezTo>
                    <a:pt x="50658" y="198038"/>
                    <a:pt x="74635" y="208059"/>
                    <a:pt x="103635" y="208059"/>
                  </a:cubicBezTo>
                  <a:cubicBezTo>
                    <a:pt x="126839" y="208059"/>
                    <a:pt x="148107" y="201119"/>
                    <a:pt x="166671" y="186864"/>
                  </a:cubicBezTo>
                  <a:cubicBezTo>
                    <a:pt x="184847" y="172227"/>
                    <a:pt x="196835" y="154120"/>
                    <a:pt x="203021" y="131774"/>
                  </a:cubicBezTo>
                  <a:lnTo>
                    <a:pt x="160869" y="131774"/>
                  </a:lnTo>
                  <a:cubicBezTo>
                    <a:pt x="155457" y="142559"/>
                    <a:pt x="147724" y="151421"/>
                    <a:pt x="138055" y="158361"/>
                  </a:cubicBezTo>
                  <a:cubicBezTo>
                    <a:pt x="127229" y="164905"/>
                    <a:pt x="116014" y="168375"/>
                    <a:pt x="103635" y="168375"/>
                  </a:cubicBezTo>
                  <a:cubicBezTo>
                    <a:pt x="85850" y="168375"/>
                    <a:pt x="70769" y="161824"/>
                    <a:pt x="58390" y="149498"/>
                  </a:cubicBezTo>
                  <a:cubicBezTo>
                    <a:pt x="45628" y="136784"/>
                    <a:pt x="39442" y="121758"/>
                    <a:pt x="39832" y="104034"/>
                  </a:cubicBezTo>
                  <a:cubicBezTo>
                    <a:pt x="39442" y="86316"/>
                    <a:pt x="45628" y="71290"/>
                    <a:pt x="58390" y="58576"/>
                  </a:cubicBezTo>
                  <a:cubicBezTo>
                    <a:pt x="70769" y="46243"/>
                    <a:pt x="85850" y="39698"/>
                    <a:pt x="103635" y="39698"/>
                  </a:cubicBezTo>
                  <a:cubicBezTo>
                    <a:pt x="116014" y="39698"/>
                    <a:pt x="127229" y="43162"/>
                    <a:pt x="138055" y="50102"/>
                  </a:cubicBezTo>
                  <a:cubicBezTo>
                    <a:pt x="147724" y="56646"/>
                    <a:pt x="155457" y="65891"/>
                    <a:pt x="160869" y="76682"/>
                  </a:cubicBezTo>
                  <a:lnTo>
                    <a:pt x="203021" y="76682"/>
                  </a:lnTo>
                  <a:cubicBezTo>
                    <a:pt x="196835" y="54335"/>
                    <a:pt x="184847" y="35846"/>
                    <a:pt x="166671" y="21591"/>
                  </a:cubicBezTo>
                  <a:cubicBezTo>
                    <a:pt x="148107" y="6948"/>
                    <a:pt x="126839" y="-374"/>
                    <a:pt x="103635" y="15"/>
                  </a:cubicBez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19" name="Forma libre 1118">
              <a:extLst>
                <a:ext uri="{FF2B5EF4-FFF2-40B4-BE49-F238E27FC236}">
                  <a16:creationId xmlns:a16="http://schemas.microsoft.com/office/drawing/2014/main" id="{0378288E-541C-2481-17F2-A5DF1479E9F9}"/>
                </a:ext>
              </a:extLst>
            </p:cNvPr>
            <p:cNvSpPr/>
            <p:nvPr/>
          </p:nvSpPr>
          <p:spPr>
            <a:xfrm>
              <a:off x="4370058" y="2514125"/>
              <a:ext cx="40216" cy="208814"/>
            </a:xfrm>
            <a:custGeom>
              <a:avLst/>
              <a:gdLst>
                <a:gd name="connsiteX0" fmla="*/ 0 w 40216"/>
                <a:gd name="connsiteY0" fmla="*/ 208815 h 208814"/>
                <a:gd name="connsiteX1" fmla="*/ 40216 w 40216"/>
                <a:gd name="connsiteY1" fmla="*/ 208815 h 208814"/>
                <a:gd name="connsiteX2" fmla="*/ 40216 w 40216"/>
                <a:gd name="connsiteY2" fmla="*/ 0 h 208814"/>
                <a:gd name="connsiteX3" fmla="*/ 0 w 40216"/>
                <a:gd name="connsiteY3" fmla="*/ 0 h 208814"/>
                <a:gd name="connsiteX4" fmla="*/ 0 w 40216"/>
                <a:gd name="connsiteY4" fmla="*/ 208815 h 208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216" h="208814">
                  <a:moveTo>
                    <a:pt x="0" y="208815"/>
                  </a:moveTo>
                  <a:lnTo>
                    <a:pt x="40216" y="208815"/>
                  </a:lnTo>
                  <a:lnTo>
                    <a:pt x="40216" y="0"/>
                  </a:lnTo>
                  <a:lnTo>
                    <a:pt x="0" y="0"/>
                  </a:lnTo>
                  <a:lnTo>
                    <a:pt x="0" y="208815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20" name="Forma libre 1119">
              <a:extLst>
                <a:ext uri="{FF2B5EF4-FFF2-40B4-BE49-F238E27FC236}">
                  <a16:creationId xmlns:a16="http://schemas.microsoft.com/office/drawing/2014/main" id="{960D425B-125C-36FF-7BA3-32006A487345}"/>
                </a:ext>
              </a:extLst>
            </p:cNvPr>
            <p:cNvSpPr/>
            <p:nvPr/>
          </p:nvSpPr>
          <p:spPr>
            <a:xfrm>
              <a:off x="4599402" y="2555741"/>
              <a:ext cx="93200" cy="167208"/>
            </a:xfrm>
            <a:custGeom>
              <a:avLst/>
              <a:gdLst>
                <a:gd name="connsiteX0" fmla="*/ 66903 w 93200"/>
                <a:gd name="connsiteY0" fmla="*/ 5011 h 167208"/>
                <a:gd name="connsiteX1" fmla="*/ 38286 w 93200"/>
                <a:gd name="connsiteY1" fmla="*/ 27740 h 167208"/>
                <a:gd name="connsiteX2" fmla="*/ 38286 w 93200"/>
                <a:gd name="connsiteY2" fmla="*/ 7322 h 167208"/>
                <a:gd name="connsiteX3" fmla="*/ 0 w 93200"/>
                <a:gd name="connsiteY3" fmla="*/ 6933 h 167208"/>
                <a:gd name="connsiteX4" fmla="*/ 0 w 93200"/>
                <a:gd name="connsiteY4" fmla="*/ 167209 h 167208"/>
                <a:gd name="connsiteX5" fmla="*/ 39833 w 93200"/>
                <a:gd name="connsiteY5" fmla="*/ 167209 h 167208"/>
                <a:gd name="connsiteX6" fmla="*/ 39833 w 93200"/>
                <a:gd name="connsiteY6" fmla="*/ 90541 h 167208"/>
                <a:gd name="connsiteX7" fmla="*/ 44862 w 93200"/>
                <a:gd name="connsiteY7" fmla="*/ 62414 h 167208"/>
                <a:gd name="connsiteX8" fmla="*/ 58787 w 93200"/>
                <a:gd name="connsiteY8" fmla="*/ 47006 h 167208"/>
                <a:gd name="connsiteX9" fmla="*/ 80828 w 93200"/>
                <a:gd name="connsiteY9" fmla="*/ 40066 h 167208"/>
                <a:gd name="connsiteX10" fmla="*/ 93200 w 93200"/>
                <a:gd name="connsiteY10" fmla="*/ 40837 h 167208"/>
                <a:gd name="connsiteX11" fmla="*/ 92816 w 93200"/>
                <a:gd name="connsiteY11" fmla="*/ 0 h 167208"/>
                <a:gd name="connsiteX12" fmla="*/ 82375 w 93200"/>
                <a:gd name="connsiteY12" fmla="*/ 771 h 167208"/>
                <a:gd name="connsiteX13" fmla="*/ 66903 w 93200"/>
                <a:gd name="connsiteY13" fmla="*/ 5011 h 167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3200" h="167208">
                  <a:moveTo>
                    <a:pt x="66903" y="5011"/>
                  </a:moveTo>
                  <a:cubicBezTo>
                    <a:pt x="56077" y="9251"/>
                    <a:pt x="46408" y="16567"/>
                    <a:pt x="38286" y="27740"/>
                  </a:cubicBezTo>
                  <a:lnTo>
                    <a:pt x="38286" y="7322"/>
                  </a:lnTo>
                  <a:lnTo>
                    <a:pt x="0" y="6933"/>
                  </a:lnTo>
                  <a:lnTo>
                    <a:pt x="0" y="167209"/>
                  </a:lnTo>
                  <a:lnTo>
                    <a:pt x="39833" y="167209"/>
                  </a:lnTo>
                  <a:lnTo>
                    <a:pt x="39833" y="90541"/>
                  </a:lnTo>
                  <a:cubicBezTo>
                    <a:pt x="39833" y="77438"/>
                    <a:pt x="41379" y="68194"/>
                    <a:pt x="44862" y="62414"/>
                  </a:cubicBezTo>
                  <a:cubicBezTo>
                    <a:pt x="47571" y="56250"/>
                    <a:pt x="52594" y="51240"/>
                    <a:pt x="58787" y="47006"/>
                  </a:cubicBezTo>
                  <a:cubicBezTo>
                    <a:pt x="65746" y="42383"/>
                    <a:pt x="73089" y="40066"/>
                    <a:pt x="80828" y="40066"/>
                  </a:cubicBezTo>
                  <a:lnTo>
                    <a:pt x="93200" y="40837"/>
                  </a:lnTo>
                  <a:lnTo>
                    <a:pt x="92816" y="0"/>
                  </a:lnTo>
                  <a:lnTo>
                    <a:pt x="82375" y="771"/>
                  </a:lnTo>
                  <a:lnTo>
                    <a:pt x="66903" y="5011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21" name="Forma libre 1120">
              <a:extLst>
                <a:ext uri="{FF2B5EF4-FFF2-40B4-BE49-F238E27FC236}">
                  <a16:creationId xmlns:a16="http://schemas.microsoft.com/office/drawing/2014/main" id="{9A281D91-D321-6666-C888-61D094BE925B}"/>
                </a:ext>
              </a:extLst>
            </p:cNvPr>
            <p:cNvSpPr/>
            <p:nvPr/>
          </p:nvSpPr>
          <p:spPr>
            <a:xfrm>
              <a:off x="4844960" y="2439404"/>
              <a:ext cx="122589" cy="122131"/>
            </a:xfrm>
            <a:custGeom>
              <a:avLst/>
              <a:gdLst>
                <a:gd name="connsiteX0" fmla="*/ 25524 w 122589"/>
                <a:gd name="connsiteY0" fmla="*/ 122132 h 122131"/>
                <a:gd name="connsiteX1" fmla="*/ 122589 w 122589"/>
                <a:gd name="connsiteY1" fmla="*/ 25429 h 122131"/>
                <a:gd name="connsiteX2" fmla="*/ 97066 w 122589"/>
                <a:gd name="connsiteY2" fmla="*/ 0 h 122131"/>
                <a:gd name="connsiteX3" fmla="*/ 0 w 122589"/>
                <a:gd name="connsiteY3" fmla="*/ 96704 h 122131"/>
                <a:gd name="connsiteX4" fmla="*/ 25524 w 122589"/>
                <a:gd name="connsiteY4" fmla="*/ 122132 h 122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589" h="122131">
                  <a:moveTo>
                    <a:pt x="25524" y="122132"/>
                  </a:moveTo>
                  <a:lnTo>
                    <a:pt x="122589" y="25429"/>
                  </a:lnTo>
                  <a:lnTo>
                    <a:pt x="97066" y="0"/>
                  </a:lnTo>
                  <a:lnTo>
                    <a:pt x="0" y="96704"/>
                  </a:lnTo>
                  <a:lnTo>
                    <a:pt x="25524" y="122132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22" name="Forma libre 1121">
              <a:extLst>
                <a:ext uri="{FF2B5EF4-FFF2-40B4-BE49-F238E27FC236}">
                  <a16:creationId xmlns:a16="http://schemas.microsoft.com/office/drawing/2014/main" id="{4DE6B0CA-2D66-2600-5741-4C97C2485070}"/>
                </a:ext>
              </a:extLst>
            </p:cNvPr>
            <p:cNvSpPr/>
            <p:nvPr/>
          </p:nvSpPr>
          <p:spPr>
            <a:xfrm>
              <a:off x="4766443" y="2419350"/>
              <a:ext cx="35965" cy="103636"/>
            </a:xfrm>
            <a:custGeom>
              <a:avLst/>
              <a:gdLst>
                <a:gd name="connsiteX0" fmla="*/ 0 w 35965"/>
                <a:gd name="connsiteY0" fmla="*/ 103637 h 103636"/>
                <a:gd name="connsiteX1" fmla="*/ 35966 w 35965"/>
                <a:gd name="connsiteY1" fmla="*/ 103637 h 103636"/>
                <a:gd name="connsiteX2" fmla="*/ 35966 w 35965"/>
                <a:gd name="connsiteY2" fmla="*/ 0 h 103636"/>
                <a:gd name="connsiteX3" fmla="*/ 0 w 35965"/>
                <a:gd name="connsiteY3" fmla="*/ 0 h 103636"/>
                <a:gd name="connsiteX4" fmla="*/ 0 w 35965"/>
                <a:gd name="connsiteY4" fmla="*/ 103637 h 103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965" h="103636">
                  <a:moveTo>
                    <a:pt x="0" y="103637"/>
                  </a:moveTo>
                  <a:lnTo>
                    <a:pt x="35966" y="103637"/>
                  </a:lnTo>
                  <a:lnTo>
                    <a:pt x="35966" y="0"/>
                  </a:lnTo>
                  <a:lnTo>
                    <a:pt x="0" y="0"/>
                  </a:lnTo>
                  <a:lnTo>
                    <a:pt x="0" y="103637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23" name="Forma libre 1122">
              <a:extLst>
                <a:ext uri="{FF2B5EF4-FFF2-40B4-BE49-F238E27FC236}">
                  <a16:creationId xmlns:a16="http://schemas.microsoft.com/office/drawing/2014/main" id="{DB51BDEA-92F9-55F4-61D0-80A756B874C8}"/>
                </a:ext>
              </a:extLst>
            </p:cNvPr>
            <p:cNvSpPr/>
            <p:nvPr/>
          </p:nvSpPr>
          <p:spPr>
            <a:xfrm>
              <a:off x="4888262" y="2601571"/>
              <a:ext cx="106344" cy="35831"/>
            </a:xfrm>
            <a:custGeom>
              <a:avLst/>
              <a:gdLst>
                <a:gd name="connsiteX0" fmla="*/ 0 w 106344"/>
                <a:gd name="connsiteY0" fmla="*/ 35831 h 35831"/>
                <a:gd name="connsiteX1" fmla="*/ 106345 w 106344"/>
                <a:gd name="connsiteY1" fmla="*/ 35831 h 35831"/>
                <a:gd name="connsiteX2" fmla="*/ 106345 w 106344"/>
                <a:gd name="connsiteY2" fmla="*/ 0 h 35831"/>
                <a:gd name="connsiteX3" fmla="*/ 0 w 106344"/>
                <a:gd name="connsiteY3" fmla="*/ 0 h 35831"/>
                <a:gd name="connsiteX4" fmla="*/ 0 w 106344"/>
                <a:gd name="connsiteY4" fmla="*/ 35831 h 35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344" h="35831">
                  <a:moveTo>
                    <a:pt x="0" y="35831"/>
                  </a:moveTo>
                  <a:lnTo>
                    <a:pt x="106345" y="35831"/>
                  </a:lnTo>
                  <a:lnTo>
                    <a:pt x="106345" y="0"/>
                  </a:lnTo>
                  <a:lnTo>
                    <a:pt x="0" y="0"/>
                  </a:lnTo>
                  <a:lnTo>
                    <a:pt x="0" y="35831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24" name="Forma libre 1123">
              <a:extLst>
                <a:ext uri="{FF2B5EF4-FFF2-40B4-BE49-F238E27FC236}">
                  <a16:creationId xmlns:a16="http://schemas.microsoft.com/office/drawing/2014/main" id="{CB4ED8DC-0FF4-A182-8300-06D163F4780D}"/>
                </a:ext>
              </a:extLst>
            </p:cNvPr>
            <p:cNvSpPr/>
            <p:nvPr/>
          </p:nvSpPr>
          <p:spPr>
            <a:xfrm>
              <a:off x="4433858" y="2554913"/>
              <a:ext cx="138466" cy="168007"/>
            </a:xfrm>
            <a:custGeom>
              <a:avLst/>
              <a:gdLst>
                <a:gd name="connsiteX0" fmla="*/ 71564 w 138466"/>
                <a:gd name="connsiteY0" fmla="*/ 28 h 168007"/>
                <a:gd name="connsiteX1" fmla="*/ 14720 w 138466"/>
                <a:gd name="connsiteY1" fmla="*/ 21217 h 168007"/>
                <a:gd name="connsiteX2" fmla="*/ 3115 w 138466"/>
                <a:gd name="connsiteY2" fmla="*/ 56278 h 168007"/>
                <a:gd name="connsiteX3" fmla="*/ 43331 w 138466"/>
                <a:gd name="connsiteY3" fmla="*/ 56278 h 168007"/>
                <a:gd name="connsiteX4" fmla="*/ 49133 w 138466"/>
                <a:gd name="connsiteY4" fmla="*/ 41635 h 168007"/>
                <a:gd name="connsiteX5" fmla="*/ 70401 w 138466"/>
                <a:gd name="connsiteY5" fmla="*/ 33931 h 168007"/>
                <a:gd name="connsiteX6" fmla="*/ 90129 w 138466"/>
                <a:gd name="connsiteY6" fmla="*/ 37783 h 168007"/>
                <a:gd name="connsiteX7" fmla="*/ 97088 w 138466"/>
                <a:gd name="connsiteY7" fmla="*/ 51268 h 168007"/>
                <a:gd name="connsiteX8" fmla="*/ 87808 w 138466"/>
                <a:gd name="connsiteY8" fmla="*/ 63600 h 168007"/>
                <a:gd name="connsiteX9" fmla="*/ 56866 w 138466"/>
                <a:gd name="connsiteY9" fmla="*/ 68605 h 168007"/>
                <a:gd name="connsiteX10" fmla="*/ 22063 w 138466"/>
                <a:gd name="connsiteY10" fmla="*/ 79008 h 168007"/>
                <a:gd name="connsiteX11" fmla="*/ 22 w 138466"/>
                <a:gd name="connsiteY11" fmla="*/ 122543 h 168007"/>
                <a:gd name="connsiteX12" fmla="*/ 13557 w 138466"/>
                <a:gd name="connsiteY12" fmla="*/ 156834 h 168007"/>
                <a:gd name="connsiteX13" fmla="*/ 46430 w 138466"/>
                <a:gd name="connsiteY13" fmla="*/ 168008 h 168007"/>
                <a:gd name="connsiteX14" fmla="*/ 98244 w 138466"/>
                <a:gd name="connsiteY14" fmla="*/ 151442 h 168007"/>
                <a:gd name="connsiteX15" fmla="*/ 98244 w 138466"/>
                <a:gd name="connsiteY15" fmla="*/ 168008 h 168007"/>
                <a:gd name="connsiteX16" fmla="*/ 138466 w 138466"/>
                <a:gd name="connsiteY16" fmla="*/ 168008 h 168007"/>
                <a:gd name="connsiteX17" fmla="*/ 138466 w 138466"/>
                <a:gd name="connsiteY17" fmla="*/ 50116 h 168007"/>
                <a:gd name="connsiteX18" fmla="*/ 118356 w 138466"/>
                <a:gd name="connsiteY18" fmla="*/ 10432 h 168007"/>
                <a:gd name="connsiteX19" fmla="*/ 71564 w 138466"/>
                <a:gd name="connsiteY19" fmla="*/ 28 h 168007"/>
                <a:gd name="connsiteX20" fmla="*/ 88577 w 138466"/>
                <a:gd name="connsiteY20" fmla="*/ 90573 h 168007"/>
                <a:gd name="connsiteX21" fmla="*/ 96309 w 138466"/>
                <a:gd name="connsiteY21" fmla="*/ 86339 h 168007"/>
                <a:gd name="connsiteX22" fmla="*/ 96309 w 138466"/>
                <a:gd name="connsiteY22" fmla="*/ 102517 h 168007"/>
                <a:gd name="connsiteX23" fmla="*/ 85094 w 138466"/>
                <a:gd name="connsiteY23" fmla="*/ 131415 h 168007"/>
                <a:gd name="connsiteX24" fmla="*/ 59954 w 138466"/>
                <a:gd name="connsiteY24" fmla="*/ 139507 h 168007"/>
                <a:gd name="connsiteX25" fmla="*/ 45652 w 138466"/>
                <a:gd name="connsiteY25" fmla="*/ 134885 h 168007"/>
                <a:gd name="connsiteX26" fmla="*/ 39849 w 138466"/>
                <a:gd name="connsiteY26" fmla="*/ 119089 h 168007"/>
                <a:gd name="connsiteX27" fmla="*/ 49518 w 138466"/>
                <a:gd name="connsiteY27" fmla="*/ 100976 h 168007"/>
                <a:gd name="connsiteX28" fmla="*/ 68466 w 138466"/>
                <a:gd name="connsiteY28" fmla="*/ 95583 h 168007"/>
                <a:gd name="connsiteX29" fmla="*/ 88577 w 138466"/>
                <a:gd name="connsiteY29" fmla="*/ 90573 h 168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38466" h="168007">
                  <a:moveTo>
                    <a:pt x="71564" y="28"/>
                  </a:moveTo>
                  <a:cubicBezTo>
                    <a:pt x="44494" y="-354"/>
                    <a:pt x="25546" y="6962"/>
                    <a:pt x="14720" y="21217"/>
                  </a:cubicBezTo>
                  <a:cubicBezTo>
                    <a:pt x="7755" y="30079"/>
                    <a:pt x="4278" y="41635"/>
                    <a:pt x="3115" y="56278"/>
                  </a:cubicBezTo>
                  <a:lnTo>
                    <a:pt x="43331" y="56278"/>
                  </a:lnTo>
                  <a:cubicBezTo>
                    <a:pt x="44104" y="49345"/>
                    <a:pt x="46430" y="44723"/>
                    <a:pt x="49133" y="41635"/>
                  </a:cubicBezTo>
                  <a:cubicBezTo>
                    <a:pt x="53390" y="36242"/>
                    <a:pt x="60349" y="33549"/>
                    <a:pt x="70401" y="33931"/>
                  </a:cubicBezTo>
                  <a:cubicBezTo>
                    <a:pt x="78913" y="33549"/>
                    <a:pt x="85489" y="35090"/>
                    <a:pt x="90129" y="37783"/>
                  </a:cubicBezTo>
                  <a:cubicBezTo>
                    <a:pt x="94768" y="40094"/>
                    <a:pt x="96698" y="44723"/>
                    <a:pt x="97088" y="51268"/>
                  </a:cubicBezTo>
                  <a:cubicBezTo>
                    <a:pt x="97088" y="56660"/>
                    <a:pt x="93994" y="60901"/>
                    <a:pt x="87808" y="63600"/>
                  </a:cubicBezTo>
                  <a:lnTo>
                    <a:pt x="56866" y="68605"/>
                  </a:lnTo>
                  <a:cubicBezTo>
                    <a:pt x="42558" y="70533"/>
                    <a:pt x="30959" y="73997"/>
                    <a:pt x="22063" y="79008"/>
                  </a:cubicBezTo>
                  <a:cubicBezTo>
                    <a:pt x="6981" y="87870"/>
                    <a:pt x="-362" y="102125"/>
                    <a:pt x="22" y="122543"/>
                  </a:cubicBezTo>
                  <a:cubicBezTo>
                    <a:pt x="-362" y="136798"/>
                    <a:pt x="4278" y="148359"/>
                    <a:pt x="13557" y="156834"/>
                  </a:cubicBezTo>
                  <a:cubicBezTo>
                    <a:pt x="21679" y="163767"/>
                    <a:pt x="32895" y="167619"/>
                    <a:pt x="46430" y="168008"/>
                  </a:cubicBezTo>
                  <a:cubicBezTo>
                    <a:pt x="68471" y="167619"/>
                    <a:pt x="85872" y="162227"/>
                    <a:pt x="98244" y="151442"/>
                  </a:cubicBezTo>
                  <a:lnTo>
                    <a:pt x="98244" y="168008"/>
                  </a:lnTo>
                  <a:lnTo>
                    <a:pt x="138466" y="168008"/>
                  </a:lnTo>
                  <a:lnTo>
                    <a:pt x="138466" y="50116"/>
                  </a:lnTo>
                  <a:cubicBezTo>
                    <a:pt x="138466" y="30849"/>
                    <a:pt x="131501" y="17365"/>
                    <a:pt x="118356" y="10432"/>
                  </a:cubicBezTo>
                  <a:cubicBezTo>
                    <a:pt x="104437" y="3110"/>
                    <a:pt x="88966" y="-354"/>
                    <a:pt x="71564" y="28"/>
                  </a:cubicBezTo>
                  <a:close/>
                  <a:moveTo>
                    <a:pt x="88577" y="90573"/>
                  </a:moveTo>
                  <a:lnTo>
                    <a:pt x="96309" y="86339"/>
                  </a:lnTo>
                  <a:lnTo>
                    <a:pt x="96309" y="102517"/>
                  </a:lnTo>
                  <a:cubicBezTo>
                    <a:pt x="96309" y="116390"/>
                    <a:pt x="92443" y="126022"/>
                    <a:pt x="85094" y="131415"/>
                  </a:cubicBezTo>
                  <a:cubicBezTo>
                    <a:pt x="77356" y="136807"/>
                    <a:pt x="69239" y="139507"/>
                    <a:pt x="59954" y="139507"/>
                  </a:cubicBezTo>
                  <a:cubicBezTo>
                    <a:pt x="54157" y="139507"/>
                    <a:pt x="49518" y="137967"/>
                    <a:pt x="45652" y="134885"/>
                  </a:cubicBezTo>
                  <a:cubicBezTo>
                    <a:pt x="41779" y="131415"/>
                    <a:pt x="39849" y="126404"/>
                    <a:pt x="39849" y="119089"/>
                  </a:cubicBezTo>
                  <a:cubicBezTo>
                    <a:pt x="39849" y="110998"/>
                    <a:pt x="42942" y="105216"/>
                    <a:pt x="49518" y="100976"/>
                  </a:cubicBezTo>
                  <a:cubicBezTo>
                    <a:pt x="53384" y="98665"/>
                    <a:pt x="59954" y="96742"/>
                    <a:pt x="68466" y="95583"/>
                  </a:cubicBezTo>
                  <a:lnTo>
                    <a:pt x="88577" y="90573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grpSp>
        <p:nvGrpSpPr>
          <p:cNvPr id="1125" name="Grupo 1124">
            <a:extLst>
              <a:ext uri="{FF2B5EF4-FFF2-40B4-BE49-F238E27FC236}">
                <a16:creationId xmlns:a16="http://schemas.microsoft.com/office/drawing/2014/main" id="{DBA396D0-BC21-6BE7-1D21-445FF673276A}"/>
              </a:ext>
            </a:extLst>
          </p:cNvPr>
          <p:cNvGrpSpPr/>
          <p:nvPr/>
        </p:nvGrpSpPr>
        <p:grpSpPr>
          <a:xfrm>
            <a:off x="3494261" y="3316918"/>
            <a:ext cx="474688" cy="93839"/>
            <a:chOff x="2449147" y="2050732"/>
            <a:chExt cx="4244889" cy="839152"/>
          </a:xfrm>
        </p:grpSpPr>
        <p:sp>
          <p:nvSpPr>
            <p:cNvPr id="1126" name="Forma libre 1125">
              <a:extLst>
                <a:ext uri="{FF2B5EF4-FFF2-40B4-BE49-F238E27FC236}">
                  <a16:creationId xmlns:a16="http://schemas.microsoft.com/office/drawing/2014/main" id="{ABC46058-85EA-5C18-AB64-EB2D682ACFE6}"/>
                </a:ext>
              </a:extLst>
            </p:cNvPr>
            <p:cNvSpPr/>
            <p:nvPr/>
          </p:nvSpPr>
          <p:spPr>
            <a:xfrm>
              <a:off x="2449147" y="2138362"/>
              <a:ext cx="340798" cy="736282"/>
            </a:xfrm>
            <a:custGeom>
              <a:avLst/>
              <a:gdLst>
                <a:gd name="connsiteX0" fmla="*/ 219901 w 340798"/>
                <a:gd name="connsiteY0" fmla="*/ 0 h 736282"/>
                <a:gd name="connsiteX1" fmla="*/ 99003 w 340798"/>
                <a:gd name="connsiteY1" fmla="*/ 0 h 736282"/>
                <a:gd name="connsiteX2" fmla="*/ 91387 w 340798"/>
                <a:gd name="connsiteY2" fmla="*/ 133350 h 736282"/>
                <a:gd name="connsiteX3" fmla="*/ 0 w 340798"/>
                <a:gd name="connsiteY3" fmla="*/ 133350 h 736282"/>
                <a:gd name="connsiteX4" fmla="*/ 0 w 340798"/>
                <a:gd name="connsiteY4" fmla="*/ 240030 h 736282"/>
                <a:gd name="connsiteX5" fmla="*/ 90435 w 340798"/>
                <a:gd name="connsiteY5" fmla="*/ 240030 h 736282"/>
                <a:gd name="connsiteX6" fmla="*/ 91387 w 340798"/>
                <a:gd name="connsiteY6" fmla="*/ 601980 h 736282"/>
                <a:gd name="connsiteX7" fmla="*/ 197054 w 340798"/>
                <a:gd name="connsiteY7" fmla="*/ 736283 h 736282"/>
                <a:gd name="connsiteX8" fmla="*/ 340799 w 340798"/>
                <a:gd name="connsiteY8" fmla="*/ 736283 h 736282"/>
                <a:gd name="connsiteX9" fmla="*/ 340799 w 340798"/>
                <a:gd name="connsiteY9" fmla="*/ 618173 h 736282"/>
                <a:gd name="connsiteX10" fmla="*/ 238940 w 340798"/>
                <a:gd name="connsiteY10" fmla="*/ 618173 h 736282"/>
                <a:gd name="connsiteX11" fmla="*/ 220853 w 340798"/>
                <a:gd name="connsiteY11" fmla="*/ 594360 h 736282"/>
                <a:gd name="connsiteX12" fmla="*/ 220853 w 340798"/>
                <a:gd name="connsiteY12" fmla="*/ 239077 h 736282"/>
                <a:gd name="connsiteX13" fmla="*/ 340799 w 340798"/>
                <a:gd name="connsiteY13" fmla="*/ 239077 h 736282"/>
                <a:gd name="connsiteX14" fmla="*/ 340799 w 340798"/>
                <a:gd name="connsiteY14" fmla="*/ 132398 h 736282"/>
                <a:gd name="connsiteX15" fmla="*/ 219901 w 340798"/>
                <a:gd name="connsiteY15" fmla="*/ 132398 h 736282"/>
                <a:gd name="connsiteX16" fmla="*/ 219901 w 340798"/>
                <a:gd name="connsiteY16" fmla="*/ 0 h 73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0798" h="736282">
                  <a:moveTo>
                    <a:pt x="219901" y="0"/>
                  </a:moveTo>
                  <a:lnTo>
                    <a:pt x="99003" y="0"/>
                  </a:lnTo>
                  <a:lnTo>
                    <a:pt x="91387" y="133350"/>
                  </a:lnTo>
                  <a:lnTo>
                    <a:pt x="0" y="133350"/>
                  </a:lnTo>
                  <a:lnTo>
                    <a:pt x="0" y="240030"/>
                  </a:lnTo>
                  <a:lnTo>
                    <a:pt x="90435" y="240030"/>
                  </a:lnTo>
                  <a:lnTo>
                    <a:pt x="91387" y="601980"/>
                  </a:lnTo>
                  <a:cubicBezTo>
                    <a:pt x="91387" y="691515"/>
                    <a:pt x="126610" y="736283"/>
                    <a:pt x="197054" y="736283"/>
                  </a:cubicBezTo>
                  <a:lnTo>
                    <a:pt x="340799" y="736283"/>
                  </a:lnTo>
                  <a:lnTo>
                    <a:pt x="340799" y="618173"/>
                  </a:lnTo>
                  <a:lnTo>
                    <a:pt x="238940" y="618173"/>
                  </a:lnTo>
                  <a:cubicBezTo>
                    <a:pt x="224661" y="618173"/>
                    <a:pt x="220853" y="615315"/>
                    <a:pt x="220853" y="594360"/>
                  </a:cubicBezTo>
                  <a:lnTo>
                    <a:pt x="220853" y="239077"/>
                  </a:lnTo>
                  <a:lnTo>
                    <a:pt x="340799" y="239077"/>
                  </a:lnTo>
                  <a:lnTo>
                    <a:pt x="340799" y="132398"/>
                  </a:lnTo>
                  <a:lnTo>
                    <a:pt x="219901" y="132398"/>
                  </a:lnTo>
                  <a:lnTo>
                    <a:pt x="219901" y="0"/>
                  </a:ln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27" name="Forma libre 1126">
              <a:extLst>
                <a:ext uri="{FF2B5EF4-FFF2-40B4-BE49-F238E27FC236}">
                  <a16:creationId xmlns:a16="http://schemas.microsoft.com/office/drawing/2014/main" id="{86C6C32E-A393-8545-4675-9C45A3D5C57C}"/>
                </a:ext>
              </a:extLst>
            </p:cNvPr>
            <p:cNvSpPr/>
            <p:nvPr/>
          </p:nvSpPr>
          <p:spPr>
            <a:xfrm>
              <a:off x="2838496" y="2254567"/>
              <a:ext cx="572122" cy="634365"/>
            </a:xfrm>
            <a:custGeom>
              <a:avLst/>
              <a:gdLst>
                <a:gd name="connsiteX0" fmla="*/ 297961 w 572122"/>
                <a:gd name="connsiteY0" fmla="*/ 0 h 634365"/>
                <a:gd name="connsiteX1" fmla="*/ 86628 w 572122"/>
                <a:gd name="connsiteY1" fmla="*/ 90488 h 634365"/>
                <a:gd name="connsiteX2" fmla="*/ 0 w 572122"/>
                <a:gd name="connsiteY2" fmla="*/ 318135 h 634365"/>
                <a:gd name="connsiteX3" fmla="*/ 82820 w 572122"/>
                <a:gd name="connsiteY3" fmla="*/ 544830 h 634365"/>
                <a:gd name="connsiteX4" fmla="*/ 309384 w 572122"/>
                <a:gd name="connsiteY4" fmla="*/ 634365 h 634365"/>
                <a:gd name="connsiteX5" fmla="*/ 449321 w 572122"/>
                <a:gd name="connsiteY5" fmla="*/ 603885 h 634365"/>
                <a:gd name="connsiteX6" fmla="*/ 561651 w 572122"/>
                <a:gd name="connsiteY6" fmla="*/ 515303 h 634365"/>
                <a:gd name="connsiteX7" fmla="*/ 564507 w 572122"/>
                <a:gd name="connsiteY7" fmla="*/ 511493 h 634365"/>
                <a:gd name="connsiteX8" fmla="*/ 489303 w 572122"/>
                <a:gd name="connsiteY8" fmla="*/ 435293 h 634365"/>
                <a:gd name="connsiteX9" fmla="*/ 485495 w 572122"/>
                <a:gd name="connsiteY9" fmla="*/ 440055 h 634365"/>
                <a:gd name="connsiteX10" fmla="*/ 320808 w 572122"/>
                <a:gd name="connsiteY10" fmla="*/ 514350 h 634365"/>
                <a:gd name="connsiteX11" fmla="*/ 136129 w 572122"/>
                <a:gd name="connsiteY11" fmla="*/ 371475 h 634365"/>
                <a:gd name="connsiteX12" fmla="*/ 571171 w 572122"/>
                <a:gd name="connsiteY12" fmla="*/ 371475 h 634365"/>
                <a:gd name="connsiteX13" fmla="*/ 571171 w 572122"/>
                <a:gd name="connsiteY13" fmla="*/ 366713 h 634365"/>
                <a:gd name="connsiteX14" fmla="*/ 572123 w 572122"/>
                <a:gd name="connsiteY14" fmla="*/ 287655 h 634365"/>
                <a:gd name="connsiteX15" fmla="*/ 498823 w 572122"/>
                <a:gd name="connsiteY15" fmla="*/ 85725 h 634365"/>
                <a:gd name="connsiteX16" fmla="*/ 297961 w 572122"/>
                <a:gd name="connsiteY16" fmla="*/ 0 h 634365"/>
                <a:gd name="connsiteX17" fmla="*/ 137081 w 572122"/>
                <a:gd name="connsiteY17" fmla="*/ 268605 h 634365"/>
                <a:gd name="connsiteX18" fmla="*/ 300817 w 572122"/>
                <a:gd name="connsiteY18" fmla="*/ 125730 h 634365"/>
                <a:gd name="connsiteX19" fmla="*/ 445513 w 572122"/>
                <a:gd name="connsiteY19" fmla="*/ 268605 h 634365"/>
                <a:gd name="connsiteX20" fmla="*/ 137081 w 572122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2122" h="634365">
                  <a:moveTo>
                    <a:pt x="297961" y="0"/>
                  </a:moveTo>
                  <a:cubicBezTo>
                    <a:pt x="217045" y="0"/>
                    <a:pt x="141841" y="32385"/>
                    <a:pt x="86628" y="90488"/>
                  </a:cubicBezTo>
                  <a:cubicBezTo>
                    <a:pt x="30462" y="149543"/>
                    <a:pt x="0" y="230505"/>
                    <a:pt x="0" y="318135"/>
                  </a:cubicBezTo>
                  <a:cubicBezTo>
                    <a:pt x="0" y="405765"/>
                    <a:pt x="28559" y="487680"/>
                    <a:pt x="82820" y="544830"/>
                  </a:cubicBezTo>
                  <a:cubicBezTo>
                    <a:pt x="138985" y="603885"/>
                    <a:pt x="217045" y="634365"/>
                    <a:pt x="309384" y="634365"/>
                  </a:cubicBezTo>
                  <a:cubicBezTo>
                    <a:pt x="357934" y="634365"/>
                    <a:pt x="406483" y="623888"/>
                    <a:pt x="449321" y="603885"/>
                  </a:cubicBezTo>
                  <a:cubicBezTo>
                    <a:pt x="494063" y="582930"/>
                    <a:pt x="532141" y="553403"/>
                    <a:pt x="561651" y="515303"/>
                  </a:cubicBezTo>
                  <a:lnTo>
                    <a:pt x="564507" y="511493"/>
                  </a:lnTo>
                  <a:lnTo>
                    <a:pt x="489303" y="435293"/>
                  </a:lnTo>
                  <a:lnTo>
                    <a:pt x="485495" y="440055"/>
                  </a:lnTo>
                  <a:cubicBezTo>
                    <a:pt x="444561" y="487680"/>
                    <a:pt x="384588" y="514350"/>
                    <a:pt x="320808" y="514350"/>
                  </a:cubicBezTo>
                  <a:cubicBezTo>
                    <a:pt x="211333" y="514350"/>
                    <a:pt x="150408" y="467678"/>
                    <a:pt x="136129" y="371475"/>
                  </a:cubicBezTo>
                  <a:lnTo>
                    <a:pt x="571171" y="371475"/>
                  </a:lnTo>
                  <a:lnTo>
                    <a:pt x="571171" y="366713"/>
                  </a:lnTo>
                  <a:cubicBezTo>
                    <a:pt x="572123" y="324803"/>
                    <a:pt x="572123" y="309563"/>
                    <a:pt x="572123" y="287655"/>
                  </a:cubicBezTo>
                  <a:cubicBezTo>
                    <a:pt x="572123" y="210503"/>
                    <a:pt x="546420" y="139065"/>
                    <a:pt x="498823" y="85725"/>
                  </a:cubicBezTo>
                  <a:cubicBezTo>
                    <a:pt x="450273" y="29528"/>
                    <a:pt x="380781" y="0"/>
                    <a:pt x="297961" y="0"/>
                  </a:cubicBezTo>
                  <a:close/>
                  <a:moveTo>
                    <a:pt x="137081" y="268605"/>
                  </a:moveTo>
                  <a:cubicBezTo>
                    <a:pt x="150408" y="172403"/>
                    <a:pt x="203718" y="125730"/>
                    <a:pt x="300817" y="125730"/>
                  </a:cubicBezTo>
                  <a:cubicBezTo>
                    <a:pt x="383636" y="125730"/>
                    <a:pt x="441706" y="182880"/>
                    <a:pt x="445513" y="268605"/>
                  </a:cubicBezTo>
                  <a:lnTo>
                    <a:pt x="137081" y="268605"/>
                  </a:ln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28" name="Forma libre 1127">
              <a:extLst>
                <a:ext uri="{FF2B5EF4-FFF2-40B4-BE49-F238E27FC236}">
                  <a16:creationId xmlns:a16="http://schemas.microsoft.com/office/drawing/2014/main" id="{7CE1E51D-2C2C-1F69-5084-7F93474898FA}"/>
                </a:ext>
              </a:extLst>
            </p:cNvPr>
            <p:cNvSpPr/>
            <p:nvPr/>
          </p:nvSpPr>
          <p:spPr>
            <a:xfrm>
              <a:off x="3786639" y="2254567"/>
              <a:ext cx="572122" cy="634365"/>
            </a:xfrm>
            <a:custGeom>
              <a:avLst/>
              <a:gdLst>
                <a:gd name="connsiteX0" fmla="*/ 297961 w 572122"/>
                <a:gd name="connsiteY0" fmla="*/ 0 h 634365"/>
                <a:gd name="connsiteX1" fmla="*/ 86628 w 572122"/>
                <a:gd name="connsiteY1" fmla="*/ 90488 h 634365"/>
                <a:gd name="connsiteX2" fmla="*/ 0 w 572122"/>
                <a:gd name="connsiteY2" fmla="*/ 318135 h 634365"/>
                <a:gd name="connsiteX3" fmla="*/ 82820 w 572122"/>
                <a:gd name="connsiteY3" fmla="*/ 544830 h 634365"/>
                <a:gd name="connsiteX4" fmla="*/ 309384 w 572122"/>
                <a:gd name="connsiteY4" fmla="*/ 634365 h 634365"/>
                <a:gd name="connsiteX5" fmla="*/ 449321 w 572122"/>
                <a:gd name="connsiteY5" fmla="*/ 603885 h 634365"/>
                <a:gd name="connsiteX6" fmla="*/ 561651 w 572122"/>
                <a:gd name="connsiteY6" fmla="*/ 515303 h 634365"/>
                <a:gd name="connsiteX7" fmla="*/ 564507 w 572122"/>
                <a:gd name="connsiteY7" fmla="*/ 511493 h 634365"/>
                <a:gd name="connsiteX8" fmla="*/ 489303 w 572122"/>
                <a:gd name="connsiteY8" fmla="*/ 435293 h 634365"/>
                <a:gd name="connsiteX9" fmla="*/ 485495 w 572122"/>
                <a:gd name="connsiteY9" fmla="*/ 440055 h 634365"/>
                <a:gd name="connsiteX10" fmla="*/ 320808 w 572122"/>
                <a:gd name="connsiteY10" fmla="*/ 514350 h 634365"/>
                <a:gd name="connsiteX11" fmla="*/ 136129 w 572122"/>
                <a:gd name="connsiteY11" fmla="*/ 371475 h 634365"/>
                <a:gd name="connsiteX12" fmla="*/ 571171 w 572122"/>
                <a:gd name="connsiteY12" fmla="*/ 371475 h 634365"/>
                <a:gd name="connsiteX13" fmla="*/ 571171 w 572122"/>
                <a:gd name="connsiteY13" fmla="*/ 366713 h 634365"/>
                <a:gd name="connsiteX14" fmla="*/ 572123 w 572122"/>
                <a:gd name="connsiteY14" fmla="*/ 287655 h 634365"/>
                <a:gd name="connsiteX15" fmla="*/ 498823 w 572122"/>
                <a:gd name="connsiteY15" fmla="*/ 85725 h 634365"/>
                <a:gd name="connsiteX16" fmla="*/ 297961 w 572122"/>
                <a:gd name="connsiteY16" fmla="*/ 0 h 634365"/>
                <a:gd name="connsiteX17" fmla="*/ 136129 w 572122"/>
                <a:gd name="connsiteY17" fmla="*/ 268605 h 634365"/>
                <a:gd name="connsiteX18" fmla="*/ 299865 w 572122"/>
                <a:gd name="connsiteY18" fmla="*/ 125730 h 634365"/>
                <a:gd name="connsiteX19" fmla="*/ 444561 w 572122"/>
                <a:gd name="connsiteY19" fmla="*/ 268605 h 634365"/>
                <a:gd name="connsiteX20" fmla="*/ 136129 w 572122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2122" h="634365">
                  <a:moveTo>
                    <a:pt x="297961" y="0"/>
                  </a:moveTo>
                  <a:cubicBezTo>
                    <a:pt x="217045" y="0"/>
                    <a:pt x="141841" y="32385"/>
                    <a:pt x="86628" y="90488"/>
                  </a:cubicBezTo>
                  <a:cubicBezTo>
                    <a:pt x="30462" y="149543"/>
                    <a:pt x="0" y="230505"/>
                    <a:pt x="0" y="318135"/>
                  </a:cubicBezTo>
                  <a:cubicBezTo>
                    <a:pt x="0" y="405765"/>
                    <a:pt x="28559" y="487680"/>
                    <a:pt x="82820" y="544830"/>
                  </a:cubicBezTo>
                  <a:cubicBezTo>
                    <a:pt x="138985" y="603885"/>
                    <a:pt x="217045" y="634365"/>
                    <a:pt x="309384" y="634365"/>
                  </a:cubicBezTo>
                  <a:cubicBezTo>
                    <a:pt x="357934" y="634365"/>
                    <a:pt x="406483" y="623888"/>
                    <a:pt x="449321" y="603885"/>
                  </a:cubicBezTo>
                  <a:cubicBezTo>
                    <a:pt x="494063" y="582930"/>
                    <a:pt x="532141" y="553403"/>
                    <a:pt x="561651" y="515303"/>
                  </a:cubicBezTo>
                  <a:lnTo>
                    <a:pt x="564507" y="511493"/>
                  </a:lnTo>
                  <a:lnTo>
                    <a:pt x="489303" y="435293"/>
                  </a:lnTo>
                  <a:lnTo>
                    <a:pt x="485495" y="440055"/>
                  </a:lnTo>
                  <a:cubicBezTo>
                    <a:pt x="444561" y="487680"/>
                    <a:pt x="384588" y="514350"/>
                    <a:pt x="320808" y="514350"/>
                  </a:cubicBezTo>
                  <a:cubicBezTo>
                    <a:pt x="211333" y="514350"/>
                    <a:pt x="150408" y="467678"/>
                    <a:pt x="136129" y="371475"/>
                  </a:cubicBezTo>
                  <a:lnTo>
                    <a:pt x="571171" y="371475"/>
                  </a:lnTo>
                  <a:lnTo>
                    <a:pt x="571171" y="366713"/>
                  </a:lnTo>
                  <a:cubicBezTo>
                    <a:pt x="572123" y="324803"/>
                    <a:pt x="572123" y="309563"/>
                    <a:pt x="572123" y="287655"/>
                  </a:cubicBezTo>
                  <a:cubicBezTo>
                    <a:pt x="572123" y="210503"/>
                    <a:pt x="546420" y="139065"/>
                    <a:pt x="498823" y="85725"/>
                  </a:cubicBezTo>
                  <a:cubicBezTo>
                    <a:pt x="450273" y="29528"/>
                    <a:pt x="379829" y="0"/>
                    <a:pt x="297961" y="0"/>
                  </a:cubicBezTo>
                  <a:close/>
                  <a:moveTo>
                    <a:pt x="136129" y="268605"/>
                  </a:moveTo>
                  <a:cubicBezTo>
                    <a:pt x="149456" y="172403"/>
                    <a:pt x="202766" y="125730"/>
                    <a:pt x="299865" y="125730"/>
                  </a:cubicBezTo>
                  <a:cubicBezTo>
                    <a:pt x="382685" y="125730"/>
                    <a:pt x="440754" y="182880"/>
                    <a:pt x="444561" y="268605"/>
                  </a:cubicBezTo>
                  <a:lnTo>
                    <a:pt x="136129" y="268605"/>
                  </a:ln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29" name="Forma libre 1128">
              <a:extLst>
                <a:ext uri="{FF2B5EF4-FFF2-40B4-BE49-F238E27FC236}">
                  <a16:creationId xmlns:a16="http://schemas.microsoft.com/office/drawing/2014/main" id="{D55F564C-002E-DBAA-5F86-6D017BD6095A}"/>
                </a:ext>
              </a:extLst>
            </p:cNvPr>
            <p:cNvSpPr/>
            <p:nvPr/>
          </p:nvSpPr>
          <p:spPr>
            <a:xfrm>
              <a:off x="3508670" y="2050732"/>
              <a:ext cx="232276" cy="823912"/>
            </a:xfrm>
            <a:custGeom>
              <a:avLst/>
              <a:gdLst>
                <a:gd name="connsiteX0" fmla="*/ 134225 w 232276"/>
                <a:gd name="connsiteY0" fmla="*/ 701040 h 823912"/>
                <a:gd name="connsiteX1" fmla="*/ 130417 w 232276"/>
                <a:gd name="connsiteY1" fmla="*/ 681038 h 823912"/>
                <a:gd name="connsiteX2" fmla="*/ 130417 w 232276"/>
                <a:gd name="connsiteY2" fmla="*/ 0 h 823912"/>
                <a:gd name="connsiteX3" fmla="*/ 0 w 232276"/>
                <a:gd name="connsiteY3" fmla="*/ 0 h 823912"/>
                <a:gd name="connsiteX4" fmla="*/ 0 w 232276"/>
                <a:gd name="connsiteY4" fmla="*/ 688658 h 823912"/>
                <a:gd name="connsiteX5" fmla="*/ 26655 w 232276"/>
                <a:gd name="connsiteY5" fmla="*/ 789623 h 823912"/>
                <a:gd name="connsiteX6" fmla="*/ 106619 w 232276"/>
                <a:gd name="connsiteY6" fmla="*/ 823913 h 823912"/>
                <a:gd name="connsiteX7" fmla="*/ 232276 w 232276"/>
                <a:gd name="connsiteY7" fmla="*/ 823913 h 823912"/>
                <a:gd name="connsiteX8" fmla="*/ 232276 w 232276"/>
                <a:gd name="connsiteY8" fmla="*/ 705803 h 823912"/>
                <a:gd name="connsiteX9" fmla="*/ 147553 w 232276"/>
                <a:gd name="connsiteY9" fmla="*/ 705803 h 823912"/>
                <a:gd name="connsiteX10" fmla="*/ 134225 w 232276"/>
                <a:gd name="connsiteY10" fmla="*/ 701040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2276" h="823912">
                  <a:moveTo>
                    <a:pt x="134225" y="701040"/>
                  </a:moveTo>
                  <a:cubicBezTo>
                    <a:pt x="132321" y="698183"/>
                    <a:pt x="130417" y="691515"/>
                    <a:pt x="130417" y="681038"/>
                  </a:cubicBezTo>
                  <a:lnTo>
                    <a:pt x="130417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0" y="766763"/>
                    <a:pt x="26655" y="789623"/>
                  </a:cubicBezTo>
                  <a:cubicBezTo>
                    <a:pt x="44742" y="812483"/>
                    <a:pt x="71396" y="823913"/>
                    <a:pt x="106619" y="823913"/>
                  </a:cubicBezTo>
                  <a:lnTo>
                    <a:pt x="232276" y="823913"/>
                  </a:lnTo>
                  <a:lnTo>
                    <a:pt x="232276" y="705803"/>
                  </a:lnTo>
                  <a:lnTo>
                    <a:pt x="147553" y="705803"/>
                  </a:lnTo>
                  <a:cubicBezTo>
                    <a:pt x="138033" y="705803"/>
                    <a:pt x="135177" y="702945"/>
                    <a:pt x="134225" y="701040"/>
                  </a:cubicBez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30" name="Forma libre 1129">
              <a:extLst>
                <a:ext uri="{FF2B5EF4-FFF2-40B4-BE49-F238E27FC236}">
                  <a16:creationId xmlns:a16="http://schemas.microsoft.com/office/drawing/2014/main" id="{EC8EABA5-47DE-6241-9F3C-2F36A727A63E}"/>
                </a:ext>
              </a:extLst>
            </p:cNvPr>
            <p:cNvSpPr/>
            <p:nvPr/>
          </p:nvSpPr>
          <p:spPr>
            <a:xfrm>
              <a:off x="5786690" y="2254567"/>
              <a:ext cx="907346" cy="619125"/>
            </a:xfrm>
            <a:custGeom>
              <a:avLst/>
              <a:gdLst>
                <a:gd name="connsiteX0" fmla="*/ 856757 w 907346"/>
                <a:gd name="connsiteY0" fmla="*/ 64770 h 619125"/>
                <a:gd name="connsiteX1" fmla="*/ 706348 w 907346"/>
                <a:gd name="connsiteY1" fmla="*/ 0 h 619125"/>
                <a:gd name="connsiteX2" fmla="*/ 579739 w 907346"/>
                <a:gd name="connsiteY2" fmla="*/ 41910 h 619125"/>
                <a:gd name="connsiteX3" fmla="*/ 506438 w 907346"/>
                <a:gd name="connsiteY3" fmla="*/ 144780 h 619125"/>
                <a:gd name="connsiteX4" fmla="*/ 500727 w 907346"/>
                <a:gd name="connsiteY4" fmla="*/ 144780 h 619125"/>
                <a:gd name="connsiteX5" fmla="*/ 317952 w 907346"/>
                <a:gd name="connsiteY5" fmla="*/ 0 h 619125"/>
                <a:gd name="connsiteX6" fmla="*/ 124706 w 907346"/>
                <a:gd name="connsiteY6" fmla="*/ 130493 h 619125"/>
                <a:gd name="connsiteX7" fmla="*/ 119946 w 907346"/>
                <a:gd name="connsiteY7" fmla="*/ 130493 h 619125"/>
                <a:gd name="connsiteX8" fmla="*/ 111378 w 907346"/>
                <a:gd name="connsiteY8" fmla="*/ 16193 h 619125"/>
                <a:gd name="connsiteX9" fmla="*/ 0 w 907346"/>
                <a:gd name="connsiteY9" fmla="*/ 16193 h 619125"/>
                <a:gd name="connsiteX10" fmla="*/ 0 w 907346"/>
                <a:gd name="connsiteY10" fmla="*/ 619125 h 619125"/>
                <a:gd name="connsiteX11" fmla="*/ 130417 w 907346"/>
                <a:gd name="connsiteY11" fmla="*/ 619125 h 619125"/>
                <a:gd name="connsiteX12" fmla="*/ 130417 w 907346"/>
                <a:gd name="connsiteY12" fmla="*/ 282893 h 619125"/>
                <a:gd name="connsiteX13" fmla="*/ 161832 w 907346"/>
                <a:gd name="connsiteY13" fmla="*/ 174308 h 619125"/>
                <a:gd name="connsiteX14" fmla="*/ 277018 w 907346"/>
                <a:gd name="connsiteY14" fmla="*/ 111443 h 619125"/>
                <a:gd name="connsiteX15" fmla="*/ 388396 w 907346"/>
                <a:gd name="connsiteY15" fmla="*/ 257175 h 619125"/>
                <a:gd name="connsiteX16" fmla="*/ 388396 w 907346"/>
                <a:gd name="connsiteY16" fmla="*/ 619125 h 619125"/>
                <a:gd name="connsiteX17" fmla="*/ 518814 w 907346"/>
                <a:gd name="connsiteY17" fmla="*/ 619125 h 619125"/>
                <a:gd name="connsiteX18" fmla="*/ 518814 w 907346"/>
                <a:gd name="connsiteY18" fmla="*/ 282893 h 619125"/>
                <a:gd name="connsiteX19" fmla="*/ 552132 w 907346"/>
                <a:gd name="connsiteY19" fmla="*/ 172403 h 619125"/>
                <a:gd name="connsiteX20" fmla="*/ 666366 w 907346"/>
                <a:gd name="connsiteY20" fmla="*/ 111443 h 619125"/>
                <a:gd name="connsiteX21" fmla="*/ 747282 w 907346"/>
                <a:gd name="connsiteY21" fmla="*/ 145733 h 619125"/>
                <a:gd name="connsiteX22" fmla="*/ 776793 w 907346"/>
                <a:gd name="connsiteY22" fmla="*/ 257175 h 619125"/>
                <a:gd name="connsiteX23" fmla="*/ 776793 w 907346"/>
                <a:gd name="connsiteY23" fmla="*/ 619125 h 619125"/>
                <a:gd name="connsiteX24" fmla="*/ 907210 w 907346"/>
                <a:gd name="connsiteY24" fmla="*/ 619125 h 619125"/>
                <a:gd name="connsiteX25" fmla="*/ 907210 w 907346"/>
                <a:gd name="connsiteY25" fmla="*/ 240983 h 619125"/>
                <a:gd name="connsiteX26" fmla="*/ 856757 w 907346"/>
                <a:gd name="connsiteY26" fmla="*/ 64770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07346" h="619125">
                  <a:moveTo>
                    <a:pt x="856757" y="64770"/>
                  </a:moveTo>
                  <a:cubicBezTo>
                    <a:pt x="821534" y="21908"/>
                    <a:pt x="770129" y="0"/>
                    <a:pt x="706348" y="0"/>
                  </a:cubicBezTo>
                  <a:cubicBezTo>
                    <a:pt x="656847" y="0"/>
                    <a:pt x="614009" y="14288"/>
                    <a:pt x="579739" y="41910"/>
                  </a:cubicBezTo>
                  <a:cubicBezTo>
                    <a:pt x="550228" y="65723"/>
                    <a:pt x="525477" y="100013"/>
                    <a:pt x="506438" y="144780"/>
                  </a:cubicBezTo>
                  <a:lnTo>
                    <a:pt x="500727" y="144780"/>
                  </a:lnTo>
                  <a:cubicBezTo>
                    <a:pt x="475024" y="51435"/>
                    <a:pt x="410291" y="0"/>
                    <a:pt x="317952" y="0"/>
                  </a:cubicBezTo>
                  <a:cubicBezTo>
                    <a:pt x="225612" y="0"/>
                    <a:pt x="159928" y="46673"/>
                    <a:pt x="124706" y="130493"/>
                  </a:cubicBezTo>
                  <a:lnTo>
                    <a:pt x="119946" y="130493"/>
                  </a:lnTo>
                  <a:lnTo>
                    <a:pt x="111378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0417" y="619125"/>
                  </a:lnTo>
                  <a:lnTo>
                    <a:pt x="130417" y="282893"/>
                  </a:lnTo>
                  <a:cubicBezTo>
                    <a:pt x="130417" y="254318"/>
                    <a:pt x="138985" y="210503"/>
                    <a:pt x="161832" y="174308"/>
                  </a:cubicBezTo>
                  <a:cubicBezTo>
                    <a:pt x="179919" y="145733"/>
                    <a:pt x="215141" y="111443"/>
                    <a:pt x="277018" y="111443"/>
                  </a:cubicBezTo>
                  <a:cubicBezTo>
                    <a:pt x="351270" y="111443"/>
                    <a:pt x="388396" y="160020"/>
                    <a:pt x="388396" y="257175"/>
                  </a:cubicBezTo>
                  <a:lnTo>
                    <a:pt x="388396" y="619125"/>
                  </a:lnTo>
                  <a:lnTo>
                    <a:pt x="518814" y="619125"/>
                  </a:lnTo>
                  <a:lnTo>
                    <a:pt x="518814" y="282893"/>
                  </a:lnTo>
                  <a:cubicBezTo>
                    <a:pt x="518814" y="244793"/>
                    <a:pt x="531189" y="202883"/>
                    <a:pt x="552132" y="172403"/>
                  </a:cubicBezTo>
                  <a:cubicBezTo>
                    <a:pt x="571171" y="144780"/>
                    <a:pt x="606393" y="111443"/>
                    <a:pt x="666366" y="111443"/>
                  </a:cubicBezTo>
                  <a:cubicBezTo>
                    <a:pt x="701588" y="111443"/>
                    <a:pt x="729195" y="122873"/>
                    <a:pt x="747282" y="145733"/>
                  </a:cubicBezTo>
                  <a:cubicBezTo>
                    <a:pt x="767273" y="169545"/>
                    <a:pt x="776793" y="207645"/>
                    <a:pt x="776793" y="257175"/>
                  </a:cubicBezTo>
                  <a:lnTo>
                    <a:pt x="776793" y="619125"/>
                  </a:lnTo>
                  <a:lnTo>
                    <a:pt x="907210" y="619125"/>
                  </a:lnTo>
                  <a:lnTo>
                    <a:pt x="907210" y="240983"/>
                  </a:lnTo>
                  <a:cubicBezTo>
                    <a:pt x="909114" y="166688"/>
                    <a:pt x="891027" y="106680"/>
                    <a:pt x="856757" y="64770"/>
                  </a:cubicBez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31" name="Forma libre 1130">
              <a:extLst>
                <a:ext uri="{FF2B5EF4-FFF2-40B4-BE49-F238E27FC236}">
                  <a16:creationId xmlns:a16="http://schemas.microsoft.com/office/drawing/2014/main" id="{BD0734F0-98EA-B4B9-6AC2-1865F3F412DB}"/>
                </a:ext>
              </a:extLst>
            </p:cNvPr>
            <p:cNvSpPr/>
            <p:nvPr/>
          </p:nvSpPr>
          <p:spPr>
            <a:xfrm>
              <a:off x="4437774" y="2254567"/>
              <a:ext cx="566411" cy="635317"/>
            </a:xfrm>
            <a:custGeom>
              <a:avLst/>
              <a:gdLst>
                <a:gd name="connsiteX0" fmla="*/ 293201 w 566411"/>
                <a:gd name="connsiteY0" fmla="*/ 129540 h 635317"/>
                <a:gd name="connsiteX1" fmla="*/ 297009 w 566411"/>
                <a:gd name="connsiteY1" fmla="*/ 129540 h 635317"/>
                <a:gd name="connsiteX2" fmla="*/ 458841 w 566411"/>
                <a:gd name="connsiteY2" fmla="*/ 234315 h 635317"/>
                <a:gd name="connsiteX3" fmla="*/ 566411 w 566411"/>
                <a:gd name="connsiteY3" fmla="*/ 186690 h 635317"/>
                <a:gd name="connsiteX4" fmla="*/ 288442 w 566411"/>
                <a:gd name="connsiteY4" fmla="*/ 0 h 635317"/>
                <a:gd name="connsiteX5" fmla="*/ 82820 w 566411"/>
                <a:gd name="connsiteY5" fmla="*/ 91440 h 635317"/>
                <a:gd name="connsiteX6" fmla="*/ 0 w 566411"/>
                <a:gd name="connsiteY6" fmla="*/ 320993 h 635317"/>
                <a:gd name="connsiteX7" fmla="*/ 290345 w 566411"/>
                <a:gd name="connsiteY7" fmla="*/ 635318 h 635317"/>
                <a:gd name="connsiteX8" fmla="*/ 446465 w 566411"/>
                <a:gd name="connsiteY8" fmla="*/ 597218 h 635317"/>
                <a:gd name="connsiteX9" fmla="*/ 561651 w 566411"/>
                <a:gd name="connsiteY9" fmla="*/ 481013 h 635317"/>
                <a:gd name="connsiteX10" fmla="*/ 563556 w 566411"/>
                <a:gd name="connsiteY10" fmla="*/ 477203 h 635317"/>
                <a:gd name="connsiteX11" fmla="*/ 473120 w 566411"/>
                <a:gd name="connsiteY11" fmla="*/ 417195 h 635317"/>
                <a:gd name="connsiteX12" fmla="*/ 470264 w 566411"/>
                <a:gd name="connsiteY12" fmla="*/ 421958 h 635317"/>
                <a:gd name="connsiteX13" fmla="*/ 301769 w 566411"/>
                <a:gd name="connsiteY13" fmla="*/ 515303 h 635317"/>
                <a:gd name="connsiteX14" fmla="*/ 179919 w 566411"/>
                <a:gd name="connsiteY14" fmla="*/ 461010 h 635317"/>
                <a:gd name="connsiteX15" fmla="*/ 132321 w 566411"/>
                <a:gd name="connsiteY15" fmla="*/ 320040 h 635317"/>
                <a:gd name="connsiteX16" fmla="*/ 181823 w 566411"/>
                <a:gd name="connsiteY16" fmla="*/ 179070 h 635317"/>
                <a:gd name="connsiteX17" fmla="*/ 293201 w 566411"/>
                <a:gd name="connsiteY17" fmla="*/ 12954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66411" h="635317">
                  <a:moveTo>
                    <a:pt x="293201" y="129540"/>
                  </a:moveTo>
                  <a:lnTo>
                    <a:pt x="297009" y="129540"/>
                  </a:lnTo>
                  <a:cubicBezTo>
                    <a:pt x="317952" y="130493"/>
                    <a:pt x="417907" y="138113"/>
                    <a:pt x="458841" y="234315"/>
                  </a:cubicBezTo>
                  <a:lnTo>
                    <a:pt x="566411" y="186690"/>
                  </a:lnTo>
                  <a:cubicBezTo>
                    <a:pt x="566411" y="186690"/>
                    <a:pt x="515958" y="0"/>
                    <a:pt x="288442" y="0"/>
                  </a:cubicBezTo>
                  <a:cubicBezTo>
                    <a:pt x="208477" y="0"/>
                    <a:pt x="135177" y="32385"/>
                    <a:pt x="82820" y="91440"/>
                  </a:cubicBezTo>
                  <a:cubicBezTo>
                    <a:pt x="29511" y="150495"/>
                    <a:pt x="0" y="231458"/>
                    <a:pt x="0" y="320993"/>
                  </a:cubicBezTo>
                  <a:cubicBezTo>
                    <a:pt x="0" y="502920"/>
                    <a:pt x="121850" y="635318"/>
                    <a:pt x="290345" y="635318"/>
                  </a:cubicBezTo>
                  <a:cubicBezTo>
                    <a:pt x="348414" y="635318"/>
                    <a:pt x="400772" y="622935"/>
                    <a:pt x="446465" y="597218"/>
                  </a:cubicBezTo>
                  <a:cubicBezTo>
                    <a:pt x="494063" y="570548"/>
                    <a:pt x="533093" y="531495"/>
                    <a:pt x="561651" y="481013"/>
                  </a:cubicBezTo>
                  <a:lnTo>
                    <a:pt x="563556" y="477203"/>
                  </a:lnTo>
                  <a:lnTo>
                    <a:pt x="473120" y="417195"/>
                  </a:lnTo>
                  <a:lnTo>
                    <a:pt x="470264" y="421958"/>
                  </a:lnTo>
                  <a:cubicBezTo>
                    <a:pt x="432186" y="481013"/>
                    <a:pt x="370309" y="515303"/>
                    <a:pt x="301769" y="515303"/>
                  </a:cubicBezTo>
                  <a:cubicBezTo>
                    <a:pt x="254171" y="515303"/>
                    <a:pt x="210381" y="496253"/>
                    <a:pt x="179919" y="461010"/>
                  </a:cubicBezTo>
                  <a:cubicBezTo>
                    <a:pt x="149457" y="425768"/>
                    <a:pt x="132321" y="375285"/>
                    <a:pt x="132321" y="320040"/>
                  </a:cubicBezTo>
                  <a:cubicBezTo>
                    <a:pt x="132321" y="261938"/>
                    <a:pt x="149457" y="213360"/>
                    <a:pt x="181823" y="179070"/>
                  </a:cubicBezTo>
                  <a:cubicBezTo>
                    <a:pt x="212285" y="146685"/>
                    <a:pt x="251315" y="129540"/>
                    <a:pt x="293201" y="129540"/>
                  </a:cubicBez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32" name="Forma libre 1131">
              <a:extLst>
                <a:ext uri="{FF2B5EF4-FFF2-40B4-BE49-F238E27FC236}">
                  <a16:creationId xmlns:a16="http://schemas.microsoft.com/office/drawing/2014/main" id="{4D3BF972-E10A-2147-C885-F01D669D7387}"/>
                </a:ext>
              </a:extLst>
            </p:cNvPr>
            <p:cNvSpPr/>
            <p:nvPr/>
          </p:nvSpPr>
          <p:spPr>
            <a:xfrm>
              <a:off x="5079390" y="2254567"/>
              <a:ext cx="605441" cy="226695"/>
            </a:xfrm>
            <a:custGeom>
              <a:avLst/>
              <a:gdLst>
                <a:gd name="connsiteX0" fmla="*/ 302721 w 605441"/>
                <a:gd name="connsiteY0" fmla="*/ 125730 h 226695"/>
                <a:gd name="connsiteX1" fmla="*/ 471216 w 605441"/>
                <a:gd name="connsiteY1" fmla="*/ 226695 h 226695"/>
                <a:gd name="connsiteX2" fmla="*/ 605441 w 605441"/>
                <a:gd name="connsiteY2" fmla="*/ 226695 h 226695"/>
                <a:gd name="connsiteX3" fmla="*/ 302721 w 605441"/>
                <a:gd name="connsiteY3" fmla="*/ 0 h 226695"/>
                <a:gd name="connsiteX4" fmla="*/ 0 w 605441"/>
                <a:gd name="connsiteY4" fmla="*/ 226695 h 226695"/>
                <a:gd name="connsiteX5" fmla="*/ 135177 w 605441"/>
                <a:gd name="connsiteY5" fmla="*/ 226695 h 226695"/>
                <a:gd name="connsiteX6" fmla="*/ 302721 w 605441"/>
                <a:gd name="connsiteY6" fmla="*/ 125730 h 226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5441" h="226695">
                  <a:moveTo>
                    <a:pt x="302721" y="125730"/>
                  </a:moveTo>
                  <a:cubicBezTo>
                    <a:pt x="375069" y="125730"/>
                    <a:pt x="438850" y="166688"/>
                    <a:pt x="471216" y="226695"/>
                  </a:cubicBezTo>
                  <a:lnTo>
                    <a:pt x="605441" y="226695"/>
                  </a:lnTo>
                  <a:cubicBezTo>
                    <a:pt x="566411" y="95250"/>
                    <a:pt x="445514" y="0"/>
                    <a:pt x="302721" y="0"/>
                  </a:cubicBezTo>
                  <a:cubicBezTo>
                    <a:pt x="159928" y="0"/>
                    <a:pt x="39030" y="96203"/>
                    <a:pt x="0" y="226695"/>
                  </a:cubicBezTo>
                  <a:lnTo>
                    <a:pt x="135177" y="226695"/>
                  </a:lnTo>
                  <a:cubicBezTo>
                    <a:pt x="166592" y="166688"/>
                    <a:pt x="230372" y="125730"/>
                    <a:pt x="302721" y="125730"/>
                  </a:cubicBez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33" name="Forma libre 1132">
              <a:extLst>
                <a:ext uri="{FF2B5EF4-FFF2-40B4-BE49-F238E27FC236}">
                  <a16:creationId xmlns:a16="http://schemas.microsoft.com/office/drawing/2014/main" id="{232ED17D-8A59-89F5-86EB-9DE407A94143}"/>
                </a:ext>
              </a:extLst>
            </p:cNvPr>
            <p:cNvSpPr/>
            <p:nvPr/>
          </p:nvSpPr>
          <p:spPr>
            <a:xfrm>
              <a:off x="5066062" y="2543175"/>
              <a:ext cx="632095" cy="345757"/>
            </a:xfrm>
            <a:custGeom>
              <a:avLst/>
              <a:gdLst>
                <a:gd name="connsiteX0" fmla="*/ 505486 w 632095"/>
                <a:gd name="connsiteY0" fmla="*/ 0 h 345757"/>
                <a:gd name="connsiteX1" fmla="*/ 507390 w 632095"/>
                <a:gd name="connsiteY1" fmla="*/ 28575 h 345757"/>
                <a:gd name="connsiteX2" fmla="*/ 316048 w 632095"/>
                <a:gd name="connsiteY2" fmla="*/ 220027 h 345757"/>
                <a:gd name="connsiteX3" fmla="*/ 124706 w 632095"/>
                <a:gd name="connsiteY3" fmla="*/ 28575 h 345757"/>
                <a:gd name="connsiteX4" fmla="*/ 126610 w 632095"/>
                <a:gd name="connsiteY4" fmla="*/ 0 h 345757"/>
                <a:gd name="connsiteX5" fmla="*/ 952 w 632095"/>
                <a:gd name="connsiteY5" fmla="*/ 0 h 345757"/>
                <a:gd name="connsiteX6" fmla="*/ 0 w 632095"/>
                <a:gd name="connsiteY6" fmla="*/ 28575 h 345757"/>
                <a:gd name="connsiteX7" fmla="*/ 316048 w 632095"/>
                <a:gd name="connsiteY7" fmla="*/ 345758 h 345757"/>
                <a:gd name="connsiteX8" fmla="*/ 632096 w 632095"/>
                <a:gd name="connsiteY8" fmla="*/ 28575 h 345757"/>
                <a:gd name="connsiteX9" fmla="*/ 631144 w 632095"/>
                <a:gd name="connsiteY9" fmla="*/ 0 h 345757"/>
                <a:gd name="connsiteX10" fmla="*/ 505486 w 632095"/>
                <a:gd name="connsiteY10" fmla="*/ 0 h 345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2095" h="345757">
                  <a:moveTo>
                    <a:pt x="505486" y="0"/>
                  </a:moveTo>
                  <a:cubicBezTo>
                    <a:pt x="506438" y="9525"/>
                    <a:pt x="507390" y="19050"/>
                    <a:pt x="507390" y="28575"/>
                  </a:cubicBezTo>
                  <a:cubicBezTo>
                    <a:pt x="507390" y="134302"/>
                    <a:pt x="421715" y="220027"/>
                    <a:pt x="316048" y="220027"/>
                  </a:cubicBezTo>
                  <a:cubicBezTo>
                    <a:pt x="210381" y="220027"/>
                    <a:pt x="124706" y="134302"/>
                    <a:pt x="124706" y="28575"/>
                  </a:cubicBezTo>
                  <a:cubicBezTo>
                    <a:pt x="124706" y="19050"/>
                    <a:pt x="125658" y="9525"/>
                    <a:pt x="126610" y="0"/>
                  </a:cubicBezTo>
                  <a:lnTo>
                    <a:pt x="952" y="0"/>
                  </a:lnTo>
                  <a:cubicBezTo>
                    <a:pt x="0" y="9525"/>
                    <a:pt x="0" y="19050"/>
                    <a:pt x="0" y="28575"/>
                  </a:cubicBezTo>
                  <a:cubicBezTo>
                    <a:pt x="0" y="203835"/>
                    <a:pt x="141841" y="345758"/>
                    <a:pt x="316048" y="345758"/>
                  </a:cubicBezTo>
                  <a:cubicBezTo>
                    <a:pt x="490255" y="345758"/>
                    <a:pt x="632096" y="202883"/>
                    <a:pt x="632096" y="28575"/>
                  </a:cubicBezTo>
                  <a:cubicBezTo>
                    <a:pt x="632096" y="19050"/>
                    <a:pt x="632096" y="9525"/>
                    <a:pt x="631144" y="0"/>
                  </a:cubicBezTo>
                  <a:lnTo>
                    <a:pt x="505486" y="0"/>
                  </a:ln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grpSp>
        <p:nvGrpSpPr>
          <p:cNvPr id="1134" name="Gráfico 61">
            <a:extLst>
              <a:ext uri="{FF2B5EF4-FFF2-40B4-BE49-F238E27FC236}">
                <a16:creationId xmlns:a16="http://schemas.microsoft.com/office/drawing/2014/main" id="{47EC0FD2-668B-7FA2-0FF0-5328A3A277BD}"/>
              </a:ext>
            </a:extLst>
          </p:cNvPr>
          <p:cNvGrpSpPr>
            <a:grpSpLocks noChangeAspect="1"/>
          </p:cNvGrpSpPr>
          <p:nvPr/>
        </p:nvGrpSpPr>
        <p:grpSpPr>
          <a:xfrm>
            <a:off x="3480127" y="4128832"/>
            <a:ext cx="576000" cy="137955"/>
            <a:chOff x="0" y="1477046"/>
            <a:chExt cx="7770161" cy="1860995"/>
          </a:xfrm>
          <a:solidFill>
            <a:srgbClr val="0066FF"/>
          </a:solidFill>
        </p:grpSpPr>
        <p:grpSp>
          <p:nvGrpSpPr>
            <p:cNvPr id="1135" name="Gráfico 61">
              <a:extLst>
                <a:ext uri="{FF2B5EF4-FFF2-40B4-BE49-F238E27FC236}">
                  <a16:creationId xmlns:a16="http://schemas.microsoft.com/office/drawing/2014/main" id="{72BB5662-6CE6-E20E-769A-C8DC9A5F3CB0}"/>
                </a:ext>
              </a:extLst>
            </p:cNvPr>
            <p:cNvGrpSpPr/>
            <p:nvPr/>
          </p:nvGrpSpPr>
          <p:grpSpPr>
            <a:xfrm>
              <a:off x="0" y="1477046"/>
              <a:ext cx="1864779" cy="1860995"/>
              <a:chOff x="0" y="1477046"/>
              <a:chExt cx="1864779" cy="1860995"/>
            </a:xfrm>
            <a:solidFill>
              <a:srgbClr val="0066FF"/>
            </a:solidFill>
          </p:grpSpPr>
          <p:sp>
            <p:nvSpPr>
              <p:cNvPr id="1147" name="Forma libre 1146">
                <a:extLst>
                  <a:ext uri="{FF2B5EF4-FFF2-40B4-BE49-F238E27FC236}">
                    <a16:creationId xmlns:a16="http://schemas.microsoft.com/office/drawing/2014/main" id="{B168F883-C0B8-E941-6B08-21DE1BEBA701}"/>
                  </a:ext>
                </a:extLst>
              </p:cNvPr>
              <p:cNvSpPr/>
              <p:nvPr/>
            </p:nvSpPr>
            <p:spPr>
              <a:xfrm>
                <a:off x="0" y="1477046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48" name="Forma libre 1147">
                <a:extLst>
                  <a:ext uri="{FF2B5EF4-FFF2-40B4-BE49-F238E27FC236}">
                    <a16:creationId xmlns:a16="http://schemas.microsoft.com/office/drawing/2014/main" id="{923BF5FC-312C-5912-9935-9432A924239E}"/>
                  </a:ext>
                </a:extLst>
              </p:cNvPr>
              <p:cNvSpPr/>
              <p:nvPr/>
            </p:nvSpPr>
            <p:spPr>
              <a:xfrm>
                <a:off x="654164" y="1477046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49" name="Forma libre 1148">
                <a:extLst>
                  <a:ext uri="{FF2B5EF4-FFF2-40B4-BE49-F238E27FC236}">
                    <a16:creationId xmlns:a16="http://schemas.microsoft.com/office/drawing/2014/main" id="{28255677-756A-D121-96B3-18C2FA7D6FD7}"/>
                  </a:ext>
                </a:extLst>
              </p:cNvPr>
              <p:cNvSpPr/>
              <p:nvPr/>
            </p:nvSpPr>
            <p:spPr>
              <a:xfrm>
                <a:off x="1308329" y="1477046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50" name="Forma libre 1149">
                <a:extLst>
                  <a:ext uri="{FF2B5EF4-FFF2-40B4-BE49-F238E27FC236}">
                    <a16:creationId xmlns:a16="http://schemas.microsoft.com/office/drawing/2014/main" id="{F9193E5F-BB83-A28B-1AB4-0432FF010C52}"/>
                  </a:ext>
                </a:extLst>
              </p:cNvPr>
              <p:cNvSpPr/>
              <p:nvPr/>
            </p:nvSpPr>
            <p:spPr>
              <a:xfrm>
                <a:off x="654164" y="2129883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51" name="Forma libre 1150">
                <a:extLst>
                  <a:ext uri="{FF2B5EF4-FFF2-40B4-BE49-F238E27FC236}">
                    <a16:creationId xmlns:a16="http://schemas.microsoft.com/office/drawing/2014/main" id="{AF219820-7C6F-093D-DDCE-4D231311E6AC}"/>
                  </a:ext>
                </a:extLst>
              </p:cNvPr>
              <p:cNvSpPr/>
              <p:nvPr/>
            </p:nvSpPr>
            <p:spPr>
              <a:xfrm>
                <a:off x="654164" y="2782720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grpSp>
          <p:nvGrpSpPr>
            <p:cNvPr id="1136" name="Gráfico 61">
              <a:extLst>
                <a:ext uri="{FF2B5EF4-FFF2-40B4-BE49-F238E27FC236}">
                  <a16:creationId xmlns:a16="http://schemas.microsoft.com/office/drawing/2014/main" id="{DFDD9935-D121-3C6E-7BAC-54DACEE60229}"/>
                </a:ext>
              </a:extLst>
            </p:cNvPr>
            <p:cNvGrpSpPr/>
            <p:nvPr/>
          </p:nvGrpSpPr>
          <p:grpSpPr>
            <a:xfrm>
              <a:off x="2198947" y="1998124"/>
              <a:ext cx="5571214" cy="914865"/>
              <a:chOff x="2198947" y="1998124"/>
              <a:chExt cx="5571214" cy="914865"/>
            </a:xfrm>
            <a:solidFill>
              <a:srgbClr val="0066FF"/>
            </a:solidFill>
          </p:grpSpPr>
          <p:sp>
            <p:nvSpPr>
              <p:cNvPr id="1137" name="Forma libre 1136">
                <a:extLst>
                  <a:ext uri="{FF2B5EF4-FFF2-40B4-BE49-F238E27FC236}">
                    <a16:creationId xmlns:a16="http://schemas.microsoft.com/office/drawing/2014/main" id="{39CBB380-6073-0134-4B47-F6FC8D8E9324}"/>
                  </a:ext>
                </a:extLst>
              </p:cNvPr>
              <p:cNvSpPr/>
              <p:nvPr/>
            </p:nvSpPr>
            <p:spPr>
              <a:xfrm>
                <a:off x="2198947" y="2036833"/>
                <a:ext cx="678779" cy="862757"/>
              </a:xfrm>
              <a:custGeom>
                <a:avLst/>
                <a:gdLst>
                  <a:gd name="connsiteX0" fmla="*/ 258831 w 678779"/>
                  <a:gd name="connsiteY0" fmla="*/ 154091 h 862757"/>
                  <a:gd name="connsiteX1" fmla="*/ 0 w 678779"/>
                  <a:gd name="connsiteY1" fmla="*/ 154091 h 862757"/>
                  <a:gd name="connsiteX2" fmla="*/ 0 w 678779"/>
                  <a:gd name="connsiteY2" fmla="*/ 0 h 862757"/>
                  <a:gd name="connsiteX3" fmla="*/ 678780 w 678779"/>
                  <a:gd name="connsiteY3" fmla="*/ 0 h 862757"/>
                  <a:gd name="connsiteX4" fmla="*/ 678780 w 678779"/>
                  <a:gd name="connsiteY4" fmla="*/ 154091 h 862757"/>
                  <a:gd name="connsiteX5" fmla="*/ 419202 w 678779"/>
                  <a:gd name="connsiteY5" fmla="*/ 154091 h 862757"/>
                  <a:gd name="connsiteX6" fmla="*/ 419202 w 678779"/>
                  <a:gd name="connsiteY6" fmla="*/ 862758 h 862757"/>
                  <a:gd name="connsiteX7" fmla="*/ 258831 w 678779"/>
                  <a:gd name="connsiteY7" fmla="*/ 862758 h 862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8779" h="862757">
                    <a:moveTo>
                      <a:pt x="258831" y="154091"/>
                    </a:moveTo>
                    <a:lnTo>
                      <a:pt x="0" y="154091"/>
                    </a:lnTo>
                    <a:lnTo>
                      <a:pt x="0" y="0"/>
                    </a:lnTo>
                    <a:lnTo>
                      <a:pt x="678780" y="0"/>
                    </a:lnTo>
                    <a:lnTo>
                      <a:pt x="678780" y="154091"/>
                    </a:lnTo>
                    <a:lnTo>
                      <a:pt x="419202" y="154091"/>
                    </a:lnTo>
                    <a:lnTo>
                      <a:pt x="419202" y="862758"/>
                    </a:lnTo>
                    <a:lnTo>
                      <a:pt x="258831" y="862758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38" name="Forma libre 1137">
                <a:extLst>
                  <a:ext uri="{FF2B5EF4-FFF2-40B4-BE49-F238E27FC236}">
                    <a16:creationId xmlns:a16="http://schemas.microsoft.com/office/drawing/2014/main" id="{666C64B1-0441-4218-1790-821DCD33F993}"/>
                  </a:ext>
                </a:extLst>
              </p:cNvPr>
              <p:cNvSpPr/>
              <p:nvPr/>
            </p:nvSpPr>
            <p:spPr>
              <a:xfrm>
                <a:off x="2809103" y="2258664"/>
                <a:ext cx="629549" cy="653581"/>
              </a:xfrm>
              <a:custGeom>
                <a:avLst/>
                <a:gdLst>
                  <a:gd name="connsiteX0" fmla="*/ 475146 w 629549"/>
                  <a:gd name="connsiteY0" fmla="*/ 271705 h 653581"/>
                  <a:gd name="connsiteX1" fmla="*/ 320742 w 629549"/>
                  <a:gd name="connsiteY1" fmla="*/ 130270 h 653581"/>
                  <a:gd name="connsiteX2" fmla="*/ 153658 w 629549"/>
                  <a:gd name="connsiteY2" fmla="*/ 271705 h 653581"/>
                  <a:gd name="connsiteX3" fmla="*/ 475146 w 629549"/>
                  <a:gd name="connsiteY3" fmla="*/ 271705 h 653581"/>
                  <a:gd name="connsiteX4" fmla="*/ 610902 w 629549"/>
                  <a:gd name="connsiteY4" fmla="*/ 456316 h 653581"/>
                  <a:gd name="connsiteX5" fmla="*/ 320742 w 629549"/>
                  <a:gd name="connsiteY5" fmla="*/ 653582 h 653581"/>
                  <a:gd name="connsiteX6" fmla="*/ 0 w 629549"/>
                  <a:gd name="connsiteY6" fmla="*/ 326791 h 653581"/>
                  <a:gd name="connsiteX7" fmla="*/ 320742 w 629549"/>
                  <a:gd name="connsiteY7" fmla="*/ 0 h 653581"/>
                  <a:gd name="connsiteX8" fmla="*/ 629549 w 629549"/>
                  <a:gd name="connsiteY8" fmla="*/ 314136 h 653581"/>
                  <a:gd name="connsiteX9" fmla="*/ 625820 w 629549"/>
                  <a:gd name="connsiteY9" fmla="*/ 358800 h 653581"/>
                  <a:gd name="connsiteX10" fmla="*/ 623582 w 629549"/>
                  <a:gd name="connsiteY10" fmla="*/ 375921 h 653581"/>
                  <a:gd name="connsiteX11" fmla="*/ 154404 w 629549"/>
                  <a:gd name="connsiteY11" fmla="*/ 375921 h 653581"/>
                  <a:gd name="connsiteX12" fmla="*/ 321488 w 629549"/>
                  <a:gd name="connsiteY12" fmla="*/ 524056 h 653581"/>
                  <a:gd name="connsiteX13" fmla="*/ 451277 w 629549"/>
                  <a:gd name="connsiteY13" fmla="*/ 456316 h 653581"/>
                  <a:gd name="connsiteX14" fmla="*/ 610902 w 629549"/>
                  <a:gd name="connsiteY14" fmla="*/ 456316 h 65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29549" h="653581">
                    <a:moveTo>
                      <a:pt x="475146" y="271705"/>
                    </a:moveTo>
                    <a:cubicBezTo>
                      <a:pt x="461719" y="191310"/>
                      <a:pt x="408760" y="130270"/>
                      <a:pt x="320742" y="130270"/>
                    </a:cubicBezTo>
                    <a:cubicBezTo>
                      <a:pt x="226757" y="130270"/>
                      <a:pt x="172306" y="192055"/>
                      <a:pt x="153658" y="271705"/>
                    </a:cubicBezTo>
                    <a:lnTo>
                      <a:pt x="475146" y="271705"/>
                    </a:lnTo>
                    <a:close/>
                    <a:moveTo>
                      <a:pt x="610902" y="456316"/>
                    </a:moveTo>
                    <a:cubicBezTo>
                      <a:pt x="597475" y="505446"/>
                      <a:pt x="519155" y="653582"/>
                      <a:pt x="320742" y="653582"/>
                    </a:cubicBezTo>
                    <a:cubicBezTo>
                      <a:pt x="135756" y="653582"/>
                      <a:pt x="0" y="518101"/>
                      <a:pt x="0" y="326791"/>
                    </a:cubicBezTo>
                    <a:cubicBezTo>
                      <a:pt x="0" y="135480"/>
                      <a:pt x="135756" y="0"/>
                      <a:pt x="320742" y="0"/>
                    </a:cubicBezTo>
                    <a:cubicBezTo>
                      <a:pt x="493793" y="0"/>
                      <a:pt x="629549" y="135480"/>
                      <a:pt x="629549" y="314136"/>
                    </a:cubicBezTo>
                    <a:cubicBezTo>
                      <a:pt x="629549" y="332746"/>
                      <a:pt x="627312" y="347634"/>
                      <a:pt x="625820" y="358800"/>
                    </a:cubicBezTo>
                    <a:lnTo>
                      <a:pt x="623582" y="375921"/>
                    </a:lnTo>
                    <a:lnTo>
                      <a:pt x="154404" y="375921"/>
                    </a:lnTo>
                    <a:cubicBezTo>
                      <a:pt x="167830" y="463760"/>
                      <a:pt x="233470" y="524056"/>
                      <a:pt x="321488" y="524056"/>
                    </a:cubicBezTo>
                    <a:cubicBezTo>
                      <a:pt x="394587" y="524056"/>
                      <a:pt x="438596" y="482370"/>
                      <a:pt x="451277" y="456316"/>
                    </a:cubicBezTo>
                    <a:lnTo>
                      <a:pt x="610902" y="456316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39" name="Forma libre 1138">
                <a:extLst>
                  <a:ext uri="{FF2B5EF4-FFF2-40B4-BE49-F238E27FC236}">
                    <a16:creationId xmlns:a16="http://schemas.microsoft.com/office/drawing/2014/main" id="{27D0B861-48B1-7CCF-43F8-7440F03B7FD7}"/>
                  </a:ext>
                </a:extLst>
              </p:cNvPr>
              <p:cNvSpPr/>
              <p:nvPr/>
            </p:nvSpPr>
            <p:spPr>
              <a:xfrm>
                <a:off x="3531146" y="2036833"/>
                <a:ext cx="154403" cy="862757"/>
              </a:xfrm>
              <a:custGeom>
                <a:avLst/>
                <a:gdLst>
                  <a:gd name="connsiteX0" fmla="*/ 0 w 154403"/>
                  <a:gd name="connsiteY0" fmla="*/ 0 h 862757"/>
                  <a:gd name="connsiteX1" fmla="*/ 154404 w 154403"/>
                  <a:gd name="connsiteY1" fmla="*/ 0 h 862757"/>
                  <a:gd name="connsiteX2" fmla="*/ 154404 w 154403"/>
                  <a:gd name="connsiteY2" fmla="*/ 862758 h 862757"/>
                  <a:gd name="connsiteX3" fmla="*/ 0 w 154403"/>
                  <a:gd name="connsiteY3" fmla="*/ 862758 h 862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4403" h="862757">
                    <a:moveTo>
                      <a:pt x="0" y="0"/>
                    </a:moveTo>
                    <a:lnTo>
                      <a:pt x="154404" y="0"/>
                    </a:lnTo>
                    <a:lnTo>
                      <a:pt x="154404" y="862758"/>
                    </a:lnTo>
                    <a:lnTo>
                      <a:pt x="0" y="862758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40" name="Forma libre 1139">
                <a:extLst>
                  <a:ext uri="{FF2B5EF4-FFF2-40B4-BE49-F238E27FC236}">
                    <a16:creationId xmlns:a16="http://schemas.microsoft.com/office/drawing/2014/main" id="{1996FF0C-CFB7-EFE4-4218-F76938FEB889}"/>
                  </a:ext>
                </a:extLst>
              </p:cNvPr>
              <p:cNvSpPr/>
              <p:nvPr/>
            </p:nvSpPr>
            <p:spPr>
              <a:xfrm>
                <a:off x="3778788" y="2258664"/>
                <a:ext cx="629549" cy="653581"/>
              </a:xfrm>
              <a:custGeom>
                <a:avLst/>
                <a:gdLst>
                  <a:gd name="connsiteX0" fmla="*/ 474400 w 629549"/>
                  <a:gd name="connsiteY0" fmla="*/ 271705 h 653581"/>
                  <a:gd name="connsiteX1" fmla="*/ 319996 w 629549"/>
                  <a:gd name="connsiteY1" fmla="*/ 130270 h 653581"/>
                  <a:gd name="connsiteX2" fmla="*/ 152912 w 629549"/>
                  <a:gd name="connsiteY2" fmla="*/ 271705 h 653581"/>
                  <a:gd name="connsiteX3" fmla="*/ 474400 w 629549"/>
                  <a:gd name="connsiteY3" fmla="*/ 271705 h 653581"/>
                  <a:gd name="connsiteX4" fmla="*/ 610902 w 629549"/>
                  <a:gd name="connsiteY4" fmla="*/ 456316 h 653581"/>
                  <a:gd name="connsiteX5" fmla="*/ 320742 w 629549"/>
                  <a:gd name="connsiteY5" fmla="*/ 653582 h 653581"/>
                  <a:gd name="connsiteX6" fmla="*/ 0 w 629549"/>
                  <a:gd name="connsiteY6" fmla="*/ 326791 h 653581"/>
                  <a:gd name="connsiteX7" fmla="*/ 320742 w 629549"/>
                  <a:gd name="connsiteY7" fmla="*/ 0 h 653581"/>
                  <a:gd name="connsiteX8" fmla="*/ 629549 w 629549"/>
                  <a:gd name="connsiteY8" fmla="*/ 314136 h 653581"/>
                  <a:gd name="connsiteX9" fmla="*/ 625820 w 629549"/>
                  <a:gd name="connsiteY9" fmla="*/ 358800 h 653581"/>
                  <a:gd name="connsiteX10" fmla="*/ 623582 w 629549"/>
                  <a:gd name="connsiteY10" fmla="*/ 375921 h 653581"/>
                  <a:gd name="connsiteX11" fmla="*/ 154404 w 629549"/>
                  <a:gd name="connsiteY11" fmla="*/ 375921 h 653581"/>
                  <a:gd name="connsiteX12" fmla="*/ 321488 w 629549"/>
                  <a:gd name="connsiteY12" fmla="*/ 524056 h 653581"/>
                  <a:gd name="connsiteX13" fmla="*/ 451276 w 629549"/>
                  <a:gd name="connsiteY13" fmla="*/ 456316 h 653581"/>
                  <a:gd name="connsiteX14" fmla="*/ 610902 w 629549"/>
                  <a:gd name="connsiteY14" fmla="*/ 456316 h 65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29549" h="653581">
                    <a:moveTo>
                      <a:pt x="474400" y="271705"/>
                    </a:moveTo>
                    <a:cubicBezTo>
                      <a:pt x="460974" y="191310"/>
                      <a:pt x="408014" y="130270"/>
                      <a:pt x="319996" y="130270"/>
                    </a:cubicBezTo>
                    <a:cubicBezTo>
                      <a:pt x="226011" y="130270"/>
                      <a:pt x="171559" y="192055"/>
                      <a:pt x="152912" y="271705"/>
                    </a:cubicBezTo>
                    <a:lnTo>
                      <a:pt x="474400" y="271705"/>
                    </a:lnTo>
                    <a:close/>
                    <a:moveTo>
                      <a:pt x="610902" y="456316"/>
                    </a:moveTo>
                    <a:cubicBezTo>
                      <a:pt x="597475" y="505446"/>
                      <a:pt x="519155" y="653582"/>
                      <a:pt x="320742" y="653582"/>
                    </a:cubicBezTo>
                    <a:cubicBezTo>
                      <a:pt x="135756" y="653582"/>
                      <a:pt x="0" y="518101"/>
                      <a:pt x="0" y="326791"/>
                    </a:cubicBezTo>
                    <a:cubicBezTo>
                      <a:pt x="0" y="135480"/>
                      <a:pt x="135756" y="0"/>
                      <a:pt x="320742" y="0"/>
                    </a:cubicBezTo>
                    <a:cubicBezTo>
                      <a:pt x="493793" y="0"/>
                      <a:pt x="629549" y="135480"/>
                      <a:pt x="629549" y="314136"/>
                    </a:cubicBezTo>
                    <a:cubicBezTo>
                      <a:pt x="629549" y="332746"/>
                      <a:pt x="627312" y="347634"/>
                      <a:pt x="625820" y="358800"/>
                    </a:cubicBezTo>
                    <a:lnTo>
                      <a:pt x="623582" y="375921"/>
                    </a:lnTo>
                    <a:lnTo>
                      <a:pt x="154404" y="375921"/>
                    </a:lnTo>
                    <a:cubicBezTo>
                      <a:pt x="167830" y="463760"/>
                      <a:pt x="233471" y="524056"/>
                      <a:pt x="321488" y="524056"/>
                    </a:cubicBezTo>
                    <a:cubicBezTo>
                      <a:pt x="394587" y="524056"/>
                      <a:pt x="438596" y="482370"/>
                      <a:pt x="451276" y="456316"/>
                    </a:cubicBezTo>
                    <a:lnTo>
                      <a:pt x="610902" y="456316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41" name="Forma libre 1140">
                <a:extLst>
                  <a:ext uri="{FF2B5EF4-FFF2-40B4-BE49-F238E27FC236}">
                    <a16:creationId xmlns:a16="http://schemas.microsoft.com/office/drawing/2014/main" id="{EDB4F789-F706-E4FE-12CA-D7872A8B34B6}"/>
                  </a:ext>
                </a:extLst>
              </p:cNvPr>
              <p:cNvSpPr/>
              <p:nvPr/>
            </p:nvSpPr>
            <p:spPr>
              <a:xfrm>
                <a:off x="4444888" y="2024923"/>
                <a:ext cx="395333" cy="875412"/>
              </a:xfrm>
              <a:custGeom>
                <a:avLst/>
                <a:gdLst>
                  <a:gd name="connsiteX0" fmla="*/ 105173 w 395333"/>
                  <a:gd name="connsiteY0" fmla="*/ 394531 h 875412"/>
                  <a:gd name="connsiteX1" fmla="*/ 0 w 395333"/>
                  <a:gd name="connsiteY1" fmla="*/ 394531 h 875412"/>
                  <a:gd name="connsiteX2" fmla="*/ 0 w 395333"/>
                  <a:gd name="connsiteY2" fmla="*/ 246396 h 875412"/>
                  <a:gd name="connsiteX3" fmla="*/ 105173 w 395333"/>
                  <a:gd name="connsiteY3" fmla="*/ 246396 h 875412"/>
                  <a:gd name="connsiteX4" fmla="*/ 105173 w 395333"/>
                  <a:gd name="connsiteY4" fmla="*/ 154091 h 875412"/>
                  <a:gd name="connsiteX5" fmla="*/ 259577 w 395333"/>
                  <a:gd name="connsiteY5" fmla="*/ 0 h 875412"/>
                  <a:gd name="connsiteX6" fmla="*/ 395333 w 395333"/>
                  <a:gd name="connsiteY6" fmla="*/ 0 h 875412"/>
                  <a:gd name="connsiteX7" fmla="*/ 395333 w 395333"/>
                  <a:gd name="connsiteY7" fmla="*/ 135481 h 875412"/>
                  <a:gd name="connsiteX8" fmla="*/ 302840 w 395333"/>
                  <a:gd name="connsiteY8" fmla="*/ 135481 h 875412"/>
                  <a:gd name="connsiteX9" fmla="*/ 259577 w 395333"/>
                  <a:gd name="connsiteY9" fmla="*/ 178656 h 875412"/>
                  <a:gd name="connsiteX10" fmla="*/ 259577 w 395333"/>
                  <a:gd name="connsiteY10" fmla="*/ 246396 h 875412"/>
                  <a:gd name="connsiteX11" fmla="*/ 395333 w 395333"/>
                  <a:gd name="connsiteY11" fmla="*/ 246396 h 875412"/>
                  <a:gd name="connsiteX12" fmla="*/ 395333 w 395333"/>
                  <a:gd name="connsiteY12" fmla="*/ 394531 h 875412"/>
                  <a:gd name="connsiteX13" fmla="*/ 259577 w 395333"/>
                  <a:gd name="connsiteY13" fmla="*/ 394531 h 875412"/>
                  <a:gd name="connsiteX14" fmla="*/ 259577 w 395333"/>
                  <a:gd name="connsiteY14" fmla="*/ 875413 h 875412"/>
                  <a:gd name="connsiteX15" fmla="*/ 105173 w 395333"/>
                  <a:gd name="connsiteY15" fmla="*/ 875413 h 875412"/>
                  <a:gd name="connsiteX16" fmla="*/ 105173 w 395333"/>
                  <a:gd name="connsiteY16" fmla="*/ 394531 h 875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95333" h="875412">
                    <a:moveTo>
                      <a:pt x="105173" y="394531"/>
                    </a:moveTo>
                    <a:lnTo>
                      <a:pt x="0" y="394531"/>
                    </a:lnTo>
                    <a:lnTo>
                      <a:pt x="0" y="246396"/>
                    </a:lnTo>
                    <a:lnTo>
                      <a:pt x="105173" y="246396"/>
                    </a:lnTo>
                    <a:lnTo>
                      <a:pt x="105173" y="154091"/>
                    </a:lnTo>
                    <a:cubicBezTo>
                      <a:pt x="105173" y="60296"/>
                      <a:pt x="165592" y="0"/>
                      <a:pt x="259577" y="0"/>
                    </a:cubicBezTo>
                    <a:lnTo>
                      <a:pt x="395333" y="0"/>
                    </a:lnTo>
                    <a:lnTo>
                      <a:pt x="395333" y="135481"/>
                    </a:lnTo>
                    <a:lnTo>
                      <a:pt x="302840" y="135481"/>
                    </a:lnTo>
                    <a:cubicBezTo>
                      <a:pt x="278225" y="135481"/>
                      <a:pt x="259577" y="154091"/>
                      <a:pt x="259577" y="178656"/>
                    </a:cubicBezTo>
                    <a:lnTo>
                      <a:pt x="259577" y="246396"/>
                    </a:lnTo>
                    <a:lnTo>
                      <a:pt x="395333" y="246396"/>
                    </a:lnTo>
                    <a:lnTo>
                      <a:pt x="395333" y="394531"/>
                    </a:lnTo>
                    <a:lnTo>
                      <a:pt x="259577" y="394531"/>
                    </a:lnTo>
                    <a:lnTo>
                      <a:pt x="259577" y="875413"/>
                    </a:lnTo>
                    <a:lnTo>
                      <a:pt x="105173" y="875413"/>
                    </a:lnTo>
                    <a:lnTo>
                      <a:pt x="105173" y="394531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42" name="Forma libre 1141">
                <a:extLst>
                  <a:ext uri="{FF2B5EF4-FFF2-40B4-BE49-F238E27FC236}">
                    <a16:creationId xmlns:a16="http://schemas.microsoft.com/office/drawing/2014/main" id="{3CFF910B-F9A1-0B37-E2C6-F27FA4629634}"/>
                  </a:ext>
                </a:extLst>
              </p:cNvPr>
              <p:cNvSpPr/>
              <p:nvPr/>
            </p:nvSpPr>
            <p:spPr>
              <a:xfrm>
                <a:off x="5598067" y="2258664"/>
                <a:ext cx="580319" cy="640927"/>
              </a:xfrm>
              <a:custGeom>
                <a:avLst/>
                <a:gdLst>
                  <a:gd name="connsiteX0" fmla="*/ 0 w 580319"/>
                  <a:gd name="connsiteY0" fmla="*/ 12655 h 640927"/>
                  <a:gd name="connsiteX1" fmla="*/ 141723 w 580319"/>
                  <a:gd name="connsiteY1" fmla="*/ 12655 h 640927"/>
                  <a:gd name="connsiteX2" fmla="*/ 154404 w 580319"/>
                  <a:gd name="connsiteY2" fmla="*/ 74440 h 640927"/>
                  <a:gd name="connsiteX3" fmla="*/ 160371 w 580319"/>
                  <a:gd name="connsiteY3" fmla="*/ 74440 h 640927"/>
                  <a:gd name="connsiteX4" fmla="*/ 202142 w 580319"/>
                  <a:gd name="connsiteY4" fmla="*/ 37220 h 640927"/>
                  <a:gd name="connsiteX5" fmla="*/ 333423 w 580319"/>
                  <a:gd name="connsiteY5" fmla="*/ 0 h 640927"/>
                  <a:gd name="connsiteX6" fmla="*/ 580319 w 580319"/>
                  <a:gd name="connsiteY6" fmla="*/ 265006 h 640927"/>
                  <a:gd name="connsiteX7" fmla="*/ 580319 w 580319"/>
                  <a:gd name="connsiteY7" fmla="*/ 640927 h 640927"/>
                  <a:gd name="connsiteX8" fmla="*/ 425915 w 580319"/>
                  <a:gd name="connsiteY8" fmla="*/ 640927 h 640927"/>
                  <a:gd name="connsiteX9" fmla="*/ 425915 w 580319"/>
                  <a:gd name="connsiteY9" fmla="*/ 277661 h 640927"/>
                  <a:gd name="connsiteX10" fmla="*/ 290160 w 580319"/>
                  <a:gd name="connsiteY10" fmla="*/ 142180 h 640927"/>
                  <a:gd name="connsiteX11" fmla="*/ 154404 w 580319"/>
                  <a:gd name="connsiteY11" fmla="*/ 277661 h 640927"/>
                  <a:gd name="connsiteX12" fmla="*/ 154404 w 580319"/>
                  <a:gd name="connsiteY12" fmla="*/ 640927 h 640927"/>
                  <a:gd name="connsiteX13" fmla="*/ 0 w 580319"/>
                  <a:gd name="connsiteY13" fmla="*/ 640927 h 640927"/>
                  <a:gd name="connsiteX14" fmla="*/ 0 w 580319"/>
                  <a:gd name="connsiteY14" fmla="*/ 12655 h 640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80319" h="640927">
                    <a:moveTo>
                      <a:pt x="0" y="12655"/>
                    </a:moveTo>
                    <a:lnTo>
                      <a:pt x="141723" y="12655"/>
                    </a:lnTo>
                    <a:lnTo>
                      <a:pt x="154404" y="74440"/>
                    </a:lnTo>
                    <a:lnTo>
                      <a:pt x="160371" y="74440"/>
                    </a:lnTo>
                    <a:cubicBezTo>
                      <a:pt x="171560" y="61041"/>
                      <a:pt x="186478" y="48386"/>
                      <a:pt x="202142" y="37220"/>
                    </a:cubicBezTo>
                    <a:cubicBezTo>
                      <a:pt x="230487" y="18610"/>
                      <a:pt x="273750" y="0"/>
                      <a:pt x="333423" y="0"/>
                    </a:cubicBezTo>
                    <a:cubicBezTo>
                      <a:pt x="475146" y="0"/>
                      <a:pt x="580319" y="104960"/>
                      <a:pt x="580319" y="265006"/>
                    </a:cubicBezTo>
                    <a:lnTo>
                      <a:pt x="580319" y="640927"/>
                    </a:lnTo>
                    <a:lnTo>
                      <a:pt x="425915" y="640927"/>
                    </a:lnTo>
                    <a:lnTo>
                      <a:pt x="425915" y="277661"/>
                    </a:lnTo>
                    <a:cubicBezTo>
                      <a:pt x="425915" y="197266"/>
                      <a:pt x="369972" y="142180"/>
                      <a:pt x="290160" y="142180"/>
                    </a:cubicBezTo>
                    <a:cubicBezTo>
                      <a:pt x="209601" y="142180"/>
                      <a:pt x="154404" y="198010"/>
                      <a:pt x="154404" y="277661"/>
                    </a:cubicBezTo>
                    <a:lnTo>
                      <a:pt x="154404" y="640927"/>
                    </a:lnTo>
                    <a:lnTo>
                      <a:pt x="0" y="640927"/>
                    </a:lnTo>
                    <a:lnTo>
                      <a:pt x="0" y="12655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43" name="Forma libre 1142">
                <a:extLst>
                  <a:ext uri="{FF2B5EF4-FFF2-40B4-BE49-F238E27FC236}">
                    <a16:creationId xmlns:a16="http://schemas.microsoft.com/office/drawing/2014/main" id="{58F5F577-9BFC-8332-291B-94933D4B9F5B}"/>
                  </a:ext>
                </a:extLst>
              </p:cNvPr>
              <p:cNvSpPr/>
              <p:nvPr/>
            </p:nvSpPr>
            <p:spPr>
              <a:xfrm>
                <a:off x="6544629" y="2258664"/>
                <a:ext cx="616868" cy="653581"/>
              </a:xfrm>
              <a:custGeom>
                <a:avLst/>
                <a:gdLst>
                  <a:gd name="connsiteX0" fmla="*/ 616869 w 616868"/>
                  <a:gd name="connsiteY0" fmla="*/ 407186 h 653581"/>
                  <a:gd name="connsiteX1" fmla="*/ 320742 w 616868"/>
                  <a:gd name="connsiteY1" fmla="*/ 653582 h 653581"/>
                  <a:gd name="connsiteX2" fmla="*/ 0 w 616868"/>
                  <a:gd name="connsiteY2" fmla="*/ 326791 h 653581"/>
                  <a:gd name="connsiteX3" fmla="*/ 320742 w 616868"/>
                  <a:gd name="connsiteY3" fmla="*/ 0 h 653581"/>
                  <a:gd name="connsiteX4" fmla="*/ 616869 w 616868"/>
                  <a:gd name="connsiteY4" fmla="*/ 240441 h 653581"/>
                  <a:gd name="connsiteX5" fmla="*/ 462465 w 616868"/>
                  <a:gd name="connsiteY5" fmla="*/ 240441 h 653581"/>
                  <a:gd name="connsiteX6" fmla="*/ 320742 w 616868"/>
                  <a:gd name="connsiteY6" fmla="*/ 142180 h 653581"/>
                  <a:gd name="connsiteX7" fmla="*/ 153658 w 616868"/>
                  <a:gd name="connsiteY7" fmla="*/ 326791 h 653581"/>
                  <a:gd name="connsiteX8" fmla="*/ 320742 w 616868"/>
                  <a:gd name="connsiteY8" fmla="*/ 511402 h 653581"/>
                  <a:gd name="connsiteX9" fmla="*/ 462465 w 616868"/>
                  <a:gd name="connsiteY9" fmla="*/ 406442 h 653581"/>
                  <a:gd name="connsiteX10" fmla="*/ 616869 w 616868"/>
                  <a:gd name="connsiteY10" fmla="*/ 406442 h 65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6868" h="653581">
                    <a:moveTo>
                      <a:pt x="616869" y="407186"/>
                    </a:moveTo>
                    <a:cubicBezTo>
                      <a:pt x="596729" y="505446"/>
                      <a:pt x="519154" y="653582"/>
                      <a:pt x="320742" y="653582"/>
                    </a:cubicBezTo>
                    <a:cubicBezTo>
                      <a:pt x="135756" y="653582"/>
                      <a:pt x="0" y="518101"/>
                      <a:pt x="0" y="326791"/>
                    </a:cubicBezTo>
                    <a:cubicBezTo>
                      <a:pt x="0" y="135480"/>
                      <a:pt x="135756" y="0"/>
                      <a:pt x="320742" y="0"/>
                    </a:cubicBezTo>
                    <a:cubicBezTo>
                      <a:pt x="519900" y="0"/>
                      <a:pt x="597475" y="148135"/>
                      <a:pt x="616869" y="240441"/>
                    </a:cubicBezTo>
                    <a:lnTo>
                      <a:pt x="462465" y="240441"/>
                    </a:lnTo>
                    <a:cubicBezTo>
                      <a:pt x="449038" y="204710"/>
                      <a:pt x="413235" y="142180"/>
                      <a:pt x="320742" y="142180"/>
                    </a:cubicBezTo>
                    <a:cubicBezTo>
                      <a:pt x="228249" y="142180"/>
                      <a:pt x="153658" y="215876"/>
                      <a:pt x="153658" y="326791"/>
                    </a:cubicBezTo>
                    <a:cubicBezTo>
                      <a:pt x="153658" y="437706"/>
                      <a:pt x="227503" y="511402"/>
                      <a:pt x="320742" y="511402"/>
                    </a:cubicBezTo>
                    <a:cubicBezTo>
                      <a:pt x="413981" y="511402"/>
                      <a:pt x="449038" y="449617"/>
                      <a:pt x="462465" y="406442"/>
                    </a:cubicBezTo>
                    <a:lnTo>
                      <a:pt x="616869" y="406442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44" name="Forma libre 1143">
                <a:extLst>
                  <a:ext uri="{FF2B5EF4-FFF2-40B4-BE49-F238E27FC236}">
                    <a16:creationId xmlns:a16="http://schemas.microsoft.com/office/drawing/2014/main" id="{DBCD542C-7095-B0DE-AF38-A0C8E85D900B}"/>
                  </a:ext>
                </a:extLst>
              </p:cNvPr>
              <p:cNvSpPr/>
              <p:nvPr/>
            </p:nvSpPr>
            <p:spPr>
              <a:xfrm>
                <a:off x="7214458" y="2259408"/>
                <a:ext cx="555703" cy="653581"/>
              </a:xfrm>
              <a:custGeom>
                <a:avLst/>
                <a:gdLst>
                  <a:gd name="connsiteX0" fmla="*/ 401300 w 555703"/>
                  <a:gd name="connsiteY0" fmla="*/ 369222 h 653581"/>
                  <a:gd name="connsiteX1" fmla="*/ 271512 w 555703"/>
                  <a:gd name="connsiteY1" fmla="*/ 369222 h 653581"/>
                  <a:gd name="connsiteX2" fmla="*/ 154404 w 555703"/>
                  <a:gd name="connsiteY2" fmla="*/ 449617 h 653581"/>
                  <a:gd name="connsiteX3" fmla="*/ 252864 w 555703"/>
                  <a:gd name="connsiteY3" fmla="*/ 530012 h 653581"/>
                  <a:gd name="connsiteX4" fmla="*/ 401300 w 555703"/>
                  <a:gd name="connsiteY4" fmla="*/ 388576 h 653581"/>
                  <a:gd name="connsiteX5" fmla="*/ 401300 w 555703"/>
                  <a:gd name="connsiteY5" fmla="*/ 369222 h 653581"/>
                  <a:gd name="connsiteX6" fmla="*/ 413235 w 555703"/>
                  <a:gd name="connsiteY6" fmla="*/ 579142 h 653581"/>
                  <a:gd name="connsiteX7" fmla="*/ 407268 w 555703"/>
                  <a:gd name="connsiteY7" fmla="*/ 579142 h 653581"/>
                  <a:gd name="connsiteX8" fmla="*/ 364005 w 555703"/>
                  <a:gd name="connsiteY8" fmla="*/ 616362 h 653581"/>
                  <a:gd name="connsiteX9" fmla="*/ 228249 w 555703"/>
                  <a:gd name="connsiteY9" fmla="*/ 653582 h 653581"/>
                  <a:gd name="connsiteX10" fmla="*/ 0 w 555703"/>
                  <a:gd name="connsiteY10" fmla="*/ 462271 h 653581"/>
                  <a:gd name="connsiteX11" fmla="*/ 259577 w 555703"/>
                  <a:gd name="connsiteY11" fmla="*/ 252351 h 653581"/>
                  <a:gd name="connsiteX12" fmla="*/ 401300 w 555703"/>
                  <a:gd name="connsiteY12" fmla="*/ 252351 h 653581"/>
                  <a:gd name="connsiteX13" fmla="*/ 401300 w 555703"/>
                  <a:gd name="connsiteY13" fmla="*/ 239696 h 653581"/>
                  <a:gd name="connsiteX14" fmla="*/ 290159 w 555703"/>
                  <a:gd name="connsiteY14" fmla="*/ 122826 h 653581"/>
                  <a:gd name="connsiteX15" fmla="*/ 179019 w 555703"/>
                  <a:gd name="connsiteY15" fmla="*/ 203221 h 653581"/>
                  <a:gd name="connsiteX16" fmla="*/ 24615 w 555703"/>
                  <a:gd name="connsiteY16" fmla="*/ 203221 h 653581"/>
                  <a:gd name="connsiteX17" fmla="*/ 290159 w 555703"/>
                  <a:gd name="connsiteY17" fmla="*/ 0 h 653581"/>
                  <a:gd name="connsiteX18" fmla="*/ 555704 w 555703"/>
                  <a:gd name="connsiteY18" fmla="*/ 240441 h 653581"/>
                  <a:gd name="connsiteX19" fmla="*/ 555704 w 555703"/>
                  <a:gd name="connsiteY19" fmla="*/ 640927 h 653581"/>
                  <a:gd name="connsiteX20" fmla="*/ 425916 w 555703"/>
                  <a:gd name="connsiteY20" fmla="*/ 640927 h 653581"/>
                  <a:gd name="connsiteX21" fmla="*/ 413235 w 555703"/>
                  <a:gd name="connsiteY21" fmla="*/ 579142 h 65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5703" h="653581">
                    <a:moveTo>
                      <a:pt x="401300" y="369222"/>
                    </a:moveTo>
                    <a:lnTo>
                      <a:pt x="271512" y="369222"/>
                    </a:lnTo>
                    <a:cubicBezTo>
                      <a:pt x="190953" y="369222"/>
                      <a:pt x="154404" y="399742"/>
                      <a:pt x="154404" y="449617"/>
                    </a:cubicBezTo>
                    <a:cubicBezTo>
                      <a:pt x="154404" y="498747"/>
                      <a:pt x="190207" y="530012"/>
                      <a:pt x="252864" y="530012"/>
                    </a:cubicBezTo>
                    <a:cubicBezTo>
                      <a:pt x="346849" y="530012"/>
                      <a:pt x="401300" y="475671"/>
                      <a:pt x="401300" y="388576"/>
                    </a:cubicBezTo>
                    <a:lnTo>
                      <a:pt x="401300" y="369222"/>
                    </a:lnTo>
                    <a:close/>
                    <a:moveTo>
                      <a:pt x="413235" y="579142"/>
                    </a:moveTo>
                    <a:lnTo>
                      <a:pt x="407268" y="579142"/>
                    </a:lnTo>
                    <a:cubicBezTo>
                      <a:pt x="396079" y="592541"/>
                      <a:pt x="381161" y="605196"/>
                      <a:pt x="364005" y="616362"/>
                    </a:cubicBezTo>
                    <a:cubicBezTo>
                      <a:pt x="334168" y="634972"/>
                      <a:pt x="290906" y="653582"/>
                      <a:pt x="228249" y="653582"/>
                    </a:cubicBezTo>
                    <a:cubicBezTo>
                      <a:pt x="85034" y="653582"/>
                      <a:pt x="0" y="565743"/>
                      <a:pt x="0" y="462271"/>
                    </a:cubicBezTo>
                    <a:cubicBezTo>
                      <a:pt x="0" y="338701"/>
                      <a:pt x="86526" y="252351"/>
                      <a:pt x="259577" y="252351"/>
                    </a:cubicBezTo>
                    <a:lnTo>
                      <a:pt x="401300" y="252351"/>
                    </a:lnTo>
                    <a:lnTo>
                      <a:pt x="401300" y="239696"/>
                    </a:lnTo>
                    <a:cubicBezTo>
                      <a:pt x="401300" y="170467"/>
                      <a:pt x="359530" y="122826"/>
                      <a:pt x="290159" y="122826"/>
                    </a:cubicBezTo>
                    <a:cubicBezTo>
                      <a:pt x="220790" y="122826"/>
                      <a:pt x="184986" y="167490"/>
                      <a:pt x="179019" y="203221"/>
                    </a:cubicBezTo>
                    <a:lnTo>
                      <a:pt x="24615" y="203221"/>
                    </a:lnTo>
                    <a:cubicBezTo>
                      <a:pt x="38041" y="99749"/>
                      <a:pt x="122329" y="0"/>
                      <a:pt x="290159" y="0"/>
                    </a:cubicBezTo>
                    <a:cubicBezTo>
                      <a:pt x="450530" y="0"/>
                      <a:pt x="555704" y="105705"/>
                      <a:pt x="555704" y="240441"/>
                    </a:cubicBezTo>
                    <a:lnTo>
                      <a:pt x="555704" y="640927"/>
                    </a:lnTo>
                    <a:lnTo>
                      <a:pt x="425916" y="640927"/>
                    </a:lnTo>
                    <a:lnTo>
                      <a:pt x="413235" y="579142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45" name="Forma libre 1144">
                <a:extLst>
                  <a:ext uri="{FF2B5EF4-FFF2-40B4-BE49-F238E27FC236}">
                    <a16:creationId xmlns:a16="http://schemas.microsoft.com/office/drawing/2014/main" id="{79C4EB4E-E4C4-3B58-ED67-FCC5796D4865}"/>
                  </a:ext>
                </a:extLst>
              </p:cNvPr>
              <p:cNvSpPr/>
              <p:nvPr/>
            </p:nvSpPr>
            <p:spPr>
              <a:xfrm>
                <a:off x="6282068" y="1998124"/>
                <a:ext cx="183494" cy="901466"/>
              </a:xfrm>
              <a:custGeom>
                <a:avLst/>
                <a:gdLst>
                  <a:gd name="connsiteX0" fmla="*/ 14918 w 183494"/>
                  <a:gd name="connsiteY0" fmla="*/ 273194 h 901466"/>
                  <a:gd name="connsiteX1" fmla="*/ 169322 w 183494"/>
                  <a:gd name="connsiteY1" fmla="*/ 273194 h 901466"/>
                  <a:gd name="connsiteX2" fmla="*/ 169322 w 183494"/>
                  <a:gd name="connsiteY2" fmla="*/ 901467 h 901466"/>
                  <a:gd name="connsiteX3" fmla="*/ 14918 w 183494"/>
                  <a:gd name="connsiteY3" fmla="*/ 901467 h 901466"/>
                  <a:gd name="connsiteX4" fmla="*/ 14918 w 183494"/>
                  <a:gd name="connsiteY4" fmla="*/ 273194 h 901466"/>
                  <a:gd name="connsiteX5" fmla="*/ 183494 w 183494"/>
                  <a:gd name="connsiteY5" fmla="*/ 91561 h 901466"/>
                  <a:gd name="connsiteX6" fmla="*/ 91747 w 183494"/>
                  <a:gd name="connsiteY6" fmla="*/ 0 h 901466"/>
                  <a:gd name="connsiteX7" fmla="*/ 0 w 183494"/>
                  <a:gd name="connsiteY7" fmla="*/ 91561 h 901466"/>
                  <a:gd name="connsiteX8" fmla="*/ 91747 w 183494"/>
                  <a:gd name="connsiteY8" fmla="*/ 183122 h 901466"/>
                  <a:gd name="connsiteX9" fmla="*/ 183494 w 183494"/>
                  <a:gd name="connsiteY9" fmla="*/ 91561 h 901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3494" h="901466">
                    <a:moveTo>
                      <a:pt x="14918" y="273194"/>
                    </a:moveTo>
                    <a:lnTo>
                      <a:pt x="169322" y="273194"/>
                    </a:lnTo>
                    <a:lnTo>
                      <a:pt x="169322" y="901467"/>
                    </a:lnTo>
                    <a:lnTo>
                      <a:pt x="14918" y="901467"/>
                    </a:lnTo>
                    <a:lnTo>
                      <a:pt x="14918" y="273194"/>
                    </a:lnTo>
                    <a:close/>
                    <a:moveTo>
                      <a:pt x="183494" y="91561"/>
                    </a:moveTo>
                    <a:cubicBezTo>
                      <a:pt x="183494" y="40942"/>
                      <a:pt x="142469" y="0"/>
                      <a:pt x="91747" y="0"/>
                    </a:cubicBezTo>
                    <a:cubicBezTo>
                      <a:pt x="41025" y="0"/>
                      <a:pt x="0" y="40942"/>
                      <a:pt x="0" y="91561"/>
                    </a:cubicBezTo>
                    <a:cubicBezTo>
                      <a:pt x="0" y="142180"/>
                      <a:pt x="41025" y="183122"/>
                      <a:pt x="91747" y="183122"/>
                    </a:cubicBezTo>
                    <a:cubicBezTo>
                      <a:pt x="142469" y="182378"/>
                      <a:pt x="183494" y="142180"/>
                      <a:pt x="183494" y="915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46" name="Forma libre 1145">
                <a:extLst>
                  <a:ext uri="{FF2B5EF4-FFF2-40B4-BE49-F238E27FC236}">
                    <a16:creationId xmlns:a16="http://schemas.microsoft.com/office/drawing/2014/main" id="{6ABCB4E9-8A6F-431E-7F2B-B7BB4ABD3D7F}"/>
                  </a:ext>
                </a:extLst>
              </p:cNvPr>
              <p:cNvSpPr/>
              <p:nvPr/>
            </p:nvSpPr>
            <p:spPr>
              <a:xfrm>
                <a:off x="4863344" y="2006313"/>
                <a:ext cx="642229" cy="905932"/>
              </a:xfrm>
              <a:custGeom>
                <a:avLst/>
                <a:gdLst>
                  <a:gd name="connsiteX0" fmla="*/ 487826 w 642229"/>
                  <a:gd name="connsiteY0" fmla="*/ 579142 h 905932"/>
                  <a:gd name="connsiteX1" fmla="*/ 320742 w 642229"/>
                  <a:gd name="connsiteY1" fmla="*/ 394531 h 905932"/>
                  <a:gd name="connsiteX2" fmla="*/ 153658 w 642229"/>
                  <a:gd name="connsiteY2" fmla="*/ 579142 h 905932"/>
                  <a:gd name="connsiteX3" fmla="*/ 320742 w 642229"/>
                  <a:gd name="connsiteY3" fmla="*/ 763753 h 905932"/>
                  <a:gd name="connsiteX4" fmla="*/ 487826 w 642229"/>
                  <a:gd name="connsiteY4" fmla="*/ 579142 h 905932"/>
                  <a:gd name="connsiteX5" fmla="*/ 642230 w 642229"/>
                  <a:gd name="connsiteY5" fmla="*/ 579142 h 905932"/>
                  <a:gd name="connsiteX6" fmla="*/ 320742 w 642229"/>
                  <a:gd name="connsiteY6" fmla="*/ 905933 h 905932"/>
                  <a:gd name="connsiteX7" fmla="*/ 0 w 642229"/>
                  <a:gd name="connsiteY7" fmla="*/ 579142 h 905932"/>
                  <a:gd name="connsiteX8" fmla="*/ 320742 w 642229"/>
                  <a:gd name="connsiteY8" fmla="*/ 252351 h 905932"/>
                  <a:gd name="connsiteX9" fmla="*/ 642230 w 642229"/>
                  <a:gd name="connsiteY9" fmla="*/ 579142 h 905932"/>
                  <a:gd name="connsiteX10" fmla="*/ 376685 w 642229"/>
                  <a:gd name="connsiteY10" fmla="*/ 0 h 905932"/>
                  <a:gd name="connsiteX11" fmla="*/ 537056 w 642229"/>
                  <a:gd name="connsiteY11" fmla="*/ 0 h 905932"/>
                  <a:gd name="connsiteX12" fmla="*/ 388620 w 642229"/>
                  <a:gd name="connsiteY12" fmla="*/ 178656 h 905932"/>
                  <a:gd name="connsiteX13" fmla="*/ 258831 w 642229"/>
                  <a:gd name="connsiteY13" fmla="*/ 178656 h 905932"/>
                  <a:gd name="connsiteX14" fmla="*/ 376685 w 642229"/>
                  <a:gd name="connsiteY14" fmla="*/ 0 h 905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42229" h="905932">
                    <a:moveTo>
                      <a:pt x="487826" y="579142"/>
                    </a:moveTo>
                    <a:cubicBezTo>
                      <a:pt x="487826" y="468227"/>
                      <a:pt x="413981" y="394531"/>
                      <a:pt x="320742" y="394531"/>
                    </a:cubicBezTo>
                    <a:cubicBezTo>
                      <a:pt x="228249" y="394531"/>
                      <a:pt x="153658" y="468227"/>
                      <a:pt x="153658" y="579142"/>
                    </a:cubicBezTo>
                    <a:cubicBezTo>
                      <a:pt x="153658" y="690057"/>
                      <a:pt x="227503" y="763753"/>
                      <a:pt x="320742" y="763753"/>
                    </a:cubicBezTo>
                    <a:cubicBezTo>
                      <a:pt x="413981" y="763753"/>
                      <a:pt x="487826" y="690057"/>
                      <a:pt x="487826" y="579142"/>
                    </a:cubicBezTo>
                    <a:moveTo>
                      <a:pt x="642230" y="579142"/>
                    </a:moveTo>
                    <a:cubicBezTo>
                      <a:pt x="642230" y="770452"/>
                      <a:pt x="506474" y="905933"/>
                      <a:pt x="320742" y="905933"/>
                    </a:cubicBezTo>
                    <a:cubicBezTo>
                      <a:pt x="135756" y="905933"/>
                      <a:pt x="0" y="770452"/>
                      <a:pt x="0" y="579142"/>
                    </a:cubicBezTo>
                    <a:cubicBezTo>
                      <a:pt x="0" y="387832"/>
                      <a:pt x="135756" y="252351"/>
                      <a:pt x="320742" y="252351"/>
                    </a:cubicBezTo>
                    <a:cubicBezTo>
                      <a:pt x="506474" y="252351"/>
                      <a:pt x="642230" y="387832"/>
                      <a:pt x="642230" y="579142"/>
                    </a:cubicBezTo>
                    <a:moveTo>
                      <a:pt x="376685" y="0"/>
                    </a:moveTo>
                    <a:lnTo>
                      <a:pt x="537056" y="0"/>
                    </a:lnTo>
                    <a:lnTo>
                      <a:pt x="388620" y="178656"/>
                    </a:lnTo>
                    <a:lnTo>
                      <a:pt x="258831" y="178656"/>
                    </a:lnTo>
                    <a:lnTo>
                      <a:pt x="376685" y="0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</p:grpSp>
      <p:grpSp>
        <p:nvGrpSpPr>
          <p:cNvPr id="1152" name="Grupo 1151">
            <a:extLst>
              <a:ext uri="{FF2B5EF4-FFF2-40B4-BE49-F238E27FC236}">
                <a16:creationId xmlns:a16="http://schemas.microsoft.com/office/drawing/2014/main" id="{E76EC96F-5926-BA11-ECD2-F524F442E097}"/>
              </a:ext>
            </a:extLst>
          </p:cNvPr>
          <p:cNvGrpSpPr/>
          <p:nvPr/>
        </p:nvGrpSpPr>
        <p:grpSpPr>
          <a:xfrm>
            <a:off x="2117489" y="3932351"/>
            <a:ext cx="314453" cy="113018"/>
            <a:chOff x="4146550" y="2419350"/>
            <a:chExt cx="848056" cy="304799"/>
          </a:xfrm>
        </p:grpSpPr>
        <p:sp>
          <p:nvSpPr>
            <p:cNvPr id="1153" name="Forma libre 1152">
              <a:extLst>
                <a:ext uri="{FF2B5EF4-FFF2-40B4-BE49-F238E27FC236}">
                  <a16:creationId xmlns:a16="http://schemas.microsoft.com/office/drawing/2014/main" id="{5690D2D6-2EE3-CE2B-40CD-C4EA6ADAF84A}"/>
                </a:ext>
              </a:extLst>
            </p:cNvPr>
            <p:cNvSpPr/>
            <p:nvPr/>
          </p:nvSpPr>
          <p:spPr>
            <a:xfrm>
              <a:off x="4696070" y="2555407"/>
              <a:ext cx="167444" cy="168742"/>
            </a:xfrm>
            <a:custGeom>
              <a:avLst/>
              <a:gdLst>
                <a:gd name="connsiteX0" fmla="*/ 143085 w 167444"/>
                <a:gd name="connsiteY0" fmla="*/ 24652 h 168742"/>
                <a:gd name="connsiteX1" fmla="*/ 83531 w 167444"/>
                <a:gd name="connsiteY1" fmla="*/ 0 h 168742"/>
                <a:gd name="connsiteX2" fmla="*/ 24751 w 167444"/>
                <a:gd name="connsiteY2" fmla="*/ 24652 h 168742"/>
                <a:gd name="connsiteX3" fmla="*/ 0 w 167444"/>
                <a:gd name="connsiteY3" fmla="*/ 84371 h 168742"/>
                <a:gd name="connsiteX4" fmla="*/ 24751 w 167444"/>
                <a:gd name="connsiteY4" fmla="*/ 143703 h 168742"/>
                <a:gd name="connsiteX5" fmla="*/ 83531 w 167444"/>
                <a:gd name="connsiteY5" fmla="*/ 168743 h 168742"/>
                <a:gd name="connsiteX6" fmla="*/ 143085 w 167444"/>
                <a:gd name="connsiteY6" fmla="*/ 143703 h 168742"/>
                <a:gd name="connsiteX7" fmla="*/ 167445 w 167444"/>
                <a:gd name="connsiteY7" fmla="*/ 84371 h 168742"/>
                <a:gd name="connsiteX8" fmla="*/ 143085 w 167444"/>
                <a:gd name="connsiteY8" fmla="*/ 24652 h 168742"/>
                <a:gd name="connsiteX9" fmla="*/ 114852 w 167444"/>
                <a:gd name="connsiteY9" fmla="*/ 115555 h 168742"/>
                <a:gd name="connsiteX10" fmla="*/ 83532 w 167444"/>
                <a:gd name="connsiteY10" fmla="*/ 128652 h 168742"/>
                <a:gd name="connsiteX11" fmla="*/ 52595 w 167444"/>
                <a:gd name="connsiteY11" fmla="*/ 115555 h 168742"/>
                <a:gd name="connsiteX12" fmla="*/ 39443 w 167444"/>
                <a:gd name="connsiteY12" fmla="*/ 84346 h 168742"/>
                <a:gd name="connsiteX13" fmla="*/ 52595 w 167444"/>
                <a:gd name="connsiteY13" fmla="*/ 52754 h 168742"/>
                <a:gd name="connsiteX14" fmla="*/ 83532 w 167444"/>
                <a:gd name="connsiteY14" fmla="*/ 40040 h 168742"/>
                <a:gd name="connsiteX15" fmla="*/ 115241 w 167444"/>
                <a:gd name="connsiteY15" fmla="*/ 52754 h 168742"/>
                <a:gd name="connsiteX16" fmla="*/ 128003 w 167444"/>
                <a:gd name="connsiteY16" fmla="*/ 84346 h 168742"/>
                <a:gd name="connsiteX17" fmla="*/ 114852 w 167444"/>
                <a:gd name="connsiteY17" fmla="*/ 115555 h 168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7444" h="168742">
                  <a:moveTo>
                    <a:pt x="143085" y="24652"/>
                  </a:moveTo>
                  <a:cubicBezTo>
                    <a:pt x="126456" y="8086"/>
                    <a:pt x="106345" y="0"/>
                    <a:pt x="83531" y="0"/>
                  </a:cubicBezTo>
                  <a:cubicBezTo>
                    <a:pt x="60711" y="0"/>
                    <a:pt x="40990" y="8086"/>
                    <a:pt x="24751" y="24652"/>
                  </a:cubicBezTo>
                  <a:cubicBezTo>
                    <a:pt x="8117" y="41218"/>
                    <a:pt x="0" y="61253"/>
                    <a:pt x="0" y="84371"/>
                  </a:cubicBezTo>
                  <a:cubicBezTo>
                    <a:pt x="0" y="107489"/>
                    <a:pt x="8117" y="127519"/>
                    <a:pt x="24751" y="143703"/>
                  </a:cubicBezTo>
                  <a:cubicBezTo>
                    <a:pt x="40990" y="160269"/>
                    <a:pt x="60711" y="168743"/>
                    <a:pt x="83531" y="168743"/>
                  </a:cubicBezTo>
                  <a:cubicBezTo>
                    <a:pt x="106345" y="168743"/>
                    <a:pt x="126456" y="160269"/>
                    <a:pt x="143085" y="143703"/>
                  </a:cubicBezTo>
                  <a:cubicBezTo>
                    <a:pt x="159323" y="127519"/>
                    <a:pt x="167445" y="107489"/>
                    <a:pt x="167445" y="84371"/>
                  </a:cubicBezTo>
                  <a:cubicBezTo>
                    <a:pt x="167445" y="61253"/>
                    <a:pt x="159323" y="41218"/>
                    <a:pt x="143085" y="24652"/>
                  </a:cubicBezTo>
                  <a:close/>
                  <a:moveTo>
                    <a:pt x="114852" y="115555"/>
                  </a:moveTo>
                  <a:cubicBezTo>
                    <a:pt x="106345" y="124412"/>
                    <a:pt x="95904" y="128652"/>
                    <a:pt x="83532" y="128652"/>
                  </a:cubicBezTo>
                  <a:cubicBezTo>
                    <a:pt x="71543" y="128652"/>
                    <a:pt x="61100" y="124412"/>
                    <a:pt x="52595" y="115555"/>
                  </a:cubicBezTo>
                  <a:cubicBezTo>
                    <a:pt x="44082" y="106693"/>
                    <a:pt x="39443" y="96290"/>
                    <a:pt x="39443" y="84346"/>
                  </a:cubicBezTo>
                  <a:cubicBezTo>
                    <a:pt x="39443" y="71632"/>
                    <a:pt x="44082" y="61229"/>
                    <a:pt x="52595" y="52754"/>
                  </a:cubicBezTo>
                  <a:cubicBezTo>
                    <a:pt x="61100" y="43892"/>
                    <a:pt x="71543" y="39652"/>
                    <a:pt x="83532" y="40040"/>
                  </a:cubicBezTo>
                  <a:cubicBezTo>
                    <a:pt x="95904" y="39652"/>
                    <a:pt x="106345" y="43892"/>
                    <a:pt x="115241" y="52754"/>
                  </a:cubicBezTo>
                  <a:cubicBezTo>
                    <a:pt x="123364" y="61229"/>
                    <a:pt x="127613" y="71632"/>
                    <a:pt x="128003" y="84346"/>
                  </a:cubicBezTo>
                  <a:cubicBezTo>
                    <a:pt x="127613" y="96290"/>
                    <a:pt x="123364" y="106693"/>
                    <a:pt x="114852" y="115555"/>
                  </a:cubicBez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54" name="Forma libre 1153">
              <a:extLst>
                <a:ext uri="{FF2B5EF4-FFF2-40B4-BE49-F238E27FC236}">
                  <a16:creationId xmlns:a16="http://schemas.microsoft.com/office/drawing/2014/main" id="{361E845D-9C5C-C2C9-CB8A-7AF513E632C2}"/>
                </a:ext>
              </a:extLst>
            </p:cNvPr>
            <p:cNvSpPr/>
            <p:nvPr/>
          </p:nvSpPr>
          <p:spPr>
            <a:xfrm>
              <a:off x="4146550" y="2514125"/>
              <a:ext cx="203020" cy="208059"/>
            </a:xfrm>
            <a:custGeom>
              <a:avLst/>
              <a:gdLst>
                <a:gd name="connsiteX0" fmla="*/ 103635 w 203020"/>
                <a:gd name="connsiteY0" fmla="*/ 15 h 208059"/>
                <a:gd name="connsiteX1" fmla="*/ 30547 w 203020"/>
                <a:gd name="connsiteY1" fmla="*/ 30448 h 208059"/>
                <a:gd name="connsiteX2" fmla="*/ 0 w 203020"/>
                <a:gd name="connsiteY2" fmla="*/ 104034 h 208059"/>
                <a:gd name="connsiteX3" fmla="*/ 30547 w 203020"/>
                <a:gd name="connsiteY3" fmla="*/ 178008 h 208059"/>
                <a:gd name="connsiteX4" fmla="*/ 103635 w 203020"/>
                <a:gd name="connsiteY4" fmla="*/ 208059 h 208059"/>
                <a:gd name="connsiteX5" fmla="*/ 166671 w 203020"/>
                <a:gd name="connsiteY5" fmla="*/ 186864 h 208059"/>
                <a:gd name="connsiteX6" fmla="*/ 203021 w 203020"/>
                <a:gd name="connsiteY6" fmla="*/ 131774 h 208059"/>
                <a:gd name="connsiteX7" fmla="*/ 160869 w 203020"/>
                <a:gd name="connsiteY7" fmla="*/ 131774 h 208059"/>
                <a:gd name="connsiteX8" fmla="*/ 138055 w 203020"/>
                <a:gd name="connsiteY8" fmla="*/ 158361 h 208059"/>
                <a:gd name="connsiteX9" fmla="*/ 103635 w 203020"/>
                <a:gd name="connsiteY9" fmla="*/ 168375 h 208059"/>
                <a:gd name="connsiteX10" fmla="*/ 58390 w 203020"/>
                <a:gd name="connsiteY10" fmla="*/ 149498 h 208059"/>
                <a:gd name="connsiteX11" fmla="*/ 39832 w 203020"/>
                <a:gd name="connsiteY11" fmla="*/ 104034 h 208059"/>
                <a:gd name="connsiteX12" fmla="*/ 58390 w 203020"/>
                <a:gd name="connsiteY12" fmla="*/ 58576 h 208059"/>
                <a:gd name="connsiteX13" fmla="*/ 103635 w 203020"/>
                <a:gd name="connsiteY13" fmla="*/ 39698 h 208059"/>
                <a:gd name="connsiteX14" fmla="*/ 138055 w 203020"/>
                <a:gd name="connsiteY14" fmla="*/ 50102 h 208059"/>
                <a:gd name="connsiteX15" fmla="*/ 160869 w 203020"/>
                <a:gd name="connsiteY15" fmla="*/ 76682 h 208059"/>
                <a:gd name="connsiteX16" fmla="*/ 203021 w 203020"/>
                <a:gd name="connsiteY16" fmla="*/ 76682 h 208059"/>
                <a:gd name="connsiteX17" fmla="*/ 166671 w 203020"/>
                <a:gd name="connsiteY17" fmla="*/ 21591 h 208059"/>
                <a:gd name="connsiteX18" fmla="*/ 103635 w 203020"/>
                <a:gd name="connsiteY18" fmla="*/ 15 h 208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3020" h="208059">
                  <a:moveTo>
                    <a:pt x="103635" y="15"/>
                  </a:moveTo>
                  <a:cubicBezTo>
                    <a:pt x="74635" y="-374"/>
                    <a:pt x="50658" y="9648"/>
                    <a:pt x="30547" y="30448"/>
                  </a:cubicBezTo>
                  <a:cubicBezTo>
                    <a:pt x="10052" y="50872"/>
                    <a:pt x="0" y="75142"/>
                    <a:pt x="0" y="104034"/>
                  </a:cubicBezTo>
                  <a:cubicBezTo>
                    <a:pt x="0" y="132544"/>
                    <a:pt x="10052" y="157590"/>
                    <a:pt x="30547" y="178008"/>
                  </a:cubicBezTo>
                  <a:cubicBezTo>
                    <a:pt x="50658" y="198038"/>
                    <a:pt x="74635" y="208059"/>
                    <a:pt x="103635" y="208059"/>
                  </a:cubicBezTo>
                  <a:cubicBezTo>
                    <a:pt x="126839" y="208059"/>
                    <a:pt x="148107" y="201119"/>
                    <a:pt x="166671" y="186864"/>
                  </a:cubicBezTo>
                  <a:cubicBezTo>
                    <a:pt x="184847" y="172227"/>
                    <a:pt x="196835" y="154120"/>
                    <a:pt x="203021" y="131774"/>
                  </a:cubicBezTo>
                  <a:lnTo>
                    <a:pt x="160869" y="131774"/>
                  </a:lnTo>
                  <a:cubicBezTo>
                    <a:pt x="155457" y="142559"/>
                    <a:pt x="147724" y="151421"/>
                    <a:pt x="138055" y="158361"/>
                  </a:cubicBezTo>
                  <a:cubicBezTo>
                    <a:pt x="127229" y="164905"/>
                    <a:pt x="116014" y="168375"/>
                    <a:pt x="103635" y="168375"/>
                  </a:cubicBezTo>
                  <a:cubicBezTo>
                    <a:pt x="85850" y="168375"/>
                    <a:pt x="70769" y="161824"/>
                    <a:pt x="58390" y="149498"/>
                  </a:cubicBezTo>
                  <a:cubicBezTo>
                    <a:pt x="45628" y="136784"/>
                    <a:pt x="39442" y="121758"/>
                    <a:pt x="39832" y="104034"/>
                  </a:cubicBezTo>
                  <a:cubicBezTo>
                    <a:pt x="39442" y="86316"/>
                    <a:pt x="45628" y="71290"/>
                    <a:pt x="58390" y="58576"/>
                  </a:cubicBezTo>
                  <a:cubicBezTo>
                    <a:pt x="70769" y="46243"/>
                    <a:pt x="85850" y="39698"/>
                    <a:pt x="103635" y="39698"/>
                  </a:cubicBezTo>
                  <a:cubicBezTo>
                    <a:pt x="116014" y="39698"/>
                    <a:pt x="127229" y="43162"/>
                    <a:pt x="138055" y="50102"/>
                  </a:cubicBezTo>
                  <a:cubicBezTo>
                    <a:pt x="147724" y="56646"/>
                    <a:pt x="155457" y="65891"/>
                    <a:pt x="160869" y="76682"/>
                  </a:cubicBezTo>
                  <a:lnTo>
                    <a:pt x="203021" y="76682"/>
                  </a:lnTo>
                  <a:cubicBezTo>
                    <a:pt x="196835" y="54335"/>
                    <a:pt x="184847" y="35846"/>
                    <a:pt x="166671" y="21591"/>
                  </a:cubicBezTo>
                  <a:cubicBezTo>
                    <a:pt x="148107" y="6948"/>
                    <a:pt x="126839" y="-374"/>
                    <a:pt x="103635" y="15"/>
                  </a:cubicBez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55" name="Forma libre 1154">
              <a:extLst>
                <a:ext uri="{FF2B5EF4-FFF2-40B4-BE49-F238E27FC236}">
                  <a16:creationId xmlns:a16="http://schemas.microsoft.com/office/drawing/2014/main" id="{0C49A3F8-7EE8-A816-11D0-B5913D834928}"/>
                </a:ext>
              </a:extLst>
            </p:cNvPr>
            <p:cNvSpPr/>
            <p:nvPr/>
          </p:nvSpPr>
          <p:spPr>
            <a:xfrm>
              <a:off x="4370058" y="2514125"/>
              <a:ext cx="40216" cy="208814"/>
            </a:xfrm>
            <a:custGeom>
              <a:avLst/>
              <a:gdLst>
                <a:gd name="connsiteX0" fmla="*/ 0 w 40216"/>
                <a:gd name="connsiteY0" fmla="*/ 208815 h 208814"/>
                <a:gd name="connsiteX1" fmla="*/ 40216 w 40216"/>
                <a:gd name="connsiteY1" fmla="*/ 208815 h 208814"/>
                <a:gd name="connsiteX2" fmla="*/ 40216 w 40216"/>
                <a:gd name="connsiteY2" fmla="*/ 0 h 208814"/>
                <a:gd name="connsiteX3" fmla="*/ 0 w 40216"/>
                <a:gd name="connsiteY3" fmla="*/ 0 h 208814"/>
                <a:gd name="connsiteX4" fmla="*/ 0 w 40216"/>
                <a:gd name="connsiteY4" fmla="*/ 208815 h 208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216" h="208814">
                  <a:moveTo>
                    <a:pt x="0" y="208815"/>
                  </a:moveTo>
                  <a:lnTo>
                    <a:pt x="40216" y="208815"/>
                  </a:lnTo>
                  <a:lnTo>
                    <a:pt x="40216" y="0"/>
                  </a:lnTo>
                  <a:lnTo>
                    <a:pt x="0" y="0"/>
                  </a:lnTo>
                  <a:lnTo>
                    <a:pt x="0" y="208815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56" name="Forma libre 1155">
              <a:extLst>
                <a:ext uri="{FF2B5EF4-FFF2-40B4-BE49-F238E27FC236}">
                  <a16:creationId xmlns:a16="http://schemas.microsoft.com/office/drawing/2014/main" id="{B13C8EDA-3971-6186-F2A3-2DB6CD13D3E8}"/>
                </a:ext>
              </a:extLst>
            </p:cNvPr>
            <p:cNvSpPr/>
            <p:nvPr/>
          </p:nvSpPr>
          <p:spPr>
            <a:xfrm>
              <a:off x="4599402" y="2555741"/>
              <a:ext cx="93200" cy="167208"/>
            </a:xfrm>
            <a:custGeom>
              <a:avLst/>
              <a:gdLst>
                <a:gd name="connsiteX0" fmla="*/ 66903 w 93200"/>
                <a:gd name="connsiteY0" fmla="*/ 5011 h 167208"/>
                <a:gd name="connsiteX1" fmla="*/ 38286 w 93200"/>
                <a:gd name="connsiteY1" fmla="*/ 27740 h 167208"/>
                <a:gd name="connsiteX2" fmla="*/ 38286 w 93200"/>
                <a:gd name="connsiteY2" fmla="*/ 7322 h 167208"/>
                <a:gd name="connsiteX3" fmla="*/ 0 w 93200"/>
                <a:gd name="connsiteY3" fmla="*/ 6933 h 167208"/>
                <a:gd name="connsiteX4" fmla="*/ 0 w 93200"/>
                <a:gd name="connsiteY4" fmla="*/ 167209 h 167208"/>
                <a:gd name="connsiteX5" fmla="*/ 39833 w 93200"/>
                <a:gd name="connsiteY5" fmla="*/ 167209 h 167208"/>
                <a:gd name="connsiteX6" fmla="*/ 39833 w 93200"/>
                <a:gd name="connsiteY6" fmla="*/ 90541 h 167208"/>
                <a:gd name="connsiteX7" fmla="*/ 44862 w 93200"/>
                <a:gd name="connsiteY7" fmla="*/ 62414 h 167208"/>
                <a:gd name="connsiteX8" fmla="*/ 58787 w 93200"/>
                <a:gd name="connsiteY8" fmla="*/ 47006 h 167208"/>
                <a:gd name="connsiteX9" fmla="*/ 80828 w 93200"/>
                <a:gd name="connsiteY9" fmla="*/ 40066 h 167208"/>
                <a:gd name="connsiteX10" fmla="*/ 93200 w 93200"/>
                <a:gd name="connsiteY10" fmla="*/ 40837 h 167208"/>
                <a:gd name="connsiteX11" fmla="*/ 92816 w 93200"/>
                <a:gd name="connsiteY11" fmla="*/ 0 h 167208"/>
                <a:gd name="connsiteX12" fmla="*/ 82375 w 93200"/>
                <a:gd name="connsiteY12" fmla="*/ 771 h 167208"/>
                <a:gd name="connsiteX13" fmla="*/ 66903 w 93200"/>
                <a:gd name="connsiteY13" fmla="*/ 5011 h 167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3200" h="167208">
                  <a:moveTo>
                    <a:pt x="66903" y="5011"/>
                  </a:moveTo>
                  <a:cubicBezTo>
                    <a:pt x="56077" y="9251"/>
                    <a:pt x="46408" y="16567"/>
                    <a:pt x="38286" y="27740"/>
                  </a:cubicBezTo>
                  <a:lnTo>
                    <a:pt x="38286" y="7322"/>
                  </a:lnTo>
                  <a:lnTo>
                    <a:pt x="0" y="6933"/>
                  </a:lnTo>
                  <a:lnTo>
                    <a:pt x="0" y="167209"/>
                  </a:lnTo>
                  <a:lnTo>
                    <a:pt x="39833" y="167209"/>
                  </a:lnTo>
                  <a:lnTo>
                    <a:pt x="39833" y="90541"/>
                  </a:lnTo>
                  <a:cubicBezTo>
                    <a:pt x="39833" y="77438"/>
                    <a:pt x="41379" y="68194"/>
                    <a:pt x="44862" y="62414"/>
                  </a:cubicBezTo>
                  <a:cubicBezTo>
                    <a:pt x="47571" y="56250"/>
                    <a:pt x="52594" y="51240"/>
                    <a:pt x="58787" y="47006"/>
                  </a:cubicBezTo>
                  <a:cubicBezTo>
                    <a:pt x="65746" y="42383"/>
                    <a:pt x="73089" y="40066"/>
                    <a:pt x="80828" y="40066"/>
                  </a:cubicBezTo>
                  <a:lnTo>
                    <a:pt x="93200" y="40837"/>
                  </a:lnTo>
                  <a:lnTo>
                    <a:pt x="92816" y="0"/>
                  </a:lnTo>
                  <a:lnTo>
                    <a:pt x="82375" y="771"/>
                  </a:lnTo>
                  <a:lnTo>
                    <a:pt x="66903" y="5011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57" name="Forma libre 1156">
              <a:extLst>
                <a:ext uri="{FF2B5EF4-FFF2-40B4-BE49-F238E27FC236}">
                  <a16:creationId xmlns:a16="http://schemas.microsoft.com/office/drawing/2014/main" id="{E9A8798D-547E-8B51-593D-B6B6EAA2A1F3}"/>
                </a:ext>
              </a:extLst>
            </p:cNvPr>
            <p:cNvSpPr/>
            <p:nvPr/>
          </p:nvSpPr>
          <p:spPr>
            <a:xfrm>
              <a:off x="4844960" y="2439404"/>
              <a:ext cx="122589" cy="122131"/>
            </a:xfrm>
            <a:custGeom>
              <a:avLst/>
              <a:gdLst>
                <a:gd name="connsiteX0" fmla="*/ 25524 w 122589"/>
                <a:gd name="connsiteY0" fmla="*/ 122132 h 122131"/>
                <a:gd name="connsiteX1" fmla="*/ 122589 w 122589"/>
                <a:gd name="connsiteY1" fmla="*/ 25429 h 122131"/>
                <a:gd name="connsiteX2" fmla="*/ 97066 w 122589"/>
                <a:gd name="connsiteY2" fmla="*/ 0 h 122131"/>
                <a:gd name="connsiteX3" fmla="*/ 0 w 122589"/>
                <a:gd name="connsiteY3" fmla="*/ 96704 h 122131"/>
                <a:gd name="connsiteX4" fmla="*/ 25524 w 122589"/>
                <a:gd name="connsiteY4" fmla="*/ 122132 h 122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589" h="122131">
                  <a:moveTo>
                    <a:pt x="25524" y="122132"/>
                  </a:moveTo>
                  <a:lnTo>
                    <a:pt x="122589" y="25429"/>
                  </a:lnTo>
                  <a:lnTo>
                    <a:pt x="97066" y="0"/>
                  </a:lnTo>
                  <a:lnTo>
                    <a:pt x="0" y="96704"/>
                  </a:lnTo>
                  <a:lnTo>
                    <a:pt x="25524" y="122132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58" name="Forma libre 1157">
              <a:extLst>
                <a:ext uri="{FF2B5EF4-FFF2-40B4-BE49-F238E27FC236}">
                  <a16:creationId xmlns:a16="http://schemas.microsoft.com/office/drawing/2014/main" id="{7F611C2B-4787-5F2B-55EC-51B96ACFB584}"/>
                </a:ext>
              </a:extLst>
            </p:cNvPr>
            <p:cNvSpPr/>
            <p:nvPr/>
          </p:nvSpPr>
          <p:spPr>
            <a:xfrm>
              <a:off x="4766443" y="2419350"/>
              <a:ext cx="35965" cy="103636"/>
            </a:xfrm>
            <a:custGeom>
              <a:avLst/>
              <a:gdLst>
                <a:gd name="connsiteX0" fmla="*/ 0 w 35965"/>
                <a:gd name="connsiteY0" fmla="*/ 103637 h 103636"/>
                <a:gd name="connsiteX1" fmla="*/ 35966 w 35965"/>
                <a:gd name="connsiteY1" fmla="*/ 103637 h 103636"/>
                <a:gd name="connsiteX2" fmla="*/ 35966 w 35965"/>
                <a:gd name="connsiteY2" fmla="*/ 0 h 103636"/>
                <a:gd name="connsiteX3" fmla="*/ 0 w 35965"/>
                <a:gd name="connsiteY3" fmla="*/ 0 h 103636"/>
                <a:gd name="connsiteX4" fmla="*/ 0 w 35965"/>
                <a:gd name="connsiteY4" fmla="*/ 103637 h 103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965" h="103636">
                  <a:moveTo>
                    <a:pt x="0" y="103637"/>
                  </a:moveTo>
                  <a:lnTo>
                    <a:pt x="35966" y="103637"/>
                  </a:lnTo>
                  <a:lnTo>
                    <a:pt x="35966" y="0"/>
                  </a:lnTo>
                  <a:lnTo>
                    <a:pt x="0" y="0"/>
                  </a:lnTo>
                  <a:lnTo>
                    <a:pt x="0" y="103637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59" name="Forma libre 1158">
              <a:extLst>
                <a:ext uri="{FF2B5EF4-FFF2-40B4-BE49-F238E27FC236}">
                  <a16:creationId xmlns:a16="http://schemas.microsoft.com/office/drawing/2014/main" id="{574F9919-E80A-A666-B990-A7DDAC74B6E5}"/>
                </a:ext>
              </a:extLst>
            </p:cNvPr>
            <p:cNvSpPr/>
            <p:nvPr/>
          </p:nvSpPr>
          <p:spPr>
            <a:xfrm>
              <a:off x="4888262" y="2601571"/>
              <a:ext cx="106344" cy="35831"/>
            </a:xfrm>
            <a:custGeom>
              <a:avLst/>
              <a:gdLst>
                <a:gd name="connsiteX0" fmla="*/ 0 w 106344"/>
                <a:gd name="connsiteY0" fmla="*/ 35831 h 35831"/>
                <a:gd name="connsiteX1" fmla="*/ 106345 w 106344"/>
                <a:gd name="connsiteY1" fmla="*/ 35831 h 35831"/>
                <a:gd name="connsiteX2" fmla="*/ 106345 w 106344"/>
                <a:gd name="connsiteY2" fmla="*/ 0 h 35831"/>
                <a:gd name="connsiteX3" fmla="*/ 0 w 106344"/>
                <a:gd name="connsiteY3" fmla="*/ 0 h 35831"/>
                <a:gd name="connsiteX4" fmla="*/ 0 w 106344"/>
                <a:gd name="connsiteY4" fmla="*/ 35831 h 35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344" h="35831">
                  <a:moveTo>
                    <a:pt x="0" y="35831"/>
                  </a:moveTo>
                  <a:lnTo>
                    <a:pt x="106345" y="35831"/>
                  </a:lnTo>
                  <a:lnTo>
                    <a:pt x="106345" y="0"/>
                  </a:lnTo>
                  <a:lnTo>
                    <a:pt x="0" y="0"/>
                  </a:lnTo>
                  <a:lnTo>
                    <a:pt x="0" y="35831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60" name="Forma libre 1159">
              <a:extLst>
                <a:ext uri="{FF2B5EF4-FFF2-40B4-BE49-F238E27FC236}">
                  <a16:creationId xmlns:a16="http://schemas.microsoft.com/office/drawing/2014/main" id="{774502AC-B594-AF08-91D4-BBD7B6FA95AD}"/>
                </a:ext>
              </a:extLst>
            </p:cNvPr>
            <p:cNvSpPr/>
            <p:nvPr/>
          </p:nvSpPr>
          <p:spPr>
            <a:xfrm>
              <a:off x="4433858" y="2554913"/>
              <a:ext cx="138466" cy="168007"/>
            </a:xfrm>
            <a:custGeom>
              <a:avLst/>
              <a:gdLst>
                <a:gd name="connsiteX0" fmla="*/ 71564 w 138466"/>
                <a:gd name="connsiteY0" fmla="*/ 28 h 168007"/>
                <a:gd name="connsiteX1" fmla="*/ 14720 w 138466"/>
                <a:gd name="connsiteY1" fmla="*/ 21217 h 168007"/>
                <a:gd name="connsiteX2" fmla="*/ 3115 w 138466"/>
                <a:gd name="connsiteY2" fmla="*/ 56278 h 168007"/>
                <a:gd name="connsiteX3" fmla="*/ 43331 w 138466"/>
                <a:gd name="connsiteY3" fmla="*/ 56278 h 168007"/>
                <a:gd name="connsiteX4" fmla="*/ 49133 w 138466"/>
                <a:gd name="connsiteY4" fmla="*/ 41635 h 168007"/>
                <a:gd name="connsiteX5" fmla="*/ 70401 w 138466"/>
                <a:gd name="connsiteY5" fmla="*/ 33931 h 168007"/>
                <a:gd name="connsiteX6" fmla="*/ 90129 w 138466"/>
                <a:gd name="connsiteY6" fmla="*/ 37783 h 168007"/>
                <a:gd name="connsiteX7" fmla="*/ 97088 w 138466"/>
                <a:gd name="connsiteY7" fmla="*/ 51268 h 168007"/>
                <a:gd name="connsiteX8" fmla="*/ 87808 w 138466"/>
                <a:gd name="connsiteY8" fmla="*/ 63600 h 168007"/>
                <a:gd name="connsiteX9" fmla="*/ 56866 w 138466"/>
                <a:gd name="connsiteY9" fmla="*/ 68605 h 168007"/>
                <a:gd name="connsiteX10" fmla="*/ 22063 w 138466"/>
                <a:gd name="connsiteY10" fmla="*/ 79008 h 168007"/>
                <a:gd name="connsiteX11" fmla="*/ 22 w 138466"/>
                <a:gd name="connsiteY11" fmla="*/ 122543 h 168007"/>
                <a:gd name="connsiteX12" fmla="*/ 13557 w 138466"/>
                <a:gd name="connsiteY12" fmla="*/ 156834 h 168007"/>
                <a:gd name="connsiteX13" fmla="*/ 46430 w 138466"/>
                <a:gd name="connsiteY13" fmla="*/ 168008 h 168007"/>
                <a:gd name="connsiteX14" fmla="*/ 98244 w 138466"/>
                <a:gd name="connsiteY14" fmla="*/ 151442 h 168007"/>
                <a:gd name="connsiteX15" fmla="*/ 98244 w 138466"/>
                <a:gd name="connsiteY15" fmla="*/ 168008 h 168007"/>
                <a:gd name="connsiteX16" fmla="*/ 138466 w 138466"/>
                <a:gd name="connsiteY16" fmla="*/ 168008 h 168007"/>
                <a:gd name="connsiteX17" fmla="*/ 138466 w 138466"/>
                <a:gd name="connsiteY17" fmla="*/ 50116 h 168007"/>
                <a:gd name="connsiteX18" fmla="*/ 118356 w 138466"/>
                <a:gd name="connsiteY18" fmla="*/ 10432 h 168007"/>
                <a:gd name="connsiteX19" fmla="*/ 71564 w 138466"/>
                <a:gd name="connsiteY19" fmla="*/ 28 h 168007"/>
                <a:gd name="connsiteX20" fmla="*/ 88577 w 138466"/>
                <a:gd name="connsiteY20" fmla="*/ 90573 h 168007"/>
                <a:gd name="connsiteX21" fmla="*/ 96309 w 138466"/>
                <a:gd name="connsiteY21" fmla="*/ 86339 h 168007"/>
                <a:gd name="connsiteX22" fmla="*/ 96309 w 138466"/>
                <a:gd name="connsiteY22" fmla="*/ 102517 h 168007"/>
                <a:gd name="connsiteX23" fmla="*/ 85094 w 138466"/>
                <a:gd name="connsiteY23" fmla="*/ 131415 h 168007"/>
                <a:gd name="connsiteX24" fmla="*/ 59954 w 138466"/>
                <a:gd name="connsiteY24" fmla="*/ 139507 h 168007"/>
                <a:gd name="connsiteX25" fmla="*/ 45652 w 138466"/>
                <a:gd name="connsiteY25" fmla="*/ 134885 h 168007"/>
                <a:gd name="connsiteX26" fmla="*/ 39849 w 138466"/>
                <a:gd name="connsiteY26" fmla="*/ 119089 h 168007"/>
                <a:gd name="connsiteX27" fmla="*/ 49518 w 138466"/>
                <a:gd name="connsiteY27" fmla="*/ 100976 h 168007"/>
                <a:gd name="connsiteX28" fmla="*/ 68466 w 138466"/>
                <a:gd name="connsiteY28" fmla="*/ 95583 h 168007"/>
                <a:gd name="connsiteX29" fmla="*/ 88577 w 138466"/>
                <a:gd name="connsiteY29" fmla="*/ 90573 h 168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38466" h="168007">
                  <a:moveTo>
                    <a:pt x="71564" y="28"/>
                  </a:moveTo>
                  <a:cubicBezTo>
                    <a:pt x="44494" y="-354"/>
                    <a:pt x="25546" y="6962"/>
                    <a:pt x="14720" y="21217"/>
                  </a:cubicBezTo>
                  <a:cubicBezTo>
                    <a:pt x="7755" y="30079"/>
                    <a:pt x="4278" y="41635"/>
                    <a:pt x="3115" y="56278"/>
                  </a:cubicBezTo>
                  <a:lnTo>
                    <a:pt x="43331" y="56278"/>
                  </a:lnTo>
                  <a:cubicBezTo>
                    <a:pt x="44104" y="49345"/>
                    <a:pt x="46430" y="44723"/>
                    <a:pt x="49133" y="41635"/>
                  </a:cubicBezTo>
                  <a:cubicBezTo>
                    <a:pt x="53390" y="36242"/>
                    <a:pt x="60349" y="33549"/>
                    <a:pt x="70401" y="33931"/>
                  </a:cubicBezTo>
                  <a:cubicBezTo>
                    <a:pt x="78913" y="33549"/>
                    <a:pt x="85489" y="35090"/>
                    <a:pt x="90129" y="37783"/>
                  </a:cubicBezTo>
                  <a:cubicBezTo>
                    <a:pt x="94768" y="40094"/>
                    <a:pt x="96698" y="44723"/>
                    <a:pt x="97088" y="51268"/>
                  </a:cubicBezTo>
                  <a:cubicBezTo>
                    <a:pt x="97088" y="56660"/>
                    <a:pt x="93994" y="60901"/>
                    <a:pt x="87808" y="63600"/>
                  </a:cubicBezTo>
                  <a:lnTo>
                    <a:pt x="56866" y="68605"/>
                  </a:lnTo>
                  <a:cubicBezTo>
                    <a:pt x="42558" y="70533"/>
                    <a:pt x="30959" y="73997"/>
                    <a:pt x="22063" y="79008"/>
                  </a:cubicBezTo>
                  <a:cubicBezTo>
                    <a:pt x="6981" y="87870"/>
                    <a:pt x="-362" y="102125"/>
                    <a:pt x="22" y="122543"/>
                  </a:cubicBezTo>
                  <a:cubicBezTo>
                    <a:pt x="-362" y="136798"/>
                    <a:pt x="4278" y="148359"/>
                    <a:pt x="13557" y="156834"/>
                  </a:cubicBezTo>
                  <a:cubicBezTo>
                    <a:pt x="21679" y="163767"/>
                    <a:pt x="32895" y="167619"/>
                    <a:pt x="46430" y="168008"/>
                  </a:cubicBezTo>
                  <a:cubicBezTo>
                    <a:pt x="68471" y="167619"/>
                    <a:pt x="85872" y="162227"/>
                    <a:pt x="98244" y="151442"/>
                  </a:cubicBezTo>
                  <a:lnTo>
                    <a:pt x="98244" y="168008"/>
                  </a:lnTo>
                  <a:lnTo>
                    <a:pt x="138466" y="168008"/>
                  </a:lnTo>
                  <a:lnTo>
                    <a:pt x="138466" y="50116"/>
                  </a:lnTo>
                  <a:cubicBezTo>
                    <a:pt x="138466" y="30849"/>
                    <a:pt x="131501" y="17365"/>
                    <a:pt x="118356" y="10432"/>
                  </a:cubicBezTo>
                  <a:cubicBezTo>
                    <a:pt x="104437" y="3110"/>
                    <a:pt x="88966" y="-354"/>
                    <a:pt x="71564" y="28"/>
                  </a:cubicBezTo>
                  <a:close/>
                  <a:moveTo>
                    <a:pt x="88577" y="90573"/>
                  </a:moveTo>
                  <a:lnTo>
                    <a:pt x="96309" y="86339"/>
                  </a:lnTo>
                  <a:lnTo>
                    <a:pt x="96309" y="102517"/>
                  </a:lnTo>
                  <a:cubicBezTo>
                    <a:pt x="96309" y="116390"/>
                    <a:pt x="92443" y="126022"/>
                    <a:pt x="85094" y="131415"/>
                  </a:cubicBezTo>
                  <a:cubicBezTo>
                    <a:pt x="77356" y="136807"/>
                    <a:pt x="69239" y="139507"/>
                    <a:pt x="59954" y="139507"/>
                  </a:cubicBezTo>
                  <a:cubicBezTo>
                    <a:pt x="54157" y="139507"/>
                    <a:pt x="49518" y="137967"/>
                    <a:pt x="45652" y="134885"/>
                  </a:cubicBezTo>
                  <a:cubicBezTo>
                    <a:pt x="41779" y="131415"/>
                    <a:pt x="39849" y="126404"/>
                    <a:pt x="39849" y="119089"/>
                  </a:cubicBezTo>
                  <a:cubicBezTo>
                    <a:pt x="39849" y="110998"/>
                    <a:pt x="42942" y="105216"/>
                    <a:pt x="49518" y="100976"/>
                  </a:cubicBezTo>
                  <a:cubicBezTo>
                    <a:pt x="53384" y="98665"/>
                    <a:pt x="59954" y="96742"/>
                    <a:pt x="68466" y="95583"/>
                  </a:cubicBezTo>
                  <a:lnTo>
                    <a:pt x="88577" y="90573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grpSp>
        <p:nvGrpSpPr>
          <p:cNvPr id="1161" name="Grupo 1160">
            <a:extLst>
              <a:ext uri="{FF2B5EF4-FFF2-40B4-BE49-F238E27FC236}">
                <a16:creationId xmlns:a16="http://schemas.microsoft.com/office/drawing/2014/main" id="{359C7817-D83B-5EE9-5865-DF05CDE708EC}"/>
              </a:ext>
            </a:extLst>
          </p:cNvPr>
          <p:cNvGrpSpPr/>
          <p:nvPr/>
        </p:nvGrpSpPr>
        <p:grpSpPr>
          <a:xfrm>
            <a:off x="7478706" y="3416544"/>
            <a:ext cx="474688" cy="93839"/>
            <a:chOff x="2449147" y="2050732"/>
            <a:chExt cx="4244889" cy="839152"/>
          </a:xfrm>
        </p:grpSpPr>
        <p:sp>
          <p:nvSpPr>
            <p:cNvPr id="1162" name="Forma libre 1161">
              <a:extLst>
                <a:ext uri="{FF2B5EF4-FFF2-40B4-BE49-F238E27FC236}">
                  <a16:creationId xmlns:a16="http://schemas.microsoft.com/office/drawing/2014/main" id="{13A730B2-C7D3-1895-FE97-63D6522A6F3A}"/>
                </a:ext>
              </a:extLst>
            </p:cNvPr>
            <p:cNvSpPr/>
            <p:nvPr/>
          </p:nvSpPr>
          <p:spPr>
            <a:xfrm>
              <a:off x="2449147" y="2138362"/>
              <a:ext cx="340798" cy="736282"/>
            </a:xfrm>
            <a:custGeom>
              <a:avLst/>
              <a:gdLst>
                <a:gd name="connsiteX0" fmla="*/ 219901 w 340798"/>
                <a:gd name="connsiteY0" fmla="*/ 0 h 736282"/>
                <a:gd name="connsiteX1" fmla="*/ 99003 w 340798"/>
                <a:gd name="connsiteY1" fmla="*/ 0 h 736282"/>
                <a:gd name="connsiteX2" fmla="*/ 91387 w 340798"/>
                <a:gd name="connsiteY2" fmla="*/ 133350 h 736282"/>
                <a:gd name="connsiteX3" fmla="*/ 0 w 340798"/>
                <a:gd name="connsiteY3" fmla="*/ 133350 h 736282"/>
                <a:gd name="connsiteX4" fmla="*/ 0 w 340798"/>
                <a:gd name="connsiteY4" fmla="*/ 240030 h 736282"/>
                <a:gd name="connsiteX5" fmla="*/ 90435 w 340798"/>
                <a:gd name="connsiteY5" fmla="*/ 240030 h 736282"/>
                <a:gd name="connsiteX6" fmla="*/ 91387 w 340798"/>
                <a:gd name="connsiteY6" fmla="*/ 601980 h 736282"/>
                <a:gd name="connsiteX7" fmla="*/ 197054 w 340798"/>
                <a:gd name="connsiteY7" fmla="*/ 736283 h 736282"/>
                <a:gd name="connsiteX8" fmla="*/ 340799 w 340798"/>
                <a:gd name="connsiteY8" fmla="*/ 736283 h 736282"/>
                <a:gd name="connsiteX9" fmla="*/ 340799 w 340798"/>
                <a:gd name="connsiteY9" fmla="*/ 618173 h 736282"/>
                <a:gd name="connsiteX10" fmla="*/ 238940 w 340798"/>
                <a:gd name="connsiteY10" fmla="*/ 618173 h 736282"/>
                <a:gd name="connsiteX11" fmla="*/ 220853 w 340798"/>
                <a:gd name="connsiteY11" fmla="*/ 594360 h 736282"/>
                <a:gd name="connsiteX12" fmla="*/ 220853 w 340798"/>
                <a:gd name="connsiteY12" fmla="*/ 239077 h 736282"/>
                <a:gd name="connsiteX13" fmla="*/ 340799 w 340798"/>
                <a:gd name="connsiteY13" fmla="*/ 239077 h 736282"/>
                <a:gd name="connsiteX14" fmla="*/ 340799 w 340798"/>
                <a:gd name="connsiteY14" fmla="*/ 132398 h 736282"/>
                <a:gd name="connsiteX15" fmla="*/ 219901 w 340798"/>
                <a:gd name="connsiteY15" fmla="*/ 132398 h 736282"/>
                <a:gd name="connsiteX16" fmla="*/ 219901 w 340798"/>
                <a:gd name="connsiteY16" fmla="*/ 0 h 73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0798" h="736282">
                  <a:moveTo>
                    <a:pt x="219901" y="0"/>
                  </a:moveTo>
                  <a:lnTo>
                    <a:pt x="99003" y="0"/>
                  </a:lnTo>
                  <a:lnTo>
                    <a:pt x="91387" y="133350"/>
                  </a:lnTo>
                  <a:lnTo>
                    <a:pt x="0" y="133350"/>
                  </a:lnTo>
                  <a:lnTo>
                    <a:pt x="0" y="240030"/>
                  </a:lnTo>
                  <a:lnTo>
                    <a:pt x="90435" y="240030"/>
                  </a:lnTo>
                  <a:lnTo>
                    <a:pt x="91387" y="601980"/>
                  </a:lnTo>
                  <a:cubicBezTo>
                    <a:pt x="91387" y="691515"/>
                    <a:pt x="126610" y="736283"/>
                    <a:pt x="197054" y="736283"/>
                  </a:cubicBezTo>
                  <a:lnTo>
                    <a:pt x="340799" y="736283"/>
                  </a:lnTo>
                  <a:lnTo>
                    <a:pt x="340799" y="618173"/>
                  </a:lnTo>
                  <a:lnTo>
                    <a:pt x="238940" y="618173"/>
                  </a:lnTo>
                  <a:cubicBezTo>
                    <a:pt x="224661" y="618173"/>
                    <a:pt x="220853" y="615315"/>
                    <a:pt x="220853" y="594360"/>
                  </a:cubicBezTo>
                  <a:lnTo>
                    <a:pt x="220853" y="239077"/>
                  </a:lnTo>
                  <a:lnTo>
                    <a:pt x="340799" y="239077"/>
                  </a:lnTo>
                  <a:lnTo>
                    <a:pt x="340799" y="132398"/>
                  </a:lnTo>
                  <a:lnTo>
                    <a:pt x="219901" y="132398"/>
                  </a:lnTo>
                  <a:lnTo>
                    <a:pt x="219901" y="0"/>
                  </a:ln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63" name="Forma libre 1162">
              <a:extLst>
                <a:ext uri="{FF2B5EF4-FFF2-40B4-BE49-F238E27FC236}">
                  <a16:creationId xmlns:a16="http://schemas.microsoft.com/office/drawing/2014/main" id="{0480BC82-8A9B-A2DB-B4B3-529ADE4F1DAF}"/>
                </a:ext>
              </a:extLst>
            </p:cNvPr>
            <p:cNvSpPr/>
            <p:nvPr/>
          </p:nvSpPr>
          <p:spPr>
            <a:xfrm>
              <a:off x="2838496" y="2254567"/>
              <a:ext cx="572122" cy="634365"/>
            </a:xfrm>
            <a:custGeom>
              <a:avLst/>
              <a:gdLst>
                <a:gd name="connsiteX0" fmla="*/ 297961 w 572122"/>
                <a:gd name="connsiteY0" fmla="*/ 0 h 634365"/>
                <a:gd name="connsiteX1" fmla="*/ 86628 w 572122"/>
                <a:gd name="connsiteY1" fmla="*/ 90488 h 634365"/>
                <a:gd name="connsiteX2" fmla="*/ 0 w 572122"/>
                <a:gd name="connsiteY2" fmla="*/ 318135 h 634365"/>
                <a:gd name="connsiteX3" fmla="*/ 82820 w 572122"/>
                <a:gd name="connsiteY3" fmla="*/ 544830 h 634365"/>
                <a:gd name="connsiteX4" fmla="*/ 309384 w 572122"/>
                <a:gd name="connsiteY4" fmla="*/ 634365 h 634365"/>
                <a:gd name="connsiteX5" fmla="*/ 449321 w 572122"/>
                <a:gd name="connsiteY5" fmla="*/ 603885 h 634365"/>
                <a:gd name="connsiteX6" fmla="*/ 561651 w 572122"/>
                <a:gd name="connsiteY6" fmla="*/ 515303 h 634365"/>
                <a:gd name="connsiteX7" fmla="*/ 564507 w 572122"/>
                <a:gd name="connsiteY7" fmla="*/ 511493 h 634365"/>
                <a:gd name="connsiteX8" fmla="*/ 489303 w 572122"/>
                <a:gd name="connsiteY8" fmla="*/ 435293 h 634365"/>
                <a:gd name="connsiteX9" fmla="*/ 485495 w 572122"/>
                <a:gd name="connsiteY9" fmla="*/ 440055 h 634365"/>
                <a:gd name="connsiteX10" fmla="*/ 320808 w 572122"/>
                <a:gd name="connsiteY10" fmla="*/ 514350 h 634365"/>
                <a:gd name="connsiteX11" fmla="*/ 136129 w 572122"/>
                <a:gd name="connsiteY11" fmla="*/ 371475 h 634365"/>
                <a:gd name="connsiteX12" fmla="*/ 571171 w 572122"/>
                <a:gd name="connsiteY12" fmla="*/ 371475 h 634365"/>
                <a:gd name="connsiteX13" fmla="*/ 571171 w 572122"/>
                <a:gd name="connsiteY13" fmla="*/ 366713 h 634365"/>
                <a:gd name="connsiteX14" fmla="*/ 572123 w 572122"/>
                <a:gd name="connsiteY14" fmla="*/ 287655 h 634365"/>
                <a:gd name="connsiteX15" fmla="*/ 498823 w 572122"/>
                <a:gd name="connsiteY15" fmla="*/ 85725 h 634365"/>
                <a:gd name="connsiteX16" fmla="*/ 297961 w 572122"/>
                <a:gd name="connsiteY16" fmla="*/ 0 h 634365"/>
                <a:gd name="connsiteX17" fmla="*/ 137081 w 572122"/>
                <a:gd name="connsiteY17" fmla="*/ 268605 h 634365"/>
                <a:gd name="connsiteX18" fmla="*/ 300817 w 572122"/>
                <a:gd name="connsiteY18" fmla="*/ 125730 h 634365"/>
                <a:gd name="connsiteX19" fmla="*/ 445513 w 572122"/>
                <a:gd name="connsiteY19" fmla="*/ 268605 h 634365"/>
                <a:gd name="connsiteX20" fmla="*/ 137081 w 572122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2122" h="634365">
                  <a:moveTo>
                    <a:pt x="297961" y="0"/>
                  </a:moveTo>
                  <a:cubicBezTo>
                    <a:pt x="217045" y="0"/>
                    <a:pt x="141841" y="32385"/>
                    <a:pt x="86628" y="90488"/>
                  </a:cubicBezTo>
                  <a:cubicBezTo>
                    <a:pt x="30462" y="149543"/>
                    <a:pt x="0" y="230505"/>
                    <a:pt x="0" y="318135"/>
                  </a:cubicBezTo>
                  <a:cubicBezTo>
                    <a:pt x="0" y="405765"/>
                    <a:pt x="28559" y="487680"/>
                    <a:pt x="82820" y="544830"/>
                  </a:cubicBezTo>
                  <a:cubicBezTo>
                    <a:pt x="138985" y="603885"/>
                    <a:pt x="217045" y="634365"/>
                    <a:pt x="309384" y="634365"/>
                  </a:cubicBezTo>
                  <a:cubicBezTo>
                    <a:pt x="357934" y="634365"/>
                    <a:pt x="406483" y="623888"/>
                    <a:pt x="449321" y="603885"/>
                  </a:cubicBezTo>
                  <a:cubicBezTo>
                    <a:pt x="494063" y="582930"/>
                    <a:pt x="532141" y="553403"/>
                    <a:pt x="561651" y="515303"/>
                  </a:cubicBezTo>
                  <a:lnTo>
                    <a:pt x="564507" y="511493"/>
                  </a:lnTo>
                  <a:lnTo>
                    <a:pt x="489303" y="435293"/>
                  </a:lnTo>
                  <a:lnTo>
                    <a:pt x="485495" y="440055"/>
                  </a:lnTo>
                  <a:cubicBezTo>
                    <a:pt x="444561" y="487680"/>
                    <a:pt x="384588" y="514350"/>
                    <a:pt x="320808" y="514350"/>
                  </a:cubicBezTo>
                  <a:cubicBezTo>
                    <a:pt x="211333" y="514350"/>
                    <a:pt x="150408" y="467678"/>
                    <a:pt x="136129" y="371475"/>
                  </a:cubicBezTo>
                  <a:lnTo>
                    <a:pt x="571171" y="371475"/>
                  </a:lnTo>
                  <a:lnTo>
                    <a:pt x="571171" y="366713"/>
                  </a:lnTo>
                  <a:cubicBezTo>
                    <a:pt x="572123" y="324803"/>
                    <a:pt x="572123" y="309563"/>
                    <a:pt x="572123" y="287655"/>
                  </a:cubicBezTo>
                  <a:cubicBezTo>
                    <a:pt x="572123" y="210503"/>
                    <a:pt x="546420" y="139065"/>
                    <a:pt x="498823" y="85725"/>
                  </a:cubicBezTo>
                  <a:cubicBezTo>
                    <a:pt x="450273" y="29528"/>
                    <a:pt x="380781" y="0"/>
                    <a:pt x="297961" y="0"/>
                  </a:cubicBezTo>
                  <a:close/>
                  <a:moveTo>
                    <a:pt x="137081" y="268605"/>
                  </a:moveTo>
                  <a:cubicBezTo>
                    <a:pt x="150408" y="172403"/>
                    <a:pt x="203718" y="125730"/>
                    <a:pt x="300817" y="125730"/>
                  </a:cubicBezTo>
                  <a:cubicBezTo>
                    <a:pt x="383636" y="125730"/>
                    <a:pt x="441706" y="182880"/>
                    <a:pt x="445513" y="268605"/>
                  </a:cubicBezTo>
                  <a:lnTo>
                    <a:pt x="137081" y="268605"/>
                  </a:ln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64" name="Forma libre 1163">
              <a:extLst>
                <a:ext uri="{FF2B5EF4-FFF2-40B4-BE49-F238E27FC236}">
                  <a16:creationId xmlns:a16="http://schemas.microsoft.com/office/drawing/2014/main" id="{BFF33DBE-6A5B-4C23-F4E0-CD03A42CC32B}"/>
                </a:ext>
              </a:extLst>
            </p:cNvPr>
            <p:cNvSpPr/>
            <p:nvPr/>
          </p:nvSpPr>
          <p:spPr>
            <a:xfrm>
              <a:off x="3786639" y="2254567"/>
              <a:ext cx="572122" cy="634365"/>
            </a:xfrm>
            <a:custGeom>
              <a:avLst/>
              <a:gdLst>
                <a:gd name="connsiteX0" fmla="*/ 297961 w 572122"/>
                <a:gd name="connsiteY0" fmla="*/ 0 h 634365"/>
                <a:gd name="connsiteX1" fmla="*/ 86628 w 572122"/>
                <a:gd name="connsiteY1" fmla="*/ 90488 h 634365"/>
                <a:gd name="connsiteX2" fmla="*/ 0 w 572122"/>
                <a:gd name="connsiteY2" fmla="*/ 318135 h 634365"/>
                <a:gd name="connsiteX3" fmla="*/ 82820 w 572122"/>
                <a:gd name="connsiteY3" fmla="*/ 544830 h 634365"/>
                <a:gd name="connsiteX4" fmla="*/ 309384 w 572122"/>
                <a:gd name="connsiteY4" fmla="*/ 634365 h 634365"/>
                <a:gd name="connsiteX5" fmla="*/ 449321 w 572122"/>
                <a:gd name="connsiteY5" fmla="*/ 603885 h 634365"/>
                <a:gd name="connsiteX6" fmla="*/ 561651 w 572122"/>
                <a:gd name="connsiteY6" fmla="*/ 515303 h 634365"/>
                <a:gd name="connsiteX7" fmla="*/ 564507 w 572122"/>
                <a:gd name="connsiteY7" fmla="*/ 511493 h 634365"/>
                <a:gd name="connsiteX8" fmla="*/ 489303 w 572122"/>
                <a:gd name="connsiteY8" fmla="*/ 435293 h 634365"/>
                <a:gd name="connsiteX9" fmla="*/ 485495 w 572122"/>
                <a:gd name="connsiteY9" fmla="*/ 440055 h 634365"/>
                <a:gd name="connsiteX10" fmla="*/ 320808 w 572122"/>
                <a:gd name="connsiteY10" fmla="*/ 514350 h 634365"/>
                <a:gd name="connsiteX11" fmla="*/ 136129 w 572122"/>
                <a:gd name="connsiteY11" fmla="*/ 371475 h 634365"/>
                <a:gd name="connsiteX12" fmla="*/ 571171 w 572122"/>
                <a:gd name="connsiteY12" fmla="*/ 371475 h 634365"/>
                <a:gd name="connsiteX13" fmla="*/ 571171 w 572122"/>
                <a:gd name="connsiteY13" fmla="*/ 366713 h 634365"/>
                <a:gd name="connsiteX14" fmla="*/ 572123 w 572122"/>
                <a:gd name="connsiteY14" fmla="*/ 287655 h 634365"/>
                <a:gd name="connsiteX15" fmla="*/ 498823 w 572122"/>
                <a:gd name="connsiteY15" fmla="*/ 85725 h 634365"/>
                <a:gd name="connsiteX16" fmla="*/ 297961 w 572122"/>
                <a:gd name="connsiteY16" fmla="*/ 0 h 634365"/>
                <a:gd name="connsiteX17" fmla="*/ 136129 w 572122"/>
                <a:gd name="connsiteY17" fmla="*/ 268605 h 634365"/>
                <a:gd name="connsiteX18" fmla="*/ 299865 w 572122"/>
                <a:gd name="connsiteY18" fmla="*/ 125730 h 634365"/>
                <a:gd name="connsiteX19" fmla="*/ 444561 w 572122"/>
                <a:gd name="connsiteY19" fmla="*/ 268605 h 634365"/>
                <a:gd name="connsiteX20" fmla="*/ 136129 w 572122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2122" h="634365">
                  <a:moveTo>
                    <a:pt x="297961" y="0"/>
                  </a:moveTo>
                  <a:cubicBezTo>
                    <a:pt x="217045" y="0"/>
                    <a:pt x="141841" y="32385"/>
                    <a:pt x="86628" y="90488"/>
                  </a:cubicBezTo>
                  <a:cubicBezTo>
                    <a:pt x="30462" y="149543"/>
                    <a:pt x="0" y="230505"/>
                    <a:pt x="0" y="318135"/>
                  </a:cubicBezTo>
                  <a:cubicBezTo>
                    <a:pt x="0" y="405765"/>
                    <a:pt x="28559" y="487680"/>
                    <a:pt x="82820" y="544830"/>
                  </a:cubicBezTo>
                  <a:cubicBezTo>
                    <a:pt x="138985" y="603885"/>
                    <a:pt x="217045" y="634365"/>
                    <a:pt x="309384" y="634365"/>
                  </a:cubicBezTo>
                  <a:cubicBezTo>
                    <a:pt x="357934" y="634365"/>
                    <a:pt x="406483" y="623888"/>
                    <a:pt x="449321" y="603885"/>
                  </a:cubicBezTo>
                  <a:cubicBezTo>
                    <a:pt x="494063" y="582930"/>
                    <a:pt x="532141" y="553403"/>
                    <a:pt x="561651" y="515303"/>
                  </a:cubicBezTo>
                  <a:lnTo>
                    <a:pt x="564507" y="511493"/>
                  </a:lnTo>
                  <a:lnTo>
                    <a:pt x="489303" y="435293"/>
                  </a:lnTo>
                  <a:lnTo>
                    <a:pt x="485495" y="440055"/>
                  </a:lnTo>
                  <a:cubicBezTo>
                    <a:pt x="444561" y="487680"/>
                    <a:pt x="384588" y="514350"/>
                    <a:pt x="320808" y="514350"/>
                  </a:cubicBezTo>
                  <a:cubicBezTo>
                    <a:pt x="211333" y="514350"/>
                    <a:pt x="150408" y="467678"/>
                    <a:pt x="136129" y="371475"/>
                  </a:cubicBezTo>
                  <a:lnTo>
                    <a:pt x="571171" y="371475"/>
                  </a:lnTo>
                  <a:lnTo>
                    <a:pt x="571171" y="366713"/>
                  </a:lnTo>
                  <a:cubicBezTo>
                    <a:pt x="572123" y="324803"/>
                    <a:pt x="572123" y="309563"/>
                    <a:pt x="572123" y="287655"/>
                  </a:cubicBezTo>
                  <a:cubicBezTo>
                    <a:pt x="572123" y="210503"/>
                    <a:pt x="546420" y="139065"/>
                    <a:pt x="498823" y="85725"/>
                  </a:cubicBezTo>
                  <a:cubicBezTo>
                    <a:pt x="450273" y="29528"/>
                    <a:pt x="379829" y="0"/>
                    <a:pt x="297961" y="0"/>
                  </a:cubicBezTo>
                  <a:close/>
                  <a:moveTo>
                    <a:pt x="136129" y="268605"/>
                  </a:moveTo>
                  <a:cubicBezTo>
                    <a:pt x="149456" y="172403"/>
                    <a:pt x="202766" y="125730"/>
                    <a:pt x="299865" y="125730"/>
                  </a:cubicBezTo>
                  <a:cubicBezTo>
                    <a:pt x="382685" y="125730"/>
                    <a:pt x="440754" y="182880"/>
                    <a:pt x="444561" y="268605"/>
                  </a:cubicBezTo>
                  <a:lnTo>
                    <a:pt x="136129" y="268605"/>
                  </a:ln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65" name="Forma libre 1164">
              <a:extLst>
                <a:ext uri="{FF2B5EF4-FFF2-40B4-BE49-F238E27FC236}">
                  <a16:creationId xmlns:a16="http://schemas.microsoft.com/office/drawing/2014/main" id="{718B3595-3458-8569-C782-0E10C5587B32}"/>
                </a:ext>
              </a:extLst>
            </p:cNvPr>
            <p:cNvSpPr/>
            <p:nvPr/>
          </p:nvSpPr>
          <p:spPr>
            <a:xfrm>
              <a:off x="3508670" y="2050732"/>
              <a:ext cx="232276" cy="823912"/>
            </a:xfrm>
            <a:custGeom>
              <a:avLst/>
              <a:gdLst>
                <a:gd name="connsiteX0" fmla="*/ 134225 w 232276"/>
                <a:gd name="connsiteY0" fmla="*/ 701040 h 823912"/>
                <a:gd name="connsiteX1" fmla="*/ 130417 w 232276"/>
                <a:gd name="connsiteY1" fmla="*/ 681038 h 823912"/>
                <a:gd name="connsiteX2" fmla="*/ 130417 w 232276"/>
                <a:gd name="connsiteY2" fmla="*/ 0 h 823912"/>
                <a:gd name="connsiteX3" fmla="*/ 0 w 232276"/>
                <a:gd name="connsiteY3" fmla="*/ 0 h 823912"/>
                <a:gd name="connsiteX4" fmla="*/ 0 w 232276"/>
                <a:gd name="connsiteY4" fmla="*/ 688658 h 823912"/>
                <a:gd name="connsiteX5" fmla="*/ 26655 w 232276"/>
                <a:gd name="connsiteY5" fmla="*/ 789623 h 823912"/>
                <a:gd name="connsiteX6" fmla="*/ 106619 w 232276"/>
                <a:gd name="connsiteY6" fmla="*/ 823913 h 823912"/>
                <a:gd name="connsiteX7" fmla="*/ 232276 w 232276"/>
                <a:gd name="connsiteY7" fmla="*/ 823913 h 823912"/>
                <a:gd name="connsiteX8" fmla="*/ 232276 w 232276"/>
                <a:gd name="connsiteY8" fmla="*/ 705803 h 823912"/>
                <a:gd name="connsiteX9" fmla="*/ 147553 w 232276"/>
                <a:gd name="connsiteY9" fmla="*/ 705803 h 823912"/>
                <a:gd name="connsiteX10" fmla="*/ 134225 w 232276"/>
                <a:gd name="connsiteY10" fmla="*/ 701040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2276" h="823912">
                  <a:moveTo>
                    <a:pt x="134225" y="701040"/>
                  </a:moveTo>
                  <a:cubicBezTo>
                    <a:pt x="132321" y="698183"/>
                    <a:pt x="130417" y="691515"/>
                    <a:pt x="130417" y="681038"/>
                  </a:cubicBezTo>
                  <a:lnTo>
                    <a:pt x="130417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0" y="766763"/>
                    <a:pt x="26655" y="789623"/>
                  </a:cubicBezTo>
                  <a:cubicBezTo>
                    <a:pt x="44742" y="812483"/>
                    <a:pt x="71396" y="823913"/>
                    <a:pt x="106619" y="823913"/>
                  </a:cubicBezTo>
                  <a:lnTo>
                    <a:pt x="232276" y="823913"/>
                  </a:lnTo>
                  <a:lnTo>
                    <a:pt x="232276" y="705803"/>
                  </a:lnTo>
                  <a:lnTo>
                    <a:pt x="147553" y="705803"/>
                  </a:lnTo>
                  <a:cubicBezTo>
                    <a:pt x="138033" y="705803"/>
                    <a:pt x="135177" y="702945"/>
                    <a:pt x="134225" y="701040"/>
                  </a:cubicBez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66" name="Forma libre 1165">
              <a:extLst>
                <a:ext uri="{FF2B5EF4-FFF2-40B4-BE49-F238E27FC236}">
                  <a16:creationId xmlns:a16="http://schemas.microsoft.com/office/drawing/2014/main" id="{ED7C8CAF-93BC-C55A-F51E-8BB8E079C3AE}"/>
                </a:ext>
              </a:extLst>
            </p:cNvPr>
            <p:cNvSpPr/>
            <p:nvPr/>
          </p:nvSpPr>
          <p:spPr>
            <a:xfrm>
              <a:off x="5786690" y="2254567"/>
              <a:ext cx="907346" cy="619125"/>
            </a:xfrm>
            <a:custGeom>
              <a:avLst/>
              <a:gdLst>
                <a:gd name="connsiteX0" fmla="*/ 856757 w 907346"/>
                <a:gd name="connsiteY0" fmla="*/ 64770 h 619125"/>
                <a:gd name="connsiteX1" fmla="*/ 706348 w 907346"/>
                <a:gd name="connsiteY1" fmla="*/ 0 h 619125"/>
                <a:gd name="connsiteX2" fmla="*/ 579739 w 907346"/>
                <a:gd name="connsiteY2" fmla="*/ 41910 h 619125"/>
                <a:gd name="connsiteX3" fmla="*/ 506438 w 907346"/>
                <a:gd name="connsiteY3" fmla="*/ 144780 h 619125"/>
                <a:gd name="connsiteX4" fmla="*/ 500727 w 907346"/>
                <a:gd name="connsiteY4" fmla="*/ 144780 h 619125"/>
                <a:gd name="connsiteX5" fmla="*/ 317952 w 907346"/>
                <a:gd name="connsiteY5" fmla="*/ 0 h 619125"/>
                <a:gd name="connsiteX6" fmla="*/ 124706 w 907346"/>
                <a:gd name="connsiteY6" fmla="*/ 130493 h 619125"/>
                <a:gd name="connsiteX7" fmla="*/ 119946 w 907346"/>
                <a:gd name="connsiteY7" fmla="*/ 130493 h 619125"/>
                <a:gd name="connsiteX8" fmla="*/ 111378 w 907346"/>
                <a:gd name="connsiteY8" fmla="*/ 16193 h 619125"/>
                <a:gd name="connsiteX9" fmla="*/ 0 w 907346"/>
                <a:gd name="connsiteY9" fmla="*/ 16193 h 619125"/>
                <a:gd name="connsiteX10" fmla="*/ 0 w 907346"/>
                <a:gd name="connsiteY10" fmla="*/ 619125 h 619125"/>
                <a:gd name="connsiteX11" fmla="*/ 130417 w 907346"/>
                <a:gd name="connsiteY11" fmla="*/ 619125 h 619125"/>
                <a:gd name="connsiteX12" fmla="*/ 130417 w 907346"/>
                <a:gd name="connsiteY12" fmla="*/ 282893 h 619125"/>
                <a:gd name="connsiteX13" fmla="*/ 161832 w 907346"/>
                <a:gd name="connsiteY13" fmla="*/ 174308 h 619125"/>
                <a:gd name="connsiteX14" fmla="*/ 277018 w 907346"/>
                <a:gd name="connsiteY14" fmla="*/ 111443 h 619125"/>
                <a:gd name="connsiteX15" fmla="*/ 388396 w 907346"/>
                <a:gd name="connsiteY15" fmla="*/ 257175 h 619125"/>
                <a:gd name="connsiteX16" fmla="*/ 388396 w 907346"/>
                <a:gd name="connsiteY16" fmla="*/ 619125 h 619125"/>
                <a:gd name="connsiteX17" fmla="*/ 518814 w 907346"/>
                <a:gd name="connsiteY17" fmla="*/ 619125 h 619125"/>
                <a:gd name="connsiteX18" fmla="*/ 518814 w 907346"/>
                <a:gd name="connsiteY18" fmla="*/ 282893 h 619125"/>
                <a:gd name="connsiteX19" fmla="*/ 552132 w 907346"/>
                <a:gd name="connsiteY19" fmla="*/ 172403 h 619125"/>
                <a:gd name="connsiteX20" fmla="*/ 666366 w 907346"/>
                <a:gd name="connsiteY20" fmla="*/ 111443 h 619125"/>
                <a:gd name="connsiteX21" fmla="*/ 747282 w 907346"/>
                <a:gd name="connsiteY21" fmla="*/ 145733 h 619125"/>
                <a:gd name="connsiteX22" fmla="*/ 776793 w 907346"/>
                <a:gd name="connsiteY22" fmla="*/ 257175 h 619125"/>
                <a:gd name="connsiteX23" fmla="*/ 776793 w 907346"/>
                <a:gd name="connsiteY23" fmla="*/ 619125 h 619125"/>
                <a:gd name="connsiteX24" fmla="*/ 907210 w 907346"/>
                <a:gd name="connsiteY24" fmla="*/ 619125 h 619125"/>
                <a:gd name="connsiteX25" fmla="*/ 907210 w 907346"/>
                <a:gd name="connsiteY25" fmla="*/ 240983 h 619125"/>
                <a:gd name="connsiteX26" fmla="*/ 856757 w 907346"/>
                <a:gd name="connsiteY26" fmla="*/ 64770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07346" h="619125">
                  <a:moveTo>
                    <a:pt x="856757" y="64770"/>
                  </a:moveTo>
                  <a:cubicBezTo>
                    <a:pt x="821534" y="21908"/>
                    <a:pt x="770129" y="0"/>
                    <a:pt x="706348" y="0"/>
                  </a:cubicBezTo>
                  <a:cubicBezTo>
                    <a:pt x="656847" y="0"/>
                    <a:pt x="614009" y="14288"/>
                    <a:pt x="579739" y="41910"/>
                  </a:cubicBezTo>
                  <a:cubicBezTo>
                    <a:pt x="550228" y="65723"/>
                    <a:pt x="525477" y="100013"/>
                    <a:pt x="506438" y="144780"/>
                  </a:cubicBezTo>
                  <a:lnTo>
                    <a:pt x="500727" y="144780"/>
                  </a:lnTo>
                  <a:cubicBezTo>
                    <a:pt x="475024" y="51435"/>
                    <a:pt x="410291" y="0"/>
                    <a:pt x="317952" y="0"/>
                  </a:cubicBezTo>
                  <a:cubicBezTo>
                    <a:pt x="225612" y="0"/>
                    <a:pt x="159928" y="46673"/>
                    <a:pt x="124706" y="130493"/>
                  </a:cubicBezTo>
                  <a:lnTo>
                    <a:pt x="119946" y="130493"/>
                  </a:lnTo>
                  <a:lnTo>
                    <a:pt x="111378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0417" y="619125"/>
                  </a:lnTo>
                  <a:lnTo>
                    <a:pt x="130417" y="282893"/>
                  </a:lnTo>
                  <a:cubicBezTo>
                    <a:pt x="130417" y="254318"/>
                    <a:pt x="138985" y="210503"/>
                    <a:pt x="161832" y="174308"/>
                  </a:cubicBezTo>
                  <a:cubicBezTo>
                    <a:pt x="179919" y="145733"/>
                    <a:pt x="215141" y="111443"/>
                    <a:pt x="277018" y="111443"/>
                  </a:cubicBezTo>
                  <a:cubicBezTo>
                    <a:pt x="351270" y="111443"/>
                    <a:pt x="388396" y="160020"/>
                    <a:pt x="388396" y="257175"/>
                  </a:cubicBezTo>
                  <a:lnTo>
                    <a:pt x="388396" y="619125"/>
                  </a:lnTo>
                  <a:lnTo>
                    <a:pt x="518814" y="619125"/>
                  </a:lnTo>
                  <a:lnTo>
                    <a:pt x="518814" y="282893"/>
                  </a:lnTo>
                  <a:cubicBezTo>
                    <a:pt x="518814" y="244793"/>
                    <a:pt x="531189" y="202883"/>
                    <a:pt x="552132" y="172403"/>
                  </a:cubicBezTo>
                  <a:cubicBezTo>
                    <a:pt x="571171" y="144780"/>
                    <a:pt x="606393" y="111443"/>
                    <a:pt x="666366" y="111443"/>
                  </a:cubicBezTo>
                  <a:cubicBezTo>
                    <a:pt x="701588" y="111443"/>
                    <a:pt x="729195" y="122873"/>
                    <a:pt x="747282" y="145733"/>
                  </a:cubicBezTo>
                  <a:cubicBezTo>
                    <a:pt x="767273" y="169545"/>
                    <a:pt x="776793" y="207645"/>
                    <a:pt x="776793" y="257175"/>
                  </a:cubicBezTo>
                  <a:lnTo>
                    <a:pt x="776793" y="619125"/>
                  </a:lnTo>
                  <a:lnTo>
                    <a:pt x="907210" y="619125"/>
                  </a:lnTo>
                  <a:lnTo>
                    <a:pt x="907210" y="240983"/>
                  </a:lnTo>
                  <a:cubicBezTo>
                    <a:pt x="909114" y="166688"/>
                    <a:pt x="891027" y="106680"/>
                    <a:pt x="856757" y="64770"/>
                  </a:cubicBez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67" name="Forma libre 1166">
              <a:extLst>
                <a:ext uri="{FF2B5EF4-FFF2-40B4-BE49-F238E27FC236}">
                  <a16:creationId xmlns:a16="http://schemas.microsoft.com/office/drawing/2014/main" id="{0ECA3A0F-492E-0098-D0E9-35588BE5E040}"/>
                </a:ext>
              </a:extLst>
            </p:cNvPr>
            <p:cNvSpPr/>
            <p:nvPr/>
          </p:nvSpPr>
          <p:spPr>
            <a:xfrm>
              <a:off x="4437774" y="2254567"/>
              <a:ext cx="566411" cy="635317"/>
            </a:xfrm>
            <a:custGeom>
              <a:avLst/>
              <a:gdLst>
                <a:gd name="connsiteX0" fmla="*/ 293201 w 566411"/>
                <a:gd name="connsiteY0" fmla="*/ 129540 h 635317"/>
                <a:gd name="connsiteX1" fmla="*/ 297009 w 566411"/>
                <a:gd name="connsiteY1" fmla="*/ 129540 h 635317"/>
                <a:gd name="connsiteX2" fmla="*/ 458841 w 566411"/>
                <a:gd name="connsiteY2" fmla="*/ 234315 h 635317"/>
                <a:gd name="connsiteX3" fmla="*/ 566411 w 566411"/>
                <a:gd name="connsiteY3" fmla="*/ 186690 h 635317"/>
                <a:gd name="connsiteX4" fmla="*/ 288442 w 566411"/>
                <a:gd name="connsiteY4" fmla="*/ 0 h 635317"/>
                <a:gd name="connsiteX5" fmla="*/ 82820 w 566411"/>
                <a:gd name="connsiteY5" fmla="*/ 91440 h 635317"/>
                <a:gd name="connsiteX6" fmla="*/ 0 w 566411"/>
                <a:gd name="connsiteY6" fmla="*/ 320993 h 635317"/>
                <a:gd name="connsiteX7" fmla="*/ 290345 w 566411"/>
                <a:gd name="connsiteY7" fmla="*/ 635318 h 635317"/>
                <a:gd name="connsiteX8" fmla="*/ 446465 w 566411"/>
                <a:gd name="connsiteY8" fmla="*/ 597218 h 635317"/>
                <a:gd name="connsiteX9" fmla="*/ 561651 w 566411"/>
                <a:gd name="connsiteY9" fmla="*/ 481013 h 635317"/>
                <a:gd name="connsiteX10" fmla="*/ 563556 w 566411"/>
                <a:gd name="connsiteY10" fmla="*/ 477203 h 635317"/>
                <a:gd name="connsiteX11" fmla="*/ 473120 w 566411"/>
                <a:gd name="connsiteY11" fmla="*/ 417195 h 635317"/>
                <a:gd name="connsiteX12" fmla="*/ 470264 w 566411"/>
                <a:gd name="connsiteY12" fmla="*/ 421958 h 635317"/>
                <a:gd name="connsiteX13" fmla="*/ 301769 w 566411"/>
                <a:gd name="connsiteY13" fmla="*/ 515303 h 635317"/>
                <a:gd name="connsiteX14" fmla="*/ 179919 w 566411"/>
                <a:gd name="connsiteY14" fmla="*/ 461010 h 635317"/>
                <a:gd name="connsiteX15" fmla="*/ 132321 w 566411"/>
                <a:gd name="connsiteY15" fmla="*/ 320040 h 635317"/>
                <a:gd name="connsiteX16" fmla="*/ 181823 w 566411"/>
                <a:gd name="connsiteY16" fmla="*/ 179070 h 635317"/>
                <a:gd name="connsiteX17" fmla="*/ 293201 w 566411"/>
                <a:gd name="connsiteY17" fmla="*/ 12954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66411" h="635317">
                  <a:moveTo>
                    <a:pt x="293201" y="129540"/>
                  </a:moveTo>
                  <a:lnTo>
                    <a:pt x="297009" y="129540"/>
                  </a:lnTo>
                  <a:cubicBezTo>
                    <a:pt x="317952" y="130493"/>
                    <a:pt x="417907" y="138113"/>
                    <a:pt x="458841" y="234315"/>
                  </a:cubicBezTo>
                  <a:lnTo>
                    <a:pt x="566411" y="186690"/>
                  </a:lnTo>
                  <a:cubicBezTo>
                    <a:pt x="566411" y="186690"/>
                    <a:pt x="515958" y="0"/>
                    <a:pt x="288442" y="0"/>
                  </a:cubicBezTo>
                  <a:cubicBezTo>
                    <a:pt x="208477" y="0"/>
                    <a:pt x="135177" y="32385"/>
                    <a:pt x="82820" y="91440"/>
                  </a:cubicBezTo>
                  <a:cubicBezTo>
                    <a:pt x="29511" y="150495"/>
                    <a:pt x="0" y="231458"/>
                    <a:pt x="0" y="320993"/>
                  </a:cubicBezTo>
                  <a:cubicBezTo>
                    <a:pt x="0" y="502920"/>
                    <a:pt x="121850" y="635318"/>
                    <a:pt x="290345" y="635318"/>
                  </a:cubicBezTo>
                  <a:cubicBezTo>
                    <a:pt x="348414" y="635318"/>
                    <a:pt x="400772" y="622935"/>
                    <a:pt x="446465" y="597218"/>
                  </a:cubicBezTo>
                  <a:cubicBezTo>
                    <a:pt x="494063" y="570548"/>
                    <a:pt x="533093" y="531495"/>
                    <a:pt x="561651" y="481013"/>
                  </a:cubicBezTo>
                  <a:lnTo>
                    <a:pt x="563556" y="477203"/>
                  </a:lnTo>
                  <a:lnTo>
                    <a:pt x="473120" y="417195"/>
                  </a:lnTo>
                  <a:lnTo>
                    <a:pt x="470264" y="421958"/>
                  </a:lnTo>
                  <a:cubicBezTo>
                    <a:pt x="432186" y="481013"/>
                    <a:pt x="370309" y="515303"/>
                    <a:pt x="301769" y="515303"/>
                  </a:cubicBezTo>
                  <a:cubicBezTo>
                    <a:pt x="254171" y="515303"/>
                    <a:pt x="210381" y="496253"/>
                    <a:pt x="179919" y="461010"/>
                  </a:cubicBezTo>
                  <a:cubicBezTo>
                    <a:pt x="149457" y="425768"/>
                    <a:pt x="132321" y="375285"/>
                    <a:pt x="132321" y="320040"/>
                  </a:cubicBezTo>
                  <a:cubicBezTo>
                    <a:pt x="132321" y="261938"/>
                    <a:pt x="149457" y="213360"/>
                    <a:pt x="181823" y="179070"/>
                  </a:cubicBezTo>
                  <a:cubicBezTo>
                    <a:pt x="212285" y="146685"/>
                    <a:pt x="251315" y="129540"/>
                    <a:pt x="293201" y="129540"/>
                  </a:cubicBez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68" name="Forma libre 1167">
              <a:extLst>
                <a:ext uri="{FF2B5EF4-FFF2-40B4-BE49-F238E27FC236}">
                  <a16:creationId xmlns:a16="http://schemas.microsoft.com/office/drawing/2014/main" id="{5F161E5F-BF89-7A94-6FD0-867E876AC74B}"/>
                </a:ext>
              </a:extLst>
            </p:cNvPr>
            <p:cNvSpPr/>
            <p:nvPr/>
          </p:nvSpPr>
          <p:spPr>
            <a:xfrm>
              <a:off x="5079390" y="2254567"/>
              <a:ext cx="605441" cy="226695"/>
            </a:xfrm>
            <a:custGeom>
              <a:avLst/>
              <a:gdLst>
                <a:gd name="connsiteX0" fmla="*/ 302721 w 605441"/>
                <a:gd name="connsiteY0" fmla="*/ 125730 h 226695"/>
                <a:gd name="connsiteX1" fmla="*/ 471216 w 605441"/>
                <a:gd name="connsiteY1" fmla="*/ 226695 h 226695"/>
                <a:gd name="connsiteX2" fmla="*/ 605441 w 605441"/>
                <a:gd name="connsiteY2" fmla="*/ 226695 h 226695"/>
                <a:gd name="connsiteX3" fmla="*/ 302721 w 605441"/>
                <a:gd name="connsiteY3" fmla="*/ 0 h 226695"/>
                <a:gd name="connsiteX4" fmla="*/ 0 w 605441"/>
                <a:gd name="connsiteY4" fmla="*/ 226695 h 226695"/>
                <a:gd name="connsiteX5" fmla="*/ 135177 w 605441"/>
                <a:gd name="connsiteY5" fmla="*/ 226695 h 226695"/>
                <a:gd name="connsiteX6" fmla="*/ 302721 w 605441"/>
                <a:gd name="connsiteY6" fmla="*/ 125730 h 226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5441" h="226695">
                  <a:moveTo>
                    <a:pt x="302721" y="125730"/>
                  </a:moveTo>
                  <a:cubicBezTo>
                    <a:pt x="375069" y="125730"/>
                    <a:pt x="438850" y="166688"/>
                    <a:pt x="471216" y="226695"/>
                  </a:cubicBezTo>
                  <a:lnTo>
                    <a:pt x="605441" y="226695"/>
                  </a:lnTo>
                  <a:cubicBezTo>
                    <a:pt x="566411" y="95250"/>
                    <a:pt x="445514" y="0"/>
                    <a:pt x="302721" y="0"/>
                  </a:cubicBezTo>
                  <a:cubicBezTo>
                    <a:pt x="159928" y="0"/>
                    <a:pt x="39030" y="96203"/>
                    <a:pt x="0" y="226695"/>
                  </a:cubicBezTo>
                  <a:lnTo>
                    <a:pt x="135177" y="226695"/>
                  </a:lnTo>
                  <a:cubicBezTo>
                    <a:pt x="166592" y="166688"/>
                    <a:pt x="230372" y="125730"/>
                    <a:pt x="302721" y="125730"/>
                  </a:cubicBez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69" name="Forma libre 1168">
              <a:extLst>
                <a:ext uri="{FF2B5EF4-FFF2-40B4-BE49-F238E27FC236}">
                  <a16:creationId xmlns:a16="http://schemas.microsoft.com/office/drawing/2014/main" id="{11245BC4-64EC-6E95-364F-D0D660DF9892}"/>
                </a:ext>
              </a:extLst>
            </p:cNvPr>
            <p:cNvSpPr/>
            <p:nvPr/>
          </p:nvSpPr>
          <p:spPr>
            <a:xfrm>
              <a:off x="5066062" y="2543175"/>
              <a:ext cx="632095" cy="345757"/>
            </a:xfrm>
            <a:custGeom>
              <a:avLst/>
              <a:gdLst>
                <a:gd name="connsiteX0" fmla="*/ 505486 w 632095"/>
                <a:gd name="connsiteY0" fmla="*/ 0 h 345757"/>
                <a:gd name="connsiteX1" fmla="*/ 507390 w 632095"/>
                <a:gd name="connsiteY1" fmla="*/ 28575 h 345757"/>
                <a:gd name="connsiteX2" fmla="*/ 316048 w 632095"/>
                <a:gd name="connsiteY2" fmla="*/ 220027 h 345757"/>
                <a:gd name="connsiteX3" fmla="*/ 124706 w 632095"/>
                <a:gd name="connsiteY3" fmla="*/ 28575 h 345757"/>
                <a:gd name="connsiteX4" fmla="*/ 126610 w 632095"/>
                <a:gd name="connsiteY4" fmla="*/ 0 h 345757"/>
                <a:gd name="connsiteX5" fmla="*/ 952 w 632095"/>
                <a:gd name="connsiteY5" fmla="*/ 0 h 345757"/>
                <a:gd name="connsiteX6" fmla="*/ 0 w 632095"/>
                <a:gd name="connsiteY6" fmla="*/ 28575 h 345757"/>
                <a:gd name="connsiteX7" fmla="*/ 316048 w 632095"/>
                <a:gd name="connsiteY7" fmla="*/ 345758 h 345757"/>
                <a:gd name="connsiteX8" fmla="*/ 632096 w 632095"/>
                <a:gd name="connsiteY8" fmla="*/ 28575 h 345757"/>
                <a:gd name="connsiteX9" fmla="*/ 631144 w 632095"/>
                <a:gd name="connsiteY9" fmla="*/ 0 h 345757"/>
                <a:gd name="connsiteX10" fmla="*/ 505486 w 632095"/>
                <a:gd name="connsiteY10" fmla="*/ 0 h 345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2095" h="345757">
                  <a:moveTo>
                    <a:pt x="505486" y="0"/>
                  </a:moveTo>
                  <a:cubicBezTo>
                    <a:pt x="506438" y="9525"/>
                    <a:pt x="507390" y="19050"/>
                    <a:pt x="507390" y="28575"/>
                  </a:cubicBezTo>
                  <a:cubicBezTo>
                    <a:pt x="507390" y="134302"/>
                    <a:pt x="421715" y="220027"/>
                    <a:pt x="316048" y="220027"/>
                  </a:cubicBezTo>
                  <a:cubicBezTo>
                    <a:pt x="210381" y="220027"/>
                    <a:pt x="124706" y="134302"/>
                    <a:pt x="124706" y="28575"/>
                  </a:cubicBezTo>
                  <a:cubicBezTo>
                    <a:pt x="124706" y="19050"/>
                    <a:pt x="125658" y="9525"/>
                    <a:pt x="126610" y="0"/>
                  </a:cubicBezTo>
                  <a:lnTo>
                    <a:pt x="952" y="0"/>
                  </a:lnTo>
                  <a:cubicBezTo>
                    <a:pt x="0" y="9525"/>
                    <a:pt x="0" y="19050"/>
                    <a:pt x="0" y="28575"/>
                  </a:cubicBezTo>
                  <a:cubicBezTo>
                    <a:pt x="0" y="203835"/>
                    <a:pt x="141841" y="345758"/>
                    <a:pt x="316048" y="345758"/>
                  </a:cubicBezTo>
                  <a:cubicBezTo>
                    <a:pt x="490255" y="345758"/>
                    <a:pt x="632096" y="202883"/>
                    <a:pt x="632096" y="28575"/>
                  </a:cubicBezTo>
                  <a:cubicBezTo>
                    <a:pt x="632096" y="19050"/>
                    <a:pt x="632096" y="9525"/>
                    <a:pt x="631144" y="0"/>
                  </a:cubicBezTo>
                  <a:lnTo>
                    <a:pt x="505486" y="0"/>
                  </a:ln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grpSp>
        <p:nvGrpSpPr>
          <p:cNvPr id="1170" name="Gráfico 61">
            <a:extLst>
              <a:ext uri="{FF2B5EF4-FFF2-40B4-BE49-F238E27FC236}">
                <a16:creationId xmlns:a16="http://schemas.microsoft.com/office/drawing/2014/main" id="{97321D91-D0BF-60DC-058C-4A1F343B9310}"/>
              </a:ext>
            </a:extLst>
          </p:cNvPr>
          <p:cNvGrpSpPr>
            <a:grpSpLocks noChangeAspect="1"/>
          </p:cNvGrpSpPr>
          <p:nvPr/>
        </p:nvGrpSpPr>
        <p:grpSpPr>
          <a:xfrm>
            <a:off x="7525809" y="3895850"/>
            <a:ext cx="576000" cy="137955"/>
            <a:chOff x="0" y="1477046"/>
            <a:chExt cx="7770161" cy="1860995"/>
          </a:xfrm>
          <a:solidFill>
            <a:srgbClr val="0066FF"/>
          </a:solidFill>
        </p:grpSpPr>
        <p:grpSp>
          <p:nvGrpSpPr>
            <p:cNvPr id="1171" name="Gráfico 61">
              <a:extLst>
                <a:ext uri="{FF2B5EF4-FFF2-40B4-BE49-F238E27FC236}">
                  <a16:creationId xmlns:a16="http://schemas.microsoft.com/office/drawing/2014/main" id="{929CFD6B-1052-8BB5-4C53-1F55F49959EB}"/>
                </a:ext>
              </a:extLst>
            </p:cNvPr>
            <p:cNvGrpSpPr/>
            <p:nvPr/>
          </p:nvGrpSpPr>
          <p:grpSpPr>
            <a:xfrm>
              <a:off x="0" y="1477046"/>
              <a:ext cx="1864779" cy="1860995"/>
              <a:chOff x="0" y="1477046"/>
              <a:chExt cx="1864779" cy="1860995"/>
            </a:xfrm>
            <a:solidFill>
              <a:srgbClr val="0066FF"/>
            </a:solidFill>
          </p:grpSpPr>
          <p:sp>
            <p:nvSpPr>
              <p:cNvPr id="1183" name="Forma libre 1182">
                <a:extLst>
                  <a:ext uri="{FF2B5EF4-FFF2-40B4-BE49-F238E27FC236}">
                    <a16:creationId xmlns:a16="http://schemas.microsoft.com/office/drawing/2014/main" id="{2A7CECBE-915B-1331-3FBF-D42E52B37BC6}"/>
                  </a:ext>
                </a:extLst>
              </p:cNvPr>
              <p:cNvSpPr/>
              <p:nvPr/>
            </p:nvSpPr>
            <p:spPr>
              <a:xfrm>
                <a:off x="0" y="1477046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84" name="Forma libre 1183">
                <a:extLst>
                  <a:ext uri="{FF2B5EF4-FFF2-40B4-BE49-F238E27FC236}">
                    <a16:creationId xmlns:a16="http://schemas.microsoft.com/office/drawing/2014/main" id="{77A864DD-E911-B2B7-0D7C-A2B2A014EC72}"/>
                  </a:ext>
                </a:extLst>
              </p:cNvPr>
              <p:cNvSpPr/>
              <p:nvPr/>
            </p:nvSpPr>
            <p:spPr>
              <a:xfrm>
                <a:off x="654164" y="1477046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85" name="Forma libre 1184">
                <a:extLst>
                  <a:ext uri="{FF2B5EF4-FFF2-40B4-BE49-F238E27FC236}">
                    <a16:creationId xmlns:a16="http://schemas.microsoft.com/office/drawing/2014/main" id="{EFC16427-299A-A861-3CED-D6FBBF8DECE8}"/>
                  </a:ext>
                </a:extLst>
              </p:cNvPr>
              <p:cNvSpPr/>
              <p:nvPr/>
            </p:nvSpPr>
            <p:spPr>
              <a:xfrm>
                <a:off x="1308329" y="1477046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86" name="Forma libre 1185">
                <a:extLst>
                  <a:ext uri="{FF2B5EF4-FFF2-40B4-BE49-F238E27FC236}">
                    <a16:creationId xmlns:a16="http://schemas.microsoft.com/office/drawing/2014/main" id="{A9AC96F0-7C34-88EE-A532-156414012676}"/>
                  </a:ext>
                </a:extLst>
              </p:cNvPr>
              <p:cNvSpPr/>
              <p:nvPr/>
            </p:nvSpPr>
            <p:spPr>
              <a:xfrm>
                <a:off x="654164" y="2129883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65" name="Forma libre 1264">
                <a:extLst>
                  <a:ext uri="{FF2B5EF4-FFF2-40B4-BE49-F238E27FC236}">
                    <a16:creationId xmlns:a16="http://schemas.microsoft.com/office/drawing/2014/main" id="{1DD24E27-CC47-70AE-0104-E9C8640A51D6}"/>
                  </a:ext>
                </a:extLst>
              </p:cNvPr>
              <p:cNvSpPr/>
              <p:nvPr/>
            </p:nvSpPr>
            <p:spPr>
              <a:xfrm>
                <a:off x="654164" y="2782720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grpSp>
          <p:nvGrpSpPr>
            <p:cNvPr id="1172" name="Gráfico 61">
              <a:extLst>
                <a:ext uri="{FF2B5EF4-FFF2-40B4-BE49-F238E27FC236}">
                  <a16:creationId xmlns:a16="http://schemas.microsoft.com/office/drawing/2014/main" id="{6DDD2307-F734-55C5-CE3C-0A463835EC21}"/>
                </a:ext>
              </a:extLst>
            </p:cNvPr>
            <p:cNvGrpSpPr/>
            <p:nvPr/>
          </p:nvGrpSpPr>
          <p:grpSpPr>
            <a:xfrm>
              <a:off x="2198947" y="1998124"/>
              <a:ext cx="5571214" cy="914865"/>
              <a:chOff x="2198947" y="1998124"/>
              <a:chExt cx="5571214" cy="914865"/>
            </a:xfrm>
            <a:solidFill>
              <a:srgbClr val="0066FF"/>
            </a:solidFill>
          </p:grpSpPr>
          <p:sp>
            <p:nvSpPr>
              <p:cNvPr id="1173" name="Forma libre 1172">
                <a:extLst>
                  <a:ext uri="{FF2B5EF4-FFF2-40B4-BE49-F238E27FC236}">
                    <a16:creationId xmlns:a16="http://schemas.microsoft.com/office/drawing/2014/main" id="{92DC58EE-C2D5-BCD0-C2E3-3F2393F2A84F}"/>
                  </a:ext>
                </a:extLst>
              </p:cNvPr>
              <p:cNvSpPr/>
              <p:nvPr/>
            </p:nvSpPr>
            <p:spPr>
              <a:xfrm>
                <a:off x="2198947" y="2036833"/>
                <a:ext cx="678779" cy="862757"/>
              </a:xfrm>
              <a:custGeom>
                <a:avLst/>
                <a:gdLst>
                  <a:gd name="connsiteX0" fmla="*/ 258831 w 678779"/>
                  <a:gd name="connsiteY0" fmla="*/ 154091 h 862757"/>
                  <a:gd name="connsiteX1" fmla="*/ 0 w 678779"/>
                  <a:gd name="connsiteY1" fmla="*/ 154091 h 862757"/>
                  <a:gd name="connsiteX2" fmla="*/ 0 w 678779"/>
                  <a:gd name="connsiteY2" fmla="*/ 0 h 862757"/>
                  <a:gd name="connsiteX3" fmla="*/ 678780 w 678779"/>
                  <a:gd name="connsiteY3" fmla="*/ 0 h 862757"/>
                  <a:gd name="connsiteX4" fmla="*/ 678780 w 678779"/>
                  <a:gd name="connsiteY4" fmla="*/ 154091 h 862757"/>
                  <a:gd name="connsiteX5" fmla="*/ 419202 w 678779"/>
                  <a:gd name="connsiteY5" fmla="*/ 154091 h 862757"/>
                  <a:gd name="connsiteX6" fmla="*/ 419202 w 678779"/>
                  <a:gd name="connsiteY6" fmla="*/ 862758 h 862757"/>
                  <a:gd name="connsiteX7" fmla="*/ 258831 w 678779"/>
                  <a:gd name="connsiteY7" fmla="*/ 862758 h 862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8779" h="862757">
                    <a:moveTo>
                      <a:pt x="258831" y="154091"/>
                    </a:moveTo>
                    <a:lnTo>
                      <a:pt x="0" y="154091"/>
                    </a:lnTo>
                    <a:lnTo>
                      <a:pt x="0" y="0"/>
                    </a:lnTo>
                    <a:lnTo>
                      <a:pt x="678780" y="0"/>
                    </a:lnTo>
                    <a:lnTo>
                      <a:pt x="678780" y="154091"/>
                    </a:lnTo>
                    <a:lnTo>
                      <a:pt x="419202" y="154091"/>
                    </a:lnTo>
                    <a:lnTo>
                      <a:pt x="419202" y="862758"/>
                    </a:lnTo>
                    <a:lnTo>
                      <a:pt x="258831" y="862758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74" name="Forma libre 1173">
                <a:extLst>
                  <a:ext uri="{FF2B5EF4-FFF2-40B4-BE49-F238E27FC236}">
                    <a16:creationId xmlns:a16="http://schemas.microsoft.com/office/drawing/2014/main" id="{1A4066F1-AA24-A577-A88B-B69E783CD01B}"/>
                  </a:ext>
                </a:extLst>
              </p:cNvPr>
              <p:cNvSpPr/>
              <p:nvPr/>
            </p:nvSpPr>
            <p:spPr>
              <a:xfrm>
                <a:off x="2809103" y="2258664"/>
                <a:ext cx="629549" cy="653581"/>
              </a:xfrm>
              <a:custGeom>
                <a:avLst/>
                <a:gdLst>
                  <a:gd name="connsiteX0" fmla="*/ 475146 w 629549"/>
                  <a:gd name="connsiteY0" fmla="*/ 271705 h 653581"/>
                  <a:gd name="connsiteX1" fmla="*/ 320742 w 629549"/>
                  <a:gd name="connsiteY1" fmla="*/ 130270 h 653581"/>
                  <a:gd name="connsiteX2" fmla="*/ 153658 w 629549"/>
                  <a:gd name="connsiteY2" fmla="*/ 271705 h 653581"/>
                  <a:gd name="connsiteX3" fmla="*/ 475146 w 629549"/>
                  <a:gd name="connsiteY3" fmla="*/ 271705 h 653581"/>
                  <a:gd name="connsiteX4" fmla="*/ 610902 w 629549"/>
                  <a:gd name="connsiteY4" fmla="*/ 456316 h 653581"/>
                  <a:gd name="connsiteX5" fmla="*/ 320742 w 629549"/>
                  <a:gd name="connsiteY5" fmla="*/ 653582 h 653581"/>
                  <a:gd name="connsiteX6" fmla="*/ 0 w 629549"/>
                  <a:gd name="connsiteY6" fmla="*/ 326791 h 653581"/>
                  <a:gd name="connsiteX7" fmla="*/ 320742 w 629549"/>
                  <a:gd name="connsiteY7" fmla="*/ 0 h 653581"/>
                  <a:gd name="connsiteX8" fmla="*/ 629549 w 629549"/>
                  <a:gd name="connsiteY8" fmla="*/ 314136 h 653581"/>
                  <a:gd name="connsiteX9" fmla="*/ 625820 w 629549"/>
                  <a:gd name="connsiteY9" fmla="*/ 358800 h 653581"/>
                  <a:gd name="connsiteX10" fmla="*/ 623582 w 629549"/>
                  <a:gd name="connsiteY10" fmla="*/ 375921 h 653581"/>
                  <a:gd name="connsiteX11" fmla="*/ 154404 w 629549"/>
                  <a:gd name="connsiteY11" fmla="*/ 375921 h 653581"/>
                  <a:gd name="connsiteX12" fmla="*/ 321488 w 629549"/>
                  <a:gd name="connsiteY12" fmla="*/ 524056 h 653581"/>
                  <a:gd name="connsiteX13" fmla="*/ 451277 w 629549"/>
                  <a:gd name="connsiteY13" fmla="*/ 456316 h 653581"/>
                  <a:gd name="connsiteX14" fmla="*/ 610902 w 629549"/>
                  <a:gd name="connsiteY14" fmla="*/ 456316 h 65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29549" h="653581">
                    <a:moveTo>
                      <a:pt x="475146" y="271705"/>
                    </a:moveTo>
                    <a:cubicBezTo>
                      <a:pt x="461719" y="191310"/>
                      <a:pt x="408760" y="130270"/>
                      <a:pt x="320742" y="130270"/>
                    </a:cubicBezTo>
                    <a:cubicBezTo>
                      <a:pt x="226757" y="130270"/>
                      <a:pt x="172306" y="192055"/>
                      <a:pt x="153658" y="271705"/>
                    </a:cubicBezTo>
                    <a:lnTo>
                      <a:pt x="475146" y="271705"/>
                    </a:lnTo>
                    <a:close/>
                    <a:moveTo>
                      <a:pt x="610902" y="456316"/>
                    </a:moveTo>
                    <a:cubicBezTo>
                      <a:pt x="597475" y="505446"/>
                      <a:pt x="519155" y="653582"/>
                      <a:pt x="320742" y="653582"/>
                    </a:cubicBezTo>
                    <a:cubicBezTo>
                      <a:pt x="135756" y="653582"/>
                      <a:pt x="0" y="518101"/>
                      <a:pt x="0" y="326791"/>
                    </a:cubicBezTo>
                    <a:cubicBezTo>
                      <a:pt x="0" y="135480"/>
                      <a:pt x="135756" y="0"/>
                      <a:pt x="320742" y="0"/>
                    </a:cubicBezTo>
                    <a:cubicBezTo>
                      <a:pt x="493793" y="0"/>
                      <a:pt x="629549" y="135480"/>
                      <a:pt x="629549" y="314136"/>
                    </a:cubicBezTo>
                    <a:cubicBezTo>
                      <a:pt x="629549" y="332746"/>
                      <a:pt x="627312" y="347634"/>
                      <a:pt x="625820" y="358800"/>
                    </a:cubicBezTo>
                    <a:lnTo>
                      <a:pt x="623582" y="375921"/>
                    </a:lnTo>
                    <a:lnTo>
                      <a:pt x="154404" y="375921"/>
                    </a:lnTo>
                    <a:cubicBezTo>
                      <a:pt x="167830" y="463760"/>
                      <a:pt x="233470" y="524056"/>
                      <a:pt x="321488" y="524056"/>
                    </a:cubicBezTo>
                    <a:cubicBezTo>
                      <a:pt x="394587" y="524056"/>
                      <a:pt x="438596" y="482370"/>
                      <a:pt x="451277" y="456316"/>
                    </a:cubicBezTo>
                    <a:lnTo>
                      <a:pt x="610902" y="456316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75" name="Forma libre 1174">
                <a:extLst>
                  <a:ext uri="{FF2B5EF4-FFF2-40B4-BE49-F238E27FC236}">
                    <a16:creationId xmlns:a16="http://schemas.microsoft.com/office/drawing/2014/main" id="{EC68C48E-4A47-4D2B-183B-C7310824E541}"/>
                  </a:ext>
                </a:extLst>
              </p:cNvPr>
              <p:cNvSpPr/>
              <p:nvPr/>
            </p:nvSpPr>
            <p:spPr>
              <a:xfrm>
                <a:off x="3531146" y="2036833"/>
                <a:ext cx="154403" cy="862757"/>
              </a:xfrm>
              <a:custGeom>
                <a:avLst/>
                <a:gdLst>
                  <a:gd name="connsiteX0" fmla="*/ 0 w 154403"/>
                  <a:gd name="connsiteY0" fmla="*/ 0 h 862757"/>
                  <a:gd name="connsiteX1" fmla="*/ 154404 w 154403"/>
                  <a:gd name="connsiteY1" fmla="*/ 0 h 862757"/>
                  <a:gd name="connsiteX2" fmla="*/ 154404 w 154403"/>
                  <a:gd name="connsiteY2" fmla="*/ 862758 h 862757"/>
                  <a:gd name="connsiteX3" fmla="*/ 0 w 154403"/>
                  <a:gd name="connsiteY3" fmla="*/ 862758 h 862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4403" h="862757">
                    <a:moveTo>
                      <a:pt x="0" y="0"/>
                    </a:moveTo>
                    <a:lnTo>
                      <a:pt x="154404" y="0"/>
                    </a:lnTo>
                    <a:lnTo>
                      <a:pt x="154404" y="862758"/>
                    </a:lnTo>
                    <a:lnTo>
                      <a:pt x="0" y="862758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76" name="Forma libre 1175">
                <a:extLst>
                  <a:ext uri="{FF2B5EF4-FFF2-40B4-BE49-F238E27FC236}">
                    <a16:creationId xmlns:a16="http://schemas.microsoft.com/office/drawing/2014/main" id="{29F8360D-2CB4-C901-6137-18D6CB9339C3}"/>
                  </a:ext>
                </a:extLst>
              </p:cNvPr>
              <p:cNvSpPr/>
              <p:nvPr/>
            </p:nvSpPr>
            <p:spPr>
              <a:xfrm>
                <a:off x="3778788" y="2258664"/>
                <a:ext cx="629549" cy="653581"/>
              </a:xfrm>
              <a:custGeom>
                <a:avLst/>
                <a:gdLst>
                  <a:gd name="connsiteX0" fmla="*/ 474400 w 629549"/>
                  <a:gd name="connsiteY0" fmla="*/ 271705 h 653581"/>
                  <a:gd name="connsiteX1" fmla="*/ 319996 w 629549"/>
                  <a:gd name="connsiteY1" fmla="*/ 130270 h 653581"/>
                  <a:gd name="connsiteX2" fmla="*/ 152912 w 629549"/>
                  <a:gd name="connsiteY2" fmla="*/ 271705 h 653581"/>
                  <a:gd name="connsiteX3" fmla="*/ 474400 w 629549"/>
                  <a:gd name="connsiteY3" fmla="*/ 271705 h 653581"/>
                  <a:gd name="connsiteX4" fmla="*/ 610902 w 629549"/>
                  <a:gd name="connsiteY4" fmla="*/ 456316 h 653581"/>
                  <a:gd name="connsiteX5" fmla="*/ 320742 w 629549"/>
                  <a:gd name="connsiteY5" fmla="*/ 653582 h 653581"/>
                  <a:gd name="connsiteX6" fmla="*/ 0 w 629549"/>
                  <a:gd name="connsiteY6" fmla="*/ 326791 h 653581"/>
                  <a:gd name="connsiteX7" fmla="*/ 320742 w 629549"/>
                  <a:gd name="connsiteY7" fmla="*/ 0 h 653581"/>
                  <a:gd name="connsiteX8" fmla="*/ 629549 w 629549"/>
                  <a:gd name="connsiteY8" fmla="*/ 314136 h 653581"/>
                  <a:gd name="connsiteX9" fmla="*/ 625820 w 629549"/>
                  <a:gd name="connsiteY9" fmla="*/ 358800 h 653581"/>
                  <a:gd name="connsiteX10" fmla="*/ 623582 w 629549"/>
                  <a:gd name="connsiteY10" fmla="*/ 375921 h 653581"/>
                  <a:gd name="connsiteX11" fmla="*/ 154404 w 629549"/>
                  <a:gd name="connsiteY11" fmla="*/ 375921 h 653581"/>
                  <a:gd name="connsiteX12" fmla="*/ 321488 w 629549"/>
                  <a:gd name="connsiteY12" fmla="*/ 524056 h 653581"/>
                  <a:gd name="connsiteX13" fmla="*/ 451276 w 629549"/>
                  <a:gd name="connsiteY13" fmla="*/ 456316 h 653581"/>
                  <a:gd name="connsiteX14" fmla="*/ 610902 w 629549"/>
                  <a:gd name="connsiteY14" fmla="*/ 456316 h 65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29549" h="653581">
                    <a:moveTo>
                      <a:pt x="474400" y="271705"/>
                    </a:moveTo>
                    <a:cubicBezTo>
                      <a:pt x="460974" y="191310"/>
                      <a:pt x="408014" y="130270"/>
                      <a:pt x="319996" y="130270"/>
                    </a:cubicBezTo>
                    <a:cubicBezTo>
                      <a:pt x="226011" y="130270"/>
                      <a:pt x="171559" y="192055"/>
                      <a:pt x="152912" y="271705"/>
                    </a:cubicBezTo>
                    <a:lnTo>
                      <a:pt x="474400" y="271705"/>
                    </a:lnTo>
                    <a:close/>
                    <a:moveTo>
                      <a:pt x="610902" y="456316"/>
                    </a:moveTo>
                    <a:cubicBezTo>
                      <a:pt x="597475" y="505446"/>
                      <a:pt x="519155" y="653582"/>
                      <a:pt x="320742" y="653582"/>
                    </a:cubicBezTo>
                    <a:cubicBezTo>
                      <a:pt x="135756" y="653582"/>
                      <a:pt x="0" y="518101"/>
                      <a:pt x="0" y="326791"/>
                    </a:cubicBezTo>
                    <a:cubicBezTo>
                      <a:pt x="0" y="135480"/>
                      <a:pt x="135756" y="0"/>
                      <a:pt x="320742" y="0"/>
                    </a:cubicBezTo>
                    <a:cubicBezTo>
                      <a:pt x="493793" y="0"/>
                      <a:pt x="629549" y="135480"/>
                      <a:pt x="629549" y="314136"/>
                    </a:cubicBezTo>
                    <a:cubicBezTo>
                      <a:pt x="629549" y="332746"/>
                      <a:pt x="627312" y="347634"/>
                      <a:pt x="625820" y="358800"/>
                    </a:cubicBezTo>
                    <a:lnTo>
                      <a:pt x="623582" y="375921"/>
                    </a:lnTo>
                    <a:lnTo>
                      <a:pt x="154404" y="375921"/>
                    </a:lnTo>
                    <a:cubicBezTo>
                      <a:pt x="167830" y="463760"/>
                      <a:pt x="233471" y="524056"/>
                      <a:pt x="321488" y="524056"/>
                    </a:cubicBezTo>
                    <a:cubicBezTo>
                      <a:pt x="394587" y="524056"/>
                      <a:pt x="438596" y="482370"/>
                      <a:pt x="451276" y="456316"/>
                    </a:cubicBezTo>
                    <a:lnTo>
                      <a:pt x="610902" y="456316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77" name="Forma libre 1176">
                <a:extLst>
                  <a:ext uri="{FF2B5EF4-FFF2-40B4-BE49-F238E27FC236}">
                    <a16:creationId xmlns:a16="http://schemas.microsoft.com/office/drawing/2014/main" id="{00DFFCEE-0774-6696-7225-26D756DDFD07}"/>
                  </a:ext>
                </a:extLst>
              </p:cNvPr>
              <p:cNvSpPr/>
              <p:nvPr/>
            </p:nvSpPr>
            <p:spPr>
              <a:xfrm>
                <a:off x="4444888" y="2024923"/>
                <a:ext cx="395333" cy="875412"/>
              </a:xfrm>
              <a:custGeom>
                <a:avLst/>
                <a:gdLst>
                  <a:gd name="connsiteX0" fmla="*/ 105173 w 395333"/>
                  <a:gd name="connsiteY0" fmla="*/ 394531 h 875412"/>
                  <a:gd name="connsiteX1" fmla="*/ 0 w 395333"/>
                  <a:gd name="connsiteY1" fmla="*/ 394531 h 875412"/>
                  <a:gd name="connsiteX2" fmla="*/ 0 w 395333"/>
                  <a:gd name="connsiteY2" fmla="*/ 246396 h 875412"/>
                  <a:gd name="connsiteX3" fmla="*/ 105173 w 395333"/>
                  <a:gd name="connsiteY3" fmla="*/ 246396 h 875412"/>
                  <a:gd name="connsiteX4" fmla="*/ 105173 w 395333"/>
                  <a:gd name="connsiteY4" fmla="*/ 154091 h 875412"/>
                  <a:gd name="connsiteX5" fmla="*/ 259577 w 395333"/>
                  <a:gd name="connsiteY5" fmla="*/ 0 h 875412"/>
                  <a:gd name="connsiteX6" fmla="*/ 395333 w 395333"/>
                  <a:gd name="connsiteY6" fmla="*/ 0 h 875412"/>
                  <a:gd name="connsiteX7" fmla="*/ 395333 w 395333"/>
                  <a:gd name="connsiteY7" fmla="*/ 135481 h 875412"/>
                  <a:gd name="connsiteX8" fmla="*/ 302840 w 395333"/>
                  <a:gd name="connsiteY8" fmla="*/ 135481 h 875412"/>
                  <a:gd name="connsiteX9" fmla="*/ 259577 w 395333"/>
                  <a:gd name="connsiteY9" fmla="*/ 178656 h 875412"/>
                  <a:gd name="connsiteX10" fmla="*/ 259577 w 395333"/>
                  <a:gd name="connsiteY10" fmla="*/ 246396 h 875412"/>
                  <a:gd name="connsiteX11" fmla="*/ 395333 w 395333"/>
                  <a:gd name="connsiteY11" fmla="*/ 246396 h 875412"/>
                  <a:gd name="connsiteX12" fmla="*/ 395333 w 395333"/>
                  <a:gd name="connsiteY12" fmla="*/ 394531 h 875412"/>
                  <a:gd name="connsiteX13" fmla="*/ 259577 w 395333"/>
                  <a:gd name="connsiteY13" fmla="*/ 394531 h 875412"/>
                  <a:gd name="connsiteX14" fmla="*/ 259577 w 395333"/>
                  <a:gd name="connsiteY14" fmla="*/ 875413 h 875412"/>
                  <a:gd name="connsiteX15" fmla="*/ 105173 w 395333"/>
                  <a:gd name="connsiteY15" fmla="*/ 875413 h 875412"/>
                  <a:gd name="connsiteX16" fmla="*/ 105173 w 395333"/>
                  <a:gd name="connsiteY16" fmla="*/ 394531 h 875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95333" h="875412">
                    <a:moveTo>
                      <a:pt x="105173" y="394531"/>
                    </a:moveTo>
                    <a:lnTo>
                      <a:pt x="0" y="394531"/>
                    </a:lnTo>
                    <a:lnTo>
                      <a:pt x="0" y="246396"/>
                    </a:lnTo>
                    <a:lnTo>
                      <a:pt x="105173" y="246396"/>
                    </a:lnTo>
                    <a:lnTo>
                      <a:pt x="105173" y="154091"/>
                    </a:lnTo>
                    <a:cubicBezTo>
                      <a:pt x="105173" y="60296"/>
                      <a:pt x="165592" y="0"/>
                      <a:pt x="259577" y="0"/>
                    </a:cubicBezTo>
                    <a:lnTo>
                      <a:pt x="395333" y="0"/>
                    </a:lnTo>
                    <a:lnTo>
                      <a:pt x="395333" y="135481"/>
                    </a:lnTo>
                    <a:lnTo>
                      <a:pt x="302840" y="135481"/>
                    </a:lnTo>
                    <a:cubicBezTo>
                      <a:pt x="278225" y="135481"/>
                      <a:pt x="259577" y="154091"/>
                      <a:pt x="259577" y="178656"/>
                    </a:cubicBezTo>
                    <a:lnTo>
                      <a:pt x="259577" y="246396"/>
                    </a:lnTo>
                    <a:lnTo>
                      <a:pt x="395333" y="246396"/>
                    </a:lnTo>
                    <a:lnTo>
                      <a:pt x="395333" y="394531"/>
                    </a:lnTo>
                    <a:lnTo>
                      <a:pt x="259577" y="394531"/>
                    </a:lnTo>
                    <a:lnTo>
                      <a:pt x="259577" y="875413"/>
                    </a:lnTo>
                    <a:lnTo>
                      <a:pt x="105173" y="875413"/>
                    </a:lnTo>
                    <a:lnTo>
                      <a:pt x="105173" y="394531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78" name="Forma libre 1177">
                <a:extLst>
                  <a:ext uri="{FF2B5EF4-FFF2-40B4-BE49-F238E27FC236}">
                    <a16:creationId xmlns:a16="http://schemas.microsoft.com/office/drawing/2014/main" id="{096DD318-BB47-F6AB-A416-168CF3E9CA2D}"/>
                  </a:ext>
                </a:extLst>
              </p:cNvPr>
              <p:cNvSpPr/>
              <p:nvPr/>
            </p:nvSpPr>
            <p:spPr>
              <a:xfrm>
                <a:off x="5598067" y="2258664"/>
                <a:ext cx="580319" cy="640927"/>
              </a:xfrm>
              <a:custGeom>
                <a:avLst/>
                <a:gdLst>
                  <a:gd name="connsiteX0" fmla="*/ 0 w 580319"/>
                  <a:gd name="connsiteY0" fmla="*/ 12655 h 640927"/>
                  <a:gd name="connsiteX1" fmla="*/ 141723 w 580319"/>
                  <a:gd name="connsiteY1" fmla="*/ 12655 h 640927"/>
                  <a:gd name="connsiteX2" fmla="*/ 154404 w 580319"/>
                  <a:gd name="connsiteY2" fmla="*/ 74440 h 640927"/>
                  <a:gd name="connsiteX3" fmla="*/ 160371 w 580319"/>
                  <a:gd name="connsiteY3" fmla="*/ 74440 h 640927"/>
                  <a:gd name="connsiteX4" fmla="*/ 202142 w 580319"/>
                  <a:gd name="connsiteY4" fmla="*/ 37220 h 640927"/>
                  <a:gd name="connsiteX5" fmla="*/ 333423 w 580319"/>
                  <a:gd name="connsiteY5" fmla="*/ 0 h 640927"/>
                  <a:gd name="connsiteX6" fmla="*/ 580319 w 580319"/>
                  <a:gd name="connsiteY6" fmla="*/ 265006 h 640927"/>
                  <a:gd name="connsiteX7" fmla="*/ 580319 w 580319"/>
                  <a:gd name="connsiteY7" fmla="*/ 640927 h 640927"/>
                  <a:gd name="connsiteX8" fmla="*/ 425915 w 580319"/>
                  <a:gd name="connsiteY8" fmla="*/ 640927 h 640927"/>
                  <a:gd name="connsiteX9" fmla="*/ 425915 w 580319"/>
                  <a:gd name="connsiteY9" fmla="*/ 277661 h 640927"/>
                  <a:gd name="connsiteX10" fmla="*/ 290160 w 580319"/>
                  <a:gd name="connsiteY10" fmla="*/ 142180 h 640927"/>
                  <a:gd name="connsiteX11" fmla="*/ 154404 w 580319"/>
                  <a:gd name="connsiteY11" fmla="*/ 277661 h 640927"/>
                  <a:gd name="connsiteX12" fmla="*/ 154404 w 580319"/>
                  <a:gd name="connsiteY12" fmla="*/ 640927 h 640927"/>
                  <a:gd name="connsiteX13" fmla="*/ 0 w 580319"/>
                  <a:gd name="connsiteY13" fmla="*/ 640927 h 640927"/>
                  <a:gd name="connsiteX14" fmla="*/ 0 w 580319"/>
                  <a:gd name="connsiteY14" fmla="*/ 12655 h 640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80319" h="640927">
                    <a:moveTo>
                      <a:pt x="0" y="12655"/>
                    </a:moveTo>
                    <a:lnTo>
                      <a:pt x="141723" y="12655"/>
                    </a:lnTo>
                    <a:lnTo>
                      <a:pt x="154404" y="74440"/>
                    </a:lnTo>
                    <a:lnTo>
                      <a:pt x="160371" y="74440"/>
                    </a:lnTo>
                    <a:cubicBezTo>
                      <a:pt x="171560" y="61041"/>
                      <a:pt x="186478" y="48386"/>
                      <a:pt x="202142" y="37220"/>
                    </a:cubicBezTo>
                    <a:cubicBezTo>
                      <a:pt x="230487" y="18610"/>
                      <a:pt x="273750" y="0"/>
                      <a:pt x="333423" y="0"/>
                    </a:cubicBezTo>
                    <a:cubicBezTo>
                      <a:pt x="475146" y="0"/>
                      <a:pt x="580319" y="104960"/>
                      <a:pt x="580319" y="265006"/>
                    </a:cubicBezTo>
                    <a:lnTo>
                      <a:pt x="580319" y="640927"/>
                    </a:lnTo>
                    <a:lnTo>
                      <a:pt x="425915" y="640927"/>
                    </a:lnTo>
                    <a:lnTo>
                      <a:pt x="425915" y="277661"/>
                    </a:lnTo>
                    <a:cubicBezTo>
                      <a:pt x="425915" y="197266"/>
                      <a:pt x="369972" y="142180"/>
                      <a:pt x="290160" y="142180"/>
                    </a:cubicBezTo>
                    <a:cubicBezTo>
                      <a:pt x="209601" y="142180"/>
                      <a:pt x="154404" y="198010"/>
                      <a:pt x="154404" y="277661"/>
                    </a:cubicBezTo>
                    <a:lnTo>
                      <a:pt x="154404" y="640927"/>
                    </a:lnTo>
                    <a:lnTo>
                      <a:pt x="0" y="640927"/>
                    </a:lnTo>
                    <a:lnTo>
                      <a:pt x="0" y="12655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79" name="Forma libre 1178">
                <a:extLst>
                  <a:ext uri="{FF2B5EF4-FFF2-40B4-BE49-F238E27FC236}">
                    <a16:creationId xmlns:a16="http://schemas.microsoft.com/office/drawing/2014/main" id="{EC4DE5F1-E924-EFB8-56DF-6191DCE05F1B}"/>
                  </a:ext>
                </a:extLst>
              </p:cNvPr>
              <p:cNvSpPr/>
              <p:nvPr/>
            </p:nvSpPr>
            <p:spPr>
              <a:xfrm>
                <a:off x="6544629" y="2258664"/>
                <a:ext cx="616868" cy="653581"/>
              </a:xfrm>
              <a:custGeom>
                <a:avLst/>
                <a:gdLst>
                  <a:gd name="connsiteX0" fmla="*/ 616869 w 616868"/>
                  <a:gd name="connsiteY0" fmla="*/ 407186 h 653581"/>
                  <a:gd name="connsiteX1" fmla="*/ 320742 w 616868"/>
                  <a:gd name="connsiteY1" fmla="*/ 653582 h 653581"/>
                  <a:gd name="connsiteX2" fmla="*/ 0 w 616868"/>
                  <a:gd name="connsiteY2" fmla="*/ 326791 h 653581"/>
                  <a:gd name="connsiteX3" fmla="*/ 320742 w 616868"/>
                  <a:gd name="connsiteY3" fmla="*/ 0 h 653581"/>
                  <a:gd name="connsiteX4" fmla="*/ 616869 w 616868"/>
                  <a:gd name="connsiteY4" fmla="*/ 240441 h 653581"/>
                  <a:gd name="connsiteX5" fmla="*/ 462465 w 616868"/>
                  <a:gd name="connsiteY5" fmla="*/ 240441 h 653581"/>
                  <a:gd name="connsiteX6" fmla="*/ 320742 w 616868"/>
                  <a:gd name="connsiteY6" fmla="*/ 142180 h 653581"/>
                  <a:gd name="connsiteX7" fmla="*/ 153658 w 616868"/>
                  <a:gd name="connsiteY7" fmla="*/ 326791 h 653581"/>
                  <a:gd name="connsiteX8" fmla="*/ 320742 w 616868"/>
                  <a:gd name="connsiteY8" fmla="*/ 511402 h 653581"/>
                  <a:gd name="connsiteX9" fmla="*/ 462465 w 616868"/>
                  <a:gd name="connsiteY9" fmla="*/ 406442 h 653581"/>
                  <a:gd name="connsiteX10" fmla="*/ 616869 w 616868"/>
                  <a:gd name="connsiteY10" fmla="*/ 406442 h 65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6868" h="653581">
                    <a:moveTo>
                      <a:pt x="616869" y="407186"/>
                    </a:moveTo>
                    <a:cubicBezTo>
                      <a:pt x="596729" y="505446"/>
                      <a:pt x="519154" y="653582"/>
                      <a:pt x="320742" y="653582"/>
                    </a:cubicBezTo>
                    <a:cubicBezTo>
                      <a:pt x="135756" y="653582"/>
                      <a:pt x="0" y="518101"/>
                      <a:pt x="0" y="326791"/>
                    </a:cubicBezTo>
                    <a:cubicBezTo>
                      <a:pt x="0" y="135480"/>
                      <a:pt x="135756" y="0"/>
                      <a:pt x="320742" y="0"/>
                    </a:cubicBezTo>
                    <a:cubicBezTo>
                      <a:pt x="519900" y="0"/>
                      <a:pt x="597475" y="148135"/>
                      <a:pt x="616869" y="240441"/>
                    </a:cubicBezTo>
                    <a:lnTo>
                      <a:pt x="462465" y="240441"/>
                    </a:lnTo>
                    <a:cubicBezTo>
                      <a:pt x="449038" y="204710"/>
                      <a:pt x="413235" y="142180"/>
                      <a:pt x="320742" y="142180"/>
                    </a:cubicBezTo>
                    <a:cubicBezTo>
                      <a:pt x="228249" y="142180"/>
                      <a:pt x="153658" y="215876"/>
                      <a:pt x="153658" y="326791"/>
                    </a:cubicBezTo>
                    <a:cubicBezTo>
                      <a:pt x="153658" y="437706"/>
                      <a:pt x="227503" y="511402"/>
                      <a:pt x="320742" y="511402"/>
                    </a:cubicBezTo>
                    <a:cubicBezTo>
                      <a:pt x="413981" y="511402"/>
                      <a:pt x="449038" y="449617"/>
                      <a:pt x="462465" y="406442"/>
                    </a:cubicBezTo>
                    <a:lnTo>
                      <a:pt x="616869" y="406442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80" name="Forma libre 1179">
                <a:extLst>
                  <a:ext uri="{FF2B5EF4-FFF2-40B4-BE49-F238E27FC236}">
                    <a16:creationId xmlns:a16="http://schemas.microsoft.com/office/drawing/2014/main" id="{6AC5297B-8629-2601-0C77-63DC9D37AD8C}"/>
                  </a:ext>
                </a:extLst>
              </p:cNvPr>
              <p:cNvSpPr/>
              <p:nvPr/>
            </p:nvSpPr>
            <p:spPr>
              <a:xfrm>
                <a:off x="7214458" y="2259408"/>
                <a:ext cx="555703" cy="653581"/>
              </a:xfrm>
              <a:custGeom>
                <a:avLst/>
                <a:gdLst>
                  <a:gd name="connsiteX0" fmla="*/ 401300 w 555703"/>
                  <a:gd name="connsiteY0" fmla="*/ 369222 h 653581"/>
                  <a:gd name="connsiteX1" fmla="*/ 271512 w 555703"/>
                  <a:gd name="connsiteY1" fmla="*/ 369222 h 653581"/>
                  <a:gd name="connsiteX2" fmla="*/ 154404 w 555703"/>
                  <a:gd name="connsiteY2" fmla="*/ 449617 h 653581"/>
                  <a:gd name="connsiteX3" fmla="*/ 252864 w 555703"/>
                  <a:gd name="connsiteY3" fmla="*/ 530012 h 653581"/>
                  <a:gd name="connsiteX4" fmla="*/ 401300 w 555703"/>
                  <a:gd name="connsiteY4" fmla="*/ 388576 h 653581"/>
                  <a:gd name="connsiteX5" fmla="*/ 401300 w 555703"/>
                  <a:gd name="connsiteY5" fmla="*/ 369222 h 653581"/>
                  <a:gd name="connsiteX6" fmla="*/ 413235 w 555703"/>
                  <a:gd name="connsiteY6" fmla="*/ 579142 h 653581"/>
                  <a:gd name="connsiteX7" fmla="*/ 407268 w 555703"/>
                  <a:gd name="connsiteY7" fmla="*/ 579142 h 653581"/>
                  <a:gd name="connsiteX8" fmla="*/ 364005 w 555703"/>
                  <a:gd name="connsiteY8" fmla="*/ 616362 h 653581"/>
                  <a:gd name="connsiteX9" fmla="*/ 228249 w 555703"/>
                  <a:gd name="connsiteY9" fmla="*/ 653582 h 653581"/>
                  <a:gd name="connsiteX10" fmla="*/ 0 w 555703"/>
                  <a:gd name="connsiteY10" fmla="*/ 462271 h 653581"/>
                  <a:gd name="connsiteX11" fmla="*/ 259577 w 555703"/>
                  <a:gd name="connsiteY11" fmla="*/ 252351 h 653581"/>
                  <a:gd name="connsiteX12" fmla="*/ 401300 w 555703"/>
                  <a:gd name="connsiteY12" fmla="*/ 252351 h 653581"/>
                  <a:gd name="connsiteX13" fmla="*/ 401300 w 555703"/>
                  <a:gd name="connsiteY13" fmla="*/ 239696 h 653581"/>
                  <a:gd name="connsiteX14" fmla="*/ 290159 w 555703"/>
                  <a:gd name="connsiteY14" fmla="*/ 122826 h 653581"/>
                  <a:gd name="connsiteX15" fmla="*/ 179019 w 555703"/>
                  <a:gd name="connsiteY15" fmla="*/ 203221 h 653581"/>
                  <a:gd name="connsiteX16" fmla="*/ 24615 w 555703"/>
                  <a:gd name="connsiteY16" fmla="*/ 203221 h 653581"/>
                  <a:gd name="connsiteX17" fmla="*/ 290159 w 555703"/>
                  <a:gd name="connsiteY17" fmla="*/ 0 h 653581"/>
                  <a:gd name="connsiteX18" fmla="*/ 555704 w 555703"/>
                  <a:gd name="connsiteY18" fmla="*/ 240441 h 653581"/>
                  <a:gd name="connsiteX19" fmla="*/ 555704 w 555703"/>
                  <a:gd name="connsiteY19" fmla="*/ 640927 h 653581"/>
                  <a:gd name="connsiteX20" fmla="*/ 425916 w 555703"/>
                  <a:gd name="connsiteY20" fmla="*/ 640927 h 653581"/>
                  <a:gd name="connsiteX21" fmla="*/ 413235 w 555703"/>
                  <a:gd name="connsiteY21" fmla="*/ 579142 h 65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5703" h="653581">
                    <a:moveTo>
                      <a:pt x="401300" y="369222"/>
                    </a:moveTo>
                    <a:lnTo>
                      <a:pt x="271512" y="369222"/>
                    </a:lnTo>
                    <a:cubicBezTo>
                      <a:pt x="190953" y="369222"/>
                      <a:pt x="154404" y="399742"/>
                      <a:pt x="154404" y="449617"/>
                    </a:cubicBezTo>
                    <a:cubicBezTo>
                      <a:pt x="154404" y="498747"/>
                      <a:pt x="190207" y="530012"/>
                      <a:pt x="252864" y="530012"/>
                    </a:cubicBezTo>
                    <a:cubicBezTo>
                      <a:pt x="346849" y="530012"/>
                      <a:pt x="401300" y="475671"/>
                      <a:pt x="401300" y="388576"/>
                    </a:cubicBezTo>
                    <a:lnTo>
                      <a:pt x="401300" y="369222"/>
                    </a:lnTo>
                    <a:close/>
                    <a:moveTo>
                      <a:pt x="413235" y="579142"/>
                    </a:moveTo>
                    <a:lnTo>
                      <a:pt x="407268" y="579142"/>
                    </a:lnTo>
                    <a:cubicBezTo>
                      <a:pt x="396079" y="592541"/>
                      <a:pt x="381161" y="605196"/>
                      <a:pt x="364005" y="616362"/>
                    </a:cubicBezTo>
                    <a:cubicBezTo>
                      <a:pt x="334168" y="634972"/>
                      <a:pt x="290906" y="653582"/>
                      <a:pt x="228249" y="653582"/>
                    </a:cubicBezTo>
                    <a:cubicBezTo>
                      <a:pt x="85034" y="653582"/>
                      <a:pt x="0" y="565743"/>
                      <a:pt x="0" y="462271"/>
                    </a:cubicBezTo>
                    <a:cubicBezTo>
                      <a:pt x="0" y="338701"/>
                      <a:pt x="86526" y="252351"/>
                      <a:pt x="259577" y="252351"/>
                    </a:cubicBezTo>
                    <a:lnTo>
                      <a:pt x="401300" y="252351"/>
                    </a:lnTo>
                    <a:lnTo>
                      <a:pt x="401300" y="239696"/>
                    </a:lnTo>
                    <a:cubicBezTo>
                      <a:pt x="401300" y="170467"/>
                      <a:pt x="359530" y="122826"/>
                      <a:pt x="290159" y="122826"/>
                    </a:cubicBezTo>
                    <a:cubicBezTo>
                      <a:pt x="220790" y="122826"/>
                      <a:pt x="184986" y="167490"/>
                      <a:pt x="179019" y="203221"/>
                    </a:cubicBezTo>
                    <a:lnTo>
                      <a:pt x="24615" y="203221"/>
                    </a:lnTo>
                    <a:cubicBezTo>
                      <a:pt x="38041" y="99749"/>
                      <a:pt x="122329" y="0"/>
                      <a:pt x="290159" y="0"/>
                    </a:cubicBezTo>
                    <a:cubicBezTo>
                      <a:pt x="450530" y="0"/>
                      <a:pt x="555704" y="105705"/>
                      <a:pt x="555704" y="240441"/>
                    </a:cubicBezTo>
                    <a:lnTo>
                      <a:pt x="555704" y="640927"/>
                    </a:lnTo>
                    <a:lnTo>
                      <a:pt x="425916" y="640927"/>
                    </a:lnTo>
                    <a:lnTo>
                      <a:pt x="413235" y="579142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81" name="Forma libre 1180">
                <a:extLst>
                  <a:ext uri="{FF2B5EF4-FFF2-40B4-BE49-F238E27FC236}">
                    <a16:creationId xmlns:a16="http://schemas.microsoft.com/office/drawing/2014/main" id="{5F2EF489-21F6-8E9B-E076-BEA3DE2E2440}"/>
                  </a:ext>
                </a:extLst>
              </p:cNvPr>
              <p:cNvSpPr/>
              <p:nvPr/>
            </p:nvSpPr>
            <p:spPr>
              <a:xfrm>
                <a:off x="6282068" y="1998124"/>
                <a:ext cx="183494" cy="901466"/>
              </a:xfrm>
              <a:custGeom>
                <a:avLst/>
                <a:gdLst>
                  <a:gd name="connsiteX0" fmla="*/ 14918 w 183494"/>
                  <a:gd name="connsiteY0" fmla="*/ 273194 h 901466"/>
                  <a:gd name="connsiteX1" fmla="*/ 169322 w 183494"/>
                  <a:gd name="connsiteY1" fmla="*/ 273194 h 901466"/>
                  <a:gd name="connsiteX2" fmla="*/ 169322 w 183494"/>
                  <a:gd name="connsiteY2" fmla="*/ 901467 h 901466"/>
                  <a:gd name="connsiteX3" fmla="*/ 14918 w 183494"/>
                  <a:gd name="connsiteY3" fmla="*/ 901467 h 901466"/>
                  <a:gd name="connsiteX4" fmla="*/ 14918 w 183494"/>
                  <a:gd name="connsiteY4" fmla="*/ 273194 h 901466"/>
                  <a:gd name="connsiteX5" fmla="*/ 183494 w 183494"/>
                  <a:gd name="connsiteY5" fmla="*/ 91561 h 901466"/>
                  <a:gd name="connsiteX6" fmla="*/ 91747 w 183494"/>
                  <a:gd name="connsiteY6" fmla="*/ 0 h 901466"/>
                  <a:gd name="connsiteX7" fmla="*/ 0 w 183494"/>
                  <a:gd name="connsiteY7" fmla="*/ 91561 h 901466"/>
                  <a:gd name="connsiteX8" fmla="*/ 91747 w 183494"/>
                  <a:gd name="connsiteY8" fmla="*/ 183122 h 901466"/>
                  <a:gd name="connsiteX9" fmla="*/ 183494 w 183494"/>
                  <a:gd name="connsiteY9" fmla="*/ 91561 h 901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3494" h="901466">
                    <a:moveTo>
                      <a:pt x="14918" y="273194"/>
                    </a:moveTo>
                    <a:lnTo>
                      <a:pt x="169322" y="273194"/>
                    </a:lnTo>
                    <a:lnTo>
                      <a:pt x="169322" y="901467"/>
                    </a:lnTo>
                    <a:lnTo>
                      <a:pt x="14918" y="901467"/>
                    </a:lnTo>
                    <a:lnTo>
                      <a:pt x="14918" y="273194"/>
                    </a:lnTo>
                    <a:close/>
                    <a:moveTo>
                      <a:pt x="183494" y="91561"/>
                    </a:moveTo>
                    <a:cubicBezTo>
                      <a:pt x="183494" y="40942"/>
                      <a:pt x="142469" y="0"/>
                      <a:pt x="91747" y="0"/>
                    </a:cubicBezTo>
                    <a:cubicBezTo>
                      <a:pt x="41025" y="0"/>
                      <a:pt x="0" y="40942"/>
                      <a:pt x="0" y="91561"/>
                    </a:cubicBezTo>
                    <a:cubicBezTo>
                      <a:pt x="0" y="142180"/>
                      <a:pt x="41025" y="183122"/>
                      <a:pt x="91747" y="183122"/>
                    </a:cubicBezTo>
                    <a:cubicBezTo>
                      <a:pt x="142469" y="182378"/>
                      <a:pt x="183494" y="142180"/>
                      <a:pt x="183494" y="915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82" name="Forma libre 1181">
                <a:extLst>
                  <a:ext uri="{FF2B5EF4-FFF2-40B4-BE49-F238E27FC236}">
                    <a16:creationId xmlns:a16="http://schemas.microsoft.com/office/drawing/2014/main" id="{B47F586F-91CF-85DA-61A0-33DFB3450CE2}"/>
                  </a:ext>
                </a:extLst>
              </p:cNvPr>
              <p:cNvSpPr/>
              <p:nvPr/>
            </p:nvSpPr>
            <p:spPr>
              <a:xfrm>
                <a:off x="4863344" y="2006313"/>
                <a:ext cx="642229" cy="905932"/>
              </a:xfrm>
              <a:custGeom>
                <a:avLst/>
                <a:gdLst>
                  <a:gd name="connsiteX0" fmla="*/ 487826 w 642229"/>
                  <a:gd name="connsiteY0" fmla="*/ 579142 h 905932"/>
                  <a:gd name="connsiteX1" fmla="*/ 320742 w 642229"/>
                  <a:gd name="connsiteY1" fmla="*/ 394531 h 905932"/>
                  <a:gd name="connsiteX2" fmla="*/ 153658 w 642229"/>
                  <a:gd name="connsiteY2" fmla="*/ 579142 h 905932"/>
                  <a:gd name="connsiteX3" fmla="*/ 320742 w 642229"/>
                  <a:gd name="connsiteY3" fmla="*/ 763753 h 905932"/>
                  <a:gd name="connsiteX4" fmla="*/ 487826 w 642229"/>
                  <a:gd name="connsiteY4" fmla="*/ 579142 h 905932"/>
                  <a:gd name="connsiteX5" fmla="*/ 642230 w 642229"/>
                  <a:gd name="connsiteY5" fmla="*/ 579142 h 905932"/>
                  <a:gd name="connsiteX6" fmla="*/ 320742 w 642229"/>
                  <a:gd name="connsiteY6" fmla="*/ 905933 h 905932"/>
                  <a:gd name="connsiteX7" fmla="*/ 0 w 642229"/>
                  <a:gd name="connsiteY7" fmla="*/ 579142 h 905932"/>
                  <a:gd name="connsiteX8" fmla="*/ 320742 w 642229"/>
                  <a:gd name="connsiteY8" fmla="*/ 252351 h 905932"/>
                  <a:gd name="connsiteX9" fmla="*/ 642230 w 642229"/>
                  <a:gd name="connsiteY9" fmla="*/ 579142 h 905932"/>
                  <a:gd name="connsiteX10" fmla="*/ 376685 w 642229"/>
                  <a:gd name="connsiteY10" fmla="*/ 0 h 905932"/>
                  <a:gd name="connsiteX11" fmla="*/ 537056 w 642229"/>
                  <a:gd name="connsiteY11" fmla="*/ 0 h 905932"/>
                  <a:gd name="connsiteX12" fmla="*/ 388620 w 642229"/>
                  <a:gd name="connsiteY12" fmla="*/ 178656 h 905932"/>
                  <a:gd name="connsiteX13" fmla="*/ 258831 w 642229"/>
                  <a:gd name="connsiteY13" fmla="*/ 178656 h 905932"/>
                  <a:gd name="connsiteX14" fmla="*/ 376685 w 642229"/>
                  <a:gd name="connsiteY14" fmla="*/ 0 h 905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42229" h="905932">
                    <a:moveTo>
                      <a:pt x="487826" y="579142"/>
                    </a:moveTo>
                    <a:cubicBezTo>
                      <a:pt x="487826" y="468227"/>
                      <a:pt x="413981" y="394531"/>
                      <a:pt x="320742" y="394531"/>
                    </a:cubicBezTo>
                    <a:cubicBezTo>
                      <a:pt x="228249" y="394531"/>
                      <a:pt x="153658" y="468227"/>
                      <a:pt x="153658" y="579142"/>
                    </a:cubicBezTo>
                    <a:cubicBezTo>
                      <a:pt x="153658" y="690057"/>
                      <a:pt x="227503" y="763753"/>
                      <a:pt x="320742" y="763753"/>
                    </a:cubicBezTo>
                    <a:cubicBezTo>
                      <a:pt x="413981" y="763753"/>
                      <a:pt x="487826" y="690057"/>
                      <a:pt x="487826" y="579142"/>
                    </a:cubicBezTo>
                    <a:moveTo>
                      <a:pt x="642230" y="579142"/>
                    </a:moveTo>
                    <a:cubicBezTo>
                      <a:pt x="642230" y="770452"/>
                      <a:pt x="506474" y="905933"/>
                      <a:pt x="320742" y="905933"/>
                    </a:cubicBezTo>
                    <a:cubicBezTo>
                      <a:pt x="135756" y="905933"/>
                      <a:pt x="0" y="770452"/>
                      <a:pt x="0" y="579142"/>
                    </a:cubicBezTo>
                    <a:cubicBezTo>
                      <a:pt x="0" y="387832"/>
                      <a:pt x="135756" y="252351"/>
                      <a:pt x="320742" y="252351"/>
                    </a:cubicBezTo>
                    <a:cubicBezTo>
                      <a:pt x="506474" y="252351"/>
                      <a:pt x="642230" y="387832"/>
                      <a:pt x="642230" y="579142"/>
                    </a:cubicBezTo>
                    <a:moveTo>
                      <a:pt x="376685" y="0"/>
                    </a:moveTo>
                    <a:lnTo>
                      <a:pt x="537056" y="0"/>
                    </a:lnTo>
                    <a:lnTo>
                      <a:pt x="388620" y="178656"/>
                    </a:lnTo>
                    <a:lnTo>
                      <a:pt x="258831" y="178656"/>
                    </a:lnTo>
                    <a:lnTo>
                      <a:pt x="376685" y="0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</p:grpSp>
      <p:grpSp>
        <p:nvGrpSpPr>
          <p:cNvPr id="1266" name="Grupo 1265">
            <a:extLst>
              <a:ext uri="{FF2B5EF4-FFF2-40B4-BE49-F238E27FC236}">
                <a16:creationId xmlns:a16="http://schemas.microsoft.com/office/drawing/2014/main" id="{A98E45BD-B2FE-9D8F-23CF-DCDCFE3AED35}"/>
              </a:ext>
            </a:extLst>
          </p:cNvPr>
          <p:cNvGrpSpPr/>
          <p:nvPr/>
        </p:nvGrpSpPr>
        <p:grpSpPr>
          <a:xfrm>
            <a:off x="7387339" y="4086889"/>
            <a:ext cx="314453" cy="113018"/>
            <a:chOff x="4146550" y="2419350"/>
            <a:chExt cx="848056" cy="304799"/>
          </a:xfrm>
        </p:grpSpPr>
        <p:sp>
          <p:nvSpPr>
            <p:cNvPr id="1267" name="Forma libre 1266">
              <a:extLst>
                <a:ext uri="{FF2B5EF4-FFF2-40B4-BE49-F238E27FC236}">
                  <a16:creationId xmlns:a16="http://schemas.microsoft.com/office/drawing/2014/main" id="{4336093E-77CF-449D-C2A9-A95F02F79CF2}"/>
                </a:ext>
              </a:extLst>
            </p:cNvPr>
            <p:cNvSpPr/>
            <p:nvPr/>
          </p:nvSpPr>
          <p:spPr>
            <a:xfrm>
              <a:off x="4696070" y="2555407"/>
              <a:ext cx="167444" cy="168742"/>
            </a:xfrm>
            <a:custGeom>
              <a:avLst/>
              <a:gdLst>
                <a:gd name="connsiteX0" fmla="*/ 143085 w 167444"/>
                <a:gd name="connsiteY0" fmla="*/ 24652 h 168742"/>
                <a:gd name="connsiteX1" fmla="*/ 83531 w 167444"/>
                <a:gd name="connsiteY1" fmla="*/ 0 h 168742"/>
                <a:gd name="connsiteX2" fmla="*/ 24751 w 167444"/>
                <a:gd name="connsiteY2" fmla="*/ 24652 h 168742"/>
                <a:gd name="connsiteX3" fmla="*/ 0 w 167444"/>
                <a:gd name="connsiteY3" fmla="*/ 84371 h 168742"/>
                <a:gd name="connsiteX4" fmla="*/ 24751 w 167444"/>
                <a:gd name="connsiteY4" fmla="*/ 143703 h 168742"/>
                <a:gd name="connsiteX5" fmla="*/ 83531 w 167444"/>
                <a:gd name="connsiteY5" fmla="*/ 168743 h 168742"/>
                <a:gd name="connsiteX6" fmla="*/ 143085 w 167444"/>
                <a:gd name="connsiteY6" fmla="*/ 143703 h 168742"/>
                <a:gd name="connsiteX7" fmla="*/ 167445 w 167444"/>
                <a:gd name="connsiteY7" fmla="*/ 84371 h 168742"/>
                <a:gd name="connsiteX8" fmla="*/ 143085 w 167444"/>
                <a:gd name="connsiteY8" fmla="*/ 24652 h 168742"/>
                <a:gd name="connsiteX9" fmla="*/ 114852 w 167444"/>
                <a:gd name="connsiteY9" fmla="*/ 115555 h 168742"/>
                <a:gd name="connsiteX10" fmla="*/ 83532 w 167444"/>
                <a:gd name="connsiteY10" fmla="*/ 128652 h 168742"/>
                <a:gd name="connsiteX11" fmla="*/ 52595 w 167444"/>
                <a:gd name="connsiteY11" fmla="*/ 115555 h 168742"/>
                <a:gd name="connsiteX12" fmla="*/ 39443 w 167444"/>
                <a:gd name="connsiteY12" fmla="*/ 84346 h 168742"/>
                <a:gd name="connsiteX13" fmla="*/ 52595 w 167444"/>
                <a:gd name="connsiteY13" fmla="*/ 52754 h 168742"/>
                <a:gd name="connsiteX14" fmla="*/ 83532 w 167444"/>
                <a:gd name="connsiteY14" fmla="*/ 40040 h 168742"/>
                <a:gd name="connsiteX15" fmla="*/ 115241 w 167444"/>
                <a:gd name="connsiteY15" fmla="*/ 52754 h 168742"/>
                <a:gd name="connsiteX16" fmla="*/ 128003 w 167444"/>
                <a:gd name="connsiteY16" fmla="*/ 84346 h 168742"/>
                <a:gd name="connsiteX17" fmla="*/ 114852 w 167444"/>
                <a:gd name="connsiteY17" fmla="*/ 115555 h 168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7444" h="168742">
                  <a:moveTo>
                    <a:pt x="143085" y="24652"/>
                  </a:moveTo>
                  <a:cubicBezTo>
                    <a:pt x="126456" y="8086"/>
                    <a:pt x="106345" y="0"/>
                    <a:pt x="83531" y="0"/>
                  </a:cubicBezTo>
                  <a:cubicBezTo>
                    <a:pt x="60711" y="0"/>
                    <a:pt x="40990" y="8086"/>
                    <a:pt x="24751" y="24652"/>
                  </a:cubicBezTo>
                  <a:cubicBezTo>
                    <a:pt x="8117" y="41218"/>
                    <a:pt x="0" y="61253"/>
                    <a:pt x="0" y="84371"/>
                  </a:cubicBezTo>
                  <a:cubicBezTo>
                    <a:pt x="0" y="107489"/>
                    <a:pt x="8117" y="127519"/>
                    <a:pt x="24751" y="143703"/>
                  </a:cubicBezTo>
                  <a:cubicBezTo>
                    <a:pt x="40990" y="160269"/>
                    <a:pt x="60711" y="168743"/>
                    <a:pt x="83531" y="168743"/>
                  </a:cubicBezTo>
                  <a:cubicBezTo>
                    <a:pt x="106345" y="168743"/>
                    <a:pt x="126456" y="160269"/>
                    <a:pt x="143085" y="143703"/>
                  </a:cubicBezTo>
                  <a:cubicBezTo>
                    <a:pt x="159323" y="127519"/>
                    <a:pt x="167445" y="107489"/>
                    <a:pt x="167445" y="84371"/>
                  </a:cubicBezTo>
                  <a:cubicBezTo>
                    <a:pt x="167445" y="61253"/>
                    <a:pt x="159323" y="41218"/>
                    <a:pt x="143085" y="24652"/>
                  </a:cubicBezTo>
                  <a:close/>
                  <a:moveTo>
                    <a:pt x="114852" y="115555"/>
                  </a:moveTo>
                  <a:cubicBezTo>
                    <a:pt x="106345" y="124412"/>
                    <a:pt x="95904" y="128652"/>
                    <a:pt x="83532" y="128652"/>
                  </a:cubicBezTo>
                  <a:cubicBezTo>
                    <a:pt x="71543" y="128652"/>
                    <a:pt x="61100" y="124412"/>
                    <a:pt x="52595" y="115555"/>
                  </a:cubicBezTo>
                  <a:cubicBezTo>
                    <a:pt x="44082" y="106693"/>
                    <a:pt x="39443" y="96290"/>
                    <a:pt x="39443" y="84346"/>
                  </a:cubicBezTo>
                  <a:cubicBezTo>
                    <a:pt x="39443" y="71632"/>
                    <a:pt x="44082" y="61229"/>
                    <a:pt x="52595" y="52754"/>
                  </a:cubicBezTo>
                  <a:cubicBezTo>
                    <a:pt x="61100" y="43892"/>
                    <a:pt x="71543" y="39652"/>
                    <a:pt x="83532" y="40040"/>
                  </a:cubicBezTo>
                  <a:cubicBezTo>
                    <a:pt x="95904" y="39652"/>
                    <a:pt x="106345" y="43892"/>
                    <a:pt x="115241" y="52754"/>
                  </a:cubicBezTo>
                  <a:cubicBezTo>
                    <a:pt x="123364" y="61229"/>
                    <a:pt x="127613" y="71632"/>
                    <a:pt x="128003" y="84346"/>
                  </a:cubicBezTo>
                  <a:cubicBezTo>
                    <a:pt x="127613" y="96290"/>
                    <a:pt x="123364" y="106693"/>
                    <a:pt x="114852" y="115555"/>
                  </a:cubicBez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268" name="Forma libre 1267">
              <a:extLst>
                <a:ext uri="{FF2B5EF4-FFF2-40B4-BE49-F238E27FC236}">
                  <a16:creationId xmlns:a16="http://schemas.microsoft.com/office/drawing/2014/main" id="{6B382A87-0D8D-BDDE-DE3F-126A1C550FB5}"/>
                </a:ext>
              </a:extLst>
            </p:cNvPr>
            <p:cNvSpPr/>
            <p:nvPr/>
          </p:nvSpPr>
          <p:spPr>
            <a:xfrm>
              <a:off x="4146550" y="2514125"/>
              <a:ext cx="203020" cy="208059"/>
            </a:xfrm>
            <a:custGeom>
              <a:avLst/>
              <a:gdLst>
                <a:gd name="connsiteX0" fmla="*/ 103635 w 203020"/>
                <a:gd name="connsiteY0" fmla="*/ 15 h 208059"/>
                <a:gd name="connsiteX1" fmla="*/ 30547 w 203020"/>
                <a:gd name="connsiteY1" fmla="*/ 30448 h 208059"/>
                <a:gd name="connsiteX2" fmla="*/ 0 w 203020"/>
                <a:gd name="connsiteY2" fmla="*/ 104034 h 208059"/>
                <a:gd name="connsiteX3" fmla="*/ 30547 w 203020"/>
                <a:gd name="connsiteY3" fmla="*/ 178008 h 208059"/>
                <a:gd name="connsiteX4" fmla="*/ 103635 w 203020"/>
                <a:gd name="connsiteY4" fmla="*/ 208059 h 208059"/>
                <a:gd name="connsiteX5" fmla="*/ 166671 w 203020"/>
                <a:gd name="connsiteY5" fmla="*/ 186864 h 208059"/>
                <a:gd name="connsiteX6" fmla="*/ 203021 w 203020"/>
                <a:gd name="connsiteY6" fmla="*/ 131774 h 208059"/>
                <a:gd name="connsiteX7" fmla="*/ 160869 w 203020"/>
                <a:gd name="connsiteY7" fmla="*/ 131774 h 208059"/>
                <a:gd name="connsiteX8" fmla="*/ 138055 w 203020"/>
                <a:gd name="connsiteY8" fmla="*/ 158361 h 208059"/>
                <a:gd name="connsiteX9" fmla="*/ 103635 w 203020"/>
                <a:gd name="connsiteY9" fmla="*/ 168375 h 208059"/>
                <a:gd name="connsiteX10" fmla="*/ 58390 w 203020"/>
                <a:gd name="connsiteY10" fmla="*/ 149498 h 208059"/>
                <a:gd name="connsiteX11" fmla="*/ 39832 w 203020"/>
                <a:gd name="connsiteY11" fmla="*/ 104034 h 208059"/>
                <a:gd name="connsiteX12" fmla="*/ 58390 w 203020"/>
                <a:gd name="connsiteY12" fmla="*/ 58576 h 208059"/>
                <a:gd name="connsiteX13" fmla="*/ 103635 w 203020"/>
                <a:gd name="connsiteY13" fmla="*/ 39698 h 208059"/>
                <a:gd name="connsiteX14" fmla="*/ 138055 w 203020"/>
                <a:gd name="connsiteY14" fmla="*/ 50102 h 208059"/>
                <a:gd name="connsiteX15" fmla="*/ 160869 w 203020"/>
                <a:gd name="connsiteY15" fmla="*/ 76682 h 208059"/>
                <a:gd name="connsiteX16" fmla="*/ 203021 w 203020"/>
                <a:gd name="connsiteY16" fmla="*/ 76682 h 208059"/>
                <a:gd name="connsiteX17" fmla="*/ 166671 w 203020"/>
                <a:gd name="connsiteY17" fmla="*/ 21591 h 208059"/>
                <a:gd name="connsiteX18" fmla="*/ 103635 w 203020"/>
                <a:gd name="connsiteY18" fmla="*/ 15 h 208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3020" h="208059">
                  <a:moveTo>
                    <a:pt x="103635" y="15"/>
                  </a:moveTo>
                  <a:cubicBezTo>
                    <a:pt x="74635" y="-374"/>
                    <a:pt x="50658" y="9648"/>
                    <a:pt x="30547" y="30448"/>
                  </a:cubicBezTo>
                  <a:cubicBezTo>
                    <a:pt x="10052" y="50872"/>
                    <a:pt x="0" y="75142"/>
                    <a:pt x="0" y="104034"/>
                  </a:cubicBezTo>
                  <a:cubicBezTo>
                    <a:pt x="0" y="132544"/>
                    <a:pt x="10052" y="157590"/>
                    <a:pt x="30547" y="178008"/>
                  </a:cubicBezTo>
                  <a:cubicBezTo>
                    <a:pt x="50658" y="198038"/>
                    <a:pt x="74635" y="208059"/>
                    <a:pt x="103635" y="208059"/>
                  </a:cubicBezTo>
                  <a:cubicBezTo>
                    <a:pt x="126839" y="208059"/>
                    <a:pt x="148107" y="201119"/>
                    <a:pt x="166671" y="186864"/>
                  </a:cubicBezTo>
                  <a:cubicBezTo>
                    <a:pt x="184847" y="172227"/>
                    <a:pt x="196835" y="154120"/>
                    <a:pt x="203021" y="131774"/>
                  </a:cubicBezTo>
                  <a:lnTo>
                    <a:pt x="160869" y="131774"/>
                  </a:lnTo>
                  <a:cubicBezTo>
                    <a:pt x="155457" y="142559"/>
                    <a:pt x="147724" y="151421"/>
                    <a:pt x="138055" y="158361"/>
                  </a:cubicBezTo>
                  <a:cubicBezTo>
                    <a:pt x="127229" y="164905"/>
                    <a:pt x="116014" y="168375"/>
                    <a:pt x="103635" y="168375"/>
                  </a:cubicBezTo>
                  <a:cubicBezTo>
                    <a:pt x="85850" y="168375"/>
                    <a:pt x="70769" y="161824"/>
                    <a:pt x="58390" y="149498"/>
                  </a:cubicBezTo>
                  <a:cubicBezTo>
                    <a:pt x="45628" y="136784"/>
                    <a:pt x="39442" y="121758"/>
                    <a:pt x="39832" y="104034"/>
                  </a:cubicBezTo>
                  <a:cubicBezTo>
                    <a:pt x="39442" y="86316"/>
                    <a:pt x="45628" y="71290"/>
                    <a:pt x="58390" y="58576"/>
                  </a:cubicBezTo>
                  <a:cubicBezTo>
                    <a:pt x="70769" y="46243"/>
                    <a:pt x="85850" y="39698"/>
                    <a:pt x="103635" y="39698"/>
                  </a:cubicBezTo>
                  <a:cubicBezTo>
                    <a:pt x="116014" y="39698"/>
                    <a:pt x="127229" y="43162"/>
                    <a:pt x="138055" y="50102"/>
                  </a:cubicBezTo>
                  <a:cubicBezTo>
                    <a:pt x="147724" y="56646"/>
                    <a:pt x="155457" y="65891"/>
                    <a:pt x="160869" y="76682"/>
                  </a:cubicBezTo>
                  <a:lnTo>
                    <a:pt x="203021" y="76682"/>
                  </a:lnTo>
                  <a:cubicBezTo>
                    <a:pt x="196835" y="54335"/>
                    <a:pt x="184847" y="35846"/>
                    <a:pt x="166671" y="21591"/>
                  </a:cubicBezTo>
                  <a:cubicBezTo>
                    <a:pt x="148107" y="6948"/>
                    <a:pt x="126839" y="-374"/>
                    <a:pt x="103635" y="15"/>
                  </a:cubicBez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269" name="Forma libre 1268">
              <a:extLst>
                <a:ext uri="{FF2B5EF4-FFF2-40B4-BE49-F238E27FC236}">
                  <a16:creationId xmlns:a16="http://schemas.microsoft.com/office/drawing/2014/main" id="{F4AEF599-A845-57B7-B5D4-804E38EEC8CA}"/>
                </a:ext>
              </a:extLst>
            </p:cNvPr>
            <p:cNvSpPr/>
            <p:nvPr/>
          </p:nvSpPr>
          <p:spPr>
            <a:xfrm>
              <a:off x="4370058" y="2514125"/>
              <a:ext cx="40216" cy="208814"/>
            </a:xfrm>
            <a:custGeom>
              <a:avLst/>
              <a:gdLst>
                <a:gd name="connsiteX0" fmla="*/ 0 w 40216"/>
                <a:gd name="connsiteY0" fmla="*/ 208815 h 208814"/>
                <a:gd name="connsiteX1" fmla="*/ 40216 w 40216"/>
                <a:gd name="connsiteY1" fmla="*/ 208815 h 208814"/>
                <a:gd name="connsiteX2" fmla="*/ 40216 w 40216"/>
                <a:gd name="connsiteY2" fmla="*/ 0 h 208814"/>
                <a:gd name="connsiteX3" fmla="*/ 0 w 40216"/>
                <a:gd name="connsiteY3" fmla="*/ 0 h 208814"/>
                <a:gd name="connsiteX4" fmla="*/ 0 w 40216"/>
                <a:gd name="connsiteY4" fmla="*/ 208815 h 208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216" h="208814">
                  <a:moveTo>
                    <a:pt x="0" y="208815"/>
                  </a:moveTo>
                  <a:lnTo>
                    <a:pt x="40216" y="208815"/>
                  </a:lnTo>
                  <a:lnTo>
                    <a:pt x="40216" y="0"/>
                  </a:lnTo>
                  <a:lnTo>
                    <a:pt x="0" y="0"/>
                  </a:lnTo>
                  <a:lnTo>
                    <a:pt x="0" y="208815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270" name="Forma libre 1269">
              <a:extLst>
                <a:ext uri="{FF2B5EF4-FFF2-40B4-BE49-F238E27FC236}">
                  <a16:creationId xmlns:a16="http://schemas.microsoft.com/office/drawing/2014/main" id="{230F2200-79B0-A38B-DF1F-0DF3253B7027}"/>
                </a:ext>
              </a:extLst>
            </p:cNvPr>
            <p:cNvSpPr/>
            <p:nvPr/>
          </p:nvSpPr>
          <p:spPr>
            <a:xfrm>
              <a:off x="4599402" y="2555741"/>
              <a:ext cx="93200" cy="167208"/>
            </a:xfrm>
            <a:custGeom>
              <a:avLst/>
              <a:gdLst>
                <a:gd name="connsiteX0" fmla="*/ 66903 w 93200"/>
                <a:gd name="connsiteY0" fmla="*/ 5011 h 167208"/>
                <a:gd name="connsiteX1" fmla="*/ 38286 w 93200"/>
                <a:gd name="connsiteY1" fmla="*/ 27740 h 167208"/>
                <a:gd name="connsiteX2" fmla="*/ 38286 w 93200"/>
                <a:gd name="connsiteY2" fmla="*/ 7322 h 167208"/>
                <a:gd name="connsiteX3" fmla="*/ 0 w 93200"/>
                <a:gd name="connsiteY3" fmla="*/ 6933 h 167208"/>
                <a:gd name="connsiteX4" fmla="*/ 0 w 93200"/>
                <a:gd name="connsiteY4" fmla="*/ 167209 h 167208"/>
                <a:gd name="connsiteX5" fmla="*/ 39833 w 93200"/>
                <a:gd name="connsiteY5" fmla="*/ 167209 h 167208"/>
                <a:gd name="connsiteX6" fmla="*/ 39833 w 93200"/>
                <a:gd name="connsiteY6" fmla="*/ 90541 h 167208"/>
                <a:gd name="connsiteX7" fmla="*/ 44862 w 93200"/>
                <a:gd name="connsiteY7" fmla="*/ 62414 h 167208"/>
                <a:gd name="connsiteX8" fmla="*/ 58787 w 93200"/>
                <a:gd name="connsiteY8" fmla="*/ 47006 h 167208"/>
                <a:gd name="connsiteX9" fmla="*/ 80828 w 93200"/>
                <a:gd name="connsiteY9" fmla="*/ 40066 h 167208"/>
                <a:gd name="connsiteX10" fmla="*/ 93200 w 93200"/>
                <a:gd name="connsiteY10" fmla="*/ 40837 h 167208"/>
                <a:gd name="connsiteX11" fmla="*/ 92816 w 93200"/>
                <a:gd name="connsiteY11" fmla="*/ 0 h 167208"/>
                <a:gd name="connsiteX12" fmla="*/ 82375 w 93200"/>
                <a:gd name="connsiteY12" fmla="*/ 771 h 167208"/>
                <a:gd name="connsiteX13" fmla="*/ 66903 w 93200"/>
                <a:gd name="connsiteY13" fmla="*/ 5011 h 167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3200" h="167208">
                  <a:moveTo>
                    <a:pt x="66903" y="5011"/>
                  </a:moveTo>
                  <a:cubicBezTo>
                    <a:pt x="56077" y="9251"/>
                    <a:pt x="46408" y="16567"/>
                    <a:pt x="38286" y="27740"/>
                  </a:cubicBezTo>
                  <a:lnTo>
                    <a:pt x="38286" y="7322"/>
                  </a:lnTo>
                  <a:lnTo>
                    <a:pt x="0" y="6933"/>
                  </a:lnTo>
                  <a:lnTo>
                    <a:pt x="0" y="167209"/>
                  </a:lnTo>
                  <a:lnTo>
                    <a:pt x="39833" y="167209"/>
                  </a:lnTo>
                  <a:lnTo>
                    <a:pt x="39833" y="90541"/>
                  </a:lnTo>
                  <a:cubicBezTo>
                    <a:pt x="39833" y="77438"/>
                    <a:pt x="41379" y="68194"/>
                    <a:pt x="44862" y="62414"/>
                  </a:cubicBezTo>
                  <a:cubicBezTo>
                    <a:pt x="47571" y="56250"/>
                    <a:pt x="52594" y="51240"/>
                    <a:pt x="58787" y="47006"/>
                  </a:cubicBezTo>
                  <a:cubicBezTo>
                    <a:pt x="65746" y="42383"/>
                    <a:pt x="73089" y="40066"/>
                    <a:pt x="80828" y="40066"/>
                  </a:cubicBezTo>
                  <a:lnTo>
                    <a:pt x="93200" y="40837"/>
                  </a:lnTo>
                  <a:lnTo>
                    <a:pt x="92816" y="0"/>
                  </a:lnTo>
                  <a:lnTo>
                    <a:pt x="82375" y="771"/>
                  </a:lnTo>
                  <a:lnTo>
                    <a:pt x="66903" y="5011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271" name="Forma libre 1270">
              <a:extLst>
                <a:ext uri="{FF2B5EF4-FFF2-40B4-BE49-F238E27FC236}">
                  <a16:creationId xmlns:a16="http://schemas.microsoft.com/office/drawing/2014/main" id="{D664D273-3387-A1AA-0DCF-10E52A98E359}"/>
                </a:ext>
              </a:extLst>
            </p:cNvPr>
            <p:cNvSpPr/>
            <p:nvPr/>
          </p:nvSpPr>
          <p:spPr>
            <a:xfrm>
              <a:off x="4844960" y="2439404"/>
              <a:ext cx="122589" cy="122131"/>
            </a:xfrm>
            <a:custGeom>
              <a:avLst/>
              <a:gdLst>
                <a:gd name="connsiteX0" fmla="*/ 25524 w 122589"/>
                <a:gd name="connsiteY0" fmla="*/ 122132 h 122131"/>
                <a:gd name="connsiteX1" fmla="*/ 122589 w 122589"/>
                <a:gd name="connsiteY1" fmla="*/ 25429 h 122131"/>
                <a:gd name="connsiteX2" fmla="*/ 97066 w 122589"/>
                <a:gd name="connsiteY2" fmla="*/ 0 h 122131"/>
                <a:gd name="connsiteX3" fmla="*/ 0 w 122589"/>
                <a:gd name="connsiteY3" fmla="*/ 96704 h 122131"/>
                <a:gd name="connsiteX4" fmla="*/ 25524 w 122589"/>
                <a:gd name="connsiteY4" fmla="*/ 122132 h 122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589" h="122131">
                  <a:moveTo>
                    <a:pt x="25524" y="122132"/>
                  </a:moveTo>
                  <a:lnTo>
                    <a:pt x="122589" y="25429"/>
                  </a:lnTo>
                  <a:lnTo>
                    <a:pt x="97066" y="0"/>
                  </a:lnTo>
                  <a:lnTo>
                    <a:pt x="0" y="96704"/>
                  </a:lnTo>
                  <a:lnTo>
                    <a:pt x="25524" y="122132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272" name="Forma libre 1271">
              <a:extLst>
                <a:ext uri="{FF2B5EF4-FFF2-40B4-BE49-F238E27FC236}">
                  <a16:creationId xmlns:a16="http://schemas.microsoft.com/office/drawing/2014/main" id="{98A4EEBC-B2DB-F28A-ECD7-6C77ED9E09B2}"/>
                </a:ext>
              </a:extLst>
            </p:cNvPr>
            <p:cNvSpPr/>
            <p:nvPr/>
          </p:nvSpPr>
          <p:spPr>
            <a:xfrm>
              <a:off x="4766443" y="2419350"/>
              <a:ext cx="35965" cy="103636"/>
            </a:xfrm>
            <a:custGeom>
              <a:avLst/>
              <a:gdLst>
                <a:gd name="connsiteX0" fmla="*/ 0 w 35965"/>
                <a:gd name="connsiteY0" fmla="*/ 103637 h 103636"/>
                <a:gd name="connsiteX1" fmla="*/ 35966 w 35965"/>
                <a:gd name="connsiteY1" fmla="*/ 103637 h 103636"/>
                <a:gd name="connsiteX2" fmla="*/ 35966 w 35965"/>
                <a:gd name="connsiteY2" fmla="*/ 0 h 103636"/>
                <a:gd name="connsiteX3" fmla="*/ 0 w 35965"/>
                <a:gd name="connsiteY3" fmla="*/ 0 h 103636"/>
                <a:gd name="connsiteX4" fmla="*/ 0 w 35965"/>
                <a:gd name="connsiteY4" fmla="*/ 103637 h 103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965" h="103636">
                  <a:moveTo>
                    <a:pt x="0" y="103637"/>
                  </a:moveTo>
                  <a:lnTo>
                    <a:pt x="35966" y="103637"/>
                  </a:lnTo>
                  <a:lnTo>
                    <a:pt x="35966" y="0"/>
                  </a:lnTo>
                  <a:lnTo>
                    <a:pt x="0" y="0"/>
                  </a:lnTo>
                  <a:lnTo>
                    <a:pt x="0" y="103637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273" name="Forma libre 1272">
              <a:extLst>
                <a:ext uri="{FF2B5EF4-FFF2-40B4-BE49-F238E27FC236}">
                  <a16:creationId xmlns:a16="http://schemas.microsoft.com/office/drawing/2014/main" id="{EE2B17A2-D80F-0F0A-15F5-909666A04A3B}"/>
                </a:ext>
              </a:extLst>
            </p:cNvPr>
            <p:cNvSpPr/>
            <p:nvPr/>
          </p:nvSpPr>
          <p:spPr>
            <a:xfrm>
              <a:off x="4888262" y="2601571"/>
              <a:ext cx="106344" cy="35831"/>
            </a:xfrm>
            <a:custGeom>
              <a:avLst/>
              <a:gdLst>
                <a:gd name="connsiteX0" fmla="*/ 0 w 106344"/>
                <a:gd name="connsiteY0" fmla="*/ 35831 h 35831"/>
                <a:gd name="connsiteX1" fmla="*/ 106345 w 106344"/>
                <a:gd name="connsiteY1" fmla="*/ 35831 h 35831"/>
                <a:gd name="connsiteX2" fmla="*/ 106345 w 106344"/>
                <a:gd name="connsiteY2" fmla="*/ 0 h 35831"/>
                <a:gd name="connsiteX3" fmla="*/ 0 w 106344"/>
                <a:gd name="connsiteY3" fmla="*/ 0 h 35831"/>
                <a:gd name="connsiteX4" fmla="*/ 0 w 106344"/>
                <a:gd name="connsiteY4" fmla="*/ 35831 h 35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344" h="35831">
                  <a:moveTo>
                    <a:pt x="0" y="35831"/>
                  </a:moveTo>
                  <a:lnTo>
                    <a:pt x="106345" y="35831"/>
                  </a:lnTo>
                  <a:lnTo>
                    <a:pt x="106345" y="0"/>
                  </a:lnTo>
                  <a:lnTo>
                    <a:pt x="0" y="0"/>
                  </a:lnTo>
                  <a:lnTo>
                    <a:pt x="0" y="35831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274" name="Forma libre 1273">
              <a:extLst>
                <a:ext uri="{FF2B5EF4-FFF2-40B4-BE49-F238E27FC236}">
                  <a16:creationId xmlns:a16="http://schemas.microsoft.com/office/drawing/2014/main" id="{7762D4E6-4937-57B0-66C0-61BF6C4B5725}"/>
                </a:ext>
              </a:extLst>
            </p:cNvPr>
            <p:cNvSpPr/>
            <p:nvPr/>
          </p:nvSpPr>
          <p:spPr>
            <a:xfrm>
              <a:off x="4433858" y="2554913"/>
              <a:ext cx="138466" cy="168007"/>
            </a:xfrm>
            <a:custGeom>
              <a:avLst/>
              <a:gdLst>
                <a:gd name="connsiteX0" fmla="*/ 71564 w 138466"/>
                <a:gd name="connsiteY0" fmla="*/ 28 h 168007"/>
                <a:gd name="connsiteX1" fmla="*/ 14720 w 138466"/>
                <a:gd name="connsiteY1" fmla="*/ 21217 h 168007"/>
                <a:gd name="connsiteX2" fmla="*/ 3115 w 138466"/>
                <a:gd name="connsiteY2" fmla="*/ 56278 h 168007"/>
                <a:gd name="connsiteX3" fmla="*/ 43331 w 138466"/>
                <a:gd name="connsiteY3" fmla="*/ 56278 h 168007"/>
                <a:gd name="connsiteX4" fmla="*/ 49133 w 138466"/>
                <a:gd name="connsiteY4" fmla="*/ 41635 h 168007"/>
                <a:gd name="connsiteX5" fmla="*/ 70401 w 138466"/>
                <a:gd name="connsiteY5" fmla="*/ 33931 h 168007"/>
                <a:gd name="connsiteX6" fmla="*/ 90129 w 138466"/>
                <a:gd name="connsiteY6" fmla="*/ 37783 h 168007"/>
                <a:gd name="connsiteX7" fmla="*/ 97088 w 138466"/>
                <a:gd name="connsiteY7" fmla="*/ 51268 h 168007"/>
                <a:gd name="connsiteX8" fmla="*/ 87808 w 138466"/>
                <a:gd name="connsiteY8" fmla="*/ 63600 h 168007"/>
                <a:gd name="connsiteX9" fmla="*/ 56866 w 138466"/>
                <a:gd name="connsiteY9" fmla="*/ 68605 h 168007"/>
                <a:gd name="connsiteX10" fmla="*/ 22063 w 138466"/>
                <a:gd name="connsiteY10" fmla="*/ 79008 h 168007"/>
                <a:gd name="connsiteX11" fmla="*/ 22 w 138466"/>
                <a:gd name="connsiteY11" fmla="*/ 122543 h 168007"/>
                <a:gd name="connsiteX12" fmla="*/ 13557 w 138466"/>
                <a:gd name="connsiteY12" fmla="*/ 156834 h 168007"/>
                <a:gd name="connsiteX13" fmla="*/ 46430 w 138466"/>
                <a:gd name="connsiteY13" fmla="*/ 168008 h 168007"/>
                <a:gd name="connsiteX14" fmla="*/ 98244 w 138466"/>
                <a:gd name="connsiteY14" fmla="*/ 151442 h 168007"/>
                <a:gd name="connsiteX15" fmla="*/ 98244 w 138466"/>
                <a:gd name="connsiteY15" fmla="*/ 168008 h 168007"/>
                <a:gd name="connsiteX16" fmla="*/ 138466 w 138466"/>
                <a:gd name="connsiteY16" fmla="*/ 168008 h 168007"/>
                <a:gd name="connsiteX17" fmla="*/ 138466 w 138466"/>
                <a:gd name="connsiteY17" fmla="*/ 50116 h 168007"/>
                <a:gd name="connsiteX18" fmla="*/ 118356 w 138466"/>
                <a:gd name="connsiteY18" fmla="*/ 10432 h 168007"/>
                <a:gd name="connsiteX19" fmla="*/ 71564 w 138466"/>
                <a:gd name="connsiteY19" fmla="*/ 28 h 168007"/>
                <a:gd name="connsiteX20" fmla="*/ 88577 w 138466"/>
                <a:gd name="connsiteY20" fmla="*/ 90573 h 168007"/>
                <a:gd name="connsiteX21" fmla="*/ 96309 w 138466"/>
                <a:gd name="connsiteY21" fmla="*/ 86339 h 168007"/>
                <a:gd name="connsiteX22" fmla="*/ 96309 w 138466"/>
                <a:gd name="connsiteY22" fmla="*/ 102517 h 168007"/>
                <a:gd name="connsiteX23" fmla="*/ 85094 w 138466"/>
                <a:gd name="connsiteY23" fmla="*/ 131415 h 168007"/>
                <a:gd name="connsiteX24" fmla="*/ 59954 w 138466"/>
                <a:gd name="connsiteY24" fmla="*/ 139507 h 168007"/>
                <a:gd name="connsiteX25" fmla="*/ 45652 w 138466"/>
                <a:gd name="connsiteY25" fmla="*/ 134885 h 168007"/>
                <a:gd name="connsiteX26" fmla="*/ 39849 w 138466"/>
                <a:gd name="connsiteY26" fmla="*/ 119089 h 168007"/>
                <a:gd name="connsiteX27" fmla="*/ 49518 w 138466"/>
                <a:gd name="connsiteY27" fmla="*/ 100976 h 168007"/>
                <a:gd name="connsiteX28" fmla="*/ 68466 w 138466"/>
                <a:gd name="connsiteY28" fmla="*/ 95583 h 168007"/>
                <a:gd name="connsiteX29" fmla="*/ 88577 w 138466"/>
                <a:gd name="connsiteY29" fmla="*/ 90573 h 168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38466" h="168007">
                  <a:moveTo>
                    <a:pt x="71564" y="28"/>
                  </a:moveTo>
                  <a:cubicBezTo>
                    <a:pt x="44494" y="-354"/>
                    <a:pt x="25546" y="6962"/>
                    <a:pt x="14720" y="21217"/>
                  </a:cubicBezTo>
                  <a:cubicBezTo>
                    <a:pt x="7755" y="30079"/>
                    <a:pt x="4278" y="41635"/>
                    <a:pt x="3115" y="56278"/>
                  </a:cubicBezTo>
                  <a:lnTo>
                    <a:pt x="43331" y="56278"/>
                  </a:lnTo>
                  <a:cubicBezTo>
                    <a:pt x="44104" y="49345"/>
                    <a:pt x="46430" y="44723"/>
                    <a:pt x="49133" y="41635"/>
                  </a:cubicBezTo>
                  <a:cubicBezTo>
                    <a:pt x="53390" y="36242"/>
                    <a:pt x="60349" y="33549"/>
                    <a:pt x="70401" y="33931"/>
                  </a:cubicBezTo>
                  <a:cubicBezTo>
                    <a:pt x="78913" y="33549"/>
                    <a:pt x="85489" y="35090"/>
                    <a:pt x="90129" y="37783"/>
                  </a:cubicBezTo>
                  <a:cubicBezTo>
                    <a:pt x="94768" y="40094"/>
                    <a:pt x="96698" y="44723"/>
                    <a:pt x="97088" y="51268"/>
                  </a:cubicBezTo>
                  <a:cubicBezTo>
                    <a:pt x="97088" y="56660"/>
                    <a:pt x="93994" y="60901"/>
                    <a:pt x="87808" y="63600"/>
                  </a:cubicBezTo>
                  <a:lnTo>
                    <a:pt x="56866" y="68605"/>
                  </a:lnTo>
                  <a:cubicBezTo>
                    <a:pt x="42558" y="70533"/>
                    <a:pt x="30959" y="73997"/>
                    <a:pt x="22063" y="79008"/>
                  </a:cubicBezTo>
                  <a:cubicBezTo>
                    <a:pt x="6981" y="87870"/>
                    <a:pt x="-362" y="102125"/>
                    <a:pt x="22" y="122543"/>
                  </a:cubicBezTo>
                  <a:cubicBezTo>
                    <a:pt x="-362" y="136798"/>
                    <a:pt x="4278" y="148359"/>
                    <a:pt x="13557" y="156834"/>
                  </a:cubicBezTo>
                  <a:cubicBezTo>
                    <a:pt x="21679" y="163767"/>
                    <a:pt x="32895" y="167619"/>
                    <a:pt x="46430" y="168008"/>
                  </a:cubicBezTo>
                  <a:cubicBezTo>
                    <a:pt x="68471" y="167619"/>
                    <a:pt x="85872" y="162227"/>
                    <a:pt x="98244" y="151442"/>
                  </a:cubicBezTo>
                  <a:lnTo>
                    <a:pt x="98244" y="168008"/>
                  </a:lnTo>
                  <a:lnTo>
                    <a:pt x="138466" y="168008"/>
                  </a:lnTo>
                  <a:lnTo>
                    <a:pt x="138466" y="50116"/>
                  </a:lnTo>
                  <a:cubicBezTo>
                    <a:pt x="138466" y="30849"/>
                    <a:pt x="131501" y="17365"/>
                    <a:pt x="118356" y="10432"/>
                  </a:cubicBezTo>
                  <a:cubicBezTo>
                    <a:pt x="104437" y="3110"/>
                    <a:pt x="88966" y="-354"/>
                    <a:pt x="71564" y="28"/>
                  </a:cubicBezTo>
                  <a:close/>
                  <a:moveTo>
                    <a:pt x="88577" y="90573"/>
                  </a:moveTo>
                  <a:lnTo>
                    <a:pt x="96309" y="86339"/>
                  </a:lnTo>
                  <a:lnTo>
                    <a:pt x="96309" y="102517"/>
                  </a:lnTo>
                  <a:cubicBezTo>
                    <a:pt x="96309" y="116390"/>
                    <a:pt x="92443" y="126022"/>
                    <a:pt x="85094" y="131415"/>
                  </a:cubicBezTo>
                  <a:cubicBezTo>
                    <a:pt x="77356" y="136807"/>
                    <a:pt x="69239" y="139507"/>
                    <a:pt x="59954" y="139507"/>
                  </a:cubicBezTo>
                  <a:cubicBezTo>
                    <a:pt x="54157" y="139507"/>
                    <a:pt x="49518" y="137967"/>
                    <a:pt x="45652" y="134885"/>
                  </a:cubicBezTo>
                  <a:cubicBezTo>
                    <a:pt x="41779" y="131415"/>
                    <a:pt x="39849" y="126404"/>
                    <a:pt x="39849" y="119089"/>
                  </a:cubicBezTo>
                  <a:cubicBezTo>
                    <a:pt x="39849" y="110998"/>
                    <a:pt x="42942" y="105216"/>
                    <a:pt x="49518" y="100976"/>
                  </a:cubicBezTo>
                  <a:cubicBezTo>
                    <a:pt x="53384" y="98665"/>
                    <a:pt x="59954" y="96742"/>
                    <a:pt x="68466" y="95583"/>
                  </a:cubicBezTo>
                  <a:lnTo>
                    <a:pt x="88577" y="90573"/>
                  </a:lnTo>
                  <a:close/>
                </a:path>
              </a:pathLst>
            </a:custGeom>
            <a:solidFill>
              <a:srgbClr val="C7251A"/>
            </a:solidFill>
            <a:ln w="9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grpSp>
        <p:nvGrpSpPr>
          <p:cNvPr id="1275" name="Gráfico 3">
            <a:extLst>
              <a:ext uri="{FF2B5EF4-FFF2-40B4-BE49-F238E27FC236}">
                <a16:creationId xmlns:a16="http://schemas.microsoft.com/office/drawing/2014/main" id="{10A96D8B-5DF4-3610-35C7-11AD480FCB0A}"/>
              </a:ext>
            </a:extLst>
          </p:cNvPr>
          <p:cNvGrpSpPr/>
          <p:nvPr/>
        </p:nvGrpSpPr>
        <p:grpSpPr>
          <a:xfrm>
            <a:off x="5952494" y="3393534"/>
            <a:ext cx="435013" cy="162133"/>
            <a:chOff x="0" y="870013"/>
            <a:chExt cx="7765169" cy="2894177"/>
          </a:xfrm>
          <a:solidFill>
            <a:srgbClr val="1F70C1"/>
          </a:solidFill>
        </p:grpSpPr>
        <p:grpSp>
          <p:nvGrpSpPr>
            <p:cNvPr id="1276" name="Gráfico 3">
              <a:extLst>
                <a:ext uri="{FF2B5EF4-FFF2-40B4-BE49-F238E27FC236}">
                  <a16:creationId xmlns:a16="http://schemas.microsoft.com/office/drawing/2014/main" id="{A17860B9-A4B1-2600-FCF1-3C427465A834}"/>
                </a:ext>
              </a:extLst>
            </p:cNvPr>
            <p:cNvGrpSpPr/>
            <p:nvPr/>
          </p:nvGrpSpPr>
          <p:grpSpPr>
            <a:xfrm>
              <a:off x="0" y="870013"/>
              <a:ext cx="1405756" cy="2893687"/>
              <a:chOff x="0" y="870013"/>
              <a:chExt cx="1405756" cy="2893687"/>
            </a:xfrm>
            <a:solidFill>
              <a:srgbClr val="1F70C1"/>
            </a:solidFill>
          </p:grpSpPr>
          <p:sp>
            <p:nvSpPr>
              <p:cNvPr id="1309" name="Forma libre 1308">
                <a:extLst>
                  <a:ext uri="{FF2B5EF4-FFF2-40B4-BE49-F238E27FC236}">
                    <a16:creationId xmlns:a16="http://schemas.microsoft.com/office/drawing/2014/main" id="{05CB459B-DB46-B8DC-3047-7BB6B122FF7E}"/>
                  </a:ext>
                </a:extLst>
              </p:cNvPr>
              <p:cNvSpPr/>
              <p:nvPr/>
            </p:nvSpPr>
            <p:spPr>
              <a:xfrm>
                <a:off x="0" y="3562189"/>
                <a:ext cx="1405756" cy="201511"/>
              </a:xfrm>
              <a:custGeom>
                <a:avLst/>
                <a:gdLst>
                  <a:gd name="connsiteX0" fmla="*/ 0 w 1405756"/>
                  <a:gd name="connsiteY0" fmla="*/ 0 h 201511"/>
                  <a:gd name="connsiteX1" fmla="*/ 1405756 w 1405756"/>
                  <a:gd name="connsiteY1" fmla="*/ 0 h 201511"/>
                  <a:gd name="connsiteX2" fmla="*/ 1405756 w 1405756"/>
                  <a:gd name="connsiteY2" fmla="*/ 201511 h 201511"/>
                  <a:gd name="connsiteX3" fmla="*/ 0 w 1405756"/>
                  <a:gd name="connsiteY3" fmla="*/ 201511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5756" h="201511">
                    <a:moveTo>
                      <a:pt x="0" y="0"/>
                    </a:moveTo>
                    <a:lnTo>
                      <a:pt x="1405756" y="0"/>
                    </a:lnTo>
                    <a:lnTo>
                      <a:pt x="1405756" y="201511"/>
                    </a:lnTo>
                    <a:lnTo>
                      <a:pt x="0" y="201511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310" name="Forma libre 1309">
                <a:extLst>
                  <a:ext uri="{FF2B5EF4-FFF2-40B4-BE49-F238E27FC236}">
                    <a16:creationId xmlns:a16="http://schemas.microsoft.com/office/drawing/2014/main" id="{E80F6052-A10B-BEF8-4D05-ACAC450E4516}"/>
                  </a:ext>
                </a:extLst>
              </p:cNvPr>
              <p:cNvSpPr/>
              <p:nvPr/>
            </p:nvSpPr>
            <p:spPr>
              <a:xfrm>
                <a:off x="0" y="3177376"/>
                <a:ext cx="1405756" cy="201511"/>
              </a:xfrm>
              <a:custGeom>
                <a:avLst/>
                <a:gdLst>
                  <a:gd name="connsiteX0" fmla="*/ 0 w 1405756"/>
                  <a:gd name="connsiteY0" fmla="*/ 0 h 201511"/>
                  <a:gd name="connsiteX1" fmla="*/ 1405756 w 1405756"/>
                  <a:gd name="connsiteY1" fmla="*/ 0 h 201511"/>
                  <a:gd name="connsiteX2" fmla="*/ 1405756 w 1405756"/>
                  <a:gd name="connsiteY2" fmla="*/ 201511 h 201511"/>
                  <a:gd name="connsiteX3" fmla="*/ 0 w 1405756"/>
                  <a:gd name="connsiteY3" fmla="*/ 201511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5756" h="201511">
                    <a:moveTo>
                      <a:pt x="0" y="0"/>
                    </a:moveTo>
                    <a:lnTo>
                      <a:pt x="1405756" y="0"/>
                    </a:lnTo>
                    <a:lnTo>
                      <a:pt x="1405756" y="201511"/>
                    </a:lnTo>
                    <a:lnTo>
                      <a:pt x="0" y="201511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311" name="Forma libre 1310">
                <a:extLst>
                  <a:ext uri="{FF2B5EF4-FFF2-40B4-BE49-F238E27FC236}">
                    <a16:creationId xmlns:a16="http://schemas.microsoft.com/office/drawing/2014/main" id="{19F0ACC4-6609-993B-819B-6BED32232092}"/>
                  </a:ext>
                </a:extLst>
              </p:cNvPr>
              <p:cNvSpPr/>
              <p:nvPr/>
            </p:nvSpPr>
            <p:spPr>
              <a:xfrm>
                <a:off x="401041" y="2792924"/>
                <a:ext cx="602986" cy="201511"/>
              </a:xfrm>
              <a:custGeom>
                <a:avLst/>
                <a:gdLst>
                  <a:gd name="connsiteX0" fmla="*/ 0 w 602986"/>
                  <a:gd name="connsiteY0" fmla="*/ 0 h 201511"/>
                  <a:gd name="connsiteX1" fmla="*/ 602986 w 602986"/>
                  <a:gd name="connsiteY1" fmla="*/ 0 h 201511"/>
                  <a:gd name="connsiteX2" fmla="*/ 602986 w 602986"/>
                  <a:gd name="connsiteY2" fmla="*/ 201511 h 201511"/>
                  <a:gd name="connsiteX3" fmla="*/ 0 w 602986"/>
                  <a:gd name="connsiteY3" fmla="*/ 201511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2986" h="201511">
                    <a:moveTo>
                      <a:pt x="0" y="0"/>
                    </a:moveTo>
                    <a:lnTo>
                      <a:pt x="602986" y="0"/>
                    </a:lnTo>
                    <a:lnTo>
                      <a:pt x="602986" y="201511"/>
                    </a:lnTo>
                    <a:lnTo>
                      <a:pt x="0" y="201511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312" name="Forma libre 1311">
                <a:extLst>
                  <a:ext uri="{FF2B5EF4-FFF2-40B4-BE49-F238E27FC236}">
                    <a16:creationId xmlns:a16="http://schemas.microsoft.com/office/drawing/2014/main" id="{2713DBB3-3665-CB92-1979-AA46C16AB136}"/>
                  </a:ext>
                </a:extLst>
              </p:cNvPr>
              <p:cNvSpPr/>
              <p:nvPr/>
            </p:nvSpPr>
            <p:spPr>
              <a:xfrm>
                <a:off x="401041" y="2408471"/>
                <a:ext cx="602986" cy="201511"/>
              </a:xfrm>
              <a:custGeom>
                <a:avLst/>
                <a:gdLst>
                  <a:gd name="connsiteX0" fmla="*/ 0 w 602986"/>
                  <a:gd name="connsiteY0" fmla="*/ 0 h 201511"/>
                  <a:gd name="connsiteX1" fmla="*/ 602986 w 602986"/>
                  <a:gd name="connsiteY1" fmla="*/ 0 h 201511"/>
                  <a:gd name="connsiteX2" fmla="*/ 602986 w 602986"/>
                  <a:gd name="connsiteY2" fmla="*/ 201511 h 201511"/>
                  <a:gd name="connsiteX3" fmla="*/ 0 w 602986"/>
                  <a:gd name="connsiteY3" fmla="*/ 201511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2986" h="201511">
                    <a:moveTo>
                      <a:pt x="0" y="0"/>
                    </a:moveTo>
                    <a:lnTo>
                      <a:pt x="602986" y="0"/>
                    </a:lnTo>
                    <a:lnTo>
                      <a:pt x="602986" y="201511"/>
                    </a:lnTo>
                    <a:lnTo>
                      <a:pt x="0" y="201511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313" name="Forma libre 1312">
                <a:extLst>
                  <a:ext uri="{FF2B5EF4-FFF2-40B4-BE49-F238E27FC236}">
                    <a16:creationId xmlns:a16="http://schemas.microsoft.com/office/drawing/2014/main" id="{E996DCE9-FA85-C090-4803-56BE1E7FFDB1}"/>
                  </a:ext>
                </a:extLst>
              </p:cNvPr>
              <p:cNvSpPr/>
              <p:nvPr/>
            </p:nvSpPr>
            <p:spPr>
              <a:xfrm>
                <a:off x="401041" y="2024019"/>
                <a:ext cx="602986" cy="201511"/>
              </a:xfrm>
              <a:custGeom>
                <a:avLst/>
                <a:gdLst>
                  <a:gd name="connsiteX0" fmla="*/ 0 w 602986"/>
                  <a:gd name="connsiteY0" fmla="*/ 0 h 201511"/>
                  <a:gd name="connsiteX1" fmla="*/ 602986 w 602986"/>
                  <a:gd name="connsiteY1" fmla="*/ 0 h 201511"/>
                  <a:gd name="connsiteX2" fmla="*/ 602986 w 602986"/>
                  <a:gd name="connsiteY2" fmla="*/ 201511 h 201511"/>
                  <a:gd name="connsiteX3" fmla="*/ 0 w 602986"/>
                  <a:gd name="connsiteY3" fmla="*/ 201511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2986" h="201511">
                    <a:moveTo>
                      <a:pt x="0" y="0"/>
                    </a:moveTo>
                    <a:lnTo>
                      <a:pt x="602986" y="0"/>
                    </a:lnTo>
                    <a:lnTo>
                      <a:pt x="602986" y="201511"/>
                    </a:lnTo>
                    <a:lnTo>
                      <a:pt x="0" y="201511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314" name="Forma libre 1313">
                <a:extLst>
                  <a:ext uri="{FF2B5EF4-FFF2-40B4-BE49-F238E27FC236}">
                    <a16:creationId xmlns:a16="http://schemas.microsoft.com/office/drawing/2014/main" id="{0CFFC304-2D32-2847-547A-A5064591DB4D}"/>
                  </a:ext>
                </a:extLst>
              </p:cNvPr>
              <p:cNvSpPr/>
              <p:nvPr/>
            </p:nvSpPr>
            <p:spPr>
              <a:xfrm>
                <a:off x="401041" y="1638917"/>
                <a:ext cx="602986" cy="201511"/>
              </a:xfrm>
              <a:custGeom>
                <a:avLst/>
                <a:gdLst>
                  <a:gd name="connsiteX0" fmla="*/ 0 w 602986"/>
                  <a:gd name="connsiteY0" fmla="*/ 0 h 201511"/>
                  <a:gd name="connsiteX1" fmla="*/ 602986 w 602986"/>
                  <a:gd name="connsiteY1" fmla="*/ 0 h 201511"/>
                  <a:gd name="connsiteX2" fmla="*/ 602986 w 602986"/>
                  <a:gd name="connsiteY2" fmla="*/ 201511 h 201511"/>
                  <a:gd name="connsiteX3" fmla="*/ 0 w 602986"/>
                  <a:gd name="connsiteY3" fmla="*/ 201511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2986" h="201511">
                    <a:moveTo>
                      <a:pt x="0" y="0"/>
                    </a:moveTo>
                    <a:lnTo>
                      <a:pt x="602986" y="0"/>
                    </a:lnTo>
                    <a:lnTo>
                      <a:pt x="602986" y="201511"/>
                    </a:lnTo>
                    <a:lnTo>
                      <a:pt x="0" y="201511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315" name="Forma libre 1314">
                <a:extLst>
                  <a:ext uri="{FF2B5EF4-FFF2-40B4-BE49-F238E27FC236}">
                    <a16:creationId xmlns:a16="http://schemas.microsoft.com/office/drawing/2014/main" id="{470236FE-C866-2579-2542-42BBAB141C90}"/>
                  </a:ext>
                </a:extLst>
              </p:cNvPr>
              <p:cNvSpPr/>
              <p:nvPr/>
            </p:nvSpPr>
            <p:spPr>
              <a:xfrm>
                <a:off x="0" y="1254450"/>
                <a:ext cx="1405756" cy="201511"/>
              </a:xfrm>
              <a:custGeom>
                <a:avLst/>
                <a:gdLst>
                  <a:gd name="connsiteX0" fmla="*/ 0 w 1405756"/>
                  <a:gd name="connsiteY0" fmla="*/ 0 h 201511"/>
                  <a:gd name="connsiteX1" fmla="*/ 1405756 w 1405756"/>
                  <a:gd name="connsiteY1" fmla="*/ 0 h 201511"/>
                  <a:gd name="connsiteX2" fmla="*/ 1405756 w 1405756"/>
                  <a:gd name="connsiteY2" fmla="*/ 201511 h 201511"/>
                  <a:gd name="connsiteX3" fmla="*/ 0 w 1405756"/>
                  <a:gd name="connsiteY3" fmla="*/ 201511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5756" h="201511">
                    <a:moveTo>
                      <a:pt x="0" y="0"/>
                    </a:moveTo>
                    <a:lnTo>
                      <a:pt x="1405756" y="0"/>
                    </a:lnTo>
                    <a:lnTo>
                      <a:pt x="1405756" y="201511"/>
                    </a:lnTo>
                    <a:lnTo>
                      <a:pt x="0" y="201511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316" name="Forma libre 1315">
                <a:extLst>
                  <a:ext uri="{FF2B5EF4-FFF2-40B4-BE49-F238E27FC236}">
                    <a16:creationId xmlns:a16="http://schemas.microsoft.com/office/drawing/2014/main" id="{DC3091D4-A8D6-2A9C-9FB0-FFD42F6CB693}"/>
                  </a:ext>
                </a:extLst>
              </p:cNvPr>
              <p:cNvSpPr/>
              <p:nvPr/>
            </p:nvSpPr>
            <p:spPr>
              <a:xfrm>
                <a:off x="0" y="870013"/>
                <a:ext cx="1405756" cy="201511"/>
              </a:xfrm>
              <a:custGeom>
                <a:avLst/>
                <a:gdLst>
                  <a:gd name="connsiteX0" fmla="*/ 0 w 1405756"/>
                  <a:gd name="connsiteY0" fmla="*/ 0 h 201511"/>
                  <a:gd name="connsiteX1" fmla="*/ 1405756 w 1405756"/>
                  <a:gd name="connsiteY1" fmla="*/ 0 h 201511"/>
                  <a:gd name="connsiteX2" fmla="*/ 1405756 w 1405756"/>
                  <a:gd name="connsiteY2" fmla="*/ 201511 h 201511"/>
                  <a:gd name="connsiteX3" fmla="*/ 0 w 1405756"/>
                  <a:gd name="connsiteY3" fmla="*/ 201511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5756" h="201511">
                    <a:moveTo>
                      <a:pt x="0" y="0"/>
                    </a:moveTo>
                    <a:lnTo>
                      <a:pt x="1405756" y="0"/>
                    </a:lnTo>
                    <a:lnTo>
                      <a:pt x="1405756" y="201511"/>
                    </a:lnTo>
                    <a:lnTo>
                      <a:pt x="0" y="201511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grpSp>
          <p:nvGrpSpPr>
            <p:cNvPr id="1277" name="Gráfico 3">
              <a:extLst>
                <a:ext uri="{FF2B5EF4-FFF2-40B4-BE49-F238E27FC236}">
                  <a16:creationId xmlns:a16="http://schemas.microsoft.com/office/drawing/2014/main" id="{769EFD5B-3EC7-A3B8-F4BA-072901081F06}"/>
                </a:ext>
              </a:extLst>
            </p:cNvPr>
            <p:cNvGrpSpPr/>
            <p:nvPr/>
          </p:nvGrpSpPr>
          <p:grpSpPr>
            <a:xfrm>
              <a:off x="1606320" y="870013"/>
              <a:ext cx="2264384" cy="2894012"/>
              <a:chOff x="1606320" y="870013"/>
              <a:chExt cx="2264384" cy="2894012"/>
            </a:xfrm>
            <a:solidFill>
              <a:srgbClr val="1F70C1"/>
            </a:solidFill>
          </p:grpSpPr>
          <p:sp>
            <p:nvSpPr>
              <p:cNvPr id="1299" name="Forma libre 1298">
                <a:extLst>
                  <a:ext uri="{FF2B5EF4-FFF2-40B4-BE49-F238E27FC236}">
                    <a16:creationId xmlns:a16="http://schemas.microsoft.com/office/drawing/2014/main" id="{4245E539-FF62-248F-5B39-F5E2D1AF187B}"/>
                  </a:ext>
                </a:extLst>
              </p:cNvPr>
              <p:cNvSpPr/>
              <p:nvPr/>
            </p:nvSpPr>
            <p:spPr>
              <a:xfrm>
                <a:off x="1606320" y="3562514"/>
                <a:ext cx="2014483" cy="201511"/>
              </a:xfrm>
              <a:custGeom>
                <a:avLst/>
                <a:gdLst>
                  <a:gd name="connsiteX0" fmla="*/ 0 w 2014483"/>
                  <a:gd name="connsiteY0" fmla="*/ 199368 h 201511"/>
                  <a:gd name="connsiteX1" fmla="*/ 1497434 w 2014483"/>
                  <a:gd name="connsiteY1" fmla="*/ 201511 h 201511"/>
                  <a:gd name="connsiteX2" fmla="*/ 2014483 w 2014483"/>
                  <a:gd name="connsiteY2" fmla="*/ 0 h 201511"/>
                  <a:gd name="connsiteX3" fmla="*/ 22 w 2014483"/>
                  <a:gd name="connsiteY3" fmla="*/ 0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14483" h="201511">
                    <a:moveTo>
                      <a:pt x="0" y="199368"/>
                    </a:moveTo>
                    <a:lnTo>
                      <a:pt x="1497434" y="201511"/>
                    </a:lnTo>
                    <a:cubicBezTo>
                      <a:pt x="1697955" y="201511"/>
                      <a:pt x="1879135" y="124339"/>
                      <a:pt x="2014483" y="0"/>
                    </a:cubicBez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300" name="Forma libre 1299">
                <a:extLst>
                  <a:ext uri="{FF2B5EF4-FFF2-40B4-BE49-F238E27FC236}">
                    <a16:creationId xmlns:a16="http://schemas.microsoft.com/office/drawing/2014/main" id="{4A005830-1B6A-0A15-2C55-EBD5BC505715}"/>
                  </a:ext>
                </a:extLst>
              </p:cNvPr>
              <p:cNvSpPr/>
              <p:nvPr/>
            </p:nvSpPr>
            <p:spPr>
              <a:xfrm>
                <a:off x="1606320" y="3177362"/>
                <a:ext cx="2242239" cy="201511"/>
              </a:xfrm>
              <a:custGeom>
                <a:avLst/>
                <a:gdLst>
                  <a:gd name="connsiteX0" fmla="*/ 0 w 2242239"/>
                  <a:gd name="connsiteY0" fmla="*/ 201511 h 201511"/>
                  <a:gd name="connsiteX1" fmla="*/ 2162029 w 2242239"/>
                  <a:gd name="connsiteY1" fmla="*/ 201511 h 201511"/>
                  <a:gd name="connsiteX2" fmla="*/ 2242240 w 2242239"/>
                  <a:gd name="connsiteY2" fmla="*/ 0 h 201511"/>
                  <a:gd name="connsiteX3" fmla="*/ 29 w 2242239"/>
                  <a:gd name="connsiteY3" fmla="*/ 0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42239" h="201511">
                    <a:moveTo>
                      <a:pt x="0" y="201511"/>
                    </a:moveTo>
                    <a:lnTo>
                      <a:pt x="2162029" y="201511"/>
                    </a:lnTo>
                    <a:cubicBezTo>
                      <a:pt x="2198548" y="139345"/>
                      <a:pt x="2225763" y="71458"/>
                      <a:pt x="2242240" y="0"/>
                    </a:cubicBez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301" name="Forma libre 1300">
                <a:extLst>
                  <a:ext uri="{FF2B5EF4-FFF2-40B4-BE49-F238E27FC236}">
                    <a16:creationId xmlns:a16="http://schemas.microsoft.com/office/drawing/2014/main" id="{D61A0CE4-6B1F-666C-4BD4-14610E83C576}"/>
                  </a:ext>
                </a:extLst>
              </p:cNvPr>
              <p:cNvSpPr/>
              <p:nvPr/>
            </p:nvSpPr>
            <p:spPr>
              <a:xfrm>
                <a:off x="2008026" y="2792924"/>
                <a:ext cx="602270" cy="201511"/>
              </a:xfrm>
              <a:custGeom>
                <a:avLst/>
                <a:gdLst>
                  <a:gd name="connsiteX0" fmla="*/ 0 w 602270"/>
                  <a:gd name="connsiteY0" fmla="*/ 0 h 201511"/>
                  <a:gd name="connsiteX1" fmla="*/ 602271 w 602270"/>
                  <a:gd name="connsiteY1" fmla="*/ 0 h 201511"/>
                  <a:gd name="connsiteX2" fmla="*/ 602271 w 602270"/>
                  <a:gd name="connsiteY2" fmla="*/ 201511 h 201511"/>
                  <a:gd name="connsiteX3" fmla="*/ 0 w 602270"/>
                  <a:gd name="connsiteY3" fmla="*/ 201511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2270" h="201511">
                    <a:moveTo>
                      <a:pt x="0" y="0"/>
                    </a:moveTo>
                    <a:lnTo>
                      <a:pt x="602271" y="0"/>
                    </a:lnTo>
                    <a:lnTo>
                      <a:pt x="602271" y="201511"/>
                    </a:lnTo>
                    <a:lnTo>
                      <a:pt x="0" y="201511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302" name="Forma libre 1301">
                <a:extLst>
                  <a:ext uri="{FF2B5EF4-FFF2-40B4-BE49-F238E27FC236}">
                    <a16:creationId xmlns:a16="http://schemas.microsoft.com/office/drawing/2014/main" id="{FE561D37-A103-2866-EB9F-995D857A363D}"/>
                  </a:ext>
                </a:extLst>
              </p:cNvPr>
              <p:cNvSpPr/>
              <p:nvPr/>
            </p:nvSpPr>
            <p:spPr>
              <a:xfrm>
                <a:off x="3213290" y="2792924"/>
                <a:ext cx="657414" cy="201510"/>
              </a:xfrm>
              <a:custGeom>
                <a:avLst/>
                <a:gdLst>
                  <a:gd name="connsiteX0" fmla="*/ 0 w 657414"/>
                  <a:gd name="connsiteY0" fmla="*/ 0 h 201510"/>
                  <a:gd name="connsiteX1" fmla="*/ 0 w 657414"/>
                  <a:gd name="connsiteY1" fmla="*/ 201511 h 201510"/>
                  <a:gd name="connsiteX2" fmla="*/ 657415 w 657414"/>
                  <a:gd name="connsiteY2" fmla="*/ 201511 h 201510"/>
                  <a:gd name="connsiteX3" fmla="*/ 630201 w 657414"/>
                  <a:gd name="connsiteY3" fmla="*/ 0 h 20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7414" h="201510">
                    <a:moveTo>
                      <a:pt x="0" y="0"/>
                    </a:moveTo>
                    <a:lnTo>
                      <a:pt x="0" y="201511"/>
                    </a:lnTo>
                    <a:lnTo>
                      <a:pt x="657415" y="201511"/>
                    </a:lnTo>
                    <a:cubicBezTo>
                      <a:pt x="657415" y="132196"/>
                      <a:pt x="648102" y="64316"/>
                      <a:pt x="630201" y="0"/>
                    </a:cubicBez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303" name="Forma libre 1302">
                <a:extLst>
                  <a:ext uri="{FF2B5EF4-FFF2-40B4-BE49-F238E27FC236}">
                    <a16:creationId xmlns:a16="http://schemas.microsoft.com/office/drawing/2014/main" id="{98FD0481-9F4D-889D-757A-430920F04A3D}"/>
                  </a:ext>
                </a:extLst>
              </p:cNvPr>
              <p:cNvSpPr/>
              <p:nvPr/>
            </p:nvSpPr>
            <p:spPr>
              <a:xfrm>
                <a:off x="2008026" y="2408471"/>
                <a:ext cx="1760249" cy="201511"/>
              </a:xfrm>
              <a:custGeom>
                <a:avLst/>
                <a:gdLst>
                  <a:gd name="connsiteX0" fmla="*/ 1592005 w 1760249"/>
                  <a:gd name="connsiteY0" fmla="*/ 0 h 201511"/>
                  <a:gd name="connsiteX1" fmla="*/ 0 w 1760249"/>
                  <a:gd name="connsiteY1" fmla="*/ 0 h 201511"/>
                  <a:gd name="connsiteX2" fmla="*/ 0 w 1760249"/>
                  <a:gd name="connsiteY2" fmla="*/ 201511 h 201511"/>
                  <a:gd name="connsiteX3" fmla="*/ 1760250 w 1760249"/>
                  <a:gd name="connsiteY3" fmla="*/ 201511 h 201511"/>
                  <a:gd name="connsiteX4" fmla="*/ 1591954 w 1760249"/>
                  <a:gd name="connsiteY4" fmla="*/ 0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0249" h="201511">
                    <a:moveTo>
                      <a:pt x="1592005" y="0"/>
                    </a:moveTo>
                    <a:lnTo>
                      <a:pt x="0" y="0"/>
                    </a:lnTo>
                    <a:lnTo>
                      <a:pt x="0" y="201511"/>
                    </a:lnTo>
                    <a:lnTo>
                      <a:pt x="1760250" y="201511"/>
                    </a:lnTo>
                    <a:cubicBezTo>
                      <a:pt x="1714410" y="124332"/>
                      <a:pt x="1657835" y="56452"/>
                      <a:pt x="1591954" y="0"/>
                    </a:cubicBez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304" name="Forma libre 1303">
                <a:extLst>
                  <a:ext uri="{FF2B5EF4-FFF2-40B4-BE49-F238E27FC236}">
                    <a16:creationId xmlns:a16="http://schemas.microsoft.com/office/drawing/2014/main" id="{18CCEB66-2DBC-8BA4-A0B1-9511B06ACBD1}"/>
                  </a:ext>
                </a:extLst>
              </p:cNvPr>
              <p:cNvSpPr/>
              <p:nvPr/>
            </p:nvSpPr>
            <p:spPr>
              <a:xfrm>
                <a:off x="2008026" y="2024019"/>
                <a:ext cx="1760300" cy="201510"/>
              </a:xfrm>
              <a:custGeom>
                <a:avLst/>
                <a:gdLst>
                  <a:gd name="connsiteX0" fmla="*/ 0 w 1760300"/>
                  <a:gd name="connsiteY0" fmla="*/ 0 h 201510"/>
                  <a:gd name="connsiteX1" fmla="*/ 0 w 1760300"/>
                  <a:gd name="connsiteY1" fmla="*/ 201511 h 201510"/>
                  <a:gd name="connsiteX2" fmla="*/ 1592005 w 1760300"/>
                  <a:gd name="connsiteY2" fmla="*/ 201511 h 201510"/>
                  <a:gd name="connsiteX3" fmla="*/ 1760301 w 1760300"/>
                  <a:gd name="connsiteY3" fmla="*/ 0 h 20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60300" h="201510">
                    <a:moveTo>
                      <a:pt x="0" y="0"/>
                    </a:moveTo>
                    <a:lnTo>
                      <a:pt x="0" y="201511"/>
                    </a:lnTo>
                    <a:lnTo>
                      <a:pt x="1592005" y="201511"/>
                    </a:lnTo>
                    <a:cubicBezTo>
                      <a:pt x="1659324" y="145059"/>
                      <a:pt x="1715893" y="77172"/>
                      <a:pt x="1760301" y="0"/>
                    </a:cubicBez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305" name="Forma libre 1304">
                <a:extLst>
                  <a:ext uri="{FF2B5EF4-FFF2-40B4-BE49-F238E27FC236}">
                    <a16:creationId xmlns:a16="http://schemas.microsoft.com/office/drawing/2014/main" id="{2C775947-A4CC-34CA-DF07-F8DE26C30EFC}"/>
                  </a:ext>
                </a:extLst>
              </p:cNvPr>
              <p:cNvSpPr/>
              <p:nvPr/>
            </p:nvSpPr>
            <p:spPr>
              <a:xfrm>
                <a:off x="2008026" y="1638917"/>
                <a:ext cx="602270" cy="201511"/>
              </a:xfrm>
              <a:custGeom>
                <a:avLst/>
                <a:gdLst>
                  <a:gd name="connsiteX0" fmla="*/ 0 w 602270"/>
                  <a:gd name="connsiteY0" fmla="*/ 0 h 201511"/>
                  <a:gd name="connsiteX1" fmla="*/ 602271 w 602270"/>
                  <a:gd name="connsiteY1" fmla="*/ 0 h 201511"/>
                  <a:gd name="connsiteX2" fmla="*/ 602271 w 602270"/>
                  <a:gd name="connsiteY2" fmla="*/ 201511 h 201511"/>
                  <a:gd name="connsiteX3" fmla="*/ 0 w 602270"/>
                  <a:gd name="connsiteY3" fmla="*/ 201511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2270" h="201511">
                    <a:moveTo>
                      <a:pt x="0" y="0"/>
                    </a:moveTo>
                    <a:lnTo>
                      <a:pt x="602271" y="0"/>
                    </a:lnTo>
                    <a:lnTo>
                      <a:pt x="602271" y="201511"/>
                    </a:lnTo>
                    <a:lnTo>
                      <a:pt x="0" y="201511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306" name="Forma libre 1305">
                <a:extLst>
                  <a:ext uri="{FF2B5EF4-FFF2-40B4-BE49-F238E27FC236}">
                    <a16:creationId xmlns:a16="http://schemas.microsoft.com/office/drawing/2014/main" id="{59410251-F0EB-3983-7C22-4822973E5A53}"/>
                  </a:ext>
                </a:extLst>
              </p:cNvPr>
              <p:cNvSpPr/>
              <p:nvPr/>
            </p:nvSpPr>
            <p:spPr>
              <a:xfrm>
                <a:off x="3213290" y="1638903"/>
                <a:ext cx="657414" cy="201510"/>
              </a:xfrm>
              <a:custGeom>
                <a:avLst/>
                <a:gdLst>
                  <a:gd name="connsiteX0" fmla="*/ 0 w 657414"/>
                  <a:gd name="connsiteY0" fmla="*/ 201511 h 201510"/>
                  <a:gd name="connsiteX1" fmla="*/ 630201 w 657414"/>
                  <a:gd name="connsiteY1" fmla="*/ 201511 h 201510"/>
                  <a:gd name="connsiteX2" fmla="*/ 657415 w 657414"/>
                  <a:gd name="connsiteY2" fmla="*/ 0 h 201510"/>
                  <a:gd name="connsiteX3" fmla="*/ 0 w 657414"/>
                  <a:gd name="connsiteY3" fmla="*/ 0 h 20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7414" h="201510">
                    <a:moveTo>
                      <a:pt x="0" y="201511"/>
                    </a:moveTo>
                    <a:lnTo>
                      <a:pt x="630201" y="201511"/>
                    </a:lnTo>
                    <a:cubicBezTo>
                      <a:pt x="648102" y="137202"/>
                      <a:pt x="657415" y="69315"/>
                      <a:pt x="657415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307" name="Forma libre 1306">
                <a:extLst>
                  <a:ext uri="{FF2B5EF4-FFF2-40B4-BE49-F238E27FC236}">
                    <a16:creationId xmlns:a16="http://schemas.microsoft.com/office/drawing/2014/main" id="{16169D17-6893-BE8A-30B8-7A9CD4E9C4A5}"/>
                  </a:ext>
                </a:extLst>
              </p:cNvPr>
              <p:cNvSpPr/>
              <p:nvPr/>
            </p:nvSpPr>
            <p:spPr>
              <a:xfrm>
                <a:off x="1606320" y="1254450"/>
                <a:ext cx="2242210" cy="201511"/>
              </a:xfrm>
              <a:custGeom>
                <a:avLst/>
                <a:gdLst>
                  <a:gd name="connsiteX0" fmla="*/ 2162029 w 2242210"/>
                  <a:gd name="connsiteY0" fmla="*/ 0 h 201511"/>
                  <a:gd name="connsiteX1" fmla="*/ 0 w 2242210"/>
                  <a:gd name="connsiteY1" fmla="*/ 0 h 201511"/>
                  <a:gd name="connsiteX2" fmla="*/ 0 w 2242210"/>
                  <a:gd name="connsiteY2" fmla="*/ 201511 h 201511"/>
                  <a:gd name="connsiteX3" fmla="*/ 2242211 w 2242210"/>
                  <a:gd name="connsiteY3" fmla="*/ 201511 h 201511"/>
                  <a:gd name="connsiteX4" fmla="*/ 2162007 w 2242210"/>
                  <a:gd name="connsiteY4" fmla="*/ 0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42210" h="201511">
                    <a:moveTo>
                      <a:pt x="2162029" y="0"/>
                    </a:moveTo>
                    <a:lnTo>
                      <a:pt x="0" y="0"/>
                    </a:lnTo>
                    <a:lnTo>
                      <a:pt x="0" y="201511"/>
                    </a:lnTo>
                    <a:lnTo>
                      <a:pt x="2242211" y="201511"/>
                    </a:lnTo>
                    <a:cubicBezTo>
                      <a:pt x="2223594" y="130053"/>
                      <a:pt x="2196379" y="62173"/>
                      <a:pt x="2162007" y="0"/>
                    </a:cubicBez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308" name="Forma libre 1307">
                <a:extLst>
                  <a:ext uri="{FF2B5EF4-FFF2-40B4-BE49-F238E27FC236}">
                    <a16:creationId xmlns:a16="http://schemas.microsoft.com/office/drawing/2014/main" id="{753D9686-AB85-9C2F-E94A-2982ECF278B3}"/>
                  </a:ext>
                </a:extLst>
              </p:cNvPr>
              <p:cNvSpPr/>
              <p:nvPr/>
            </p:nvSpPr>
            <p:spPr>
              <a:xfrm>
                <a:off x="1606320" y="870013"/>
                <a:ext cx="2013810" cy="201511"/>
              </a:xfrm>
              <a:custGeom>
                <a:avLst/>
                <a:gdLst>
                  <a:gd name="connsiteX0" fmla="*/ 1497434 w 2013810"/>
                  <a:gd name="connsiteY0" fmla="*/ 0 h 201511"/>
                  <a:gd name="connsiteX1" fmla="*/ 0 w 2013810"/>
                  <a:gd name="connsiteY1" fmla="*/ 0 h 201511"/>
                  <a:gd name="connsiteX2" fmla="*/ 0 w 2013810"/>
                  <a:gd name="connsiteY2" fmla="*/ 201511 h 201511"/>
                  <a:gd name="connsiteX3" fmla="*/ 2013811 w 2013810"/>
                  <a:gd name="connsiteY3" fmla="*/ 201511 h 201511"/>
                  <a:gd name="connsiteX4" fmla="*/ 1497478 w 2013810"/>
                  <a:gd name="connsiteY4" fmla="*/ 0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13810" h="201511">
                    <a:moveTo>
                      <a:pt x="1497434" y="0"/>
                    </a:moveTo>
                    <a:lnTo>
                      <a:pt x="0" y="0"/>
                    </a:lnTo>
                    <a:lnTo>
                      <a:pt x="0" y="201511"/>
                    </a:lnTo>
                    <a:lnTo>
                      <a:pt x="2013811" y="201511"/>
                    </a:lnTo>
                    <a:cubicBezTo>
                      <a:pt x="1879178" y="77172"/>
                      <a:pt x="1696567" y="0"/>
                      <a:pt x="1497478" y="0"/>
                    </a:cubicBez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grpSp>
          <p:nvGrpSpPr>
            <p:cNvPr id="1278" name="Gráfico 3">
              <a:extLst>
                <a:ext uri="{FF2B5EF4-FFF2-40B4-BE49-F238E27FC236}">
                  <a16:creationId xmlns:a16="http://schemas.microsoft.com/office/drawing/2014/main" id="{A46C85F7-17DC-D191-151B-ED1E250A1D8A}"/>
                </a:ext>
              </a:extLst>
            </p:cNvPr>
            <p:cNvGrpSpPr/>
            <p:nvPr/>
          </p:nvGrpSpPr>
          <p:grpSpPr>
            <a:xfrm>
              <a:off x="4016848" y="870013"/>
              <a:ext cx="3213291" cy="2894177"/>
              <a:chOff x="4016848" y="870013"/>
              <a:chExt cx="3213291" cy="2894177"/>
            </a:xfrm>
            <a:solidFill>
              <a:srgbClr val="1F70C1"/>
            </a:solidFill>
          </p:grpSpPr>
          <p:sp>
            <p:nvSpPr>
              <p:cNvPr id="1280" name="Forma libre 1279">
                <a:extLst>
                  <a:ext uri="{FF2B5EF4-FFF2-40B4-BE49-F238E27FC236}">
                    <a16:creationId xmlns:a16="http://schemas.microsoft.com/office/drawing/2014/main" id="{76E48F4E-B72F-8AD2-D143-52D9A911F758}"/>
                  </a:ext>
                </a:extLst>
              </p:cNvPr>
              <p:cNvSpPr/>
              <p:nvPr/>
            </p:nvSpPr>
            <p:spPr>
              <a:xfrm>
                <a:off x="4016848" y="1254450"/>
                <a:ext cx="1352758" cy="201511"/>
              </a:xfrm>
              <a:custGeom>
                <a:avLst/>
                <a:gdLst>
                  <a:gd name="connsiteX0" fmla="*/ 0 w 1352758"/>
                  <a:gd name="connsiteY0" fmla="*/ 201511 h 201511"/>
                  <a:gd name="connsiteX1" fmla="*/ 1352759 w 1352758"/>
                  <a:gd name="connsiteY1" fmla="*/ 201511 h 201511"/>
                  <a:gd name="connsiteX2" fmla="*/ 1283277 w 1352758"/>
                  <a:gd name="connsiteY2" fmla="*/ 0 h 201511"/>
                  <a:gd name="connsiteX3" fmla="*/ 0 w 1352758"/>
                  <a:gd name="connsiteY3" fmla="*/ 0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2758" h="201511">
                    <a:moveTo>
                      <a:pt x="0" y="201511"/>
                    </a:moveTo>
                    <a:lnTo>
                      <a:pt x="1352759" y="201511"/>
                    </a:lnTo>
                    <a:lnTo>
                      <a:pt x="128327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81" name="Forma libre 1280">
                <a:extLst>
                  <a:ext uri="{FF2B5EF4-FFF2-40B4-BE49-F238E27FC236}">
                    <a16:creationId xmlns:a16="http://schemas.microsoft.com/office/drawing/2014/main" id="{46132D6D-2944-592E-B715-161F67254DC4}"/>
                  </a:ext>
                </a:extLst>
              </p:cNvPr>
              <p:cNvSpPr/>
              <p:nvPr/>
            </p:nvSpPr>
            <p:spPr>
              <a:xfrm>
                <a:off x="4016848" y="870013"/>
                <a:ext cx="1219579" cy="201511"/>
              </a:xfrm>
              <a:custGeom>
                <a:avLst/>
                <a:gdLst>
                  <a:gd name="connsiteX0" fmla="*/ 0 w 1219579"/>
                  <a:gd name="connsiteY0" fmla="*/ 201511 h 201511"/>
                  <a:gd name="connsiteX1" fmla="*/ 1219580 w 1219579"/>
                  <a:gd name="connsiteY1" fmla="*/ 201511 h 201511"/>
                  <a:gd name="connsiteX2" fmla="*/ 1150098 w 1219579"/>
                  <a:gd name="connsiteY2" fmla="*/ 0 h 201511"/>
                  <a:gd name="connsiteX3" fmla="*/ 0 w 1219579"/>
                  <a:gd name="connsiteY3" fmla="*/ 0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19579" h="201511">
                    <a:moveTo>
                      <a:pt x="0" y="201511"/>
                    </a:moveTo>
                    <a:lnTo>
                      <a:pt x="1219580" y="201511"/>
                    </a:lnTo>
                    <a:lnTo>
                      <a:pt x="115009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82" name="Forma libre 1281">
                <a:extLst>
                  <a:ext uri="{FF2B5EF4-FFF2-40B4-BE49-F238E27FC236}">
                    <a16:creationId xmlns:a16="http://schemas.microsoft.com/office/drawing/2014/main" id="{CFE43BF2-6E36-0B69-36F3-CE8D6CD21BCA}"/>
                  </a:ext>
                </a:extLst>
              </p:cNvPr>
              <p:cNvSpPr/>
              <p:nvPr/>
            </p:nvSpPr>
            <p:spPr>
              <a:xfrm>
                <a:off x="6225367" y="3562694"/>
                <a:ext cx="1004772" cy="201496"/>
              </a:xfrm>
              <a:custGeom>
                <a:avLst/>
                <a:gdLst>
                  <a:gd name="connsiteX0" fmla="*/ 0 w 1004772"/>
                  <a:gd name="connsiteY0" fmla="*/ 201497 h 201496"/>
                  <a:gd name="connsiteX1" fmla="*/ 0 w 1004772"/>
                  <a:gd name="connsiteY1" fmla="*/ 0 h 201496"/>
                  <a:gd name="connsiteX2" fmla="*/ 1004772 w 1004772"/>
                  <a:gd name="connsiteY2" fmla="*/ 0 h 201496"/>
                  <a:gd name="connsiteX3" fmla="*/ 1004772 w 1004772"/>
                  <a:gd name="connsiteY3" fmla="*/ 201497 h 201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4772" h="201496">
                    <a:moveTo>
                      <a:pt x="0" y="201497"/>
                    </a:moveTo>
                    <a:lnTo>
                      <a:pt x="0" y="0"/>
                    </a:lnTo>
                    <a:lnTo>
                      <a:pt x="1004772" y="0"/>
                    </a:lnTo>
                    <a:lnTo>
                      <a:pt x="1004772" y="201497"/>
                    </a:lnTo>
                    <a:close/>
                  </a:path>
                </a:pathLst>
              </a:custGeom>
              <a:solidFill>
                <a:srgbClr val="1F70C1"/>
              </a:solidFill>
              <a:ln w="724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83" name="Forma libre 1282">
                <a:extLst>
                  <a:ext uri="{FF2B5EF4-FFF2-40B4-BE49-F238E27FC236}">
                    <a16:creationId xmlns:a16="http://schemas.microsoft.com/office/drawing/2014/main" id="{162C0390-46C5-58C8-A351-6C25DE5B7562}"/>
                  </a:ext>
                </a:extLst>
              </p:cNvPr>
              <p:cNvSpPr/>
              <p:nvPr/>
            </p:nvSpPr>
            <p:spPr>
              <a:xfrm>
                <a:off x="6225367" y="3177376"/>
                <a:ext cx="1004772" cy="201496"/>
              </a:xfrm>
              <a:custGeom>
                <a:avLst/>
                <a:gdLst>
                  <a:gd name="connsiteX0" fmla="*/ 0 w 1004772"/>
                  <a:gd name="connsiteY0" fmla="*/ 201497 h 201496"/>
                  <a:gd name="connsiteX1" fmla="*/ 0 w 1004772"/>
                  <a:gd name="connsiteY1" fmla="*/ 0 h 201496"/>
                  <a:gd name="connsiteX2" fmla="*/ 1004772 w 1004772"/>
                  <a:gd name="connsiteY2" fmla="*/ 0 h 201496"/>
                  <a:gd name="connsiteX3" fmla="*/ 1004772 w 1004772"/>
                  <a:gd name="connsiteY3" fmla="*/ 201497 h 201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4772" h="201496">
                    <a:moveTo>
                      <a:pt x="0" y="201497"/>
                    </a:moveTo>
                    <a:lnTo>
                      <a:pt x="0" y="0"/>
                    </a:lnTo>
                    <a:lnTo>
                      <a:pt x="1004772" y="0"/>
                    </a:lnTo>
                    <a:lnTo>
                      <a:pt x="1004772" y="201497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84" name="Forma libre 1283">
                <a:extLst>
                  <a:ext uri="{FF2B5EF4-FFF2-40B4-BE49-F238E27FC236}">
                    <a16:creationId xmlns:a16="http://schemas.microsoft.com/office/drawing/2014/main" id="{29CADD9D-2072-032E-7B46-08FE4256F133}"/>
                  </a:ext>
                </a:extLst>
              </p:cNvPr>
              <p:cNvSpPr/>
              <p:nvPr/>
            </p:nvSpPr>
            <p:spPr>
              <a:xfrm>
                <a:off x="4417832" y="2024019"/>
                <a:ext cx="2410528" cy="201496"/>
              </a:xfrm>
              <a:custGeom>
                <a:avLst/>
                <a:gdLst>
                  <a:gd name="connsiteX0" fmla="*/ 1205264 w 2410528"/>
                  <a:gd name="connsiteY0" fmla="*/ 162900 h 201496"/>
                  <a:gd name="connsiteX1" fmla="*/ 1148724 w 2410528"/>
                  <a:gd name="connsiteY1" fmla="*/ 0 h 201496"/>
                  <a:gd name="connsiteX2" fmla="*/ 602993 w 2410528"/>
                  <a:gd name="connsiteY2" fmla="*/ 0 h 201496"/>
                  <a:gd name="connsiteX3" fmla="*/ 0 w 2410528"/>
                  <a:gd name="connsiteY3" fmla="*/ 0 h 201496"/>
                  <a:gd name="connsiteX4" fmla="*/ 0 w 2410528"/>
                  <a:gd name="connsiteY4" fmla="*/ 201497 h 201496"/>
                  <a:gd name="connsiteX5" fmla="*/ 602993 w 2410528"/>
                  <a:gd name="connsiteY5" fmla="*/ 201497 h 201496"/>
                  <a:gd name="connsiteX6" fmla="*/ 602993 w 2410528"/>
                  <a:gd name="connsiteY6" fmla="*/ 16449 h 201496"/>
                  <a:gd name="connsiteX7" fmla="*/ 666763 w 2410528"/>
                  <a:gd name="connsiteY7" fmla="*/ 201497 h 201496"/>
                  <a:gd name="connsiteX8" fmla="*/ 1743837 w 2410528"/>
                  <a:gd name="connsiteY8" fmla="*/ 201497 h 201496"/>
                  <a:gd name="connsiteX9" fmla="*/ 1807535 w 2410528"/>
                  <a:gd name="connsiteY9" fmla="*/ 16449 h 201496"/>
                  <a:gd name="connsiteX10" fmla="*/ 1807535 w 2410528"/>
                  <a:gd name="connsiteY10" fmla="*/ 201497 h 201496"/>
                  <a:gd name="connsiteX11" fmla="*/ 2410528 w 2410528"/>
                  <a:gd name="connsiteY11" fmla="*/ 201497 h 201496"/>
                  <a:gd name="connsiteX12" fmla="*/ 2410528 w 2410528"/>
                  <a:gd name="connsiteY12" fmla="*/ 0 h 201496"/>
                  <a:gd name="connsiteX13" fmla="*/ 1807535 w 2410528"/>
                  <a:gd name="connsiteY13" fmla="*/ 0 h 201496"/>
                  <a:gd name="connsiteX14" fmla="*/ 1261876 w 2410528"/>
                  <a:gd name="connsiteY14" fmla="*/ 0 h 201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410528" h="201496">
                    <a:moveTo>
                      <a:pt x="1205264" y="162900"/>
                    </a:moveTo>
                    <a:lnTo>
                      <a:pt x="1148724" y="0"/>
                    </a:lnTo>
                    <a:lnTo>
                      <a:pt x="602993" y="0"/>
                    </a:lnTo>
                    <a:lnTo>
                      <a:pt x="0" y="0"/>
                    </a:lnTo>
                    <a:lnTo>
                      <a:pt x="0" y="201497"/>
                    </a:lnTo>
                    <a:lnTo>
                      <a:pt x="602993" y="201497"/>
                    </a:lnTo>
                    <a:lnTo>
                      <a:pt x="602993" y="16449"/>
                    </a:lnTo>
                    <a:lnTo>
                      <a:pt x="666763" y="201497"/>
                    </a:lnTo>
                    <a:lnTo>
                      <a:pt x="1743837" y="201497"/>
                    </a:lnTo>
                    <a:lnTo>
                      <a:pt x="1807535" y="16449"/>
                    </a:lnTo>
                    <a:lnTo>
                      <a:pt x="1807535" y="201497"/>
                    </a:lnTo>
                    <a:lnTo>
                      <a:pt x="2410528" y="201497"/>
                    </a:lnTo>
                    <a:lnTo>
                      <a:pt x="2410528" y="0"/>
                    </a:lnTo>
                    <a:lnTo>
                      <a:pt x="1807535" y="0"/>
                    </a:lnTo>
                    <a:lnTo>
                      <a:pt x="1261876" y="0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85" name="Forma libre 1284">
                <a:extLst>
                  <a:ext uri="{FF2B5EF4-FFF2-40B4-BE49-F238E27FC236}">
                    <a16:creationId xmlns:a16="http://schemas.microsoft.com/office/drawing/2014/main" id="{7215F0F9-212C-C112-1060-CCBA75580307}"/>
                  </a:ext>
                </a:extLst>
              </p:cNvPr>
              <p:cNvSpPr/>
              <p:nvPr/>
            </p:nvSpPr>
            <p:spPr>
              <a:xfrm>
                <a:off x="5743405" y="1638917"/>
                <a:ext cx="1084954" cy="201496"/>
              </a:xfrm>
              <a:custGeom>
                <a:avLst/>
                <a:gdLst>
                  <a:gd name="connsiteX0" fmla="*/ 1084955 w 1084954"/>
                  <a:gd name="connsiteY0" fmla="*/ 0 h 201496"/>
                  <a:gd name="connsiteX1" fmla="*/ 69482 w 1084954"/>
                  <a:gd name="connsiteY1" fmla="*/ 0 h 201496"/>
                  <a:gd name="connsiteX2" fmla="*/ 0 w 1084954"/>
                  <a:gd name="connsiteY2" fmla="*/ 201497 h 201496"/>
                  <a:gd name="connsiteX3" fmla="*/ 1084955 w 1084954"/>
                  <a:gd name="connsiteY3" fmla="*/ 201497 h 201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4954" h="201496">
                    <a:moveTo>
                      <a:pt x="1084955" y="0"/>
                    </a:moveTo>
                    <a:lnTo>
                      <a:pt x="69482" y="0"/>
                    </a:lnTo>
                    <a:lnTo>
                      <a:pt x="0" y="201497"/>
                    </a:lnTo>
                    <a:lnTo>
                      <a:pt x="1084955" y="201497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86" name="Forma libre 1285">
                <a:extLst>
                  <a:ext uri="{FF2B5EF4-FFF2-40B4-BE49-F238E27FC236}">
                    <a16:creationId xmlns:a16="http://schemas.microsoft.com/office/drawing/2014/main" id="{83804E9E-5125-5499-CEF6-102C1DDD0F27}"/>
                  </a:ext>
                </a:extLst>
              </p:cNvPr>
              <p:cNvSpPr/>
              <p:nvPr/>
            </p:nvSpPr>
            <p:spPr>
              <a:xfrm>
                <a:off x="6010559" y="870013"/>
                <a:ext cx="1219579" cy="201511"/>
              </a:xfrm>
              <a:custGeom>
                <a:avLst/>
                <a:gdLst>
                  <a:gd name="connsiteX0" fmla="*/ 1219580 w 1219579"/>
                  <a:gd name="connsiteY0" fmla="*/ 201511 h 201511"/>
                  <a:gd name="connsiteX1" fmla="*/ 1219580 w 1219579"/>
                  <a:gd name="connsiteY1" fmla="*/ 0 h 201511"/>
                  <a:gd name="connsiteX2" fmla="*/ 69482 w 1219579"/>
                  <a:gd name="connsiteY2" fmla="*/ 0 h 201511"/>
                  <a:gd name="connsiteX3" fmla="*/ 0 w 1219579"/>
                  <a:gd name="connsiteY3" fmla="*/ 201511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19579" h="201511">
                    <a:moveTo>
                      <a:pt x="1219580" y="201511"/>
                    </a:moveTo>
                    <a:lnTo>
                      <a:pt x="1219580" y="0"/>
                    </a:lnTo>
                    <a:lnTo>
                      <a:pt x="69482" y="0"/>
                    </a:lnTo>
                    <a:lnTo>
                      <a:pt x="0" y="201511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87" name="Forma libre 1286">
                <a:extLst>
                  <a:ext uri="{FF2B5EF4-FFF2-40B4-BE49-F238E27FC236}">
                    <a16:creationId xmlns:a16="http://schemas.microsoft.com/office/drawing/2014/main" id="{D8BBC37D-4D5D-B832-71D9-4AEF408C0281}"/>
                  </a:ext>
                </a:extLst>
              </p:cNvPr>
              <p:cNvSpPr/>
              <p:nvPr/>
            </p:nvSpPr>
            <p:spPr>
              <a:xfrm>
                <a:off x="5553687" y="3562550"/>
                <a:ext cx="138891" cy="199332"/>
              </a:xfrm>
              <a:custGeom>
                <a:avLst/>
                <a:gdLst>
                  <a:gd name="connsiteX0" fmla="*/ 0 w 138891"/>
                  <a:gd name="connsiteY0" fmla="*/ 0 h 199332"/>
                  <a:gd name="connsiteX1" fmla="*/ 69409 w 138891"/>
                  <a:gd name="connsiteY1" fmla="*/ 199332 h 199332"/>
                  <a:gd name="connsiteX2" fmla="*/ 138891 w 138891"/>
                  <a:gd name="connsiteY2" fmla="*/ 0 h 199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8891" h="199332">
                    <a:moveTo>
                      <a:pt x="0" y="0"/>
                    </a:moveTo>
                    <a:lnTo>
                      <a:pt x="69409" y="199332"/>
                    </a:lnTo>
                    <a:lnTo>
                      <a:pt x="138891" y="0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88" name="Forma libre 1287">
                <a:extLst>
                  <a:ext uri="{FF2B5EF4-FFF2-40B4-BE49-F238E27FC236}">
                    <a16:creationId xmlns:a16="http://schemas.microsoft.com/office/drawing/2014/main" id="{76EC20B4-78B6-7820-ACD0-0755D311B7FF}"/>
                  </a:ext>
                </a:extLst>
              </p:cNvPr>
              <p:cNvSpPr/>
              <p:nvPr/>
            </p:nvSpPr>
            <p:spPr>
              <a:xfrm>
                <a:off x="5418989" y="3177376"/>
                <a:ext cx="408936" cy="201496"/>
              </a:xfrm>
              <a:custGeom>
                <a:avLst/>
                <a:gdLst>
                  <a:gd name="connsiteX0" fmla="*/ 0 w 408936"/>
                  <a:gd name="connsiteY0" fmla="*/ 0 h 201496"/>
                  <a:gd name="connsiteX1" fmla="*/ 70928 w 408936"/>
                  <a:gd name="connsiteY1" fmla="*/ 201497 h 201496"/>
                  <a:gd name="connsiteX2" fmla="*/ 337358 w 408936"/>
                  <a:gd name="connsiteY2" fmla="*/ 201497 h 201496"/>
                  <a:gd name="connsiteX3" fmla="*/ 408937 w 408936"/>
                  <a:gd name="connsiteY3" fmla="*/ 0 h 201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8936" h="201496">
                    <a:moveTo>
                      <a:pt x="0" y="0"/>
                    </a:moveTo>
                    <a:lnTo>
                      <a:pt x="70928" y="201497"/>
                    </a:lnTo>
                    <a:lnTo>
                      <a:pt x="337358" y="201497"/>
                    </a:lnTo>
                    <a:lnTo>
                      <a:pt x="408937" y="0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89" name="Forma libre 1288">
                <a:extLst>
                  <a:ext uri="{FF2B5EF4-FFF2-40B4-BE49-F238E27FC236}">
                    <a16:creationId xmlns:a16="http://schemas.microsoft.com/office/drawing/2014/main" id="{603B3795-1F60-EBD8-277C-E938E6BC8C32}"/>
                  </a:ext>
                </a:extLst>
              </p:cNvPr>
              <p:cNvSpPr/>
              <p:nvPr/>
            </p:nvSpPr>
            <p:spPr>
              <a:xfrm>
                <a:off x="5283641" y="2792924"/>
                <a:ext cx="678909" cy="201496"/>
              </a:xfrm>
              <a:custGeom>
                <a:avLst/>
                <a:gdLst>
                  <a:gd name="connsiteX0" fmla="*/ 0 w 678909"/>
                  <a:gd name="connsiteY0" fmla="*/ 0 h 201496"/>
                  <a:gd name="connsiteX1" fmla="*/ 70928 w 678909"/>
                  <a:gd name="connsiteY1" fmla="*/ 201497 h 201496"/>
                  <a:gd name="connsiteX2" fmla="*/ 608055 w 678909"/>
                  <a:gd name="connsiteY2" fmla="*/ 201497 h 201496"/>
                  <a:gd name="connsiteX3" fmla="*/ 678910 w 678909"/>
                  <a:gd name="connsiteY3" fmla="*/ 0 h 201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8909" h="201496">
                    <a:moveTo>
                      <a:pt x="0" y="0"/>
                    </a:moveTo>
                    <a:lnTo>
                      <a:pt x="70928" y="201497"/>
                    </a:lnTo>
                    <a:lnTo>
                      <a:pt x="608055" y="201497"/>
                    </a:lnTo>
                    <a:lnTo>
                      <a:pt x="678910" y="0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90" name="Forma libre 1289">
                <a:extLst>
                  <a:ext uri="{FF2B5EF4-FFF2-40B4-BE49-F238E27FC236}">
                    <a16:creationId xmlns:a16="http://schemas.microsoft.com/office/drawing/2014/main" id="{35BE3392-B4F6-D9E1-2291-01EAEC9830D1}"/>
                  </a:ext>
                </a:extLst>
              </p:cNvPr>
              <p:cNvSpPr/>
              <p:nvPr/>
            </p:nvSpPr>
            <p:spPr>
              <a:xfrm>
                <a:off x="5150462" y="2408471"/>
                <a:ext cx="945340" cy="201496"/>
              </a:xfrm>
              <a:custGeom>
                <a:avLst/>
                <a:gdLst>
                  <a:gd name="connsiteX0" fmla="*/ 69482 w 945340"/>
                  <a:gd name="connsiteY0" fmla="*/ 201497 h 201496"/>
                  <a:gd name="connsiteX1" fmla="*/ 876582 w 945340"/>
                  <a:gd name="connsiteY1" fmla="*/ 201497 h 201496"/>
                  <a:gd name="connsiteX2" fmla="*/ 945341 w 945340"/>
                  <a:gd name="connsiteY2" fmla="*/ 0 h 201496"/>
                  <a:gd name="connsiteX3" fmla="*/ 0 w 945340"/>
                  <a:gd name="connsiteY3" fmla="*/ 0 h 201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5340" h="201496">
                    <a:moveTo>
                      <a:pt x="69482" y="201497"/>
                    </a:moveTo>
                    <a:lnTo>
                      <a:pt x="876582" y="201497"/>
                    </a:lnTo>
                    <a:lnTo>
                      <a:pt x="94534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91" name="Forma libre 1290">
                <a:extLst>
                  <a:ext uri="{FF2B5EF4-FFF2-40B4-BE49-F238E27FC236}">
                    <a16:creationId xmlns:a16="http://schemas.microsoft.com/office/drawing/2014/main" id="{130987D0-96B4-8F67-BE70-94AA3D537996}"/>
                  </a:ext>
                </a:extLst>
              </p:cNvPr>
              <p:cNvSpPr/>
              <p:nvPr/>
            </p:nvSpPr>
            <p:spPr>
              <a:xfrm>
                <a:off x="4417832" y="1638917"/>
                <a:ext cx="1084954" cy="201496"/>
              </a:xfrm>
              <a:custGeom>
                <a:avLst/>
                <a:gdLst>
                  <a:gd name="connsiteX0" fmla="*/ 0 w 1084954"/>
                  <a:gd name="connsiteY0" fmla="*/ 201497 h 201496"/>
                  <a:gd name="connsiteX1" fmla="*/ 1084955 w 1084954"/>
                  <a:gd name="connsiteY1" fmla="*/ 201497 h 201496"/>
                  <a:gd name="connsiteX2" fmla="*/ 1015545 w 1084954"/>
                  <a:gd name="connsiteY2" fmla="*/ 0 h 201496"/>
                  <a:gd name="connsiteX3" fmla="*/ 0 w 1084954"/>
                  <a:gd name="connsiteY3" fmla="*/ 0 h 201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4954" h="201496">
                    <a:moveTo>
                      <a:pt x="0" y="201497"/>
                    </a:moveTo>
                    <a:lnTo>
                      <a:pt x="1084955" y="201497"/>
                    </a:lnTo>
                    <a:lnTo>
                      <a:pt x="101554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92" name="Forma libre 1291">
                <a:extLst>
                  <a:ext uri="{FF2B5EF4-FFF2-40B4-BE49-F238E27FC236}">
                    <a16:creationId xmlns:a16="http://schemas.microsoft.com/office/drawing/2014/main" id="{9C7AEBEF-E427-4A3C-A594-5A409C5B7B18}"/>
                  </a:ext>
                </a:extLst>
              </p:cNvPr>
              <p:cNvSpPr/>
              <p:nvPr/>
            </p:nvSpPr>
            <p:spPr>
              <a:xfrm>
                <a:off x="5877380" y="1254450"/>
                <a:ext cx="1352758" cy="201511"/>
              </a:xfrm>
              <a:custGeom>
                <a:avLst/>
                <a:gdLst>
                  <a:gd name="connsiteX0" fmla="*/ 1352759 w 1352758"/>
                  <a:gd name="connsiteY0" fmla="*/ 0 h 201511"/>
                  <a:gd name="connsiteX1" fmla="*/ 68686 w 1352758"/>
                  <a:gd name="connsiteY1" fmla="*/ 0 h 201511"/>
                  <a:gd name="connsiteX2" fmla="*/ 0 w 1352758"/>
                  <a:gd name="connsiteY2" fmla="*/ 201511 h 201511"/>
                  <a:gd name="connsiteX3" fmla="*/ 1352759 w 1352758"/>
                  <a:gd name="connsiteY3" fmla="*/ 201511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2758" h="201511">
                    <a:moveTo>
                      <a:pt x="1352759" y="0"/>
                    </a:moveTo>
                    <a:lnTo>
                      <a:pt x="68686" y="0"/>
                    </a:lnTo>
                    <a:lnTo>
                      <a:pt x="0" y="201511"/>
                    </a:lnTo>
                    <a:lnTo>
                      <a:pt x="1352759" y="201511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93" name="Forma libre 1292">
                <a:extLst>
                  <a:ext uri="{FF2B5EF4-FFF2-40B4-BE49-F238E27FC236}">
                    <a16:creationId xmlns:a16="http://schemas.microsoft.com/office/drawing/2014/main" id="{A04319F0-D8EA-F453-976A-D2665B81A31E}"/>
                  </a:ext>
                </a:extLst>
              </p:cNvPr>
              <p:cNvSpPr/>
              <p:nvPr/>
            </p:nvSpPr>
            <p:spPr>
              <a:xfrm>
                <a:off x="4016848" y="3562550"/>
                <a:ext cx="1004772" cy="201511"/>
              </a:xfrm>
              <a:custGeom>
                <a:avLst/>
                <a:gdLst>
                  <a:gd name="connsiteX0" fmla="*/ 0 w 1004772"/>
                  <a:gd name="connsiteY0" fmla="*/ 0 h 201511"/>
                  <a:gd name="connsiteX1" fmla="*/ 1004772 w 1004772"/>
                  <a:gd name="connsiteY1" fmla="*/ 0 h 201511"/>
                  <a:gd name="connsiteX2" fmla="*/ 1004772 w 1004772"/>
                  <a:gd name="connsiteY2" fmla="*/ 201511 h 201511"/>
                  <a:gd name="connsiteX3" fmla="*/ 0 w 1004772"/>
                  <a:gd name="connsiteY3" fmla="*/ 201511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4772" h="201511">
                    <a:moveTo>
                      <a:pt x="0" y="0"/>
                    </a:moveTo>
                    <a:lnTo>
                      <a:pt x="1004772" y="0"/>
                    </a:lnTo>
                    <a:lnTo>
                      <a:pt x="1004772" y="201511"/>
                    </a:lnTo>
                    <a:lnTo>
                      <a:pt x="0" y="201511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94" name="Forma libre 1293">
                <a:extLst>
                  <a:ext uri="{FF2B5EF4-FFF2-40B4-BE49-F238E27FC236}">
                    <a16:creationId xmlns:a16="http://schemas.microsoft.com/office/drawing/2014/main" id="{EB83CD01-A6D0-94FB-45F7-55118F86C80E}"/>
                  </a:ext>
                </a:extLst>
              </p:cNvPr>
              <p:cNvSpPr/>
              <p:nvPr/>
            </p:nvSpPr>
            <p:spPr>
              <a:xfrm>
                <a:off x="4016848" y="3177376"/>
                <a:ext cx="1004772" cy="201511"/>
              </a:xfrm>
              <a:custGeom>
                <a:avLst/>
                <a:gdLst>
                  <a:gd name="connsiteX0" fmla="*/ 0 w 1004772"/>
                  <a:gd name="connsiteY0" fmla="*/ 0 h 201511"/>
                  <a:gd name="connsiteX1" fmla="*/ 1004772 w 1004772"/>
                  <a:gd name="connsiteY1" fmla="*/ 0 h 201511"/>
                  <a:gd name="connsiteX2" fmla="*/ 1004772 w 1004772"/>
                  <a:gd name="connsiteY2" fmla="*/ 201511 h 201511"/>
                  <a:gd name="connsiteX3" fmla="*/ 0 w 1004772"/>
                  <a:gd name="connsiteY3" fmla="*/ 201511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4772" h="201511">
                    <a:moveTo>
                      <a:pt x="0" y="0"/>
                    </a:moveTo>
                    <a:lnTo>
                      <a:pt x="1004772" y="0"/>
                    </a:lnTo>
                    <a:lnTo>
                      <a:pt x="1004772" y="201511"/>
                    </a:lnTo>
                    <a:lnTo>
                      <a:pt x="0" y="201511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95" name="Forma libre 1294">
                <a:extLst>
                  <a:ext uri="{FF2B5EF4-FFF2-40B4-BE49-F238E27FC236}">
                    <a16:creationId xmlns:a16="http://schemas.microsoft.com/office/drawing/2014/main" id="{CBBAC7DE-33D6-E53B-50EA-036C9ABF2F99}"/>
                  </a:ext>
                </a:extLst>
              </p:cNvPr>
              <p:cNvSpPr/>
              <p:nvPr/>
            </p:nvSpPr>
            <p:spPr>
              <a:xfrm>
                <a:off x="4417832" y="2792924"/>
                <a:ext cx="602986" cy="201511"/>
              </a:xfrm>
              <a:custGeom>
                <a:avLst/>
                <a:gdLst>
                  <a:gd name="connsiteX0" fmla="*/ 0 w 602986"/>
                  <a:gd name="connsiteY0" fmla="*/ 0 h 201511"/>
                  <a:gd name="connsiteX1" fmla="*/ 602987 w 602986"/>
                  <a:gd name="connsiteY1" fmla="*/ 0 h 201511"/>
                  <a:gd name="connsiteX2" fmla="*/ 602987 w 602986"/>
                  <a:gd name="connsiteY2" fmla="*/ 201511 h 201511"/>
                  <a:gd name="connsiteX3" fmla="*/ 0 w 602986"/>
                  <a:gd name="connsiteY3" fmla="*/ 201511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2986" h="201511">
                    <a:moveTo>
                      <a:pt x="0" y="0"/>
                    </a:moveTo>
                    <a:lnTo>
                      <a:pt x="602987" y="0"/>
                    </a:lnTo>
                    <a:lnTo>
                      <a:pt x="602987" y="201511"/>
                    </a:lnTo>
                    <a:lnTo>
                      <a:pt x="0" y="201511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96" name="Forma libre 1295">
                <a:extLst>
                  <a:ext uri="{FF2B5EF4-FFF2-40B4-BE49-F238E27FC236}">
                    <a16:creationId xmlns:a16="http://schemas.microsoft.com/office/drawing/2014/main" id="{D16D2FEC-4052-9C13-5825-0FFDB6D9F451}"/>
                  </a:ext>
                </a:extLst>
              </p:cNvPr>
              <p:cNvSpPr/>
              <p:nvPr/>
            </p:nvSpPr>
            <p:spPr>
              <a:xfrm>
                <a:off x="4417832" y="2408471"/>
                <a:ext cx="602986" cy="201511"/>
              </a:xfrm>
              <a:custGeom>
                <a:avLst/>
                <a:gdLst>
                  <a:gd name="connsiteX0" fmla="*/ 0 w 602986"/>
                  <a:gd name="connsiteY0" fmla="*/ 0 h 201511"/>
                  <a:gd name="connsiteX1" fmla="*/ 602987 w 602986"/>
                  <a:gd name="connsiteY1" fmla="*/ 0 h 201511"/>
                  <a:gd name="connsiteX2" fmla="*/ 602987 w 602986"/>
                  <a:gd name="connsiteY2" fmla="*/ 201511 h 201511"/>
                  <a:gd name="connsiteX3" fmla="*/ 0 w 602986"/>
                  <a:gd name="connsiteY3" fmla="*/ 201511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2986" h="201511">
                    <a:moveTo>
                      <a:pt x="0" y="0"/>
                    </a:moveTo>
                    <a:lnTo>
                      <a:pt x="602987" y="0"/>
                    </a:lnTo>
                    <a:lnTo>
                      <a:pt x="602987" y="201511"/>
                    </a:lnTo>
                    <a:lnTo>
                      <a:pt x="0" y="201511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97" name="Forma libre 1296">
                <a:extLst>
                  <a:ext uri="{FF2B5EF4-FFF2-40B4-BE49-F238E27FC236}">
                    <a16:creationId xmlns:a16="http://schemas.microsoft.com/office/drawing/2014/main" id="{10F2FC61-54D9-7CB4-BA40-5A55284D081F}"/>
                  </a:ext>
                </a:extLst>
              </p:cNvPr>
              <p:cNvSpPr/>
              <p:nvPr/>
            </p:nvSpPr>
            <p:spPr>
              <a:xfrm>
                <a:off x="6225367" y="2408471"/>
                <a:ext cx="602986" cy="201511"/>
              </a:xfrm>
              <a:custGeom>
                <a:avLst/>
                <a:gdLst>
                  <a:gd name="connsiteX0" fmla="*/ 0 w 602986"/>
                  <a:gd name="connsiteY0" fmla="*/ 0 h 201511"/>
                  <a:gd name="connsiteX1" fmla="*/ 602987 w 602986"/>
                  <a:gd name="connsiteY1" fmla="*/ 0 h 201511"/>
                  <a:gd name="connsiteX2" fmla="*/ 602987 w 602986"/>
                  <a:gd name="connsiteY2" fmla="*/ 201511 h 201511"/>
                  <a:gd name="connsiteX3" fmla="*/ 0 w 602986"/>
                  <a:gd name="connsiteY3" fmla="*/ 201511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2986" h="201511">
                    <a:moveTo>
                      <a:pt x="0" y="0"/>
                    </a:moveTo>
                    <a:lnTo>
                      <a:pt x="602987" y="0"/>
                    </a:lnTo>
                    <a:lnTo>
                      <a:pt x="602987" y="201511"/>
                    </a:lnTo>
                    <a:lnTo>
                      <a:pt x="0" y="201511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98" name="Forma libre 1297">
                <a:extLst>
                  <a:ext uri="{FF2B5EF4-FFF2-40B4-BE49-F238E27FC236}">
                    <a16:creationId xmlns:a16="http://schemas.microsoft.com/office/drawing/2014/main" id="{F1C9959A-7F35-A450-D744-84A6700E0FBC}"/>
                  </a:ext>
                </a:extLst>
              </p:cNvPr>
              <p:cNvSpPr/>
              <p:nvPr/>
            </p:nvSpPr>
            <p:spPr>
              <a:xfrm>
                <a:off x="6225367" y="2792924"/>
                <a:ext cx="602986" cy="201511"/>
              </a:xfrm>
              <a:custGeom>
                <a:avLst/>
                <a:gdLst>
                  <a:gd name="connsiteX0" fmla="*/ 0 w 602986"/>
                  <a:gd name="connsiteY0" fmla="*/ 0 h 201511"/>
                  <a:gd name="connsiteX1" fmla="*/ 602987 w 602986"/>
                  <a:gd name="connsiteY1" fmla="*/ 0 h 201511"/>
                  <a:gd name="connsiteX2" fmla="*/ 602987 w 602986"/>
                  <a:gd name="connsiteY2" fmla="*/ 201511 h 201511"/>
                  <a:gd name="connsiteX3" fmla="*/ 0 w 602986"/>
                  <a:gd name="connsiteY3" fmla="*/ 201511 h 2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2986" h="201511">
                    <a:moveTo>
                      <a:pt x="0" y="0"/>
                    </a:moveTo>
                    <a:lnTo>
                      <a:pt x="602987" y="0"/>
                    </a:lnTo>
                    <a:lnTo>
                      <a:pt x="602987" y="201511"/>
                    </a:lnTo>
                    <a:lnTo>
                      <a:pt x="0" y="201511"/>
                    </a:lnTo>
                    <a:close/>
                  </a:path>
                </a:pathLst>
              </a:custGeom>
              <a:solidFill>
                <a:srgbClr val="1F70C1"/>
              </a:solidFill>
              <a:ln w="72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1279" name="Forma libre 1278">
              <a:extLst>
                <a:ext uri="{FF2B5EF4-FFF2-40B4-BE49-F238E27FC236}">
                  <a16:creationId xmlns:a16="http://schemas.microsoft.com/office/drawing/2014/main" id="{8A764898-5FB8-873F-D64C-8F27128217D1}"/>
                </a:ext>
              </a:extLst>
            </p:cNvPr>
            <p:cNvSpPr/>
            <p:nvPr/>
          </p:nvSpPr>
          <p:spPr>
            <a:xfrm>
              <a:off x="7447043" y="3446615"/>
              <a:ext cx="318126" cy="317431"/>
            </a:xfrm>
            <a:custGeom>
              <a:avLst/>
              <a:gdLst>
                <a:gd name="connsiteX0" fmla="*/ 159063 w 318126"/>
                <a:gd name="connsiteY0" fmla="*/ 0 h 317431"/>
                <a:gd name="connsiteX1" fmla="*/ 0 w 318126"/>
                <a:gd name="connsiteY1" fmla="*/ 158716 h 317431"/>
                <a:gd name="connsiteX2" fmla="*/ 159063 w 318126"/>
                <a:gd name="connsiteY2" fmla="*/ 317431 h 317431"/>
                <a:gd name="connsiteX3" fmla="*/ 318126 w 318126"/>
                <a:gd name="connsiteY3" fmla="*/ 158716 h 317431"/>
                <a:gd name="connsiteX4" fmla="*/ 159063 w 318126"/>
                <a:gd name="connsiteY4" fmla="*/ 0 h 317431"/>
                <a:gd name="connsiteX5" fmla="*/ 159063 w 318126"/>
                <a:gd name="connsiteY5" fmla="*/ 28857 h 317431"/>
                <a:gd name="connsiteX6" fmla="*/ 289206 w 318126"/>
                <a:gd name="connsiteY6" fmla="*/ 158716 h 317431"/>
                <a:gd name="connsiteX7" fmla="*/ 159063 w 318126"/>
                <a:gd name="connsiteY7" fmla="*/ 288574 h 317431"/>
                <a:gd name="connsiteX8" fmla="*/ 28921 w 318126"/>
                <a:gd name="connsiteY8" fmla="*/ 158716 h 317431"/>
                <a:gd name="connsiteX9" fmla="*/ 159063 w 318126"/>
                <a:gd name="connsiteY9" fmla="*/ 28857 h 317431"/>
                <a:gd name="connsiteX10" fmla="*/ 91461 w 318126"/>
                <a:gd name="connsiteY10" fmla="*/ 77864 h 317431"/>
                <a:gd name="connsiteX11" fmla="*/ 91461 w 318126"/>
                <a:gd name="connsiteY11" fmla="*/ 239567 h 317431"/>
                <a:gd name="connsiteX12" fmla="*/ 130938 w 318126"/>
                <a:gd name="connsiteY12" fmla="*/ 239567 h 317431"/>
                <a:gd name="connsiteX13" fmla="*/ 130938 w 318126"/>
                <a:gd name="connsiteY13" fmla="*/ 183793 h 317431"/>
                <a:gd name="connsiteX14" fmla="*/ 153279 w 318126"/>
                <a:gd name="connsiteY14" fmla="*/ 183793 h 317431"/>
                <a:gd name="connsiteX15" fmla="*/ 183429 w 318126"/>
                <a:gd name="connsiteY15" fmla="*/ 239567 h 317431"/>
                <a:gd name="connsiteX16" fmla="*/ 226665 w 318126"/>
                <a:gd name="connsiteY16" fmla="*/ 239567 h 317431"/>
                <a:gd name="connsiteX17" fmla="*/ 190297 w 318126"/>
                <a:gd name="connsiteY17" fmla="*/ 177653 h 317431"/>
                <a:gd name="connsiteX18" fmla="*/ 219724 w 318126"/>
                <a:gd name="connsiteY18" fmla="*/ 128956 h 317431"/>
                <a:gd name="connsiteX19" fmla="*/ 164848 w 318126"/>
                <a:gd name="connsiteY19" fmla="*/ 77864 h 317431"/>
                <a:gd name="connsiteX20" fmla="*/ 130938 w 318126"/>
                <a:gd name="connsiteY20" fmla="*/ 108807 h 317431"/>
                <a:gd name="connsiteX21" fmla="*/ 160220 w 318126"/>
                <a:gd name="connsiteY21" fmla="*/ 108807 h 317431"/>
                <a:gd name="connsiteX22" fmla="*/ 179524 w 318126"/>
                <a:gd name="connsiteY22" fmla="*/ 125804 h 317431"/>
                <a:gd name="connsiteX23" fmla="*/ 179524 w 318126"/>
                <a:gd name="connsiteY23" fmla="*/ 137440 h 317431"/>
                <a:gd name="connsiteX24" fmla="*/ 160220 w 318126"/>
                <a:gd name="connsiteY24" fmla="*/ 154459 h 317431"/>
                <a:gd name="connsiteX25" fmla="*/ 130938 w 318126"/>
                <a:gd name="connsiteY25" fmla="*/ 154459 h 317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18126" h="317431">
                  <a:moveTo>
                    <a:pt x="159063" y="0"/>
                  </a:moveTo>
                  <a:cubicBezTo>
                    <a:pt x="71217" y="0"/>
                    <a:pt x="0" y="71061"/>
                    <a:pt x="0" y="158716"/>
                  </a:cubicBezTo>
                  <a:cubicBezTo>
                    <a:pt x="0" y="246370"/>
                    <a:pt x="71217" y="317431"/>
                    <a:pt x="159063" y="317431"/>
                  </a:cubicBezTo>
                  <a:cubicBezTo>
                    <a:pt x="246909" y="317431"/>
                    <a:pt x="318126" y="246370"/>
                    <a:pt x="318126" y="158716"/>
                  </a:cubicBezTo>
                  <a:cubicBezTo>
                    <a:pt x="318126" y="71061"/>
                    <a:pt x="246909" y="0"/>
                    <a:pt x="159063" y="0"/>
                  </a:cubicBezTo>
                  <a:close/>
                  <a:moveTo>
                    <a:pt x="159063" y="28857"/>
                  </a:moveTo>
                  <a:cubicBezTo>
                    <a:pt x="230930" y="28857"/>
                    <a:pt x="289206" y="86998"/>
                    <a:pt x="289206" y="158716"/>
                  </a:cubicBezTo>
                  <a:cubicBezTo>
                    <a:pt x="289206" y="230433"/>
                    <a:pt x="230930" y="288574"/>
                    <a:pt x="159063" y="288574"/>
                  </a:cubicBezTo>
                  <a:cubicBezTo>
                    <a:pt x="87196" y="288574"/>
                    <a:pt x="28921" y="230433"/>
                    <a:pt x="28921" y="158716"/>
                  </a:cubicBezTo>
                  <a:cubicBezTo>
                    <a:pt x="28921" y="86998"/>
                    <a:pt x="87196" y="28857"/>
                    <a:pt x="159063" y="28857"/>
                  </a:cubicBezTo>
                  <a:close/>
                  <a:moveTo>
                    <a:pt x="91461" y="77864"/>
                  </a:moveTo>
                  <a:lnTo>
                    <a:pt x="91461" y="239567"/>
                  </a:lnTo>
                  <a:lnTo>
                    <a:pt x="130938" y="239567"/>
                  </a:lnTo>
                  <a:lnTo>
                    <a:pt x="130938" y="183793"/>
                  </a:lnTo>
                  <a:lnTo>
                    <a:pt x="153279" y="183793"/>
                  </a:lnTo>
                  <a:lnTo>
                    <a:pt x="183429" y="239567"/>
                  </a:lnTo>
                  <a:lnTo>
                    <a:pt x="226665" y="239567"/>
                  </a:lnTo>
                  <a:lnTo>
                    <a:pt x="190297" y="177653"/>
                  </a:lnTo>
                  <a:cubicBezTo>
                    <a:pt x="208156" y="170699"/>
                    <a:pt x="219724" y="154452"/>
                    <a:pt x="219724" y="128956"/>
                  </a:cubicBezTo>
                  <a:cubicBezTo>
                    <a:pt x="219724" y="99507"/>
                    <a:pt x="201214" y="77864"/>
                    <a:pt x="164848" y="77864"/>
                  </a:cubicBezTo>
                  <a:close/>
                  <a:moveTo>
                    <a:pt x="130938" y="108807"/>
                  </a:moveTo>
                  <a:lnTo>
                    <a:pt x="160220" y="108807"/>
                  </a:lnTo>
                  <a:cubicBezTo>
                    <a:pt x="172583" y="108807"/>
                    <a:pt x="179524" y="114218"/>
                    <a:pt x="179524" y="125804"/>
                  </a:cubicBezTo>
                  <a:lnTo>
                    <a:pt x="179524" y="137440"/>
                  </a:lnTo>
                  <a:cubicBezTo>
                    <a:pt x="179524" y="149020"/>
                    <a:pt x="172583" y="154459"/>
                    <a:pt x="160220" y="154459"/>
                  </a:cubicBezTo>
                  <a:lnTo>
                    <a:pt x="130938" y="154459"/>
                  </a:lnTo>
                  <a:close/>
                </a:path>
              </a:pathLst>
            </a:custGeom>
            <a:solidFill>
              <a:srgbClr val="1F70C1"/>
            </a:solidFill>
            <a:ln w="72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grpSp>
        <p:nvGrpSpPr>
          <p:cNvPr id="1328" name="Grupo 1327">
            <a:extLst>
              <a:ext uri="{FF2B5EF4-FFF2-40B4-BE49-F238E27FC236}">
                <a16:creationId xmlns:a16="http://schemas.microsoft.com/office/drawing/2014/main" id="{B53E182B-5D50-9C49-D6BD-AAF22F4D5369}"/>
              </a:ext>
            </a:extLst>
          </p:cNvPr>
          <p:cNvGrpSpPr/>
          <p:nvPr/>
        </p:nvGrpSpPr>
        <p:grpSpPr>
          <a:xfrm>
            <a:off x="5775533" y="4092979"/>
            <a:ext cx="747994" cy="148123"/>
            <a:chOff x="0" y="1625202"/>
            <a:chExt cx="7661365" cy="1517232"/>
          </a:xfrm>
        </p:grpSpPr>
        <p:sp>
          <p:nvSpPr>
            <p:cNvPr id="1320" name="Forma libre 1319">
              <a:extLst>
                <a:ext uri="{FF2B5EF4-FFF2-40B4-BE49-F238E27FC236}">
                  <a16:creationId xmlns:a16="http://schemas.microsoft.com/office/drawing/2014/main" id="{DC9F5AE7-28C2-79A5-E935-D92D6DDE1CE3}"/>
                </a:ext>
              </a:extLst>
            </p:cNvPr>
            <p:cNvSpPr/>
            <p:nvPr/>
          </p:nvSpPr>
          <p:spPr>
            <a:xfrm>
              <a:off x="7378783" y="2240667"/>
              <a:ext cx="114032" cy="140771"/>
            </a:xfrm>
            <a:custGeom>
              <a:avLst/>
              <a:gdLst>
                <a:gd name="connsiteX0" fmla="*/ -1 w 114032"/>
                <a:gd name="connsiteY0" fmla="*/ 16866 h 140771"/>
                <a:gd name="connsiteX1" fmla="*/ -1 w 114032"/>
                <a:gd name="connsiteY1" fmla="*/ -2 h 140771"/>
                <a:gd name="connsiteX2" fmla="*/ 114031 w 114032"/>
                <a:gd name="connsiteY2" fmla="*/ -2 h 140771"/>
                <a:gd name="connsiteX3" fmla="*/ 114031 w 114032"/>
                <a:gd name="connsiteY3" fmla="*/ 16866 h 140771"/>
                <a:gd name="connsiteX4" fmla="*/ 66730 w 114032"/>
                <a:gd name="connsiteY4" fmla="*/ 16866 h 140771"/>
                <a:gd name="connsiteX5" fmla="*/ 66730 w 114032"/>
                <a:gd name="connsiteY5" fmla="*/ 140769 h 140771"/>
                <a:gd name="connsiteX6" fmla="*/ 47299 w 114032"/>
                <a:gd name="connsiteY6" fmla="*/ 140769 h 140771"/>
                <a:gd name="connsiteX7" fmla="*/ 47299 w 114032"/>
                <a:gd name="connsiteY7" fmla="*/ 16866 h 14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032" h="140771">
                  <a:moveTo>
                    <a:pt x="-1" y="16866"/>
                  </a:moveTo>
                  <a:lnTo>
                    <a:pt x="-1" y="-2"/>
                  </a:lnTo>
                  <a:lnTo>
                    <a:pt x="114031" y="-2"/>
                  </a:lnTo>
                  <a:lnTo>
                    <a:pt x="114031" y="16866"/>
                  </a:lnTo>
                  <a:lnTo>
                    <a:pt x="66730" y="16866"/>
                  </a:lnTo>
                  <a:lnTo>
                    <a:pt x="66730" y="140769"/>
                  </a:lnTo>
                  <a:lnTo>
                    <a:pt x="47299" y="140769"/>
                  </a:lnTo>
                  <a:lnTo>
                    <a:pt x="47299" y="16866"/>
                  </a:lnTo>
                  <a:close/>
                </a:path>
              </a:pathLst>
            </a:custGeom>
            <a:solidFill>
              <a:srgbClr val="060807"/>
            </a:solidFill>
            <a:ln w="555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21" name="Forma libre 1320">
              <a:extLst>
                <a:ext uri="{FF2B5EF4-FFF2-40B4-BE49-F238E27FC236}">
                  <a16:creationId xmlns:a16="http://schemas.microsoft.com/office/drawing/2014/main" id="{0B8AFA66-0B7A-85AC-F1CC-4161F2AECB49}"/>
                </a:ext>
              </a:extLst>
            </p:cNvPr>
            <p:cNvSpPr/>
            <p:nvPr/>
          </p:nvSpPr>
          <p:spPr>
            <a:xfrm>
              <a:off x="7513246" y="2240667"/>
              <a:ext cx="148119" cy="140771"/>
            </a:xfrm>
            <a:custGeom>
              <a:avLst/>
              <a:gdLst>
                <a:gd name="connsiteX0" fmla="*/ 128243 w 148119"/>
                <a:gd name="connsiteY0" fmla="*/ 13926 h 140771"/>
                <a:gd name="connsiteX1" fmla="*/ 83108 w 148119"/>
                <a:gd name="connsiteY1" fmla="*/ 140769 h 140771"/>
                <a:gd name="connsiteX2" fmla="*/ 64843 w 148119"/>
                <a:gd name="connsiteY2" fmla="*/ 140769 h 140771"/>
                <a:gd name="connsiteX3" fmla="*/ 19763 w 148119"/>
                <a:gd name="connsiteY3" fmla="*/ 13926 h 140771"/>
                <a:gd name="connsiteX4" fmla="*/ 19319 w 148119"/>
                <a:gd name="connsiteY4" fmla="*/ 13926 h 140771"/>
                <a:gd name="connsiteX5" fmla="*/ 19319 w 148119"/>
                <a:gd name="connsiteY5" fmla="*/ 140769 h 140771"/>
                <a:gd name="connsiteX6" fmla="*/ -1 w 148119"/>
                <a:gd name="connsiteY6" fmla="*/ 140769 h 140771"/>
                <a:gd name="connsiteX7" fmla="*/ -1 w 148119"/>
                <a:gd name="connsiteY7" fmla="*/ -2 h 140771"/>
                <a:gd name="connsiteX8" fmla="*/ 34752 w 148119"/>
                <a:gd name="connsiteY8" fmla="*/ -2 h 140771"/>
                <a:gd name="connsiteX9" fmla="*/ 75335 w 148119"/>
                <a:gd name="connsiteY9" fmla="*/ 115856 h 140771"/>
                <a:gd name="connsiteX10" fmla="*/ 75835 w 148119"/>
                <a:gd name="connsiteY10" fmla="*/ 115856 h 140771"/>
                <a:gd name="connsiteX11" fmla="*/ 115641 w 148119"/>
                <a:gd name="connsiteY11" fmla="*/ -2 h 140771"/>
                <a:gd name="connsiteX12" fmla="*/ 148119 w 148119"/>
                <a:gd name="connsiteY12" fmla="*/ -2 h 140771"/>
                <a:gd name="connsiteX13" fmla="*/ 148119 w 148119"/>
                <a:gd name="connsiteY13" fmla="*/ 140769 h 140771"/>
                <a:gd name="connsiteX14" fmla="*/ 128743 w 148119"/>
                <a:gd name="connsiteY14" fmla="*/ 140769 h 140771"/>
                <a:gd name="connsiteX15" fmla="*/ 128743 w 148119"/>
                <a:gd name="connsiteY15" fmla="*/ 13926 h 14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8119" h="140771">
                  <a:moveTo>
                    <a:pt x="128243" y="13926"/>
                  </a:moveTo>
                  <a:lnTo>
                    <a:pt x="83108" y="140769"/>
                  </a:lnTo>
                  <a:lnTo>
                    <a:pt x="64843" y="140769"/>
                  </a:lnTo>
                  <a:lnTo>
                    <a:pt x="19763" y="13926"/>
                  </a:lnTo>
                  <a:lnTo>
                    <a:pt x="19319" y="13926"/>
                  </a:lnTo>
                  <a:lnTo>
                    <a:pt x="19319" y="140769"/>
                  </a:lnTo>
                  <a:lnTo>
                    <a:pt x="-1" y="140769"/>
                  </a:lnTo>
                  <a:lnTo>
                    <a:pt x="-1" y="-2"/>
                  </a:lnTo>
                  <a:lnTo>
                    <a:pt x="34752" y="-2"/>
                  </a:lnTo>
                  <a:lnTo>
                    <a:pt x="75335" y="115856"/>
                  </a:lnTo>
                  <a:lnTo>
                    <a:pt x="75835" y="115856"/>
                  </a:lnTo>
                  <a:lnTo>
                    <a:pt x="115641" y="-2"/>
                  </a:lnTo>
                  <a:lnTo>
                    <a:pt x="148119" y="-2"/>
                  </a:lnTo>
                  <a:lnTo>
                    <a:pt x="148119" y="140769"/>
                  </a:lnTo>
                  <a:lnTo>
                    <a:pt x="128743" y="140769"/>
                  </a:lnTo>
                  <a:lnTo>
                    <a:pt x="128743" y="13926"/>
                  </a:lnTo>
                  <a:close/>
                </a:path>
              </a:pathLst>
            </a:custGeom>
            <a:solidFill>
              <a:srgbClr val="060807"/>
            </a:solidFill>
            <a:ln w="555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22" name="Forma libre 1321">
              <a:extLst>
                <a:ext uri="{FF2B5EF4-FFF2-40B4-BE49-F238E27FC236}">
                  <a16:creationId xmlns:a16="http://schemas.microsoft.com/office/drawing/2014/main" id="{F644ED84-FC42-7E5B-C756-AABE86B9C2E8}"/>
                </a:ext>
              </a:extLst>
            </p:cNvPr>
            <p:cNvSpPr/>
            <p:nvPr/>
          </p:nvSpPr>
          <p:spPr>
            <a:xfrm>
              <a:off x="5386894" y="2034421"/>
              <a:ext cx="1896232" cy="698794"/>
            </a:xfrm>
            <a:custGeom>
              <a:avLst/>
              <a:gdLst>
                <a:gd name="connsiteX0" fmla="*/ 0 w 1896232"/>
                <a:gd name="connsiteY0" fmla="*/ 0 h 698794"/>
                <a:gd name="connsiteX1" fmla="*/ 0 w 1896232"/>
                <a:gd name="connsiteY1" fmla="*/ 698795 h 698794"/>
                <a:gd name="connsiteX2" fmla="*/ 452843 w 1896232"/>
                <a:gd name="connsiteY2" fmla="*/ 698795 h 698794"/>
                <a:gd name="connsiteX3" fmla="*/ 452843 w 1896232"/>
                <a:gd name="connsiteY3" fmla="*/ 582616 h 698794"/>
                <a:gd name="connsiteX4" fmla="*/ 149208 w 1896232"/>
                <a:gd name="connsiteY4" fmla="*/ 582616 h 698794"/>
                <a:gd name="connsiteX5" fmla="*/ 149208 w 1896232"/>
                <a:gd name="connsiteY5" fmla="*/ 0 h 698794"/>
                <a:gd name="connsiteX6" fmla="*/ 0 w 1896232"/>
                <a:gd name="connsiteY6" fmla="*/ 0 h 698794"/>
                <a:gd name="connsiteX7" fmla="*/ 539560 w 1896232"/>
                <a:gd name="connsiteY7" fmla="*/ 0 h 698794"/>
                <a:gd name="connsiteX8" fmla="*/ 539560 w 1896232"/>
                <a:gd name="connsiteY8" fmla="*/ 124846 h 698794"/>
                <a:gd name="connsiteX9" fmla="*/ 693953 w 1896232"/>
                <a:gd name="connsiteY9" fmla="*/ 124846 h 698794"/>
                <a:gd name="connsiteX10" fmla="*/ 693953 w 1896232"/>
                <a:gd name="connsiteY10" fmla="*/ 0 h 698794"/>
                <a:gd name="connsiteX11" fmla="*/ 539560 w 1896232"/>
                <a:gd name="connsiteY11" fmla="*/ 0 h 698794"/>
                <a:gd name="connsiteX12" fmla="*/ 1434774 w 1896232"/>
                <a:gd name="connsiteY12" fmla="*/ 0 h 698794"/>
                <a:gd name="connsiteX13" fmla="*/ 1434774 w 1896232"/>
                <a:gd name="connsiteY13" fmla="*/ 698795 h 698794"/>
                <a:gd name="connsiteX14" fmla="*/ 1578786 w 1896232"/>
                <a:gd name="connsiteY14" fmla="*/ 698795 h 698794"/>
                <a:gd name="connsiteX15" fmla="*/ 1578786 w 1896232"/>
                <a:gd name="connsiteY15" fmla="*/ 435231 h 698794"/>
                <a:gd name="connsiteX16" fmla="*/ 1580507 w 1896232"/>
                <a:gd name="connsiteY16" fmla="*/ 433494 h 698794"/>
                <a:gd name="connsiteX17" fmla="*/ 1727961 w 1896232"/>
                <a:gd name="connsiteY17" fmla="*/ 698795 h 698794"/>
                <a:gd name="connsiteX18" fmla="*/ 1896232 w 1896232"/>
                <a:gd name="connsiteY18" fmla="*/ 698795 h 698794"/>
                <a:gd name="connsiteX19" fmla="*/ 1719300 w 1896232"/>
                <a:gd name="connsiteY19" fmla="*/ 419622 h 698794"/>
                <a:gd name="connsiteX20" fmla="*/ 1885851 w 1896232"/>
                <a:gd name="connsiteY20" fmla="*/ 208077 h 698794"/>
                <a:gd name="connsiteX21" fmla="*/ 1724518 w 1896232"/>
                <a:gd name="connsiteY21" fmla="*/ 208077 h 698794"/>
                <a:gd name="connsiteX22" fmla="*/ 1580507 w 1896232"/>
                <a:gd name="connsiteY22" fmla="*/ 410949 h 698794"/>
                <a:gd name="connsiteX23" fmla="*/ 1578786 w 1896232"/>
                <a:gd name="connsiteY23" fmla="*/ 409218 h 698794"/>
                <a:gd name="connsiteX24" fmla="*/ 1578786 w 1896232"/>
                <a:gd name="connsiteY24" fmla="*/ 0 h 698794"/>
                <a:gd name="connsiteX25" fmla="*/ 1434774 w 1896232"/>
                <a:gd name="connsiteY25" fmla="*/ 0 h 698794"/>
                <a:gd name="connsiteX26" fmla="*/ 1124211 w 1896232"/>
                <a:gd name="connsiteY26" fmla="*/ 197673 h 698794"/>
                <a:gd name="connsiteX27" fmla="*/ 975037 w 1896232"/>
                <a:gd name="connsiteY27" fmla="*/ 272231 h 698794"/>
                <a:gd name="connsiteX28" fmla="*/ 973316 w 1896232"/>
                <a:gd name="connsiteY28" fmla="*/ 268769 h 698794"/>
                <a:gd name="connsiteX29" fmla="*/ 973316 w 1896232"/>
                <a:gd name="connsiteY29" fmla="*/ 213282 h 698794"/>
                <a:gd name="connsiteX30" fmla="*/ 829304 w 1896232"/>
                <a:gd name="connsiteY30" fmla="*/ 213282 h 698794"/>
                <a:gd name="connsiteX31" fmla="*/ 829304 w 1896232"/>
                <a:gd name="connsiteY31" fmla="*/ 698795 h 698794"/>
                <a:gd name="connsiteX32" fmla="*/ 973316 w 1896232"/>
                <a:gd name="connsiteY32" fmla="*/ 698795 h 698794"/>
                <a:gd name="connsiteX33" fmla="*/ 973316 w 1896232"/>
                <a:gd name="connsiteY33" fmla="*/ 405750 h 698794"/>
                <a:gd name="connsiteX34" fmla="*/ 1061754 w 1896232"/>
                <a:gd name="connsiteY34" fmla="*/ 294776 h 698794"/>
                <a:gd name="connsiteX35" fmla="*/ 1148528 w 1896232"/>
                <a:gd name="connsiteY35" fmla="*/ 405750 h 698794"/>
                <a:gd name="connsiteX36" fmla="*/ 1148528 w 1896232"/>
                <a:gd name="connsiteY36" fmla="*/ 698795 h 698794"/>
                <a:gd name="connsiteX37" fmla="*/ 1294260 w 1896232"/>
                <a:gd name="connsiteY37" fmla="*/ 698795 h 698794"/>
                <a:gd name="connsiteX38" fmla="*/ 1294260 w 1896232"/>
                <a:gd name="connsiteY38" fmla="*/ 383206 h 698794"/>
                <a:gd name="connsiteX39" fmla="*/ 1283823 w 1896232"/>
                <a:gd name="connsiteY39" fmla="*/ 305180 h 698794"/>
                <a:gd name="connsiteX40" fmla="*/ 1124211 w 1896232"/>
                <a:gd name="connsiteY40" fmla="*/ 197673 h 698794"/>
                <a:gd name="connsiteX41" fmla="*/ 543002 w 1896232"/>
                <a:gd name="connsiteY41" fmla="*/ 213282 h 698794"/>
                <a:gd name="connsiteX42" fmla="*/ 543002 w 1896232"/>
                <a:gd name="connsiteY42" fmla="*/ 698795 h 698794"/>
                <a:gd name="connsiteX43" fmla="*/ 688791 w 1896232"/>
                <a:gd name="connsiteY43" fmla="*/ 698795 h 698794"/>
                <a:gd name="connsiteX44" fmla="*/ 688791 w 1896232"/>
                <a:gd name="connsiteY44" fmla="*/ 213282 h 698794"/>
                <a:gd name="connsiteX45" fmla="*/ 543002 w 1896232"/>
                <a:gd name="connsiteY45" fmla="*/ 213282 h 698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896232" h="698794">
                  <a:moveTo>
                    <a:pt x="0" y="0"/>
                  </a:moveTo>
                  <a:lnTo>
                    <a:pt x="0" y="698795"/>
                  </a:lnTo>
                  <a:lnTo>
                    <a:pt x="452843" y="698795"/>
                  </a:lnTo>
                  <a:lnTo>
                    <a:pt x="452843" y="582616"/>
                  </a:lnTo>
                  <a:lnTo>
                    <a:pt x="149208" y="582616"/>
                  </a:lnTo>
                  <a:lnTo>
                    <a:pt x="149208" y="0"/>
                  </a:lnTo>
                  <a:lnTo>
                    <a:pt x="0" y="0"/>
                  </a:lnTo>
                  <a:close/>
                  <a:moveTo>
                    <a:pt x="539560" y="0"/>
                  </a:moveTo>
                  <a:lnTo>
                    <a:pt x="539560" y="124846"/>
                  </a:lnTo>
                  <a:lnTo>
                    <a:pt x="693953" y="124846"/>
                  </a:lnTo>
                  <a:lnTo>
                    <a:pt x="693953" y="0"/>
                  </a:lnTo>
                  <a:lnTo>
                    <a:pt x="539560" y="0"/>
                  </a:lnTo>
                  <a:close/>
                  <a:moveTo>
                    <a:pt x="1434774" y="0"/>
                  </a:moveTo>
                  <a:lnTo>
                    <a:pt x="1434774" y="698795"/>
                  </a:lnTo>
                  <a:lnTo>
                    <a:pt x="1578786" y="698795"/>
                  </a:lnTo>
                  <a:lnTo>
                    <a:pt x="1578786" y="435231"/>
                  </a:lnTo>
                  <a:lnTo>
                    <a:pt x="1580507" y="433494"/>
                  </a:lnTo>
                  <a:lnTo>
                    <a:pt x="1727961" y="698795"/>
                  </a:lnTo>
                  <a:lnTo>
                    <a:pt x="1896232" y="698795"/>
                  </a:lnTo>
                  <a:lnTo>
                    <a:pt x="1719300" y="419622"/>
                  </a:lnTo>
                  <a:lnTo>
                    <a:pt x="1885851" y="208077"/>
                  </a:lnTo>
                  <a:lnTo>
                    <a:pt x="1724518" y="208077"/>
                  </a:lnTo>
                  <a:lnTo>
                    <a:pt x="1580507" y="410949"/>
                  </a:lnTo>
                  <a:lnTo>
                    <a:pt x="1578786" y="409218"/>
                  </a:lnTo>
                  <a:lnTo>
                    <a:pt x="1578786" y="0"/>
                  </a:lnTo>
                  <a:lnTo>
                    <a:pt x="1434774" y="0"/>
                  </a:lnTo>
                  <a:close/>
                  <a:moveTo>
                    <a:pt x="1124211" y="197673"/>
                  </a:moveTo>
                  <a:cubicBezTo>
                    <a:pt x="1050540" y="197673"/>
                    <a:pt x="1005238" y="227675"/>
                    <a:pt x="975037" y="272231"/>
                  </a:cubicBezTo>
                  <a:lnTo>
                    <a:pt x="973316" y="268769"/>
                  </a:lnTo>
                  <a:lnTo>
                    <a:pt x="973316" y="213282"/>
                  </a:lnTo>
                  <a:lnTo>
                    <a:pt x="829304" y="213282"/>
                  </a:lnTo>
                  <a:lnTo>
                    <a:pt x="829304" y="698795"/>
                  </a:lnTo>
                  <a:lnTo>
                    <a:pt x="973316" y="698795"/>
                  </a:lnTo>
                  <a:lnTo>
                    <a:pt x="973316" y="405750"/>
                  </a:lnTo>
                  <a:cubicBezTo>
                    <a:pt x="975259" y="335170"/>
                    <a:pt x="1016286" y="294776"/>
                    <a:pt x="1061754" y="294776"/>
                  </a:cubicBezTo>
                  <a:cubicBezTo>
                    <a:pt x="1133427" y="294776"/>
                    <a:pt x="1147640" y="353426"/>
                    <a:pt x="1148528" y="405750"/>
                  </a:cubicBezTo>
                  <a:lnTo>
                    <a:pt x="1148528" y="698795"/>
                  </a:lnTo>
                  <a:lnTo>
                    <a:pt x="1294260" y="698795"/>
                  </a:lnTo>
                  <a:lnTo>
                    <a:pt x="1294260" y="383206"/>
                  </a:lnTo>
                  <a:cubicBezTo>
                    <a:pt x="1294260" y="366787"/>
                    <a:pt x="1291540" y="335198"/>
                    <a:pt x="1283823" y="305180"/>
                  </a:cubicBezTo>
                  <a:cubicBezTo>
                    <a:pt x="1266335" y="234489"/>
                    <a:pt x="1172567" y="197673"/>
                    <a:pt x="1124211" y="197673"/>
                  </a:cubicBezTo>
                  <a:close/>
                  <a:moveTo>
                    <a:pt x="543002" y="213282"/>
                  </a:moveTo>
                  <a:lnTo>
                    <a:pt x="543002" y="698795"/>
                  </a:lnTo>
                  <a:lnTo>
                    <a:pt x="688791" y="698795"/>
                  </a:lnTo>
                  <a:lnTo>
                    <a:pt x="688791" y="213282"/>
                  </a:lnTo>
                  <a:lnTo>
                    <a:pt x="543002" y="213282"/>
                  </a:lnTo>
                  <a:close/>
                </a:path>
              </a:pathLst>
            </a:custGeom>
            <a:solidFill>
              <a:srgbClr val="060807"/>
            </a:solidFill>
            <a:ln w="555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23" name="Forma libre 1322">
              <a:extLst>
                <a:ext uri="{FF2B5EF4-FFF2-40B4-BE49-F238E27FC236}">
                  <a16:creationId xmlns:a16="http://schemas.microsoft.com/office/drawing/2014/main" id="{B17D61B8-9AFB-F037-B9DD-18BDDE0E90B7}"/>
                </a:ext>
              </a:extLst>
            </p:cNvPr>
            <p:cNvSpPr/>
            <p:nvPr/>
          </p:nvSpPr>
          <p:spPr>
            <a:xfrm>
              <a:off x="1937892" y="2019939"/>
              <a:ext cx="3379605" cy="898809"/>
            </a:xfrm>
            <a:custGeom>
              <a:avLst/>
              <a:gdLst>
                <a:gd name="connsiteX0" fmla="*/ 267182 w 3379605"/>
                <a:gd name="connsiteY0" fmla="*/ 610 h 898809"/>
                <a:gd name="connsiteX1" fmla="*/ 0 w 3379605"/>
                <a:gd name="connsiteY1" fmla="*/ 364745 h 898809"/>
                <a:gd name="connsiteX2" fmla="*/ 288001 w 3379605"/>
                <a:gd name="connsiteY2" fmla="*/ 727149 h 898809"/>
                <a:gd name="connsiteX3" fmla="*/ 553439 w 3379605"/>
                <a:gd name="connsiteY3" fmla="*/ 532943 h 898809"/>
                <a:gd name="connsiteX4" fmla="*/ 451077 w 3379605"/>
                <a:gd name="connsiteY4" fmla="*/ 532943 h 898809"/>
                <a:gd name="connsiteX5" fmla="*/ 296673 w 3379605"/>
                <a:gd name="connsiteY5" fmla="*/ 643918 h 898809"/>
                <a:gd name="connsiteX6" fmla="*/ 100630 w 3379605"/>
                <a:gd name="connsiteY6" fmla="*/ 364745 h 898809"/>
                <a:gd name="connsiteX7" fmla="*/ 305344 w 3379605"/>
                <a:gd name="connsiteY7" fmla="*/ 83841 h 898809"/>
                <a:gd name="connsiteX8" fmla="*/ 454552 w 3379605"/>
                <a:gd name="connsiteY8" fmla="*/ 194816 h 898809"/>
                <a:gd name="connsiteX9" fmla="*/ 555171 w 3379605"/>
                <a:gd name="connsiteY9" fmla="*/ 194816 h 898809"/>
                <a:gd name="connsiteX10" fmla="*/ 310552 w 3379605"/>
                <a:gd name="connsiteY10" fmla="*/ 610 h 898809"/>
                <a:gd name="connsiteX11" fmla="*/ 267182 w 3379605"/>
                <a:gd name="connsiteY11" fmla="*/ 610 h 898809"/>
                <a:gd name="connsiteX12" fmla="*/ 1821662 w 3379605"/>
                <a:gd name="connsiteY12" fmla="*/ 94245 h 898809"/>
                <a:gd name="connsiteX13" fmla="*/ 1729709 w 3379605"/>
                <a:gd name="connsiteY13" fmla="*/ 123723 h 898809"/>
                <a:gd name="connsiteX14" fmla="*/ 1729709 w 3379605"/>
                <a:gd name="connsiteY14" fmla="*/ 227764 h 898809"/>
                <a:gd name="connsiteX15" fmla="*/ 1646433 w 3379605"/>
                <a:gd name="connsiteY15" fmla="*/ 227764 h 898809"/>
                <a:gd name="connsiteX16" fmla="*/ 1646433 w 3379605"/>
                <a:gd name="connsiteY16" fmla="*/ 293649 h 898809"/>
                <a:gd name="connsiteX17" fmla="*/ 1729709 w 3379605"/>
                <a:gd name="connsiteY17" fmla="*/ 293649 h 898809"/>
                <a:gd name="connsiteX18" fmla="*/ 1729709 w 3379605"/>
                <a:gd name="connsiteY18" fmla="*/ 600566 h 898809"/>
                <a:gd name="connsiteX19" fmla="*/ 1750528 w 3379605"/>
                <a:gd name="connsiteY19" fmla="*/ 690732 h 898809"/>
                <a:gd name="connsiteX20" fmla="*/ 1806045 w 3379605"/>
                <a:gd name="connsiteY20" fmla="*/ 723675 h 898809"/>
                <a:gd name="connsiteX21" fmla="*/ 1866764 w 3379605"/>
                <a:gd name="connsiteY21" fmla="*/ 727149 h 898809"/>
                <a:gd name="connsiteX22" fmla="*/ 1929221 w 3379605"/>
                <a:gd name="connsiteY22" fmla="*/ 721944 h 898809"/>
                <a:gd name="connsiteX23" fmla="*/ 1929221 w 3379605"/>
                <a:gd name="connsiteY23" fmla="*/ 650854 h 898809"/>
                <a:gd name="connsiteX24" fmla="*/ 1882381 w 3379605"/>
                <a:gd name="connsiteY24" fmla="*/ 657790 h 898809"/>
                <a:gd name="connsiteX25" fmla="*/ 1821662 w 3379605"/>
                <a:gd name="connsiteY25" fmla="*/ 605765 h 898809"/>
                <a:gd name="connsiteX26" fmla="*/ 1821662 w 3379605"/>
                <a:gd name="connsiteY26" fmla="*/ 293649 h 898809"/>
                <a:gd name="connsiteX27" fmla="*/ 1934428 w 3379605"/>
                <a:gd name="connsiteY27" fmla="*/ 293649 h 898809"/>
                <a:gd name="connsiteX28" fmla="*/ 1934428 w 3379605"/>
                <a:gd name="connsiteY28" fmla="*/ 227764 h 898809"/>
                <a:gd name="connsiteX29" fmla="*/ 1821662 w 3379605"/>
                <a:gd name="connsiteY29" fmla="*/ 227764 h 898809"/>
                <a:gd name="connsiteX30" fmla="*/ 1821662 w 3379605"/>
                <a:gd name="connsiteY30" fmla="*/ 94245 h 898809"/>
                <a:gd name="connsiteX31" fmla="*/ 851844 w 3379605"/>
                <a:gd name="connsiteY31" fmla="*/ 212155 h 898809"/>
                <a:gd name="connsiteX32" fmla="*/ 626306 w 3379605"/>
                <a:gd name="connsiteY32" fmla="*/ 473983 h 898809"/>
                <a:gd name="connsiteX33" fmla="*/ 844904 w 3379605"/>
                <a:gd name="connsiteY33" fmla="*/ 727149 h 898809"/>
                <a:gd name="connsiteX34" fmla="*/ 1060033 w 3379605"/>
                <a:gd name="connsiteY34" fmla="*/ 562418 h 898809"/>
                <a:gd name="connsiteX35" fmla="*/ 962878 w 3379605"/>
                <a:gd name="connsiteY35" fmla="*/ 562418 h 898809"/>
                <a:gd name="connsiteX36" fmla="*/ 844904 w 3379605"/>
                <a:gd name="connsiteY36" fmla="*/ 661252 h 898809"/>
                <a:gd name="connsiteX37" fmla="*/ 723461 w 3379605"/>
                <a:gd name="connsiteY37" fmla="*/ 487855 h 898809"/>
                <a:gd name="connsiteX38" fmla="*/ 1066973 w 3379605"/>
                <a:gd name="connsiteY38" fmla="*/ 487855 h 898809"/>
                <a:gd name="connsiteX39" fmla="*/ 1066973 w 3379605"/>
                <a:gd name="connsiteY39" fmla="*/ 442777 h 898809"/>
                <a:gd name="connsiteX40" fmla="*/ 851844 w 3379605"/>
                <a:gd name="connsiteY40" fmla="*/ 212155 h 898809"/>
                <a:gd name="connsiteX41" fmla="*/ 1400076 w 3379605"/>
                <a:gd name="connsiteY41" fmla="*/ 212155 h 898809"/>
                <a:gd name="connsiteX42" fmla="*/ 1252611 w 3379605"/>
                <a:gd name="connsiteY42" fmla="*/ 298854 h 898809"/>
                <a:gd name="connsiteX43" fmla="*/ 1250873 w 3379605"/>
                <a:gd name="connsiteY43" fmla="*/ 298854 h 898809"/>
                <a:gd name="connsiteX44" fmla="*/ 1250873 w 3379605"/>
                <a:gd name="connsiteY44" fmla="*/ 227764 h 898809"/>
                <a:gd name="connsiteX45" fmla="*/ 1160658 w 3379605"/>
                <a:gd name="connsiteY45" fmla="*/ 227764 h 898809"/>
                <a:gd name="connsiteX46" fmla="*/ 1160658 w 3379605"/>
                <a:gd name="connsiteY46" fmla="*/ 713277 h 898809"/>
                <a:gd name="connsiteX47" fmla="*/ 1252611 w 3379605"/>
                <a:gd name="connsiteY47" fmla="*/ 713277 h 898809"/>
                <a:gd name="connsiteX48" fmla="*/ 1252611 w 3379605"/>
                <a:gd name="connsiteY48" fmla="*/ 449713 h 898809"/>
                <a:gd name="connsiteX49" fmla="*/ 1290774 w 3379605"/>
                <a:gd name="connsiteY49" fmla="*/ 319662 h 898809"/>
                <a:gd name="connsiteX50" fmla="*/ 1380989 w 3379605"/>
                <a:gd name="connsiteY50" fmla="*/ 283251 h 898809"/>
                <a:gd name="connsiteX51" fmla="*/ 1492023 w 3379605"/>
                <a:gd name="connsiteY51" fmla="*/ 408097 h 898809"/>
                <a:gd name="connsiteX52" fmla="*/ 1492023 w 3379605"/>
                <a:gd name="connsiteY52" fmla="*/ 713277 h 898809"/>
                <a:gd name="connsiteX53" fmla="*/ 1583976 w 3379605"/>
                <a:gd name="connsiteY53" fmla="*/ 713277 h 898809"/>
                <a:gd name="connsiteX54" fmla="*/ 1583976 w 3379605"/>
                <a:gd name="connsiteY54" fmla="*/ 376880 h 898809"/>
                <a:gd name="connsiteX55" fmla="*/ 1400076 w 3379605"/>
                <a:gd name="connsiteY55" fmla="*/ 212155 h 898809"/>
                <a:gd name="connsiteX56" fmla="*/ 2789736 w 3379605"/>
                <a:gd name="connsiteY56" fmla="*/ 220828 h 898809"/>
                <a:gd name="connsiteX57" fmla="*/ 2647480 w 3379605"/>
                <a:gd name="connsiteY57" fmla="*/ 321393 h 898809"/>
                <a:gd name="connsiteX58" fmla="*/ 2645742 w 3379605"/>
                <a:gd name="connsiteY58" fmla="*/ 321393 h 898809"/>
                <a:gd name="connsiteX59" fmla="*/ 2645742 w 3379605"/>
                <a:gd name="connsiteY59" fmla="*/ 227764 h 898809"/>
                <a:gd name="connsiteX60" fmla="*/ 2553788 w 3379605"/>
                <a:gd name="connsiteY60" fmla="*/ 227764 h 898809"/>
                <a:gd name="connsiteX61" fmla="*/ 2553788 w 3379605"/>
                <a:gd name="connsiteY61" fmla="*/ 713277 h 898809"/>
                <a:gd name="connsiteX62" fmla="*/ 2645742 w 3379605"/>
                <a:gd name="connsiteY62" fmla="*/ 713277 h 898809"/>
                <a:gd name="connsiteX63" fmla="*/ 2645742 w 3379605"/>
                <a:gd name="connsiteY63" fmla="*/ 472252 h 898809"/>
                <a:gd name="connsiteX64" fmla="*/ 2782797 w 3379605"/>
                <a:gd name="connsiteY64" fmla="*/ 304059 h 898809"/>
                <a:gd name="connsiteX65" fmla="*/ 2820971 w 3379605"/>
                <a:gd name="connsiteY65" fmla="*/ 309258 h 898809"/>
                <a:gd name="connsiteX66" fmla="*/ 2820971 w 3379605"/>
                <a:gd name="connsiteY66" fmla="*/ 222559 h 898809"/>
                <a:gd name="connsiteX67" fmla="*/ 2789736 w 3379605"/>
                <a:gd name="connsiteY67" fmla="*/ 220828 h 898809"/>
                <a:gd name="connsiteX68" fmla="*/ 2012496 w 3379605"/>
                <a:gd name="connsiteY68" fmla="*/ 227764 h 898809"/>
                <a:gd name="connsiteX69" fmla="*/ 2012496 w 3379605"/>
                <a:gd name="connsiteY69" fmla="*/ 552014 h 898809"/>
                <a:gd name="connsiteX70" fmla="*/ 2172108 w 3379605"/>
                <a:gd name="connsiteY70" fmla="*/ 727149 h 898809"/>
                <a:gd name="connsiteX71" fmla="*/ 2338660 w 3379605"/>
                <a:gd name="connsiteY71" fmla="*/ 642181 h 898809"/>
                <a:gd name="connsiteX72" fmla="*/ 2340397 w 3379605"/>
                <a:gd name="connsiteY72" fmla="*/ 642181 h 898809"/>
                <a:gd name="connsiteX73" fmla="*/ 2340397 w 3379605"/>
                <a:gd name="connsiteY73" fmla="*/ 713277 h 898809"/>
                <a:gd name="connsiteX74" fmla="*/ 2430613 w 3379605"/>
                <a:gd name="connsiteY74" fmla="*/ 713277 h 898809"/>
                <a:gd name="connsiteX75" fmla="*/ 2430613 w 3379605"/>
                <a:gd name="connsiteY75" fmla="*/ 227764 h 898809"/>
                <a:gd name="connsiteX76" fmla="*/ 2338660 w 3379605"/>
                <a:gd name="connsiteY76" fmla="*/ 227764 h 898809"/>
                <a:gd name="connsiteX77" fmla="*/ 2338660 w 3379605"/>
                <a:gd name="connsiteY77" fmla="*/ 477456 h 898809"/>
                <a:gd name="connsiteX78" fmla="*/ 2319579 w 3379605"/>
                <a:gd name="connsiteY78" fmla="*/ 591893 h 898809"/>
                <a:gd name="connsiteX79" fmla="*/ 2212014 w 3379605"/>
                <a:gd name="connsiteY79" fmla="*/ 661252 h 898809"/>
                <a:gd name="connsiteX80" fmla="*/ 2104450 w 3379605"/>
                <a:gd name="connsiteY80" fmla="*/ 515598 h 898809"/>
                <a:gd name="connsiteX81" fmla="*/ 2104450 w 3379605"/>
                <a:gd name="connsiteY81" fmla="*/ 227764 h 898809"/>
                <a:gd name="connsiteX82" fmla="*/ 2012496 w 3379605"/>
                <a:gd name="connsiteY82" fmla="*/ 227764 h 898809"/>
                <a:gd name="connsiteX83" fmla="*/ 2871280 w 3379605"/>
                <a:gd name="connsiteY83" fmla="*/ 227764 h 898809"/>
                <a:gd name="connsiteX84" fmla="*/ 3074262 w 3379605"/>
                <a:gd name="connsiteY84" fmla="*/ 711540 h 898809"/>
                <a:gd name="connsiteX85" fmla="*/ 2999664 w 3379605"/>
                <a:gd name="connsiteY85" fmla="*/ 898809 h 898809"/>
                <a:gd name="connsiteX86" fmla="*/ 3093349 w 3379605"/>
                <a:gd name="connsiteY86" fmla="*/ 898809 h 898809"/>
                <a:gd name="connsiteX87" fmla="*/ 3379606 w 3379605"/>
                <a:gd name="connsiteY87" fmla="*/ 227764 h 898809"/>
                <a:gd name="connsiteX88" fmla="*/ 3280719 w 3379605"/>
                <a:gd name="connsiteY88" fmla="*/ 227764 h 898809"/>
                <a:gd name="connsiteX89" fmla="*/ 3126315 w 3379605"/>
                <a:gd name="connsiteY89" fmla="*/ 610970 h 898809"/>
                <a:gd name="connsiteX90" fmla="*/ 2973643 w 3379605"/>
                <a:gd name="connsiteY90" fmla="*/ 227764 h 898809"/>
                <a:gd name="connsiteX91" fmla="*/ 2871280 w 3379605"/>
                <a:gd name="connsiteY91" fmla="*/ 227764 h 898809"/>
                <a:gd name="connsiteX92" fmla="*/ 844904 w 3379605"/>
                <a:gd name="connsiteY92" fmla="*/ 279778 h 898809"/>
                <a:gd name="connsiteX93" fmla="*/ 969818 w 3379605"/>
                <a:gd name="connsiteY93" fmla="*/ 423700 h 898809"/>
                <a:gd name="connsiteX94" fmla="*/ 723461 w 3379605"/>
                <a:gd name="connsiteY94" fmla="*/ 423700 h 898809"/>
                <a:gd name="connsiteX95" fmla="*/ 844904 w 3379605"/>
                <a:gd name="connsiteY95" fmla="*/ 279778 h 898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3379605" h="898809">
                  <a:moveTo>
                    <a:pt x="267182" y="610"/>
                  </a:moveTo>
                  <a:cubicBezTo>
                    <a:pt x="65766" y="17575"/>
                    <a:pt x="0" y="204004"/>
                    <a:pt x="0" y="364745"/>
                  </a:cubicBezTo>
                  <a:cubicBezTo>
                    <a:pt x="0" y="560337"/>
                    <a:pt x="81588" y="727149"/>
                    <a:pt x="288001" y="727149"/>
                  </a:cubicBezTo>
                  <a:cubicBezTo>
                    <a:pt x="424512" y="727149"/>
                    <a:pt x="543890" y="650127"/>
                    <a:pt x="553439" y="532943"/>
                  </a:cubicBezTo>
                  <a:lnTo>
                    <a:pt x="451077" y="532943"/>
                  </a:lnTo>
                  <a:cubicBezTo>
                    <a:pt x="439529" y="607463"/>
                    <a:pt x="371121" y="643918"/>
                    <a:pt x="296673" y="643918"/>
                  </a:cubicBezTo>
                  <a:cubicBezTo>
                    <a:pt x="144500" y="643918"/>
                    <a:pt x="100630" y="509067"/>
                    <a:pt x="100630" y="364745"/>
                  </a:cubicBezTo>
                  <a:cubicBezTo>
                    <a:pt x="100630" y="241674"/>
                    <a:pt x="132741" y="83841"/>
                    <a:pt x="305344" y="83841"/>
                  </a:cubicBezTo>
                  <a:cubicBezTo>
                    <a:pt x="377022" y="83841"/>
                    <a:pt x="449717" y="127898"/>
                    <a:pt x="454552" y="194816"/>
                  </a:cubicBezTo>
                  <a:lnTo>
                    <a:pt x="555171" y="194816"/>
                  </a:lnTo>
                  <a:cubicBezTo>
                    <a:pt x="544740" y="69969"/>
                    <a:pt x="445236" y="4439"/>
                    <a:pt x="310552" y="610"/>
                  </a:cubicBezTo>
                  <a:cubicBezTo>
                    <a:pt x="295901" y="187"/>
                    <a:pt x="280606" y="-521"/>
                    <a:pt x="267182" y="610"/>
                  </a:cubicBezTo>
                  <a:close/>
                  <a:moveTo>
                    <a:pt x="1821662" y="94245"/>
                  </a:moveTo>
                  <a:lnTo>
                    <a:pt x="1729709" y="123723"/>
                  </a:lnTo>
                  <a:lnTo>
                    <a:pt x="1729709" y="227764"/>
                  </a:lnTo>
                  <a:lnTo>
                    <a:pt x="1646433" y="227764"/>
                  </a:lnTo>
                  <a:lnTo>
                    <a:pt x="1646433" y="293649"/>
                  </a:lnTo>
                  <a:lnTo>
                    <a:pt x="1729709" y="293649"/>
                  </a:lnTo>
                  <a:lnTo>
                    <a:pt x="1729709" y="600566"/>
                  </a:lnTo>
                  <a:cubicBezTo>
                    <a:pt x="1729709" y="665597"/>
                    <a:pt x="1733984" y="667539"/>
                    <a:pt x="1750528" y="690732"/>
                  </a:cubicBezTo>
                  <a:cubicBezTo>
                    <a:pt x="1765906" y="712206"/>
                    <a:pt x="1791499" y="720679"/>
                    <a:pt x="1806045" y="723675"/>
                  </a:cubicBezTo>
                  <a:cubicBezTo>
                    <a:pt x="1828252" y="727454"/>
                    <a:pt x="1844396" y="727149"/>
                    <a:pt x="1866764" y="727149"/>
                  </a:cubicBezTo>
                  <a:cubicBezTo>
                    <a:pt x="1887916" y="727149"/>
                    <a:pt x="1908013" y="723054"/>
                    <a:pt x="1929221" y="721944"/>
                  </a:cubicBezTo>
                  <a:lnTo>
                    <a:pt x="1929221" y="650854"/>
                  </a:lnTo>
                  <a:cubicBezTo>
                    <a:pt x="1914786" y="654682"/>
                    <a:pt x="1896871" y="657790"/>
                    <a:pt x="1882381" y="657790"/>
                  </a:cubicBezTo>
                  <a:cubicBezTo>
                    <a:pt x="1849404" y="657790"/>
                    <a:pt x="1821662" y="640500"/>
                    <a:pt x="1821662" y="605765"/>
                  </a:cubicBezTo>
                  <a:lnTo>
                    <a:pt x="1821662" y="293649"/>
                  </a:lnTo>
                  <a:lnTo>
                    <a:pt x="1934428" y="293649"/>
                  </a:lnTo>
                  <a:lnTo>
                    <a:pt x="1934428" y="227764"/>
                  </a:lnTo>
                  <a:lnTo>
                    <a:pt x="1821662" y="227764"/>
                  </a:lnTo>
                  <a:lnTo>
                    <a:pt x="1821662" y="94245"/>
                  </a:lnTo>
                  <a:close/>
                  <a:moveTo>
                    <a:pt x="851844" y="212155"/>
                  </a:moveTo>
                  <a:cubicBezTo>
                    <a:pt x="697784" y="212155"/>
                    <a:pt x="626306" y="331608"/>
                    <a:pt x="626306" y="473983"/>
                  </a:cubicBezTo>
                  <a:cubicBezTo>
                    <a:pt x="626306" y="617256"/>
                    <a:pt x="688957" y="727149"/>
                    <a:pt x="844904" y="727149"/>
                  </a:cubicBezTo>
                  <a:cubicBezTo>
                    <a:pt x="961213" y="727149"/>
                    <a:pt x="1045377" y="672782"/>
                    <a:pt x="1060033" y="562418"/>
                  </a:cubicBezTo>
                  <a:lnTo>
                    <a:pt x="962878" y="562418"/>
                  </a:lnTo>
                  <a:cubicBezTo>
                    <a:pt x="952052" y="632998"/>
                    <a:pt x="916632" y="661252"/>
                    <a:pt x="844904" y="661252"/>
                  </a:cubicBezTo>
                  <a:cubicBezTo>
                    <a:pt x="751025" y="661252"/>
                    <a:pt x="716743" y="573083"/>
                    <a:pt x="723461" y="487855"/>
                  </a:cubicBezTo>
                  <a:lnTo>
                    <a:pt x="1066973" y="487855"/>
                  </a:lnTo>
                  <a:lnTo>
                    <a:pt x="1066973" y="442777"/>
                  </a:lnTo>
                  <a:cubicBezTo>
                    <a:pt x="1066973" y="308326"/>
                    <a:pt x="997188" y="215041"/>
                    <a:pt x="851844" y="212155"/>
                  </a:cubicBezTo>
                  <a:close/>
                  <a:moveTo>
                    <a:pt x="1400076" y="212155"/>
                  </a:moveTo>
                  <a:cubicBezTo>
                    <a:pt x="1351665" y="212155"/>
                    <a:pt x="1283701" y="237818"/>
                    <a:pt x="1252611" y="298854"/>
                  </a:cubicBezTo>
                  <a:lnTo>
                    <a:pt x="1250873" y="298854"/>
                  </a:lnTo>
                  <a:lnTo>
                    <a:pt x="1250873" y="227764"/>
                  </a:lnTo>
                  <a:lnTo>
                    <a:pt x="1160658" y="227764"/>
                  </a:lnTo>
                  <a:lnTo>
                    <a:pt x="1160658" y="713277"/>
                  </a:lnTo>
                  <a:lnTo>
                    <a:pt x="1252611" y="713277"/>
                  </a:lnTo>
                  <a:lnTo>
                    <a:pt x="1252611" y="449713"/>
                  </a:lnTo>
                  <a:cubicBezTo>
                    <a:pt x="1252611" y="354885"/>
                    <a:pt x="1277177" y="333145"/>
                    <a:pt x="1290774" y="319662"/>
                  </a:cubicBezTo>
                  <a:cubicBezTo>
                    <a:pt x="1329530" y="280876"/>
                    <a:pt x="1380989" y="283251"/>
                    <a:pt x="1380989" y="283251"/>
                  </a:cubicBezTo>
                  <a:cubicBezTo>
                    <a:pt x="1458719" y="283251"/>
                    <a:pt x="1492023" y="327691"/>
                    <a:pt x="1492023" y="408097"/>
                  </a:cubicBezTo>
                  <a:lnTo>
                    <a:pt x="1492023" y="713277"/>
                  </a:lnTo>
                  <a:lnTo>
                    <a:pt x="1583976" y="713277"/>
                  </a:lnTo>
                  <a:lnTo>
                    <a:pt x="1583976" y="376880"/>
                  </a:lnTo>
                  <a:cubicBezTo>
                    <a:pt x="1583976" y="221078"/>
                    <a:pt x="1433997" y="212155"/>
                    <a:pt x="1400076" y="212155"/>
                  </a:cubicBezTo>
                  <a:close/>
                  <a:moveTo>
                    <a:pt x="2789736" y="220828"/>
                  </a:moveTo>
                  <a:cubicBezTo>
                    <a:pt x="2722728" y="220828"/>
                    <a:pt x="2660965" y="254642"/>
                    <a:pt x="2647480" y="321393"/>
                  </a:cubicBezTo>
                  <a:lnTo>
                    <a:pt x="2645742" y="321393"/>
                  </a:lnTo>
                  <a:lnTo>
                    <a:pt x="2645742" y="227764"/>
                  </a:lnTo>
                  <a:lnTo>
                    <a:pt x="2553788" y="227764"/>
                  </a:lnTo>
                  <a:lnTo>
                    <a:pt x="2553788" y="713277"/>
                  </a:lnTo>
                  <a:lnTo>
                    <a:pt x="2645742" y="713277"/>
                  </a:lnTo>
                  <a:lnTo>
                    <a:pt x="2645742" y="472252"/>
                  </a:lnTo>
                  <a:cubicBezTo>
                    <a:pt x="2645742" y="369545"/>
                    <a:pt x="2666489" y="307826"/>
                    <a:pt x="2782797" y="304059"/>
                  </a:cubicBezTo>
                  <a:cubicBezTo>
                    <a:pt x="2795399" y="304059"/>
                    <a:pt x="2808313" y="304431"/>
                    <a:pt x="2820971" y="309258"/>
                  </a:cubicBezTo>
                  <a:lnTo>
                    <a:pt x="2820971" y="222559"/>
                  </a:lnTo>
                  <a:cubicBezTo>
                    <a:pt x="2810472" y="222559"/>
                    <a:pt x="2801339" y="220828"/>
                    <a:pt x="2789736" y="220828"/>
                  </a:cubicBezTo>
                  <a:close/>
                  <a:moveTo>
                    <a:pt x="2012496" y="227764"/>
                  </a:moveTo>
                  <a:lnTo>
                    <a:pt x="2012496" y="552014"/>
                  </a:lnTo>
                  <a:cubicBezTo>
                    <a:pt x="2012496" y="649838"/>
                    <a:pt x="2070401" y="727149"/>
                    <a:pt x="2172108" y="727149"/>
                  </a:cubicBezTo>
                  <a:cubicBezTo>
                    <a:pt x="2239900" y="727149"/>
                    <a:pt x="2301797" y="702995"/>
                    <a:pt x="2338660" y="642181"/>
                  </a:cubicBezTo>
                  <a:lnTo>
                    <a:pt x="2340397" y="642181"/>
                  </a:lnTo>
                  <a:lnTo>
                    <a:pt x="2340397" y="713277"/>
                  </a:lnTo>
                  <a:lnTo>
                    <a:pt x="2430613" y="713277"/>
                  </a:lnTo>
                  <a:lnTo>
                    <a:pt x="2430613" y="227764"/>
                  </a:lnTo>
                  <a:lnTo>
                    <a:pt x="2338660" y="227764"/>
                  </a:lnTo>
                  <a:lnTo>
                    <a:pt x="2338660" y="477456"/>
                  </a:lnTo>
                  <a:cubicBezTo>
                    <a:pt x="2338660" y="489214"/>
                    <a:pt x="2336956" y="546505"/>
                    <a:pt x="2319579" y="591893"/>
                  </a:cubicBezTo>
                  <a:cubicBezTo>
                    <a:pt x="2300037" y="642281"/>
                    <a:pt x="2249766" y="661252"/>
                    <a:pt x="2212014" y="661252"/>
                  </a:cubicBezTo>
                  <a:cubicBezTo>
                    <a:pt x="2123742" y="661252"/>
                    <a:pt x="2104450" y="599994"/>
                    <a:pt x="2104450" y="515598"/>
                  </a:cubicBezTo>
                  <a:lnTo>
                    <a:pt x="2104450" y="227764"/>
                  </a:lnTo>
                  <a:lnTo>
                    <a:pt x="2012496" y="227764"/>
                  </a:lnTo>
                  <a:close/>
                  <a:moveTo>
                    <a:pt x="2871280" y="227764"/>
                  </a:moveTo>
                  <a:lnTo>
                    <a:pt x="3074262" y="711540"/>
                  </a:lnTo>
                  <a:lnTo>
                    <a:pt x="2999664" y="898809"/>
                  </a:lnTo>
                  <a:lnTo>
                    <a:pt x="3093349" y="898809"/>
                  </a:lnTo>
                  <a:lnTo>
                    <a:pt x="3379606" y="227764"/>
                  </a:lnTo>
                  <a:lnTo>
                    <a:pt x="3280719" y="227764"/>
                  </a:lnTo>
                  <a:lnTo>
                    <a:pt x="3126315" y="610970"/>
                  </a:lnTo>
                  <a:lnTo>
                    <a:pt x="2973643" y="227764"/>
                  </a:lnTo>
                  <a:lnTo>
                    <a:pt x="2871280" y="227764"/>
                  </a:lnTo>
                  <a:close/>
                  <a:moveTo>
                    <a:pt x="844904" y="279778"/>
                  </a:moveTo>
                  <a:cubicBezTo>
                    <a:pt x="934009" y="279778"/>
                    <a:pt x="971705" y="342190"/>
                    <a:pt x="969818" y="423700"/>
                  </a:cubicBezTo>
                  <a:lnTo>
                    <a:pt x="723461" y="423700"/>
                  </a:lnTo>
                  <a:cubicBezTo>
                    <a:pt x="723461" y="344132"/>
                    <a:pt x="768346" y="279778"/>
                    <a:pt x="844904" y="279778"/>
                  </a:cubicBezTo>
                  <a:close/>
                </a:path>
              </a:pathLst>
            </a:custGeom>
            <a:solidFill>
              <a:srgbClr val="060807"/>
            </a:solidFill>
            <a:ln w="555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24" name="Forma libre 1323">
              <a:extLst>
                <a:ext uri="{FF2B5EF4-FFF2-40B4-BE49-F238E27FC236}">
                  <a16:creationId xmlns:a16="http://schemas.microsoft.com/office/drawing/2014/main" id="{98BA847D-D0FE-2559-64B3-020A30B6772A}"/>
                </a:ext>
              </a:extLst>
            </p:cNvPr>
            <p:cNvSpPr/>
            <p:nvPr/>
          </p:nvSpPr>
          <p:spPr>
            <a:xfrm>
              <a:off x="135323" y="1625203"/>
              <a:ext cx="1247398" cy="1517231"/>
            </a:xfrm>
            <a:custGeom>
              <a:avLst/>
              <a:gdLst>
                <a:gd name="connsiteX0" fmla="*/ 692227 w 1247398"/>
                <a:gd name="connsiteY0" fmla="*/ 0 h 1517231"/>
                <a:gd name="connsiteX1" fmla="*/ 692227 w 1247398"/>
                <a:gd name="connsiteY1" fmla="*/ 502853 h 1517231"/>
                <a:gd name="connsiteX2" fmla="*/ 943791 w 1247398"/>
                <a:gd name="connsiteY2" fmla="*/ 67625 h 1517231"/>
                <a:gd name="connsiteX3" fmla="*/ 692227 w 1247398"/>
                <a:gd name="connsiteY3" fmla="*/ 0 h 1517231"/>
                <a:gd name="connsiteX4" fmla="*/ 183901 w 1247398"/>
                <a:gd name="connsiteY4" fmla="*/ 135250 h 1517231"/>
                <a:gd name="connsiteX5" fmla="*/ 0 w 1247398"/>
                <a:gd name="connsiteY5" fmla="*/ 319051 h 1517231"/>
                <a:gd name="connsiteX6" fmla="*/ 435460 w 1247398"/>
                <a:gd name="connsiteY6" fmla="*/ 570475 h 1517231"/>
                <a:gd name="connsiteX7" fmla="*/ 183901 w 1247398"/>
                <a:gd name="connsiteY7" fmla="*/ 135250 h 1517231"/>
                <a:gd name="connsiteX8" fmla="*/ 1061765 w 1247398"/>
                <a:gd name="connsiteY8" fmla="*/ 135250 h 1517231"/>
                <a:gd name="connsiteX9" fmla="*/ 811938 w 1247398"/>
                <a:gd name="connsiteY9" fmla="*/ 570475 h 1517231"/>
                <a:gd name="connsiteX10" fmla="*/ 1247398 w 1247398"/>
                <a:gd name="connsiteY10" fmla="*/ 319051 h 1517231"/>
                <a:gd name="connsiteX11" fmla="*/ 1061765 w 1247398"/>
                <a:gd name="connsiteY11" fmla="*/ 135250 h 1517231"/>
                <a:gd name="connsiteX12" fmla="*/ 435460 w 1247398"/>
                <a:gd name="connsiteY12" fmla="*/ 945014 h 1517231"/>
                <a:gd name="connsiteX13" fmla="*/ 0 w 1247398"/>
                <a:gd name="connsiteY13" fmla="*/ 1196443 h 1517231"/>
                <a:gd name="connsiteX14" fmla="*/ 183901 w 1247398"/>
                <a:gd name="connsiteY14" fmla="*/ 1381976 h 1517231"/>
                <a:gd name="connsiteX15" fmla="*/ 435460 w 1247398"/>
                <a:gd name="connsiteY15" fmla="*/ 945014 h 1517231"/>
                <a:gd name="connsiteX16" fmla="*/ 810201 w 1247398"/>
                <a:gd name="connsiteY16" fmla="*/ 945014 h 1517231"/>
                <a:gd name="connsiteX17" fmla="*/ 1061765 w 1247398"/>
                <a:gd name="connsiteY17" fmla="*/ 1381976 h 1517231"/>
                <a:gd name="connsiteX18" fmla="*/ 1247398 w 1247398"/>
                <a:gd name="connsiteY18" fmla="*/ 1196443 h 1517231"/>
                <a:gd name="connsiteX19" fmla="*/ 810201 w 1247398"/>
                <a:gd name="connsiteY19" fmla="*/ 945014 h 1517231"/>
                <a:gd name="connsiteX20" fmla="*/ 555171 w 1247398"/>
                <a:gd name="connsiteY20" fmla="*/ 1014373 h 1517231"/>
                <a:gd name="connsiteX21" fmla="*/ 303609 w 1247398"/>
                <a:gd name="connsiteY21" fmla="*/ 1449603 h 1517231"/>
                <a:gd name="connsiteX22" fmla="*/ 555171 w 1247398"/>
                <a:gd name="connsiteY22" fmla="*/ 1517231 h 1517231"/>
                <a:gd name="connsiteX23" fmla="*/ 555171 w 1247398"/>
                <a:gd name="connsiteY23" fmla="*/ 1014373 h 1517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47398" h="1517231">
                  <a:moveTo>
                    <a:pt x="692227" y="0"/>
                  </a:moveTo>
                  <a:lnTo>
                    <a:pt x="692227" y="502853"/>
                  </a:lnTo>
                  <a:lnTo>
                    <a:pt x="943791" y="67625"/>
                  </a:lnTo>
                  <a:cubicBezTo>
                    <a:pt x="865956" y="31447"/>
                    <a:pt x="781448" y="7935"/>
                    <a:pt x="692227" y="0"/>
                  </a:cubicBezTo>
                  <a:close/>
                  <a:moveTo>
                    <a:pt x="183901" y="135250"/>
                  </a:moveTo>
                  <a:cubicBezTo>
                    <a:pt x="112561" y="185521"/>
                    <a:pt x="50299" y="247806"/>
                    <a:pt x="0" y="319051"/>
                  </a:cubicBezTo>
                  <a:lnTo>
                    <a:pt x="435460" y="570475"/>
                  </a:lnTo>
                  <a:lnTo>
                    <a:pt x="183901" y="135250"/>
                  </a:lnTo>
                  <a:close/>
                  <a:moveTo>
                    <a:pt x="1061765" y="135250"/>
                  </a:moveTo>
                  <a:lnTo>
                    <a:pt x="811938" y="570475"/>
                  </a:lnTo>
                  <a:lnTo>
                    <a:pt x="1247398" y="319051"/>
                  </a:lnTo>
                  <a:cubicBezTo>
                    <a:pt x="1196988" y="247806"/>
                    <a:pt x="1133160" y="185466"/>
                    <a:pt x="1061765" y="135250"/>
                  </a:cubicBezTo>
                  <a:close/>
                  <a:moveTo>
                    <a:pt x="435460" y="945014"/>
                  </a:moveTo>
                  <a:lnTo>
                    <a:pt x="0" y="1196443"/>
                  </a:lnTo>
                  <a:cubicBezTo>
                    <a:pt x="50354" y="1267744"/>
                    <a:pt x="112561" y="1331593"/>
                    <a:pt x="183901" y="1381976"/>
                  </a:cubicBezTo>
                  <a:lnTo>
                    <a:pt x="435460" y="945014"/>
                  </a:lnTo>
                  <a:close/>
                  <a:moveTo>
                    <a:pt x="810201" y="945014"/>
                  </a:moveTo>
                  <a:lnTo>
                    <a:pt x="1061765" y="1381976"/>
                  </a:lnTo>
                  <a:cubicBezTo>
                    <a:pt x="1133216" y="1331593"/>
                    <a:pt x="1196988" y="1267744"/>
                    <a:pt x="1247398" y="1196443"/>
                  </a:cubicBezTo>
                  <a:lnTo>
                    <a:pt x="810201" y="945014"/>
                  </a:lnTo>
                  <a:close/>
                  <a:moveTo>
                    <a:pt x="555171" y="1014373"/>
                  </a:moveTo>
                  <a:lnTo>
                    <a:pt x="303609" y="1449603"/>
                  </a:lnTo>
                  <a:cubicBezTo>
                    <a:pt x="381500" y="1485725"/>
                    <a:pt x="466066" y="1509180"/>
                    <a:pt x="555171" y="1517231"/>
                  </a:cubicBezTo>
                  <a:lnTo>
                    <a:pt x="555171" y="1014373"/>
                  </a:lnTo>
                  <a:close/>
                </a:path>
              </a:pathLst>
            </a:custGeom>
            <a:solidFill>
              <a:srgbClr val="8DC643"/>
            </a:solidFill>
            <a:ln w="555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25" name="Forma libre 1324">
              <a:extLst>
                <a:ext uri="{FF2B5EF4-FFF2-40B4-BE49-F238E27FC236}">
                  <a16:creationId xmlns:a16="http://schemas.microsoft.com/office/drawing/2014/main" id="{8854F310-BE8A-A0A1-C2A7-B832FF870B22}"/>
                </a:ext>
              </a:extLst>
            </p:cNvPr>
            <p:cNvSpPr/>
            <p:nvPr/>
          </p:nvSpPr>
          <p:spPr>
            <a:xfrm>
              <a:off x="0" y="1625203"/>
              <a:ext cx="1518049" cy="1517231"/>
            </a:xfrm>
            <a:custGeom>
              <a:avLst/>
              <a:gdLst>
                <a:gd name="connsiteX0" fmla="*/ 690494 w 1518049"/>
                <a:gd name="connsiteY0" fmla="*/ 0 h 1517231"/>
                <a:gd name="connsiteX1" fmla="*/ 438932 w 1518049"/>
                <a:gd name="connsiteY1" fmla="*/ 67625 h 1517231"/>
                <a:gd name="connsiteX2" fmla="*/ 690494 w 1518049"/>
                <a:gd name="connsiteY2" fmla="*/ 502853 h 1517231"/>
                <a:gd name="connsiteX3" fmla="*/ 690494 w 1518049"/>
                <a:gd name="connsiteY3" fmla="*/ 0 h 1517231"/>
                <a:gd name="connsiteX4" fmla="*/ 67662 w 1518049"/>
                <a:gd name="connsiteY4" fmla="*/ 438696 h 1517231"/>
                <a:gd name="connsiteX5" fmla="*/ 0 w 1518049"/>
                <a:gd name="connsiteY5" fmla="*/ 690122 h 1517231"/>
                <a:gd name="connsiteX6" fmla="*/ 503124 w 1518049"/>
                <a:gd name="connsiteY6" fmla="*/ 690122 h 1517231"/>
                <a:gd name="connsiteX7" fmla="*/ 67662 w 1518049"/>
                <a:gd name="connsiteY7" fmla="*/ 438696 h 1517231"/>
                <a:gd name="connsiteX8" fmla="*/ 1450385 w 1518049"/>
                <a:gd name="connsiteY8" fmla="*/ 438696 h 1517231"/>
                <a:gd name="connsiteX9" fmla="*/ 1014920 w 1518049"/>
                <a:gd name="connsiteY9" fmla="*/ 690122 h 1517231"/>
                <a:gd name="connsiteX10" fmla="*/ 1518050 w 1518049"/>
                <a:gd name="connsiteY10" fmla="*/ 690122 h 1517231"/>
                <a:gd name="connsiteX11" fmla="*/ 1450385 w 1518049"/>
                <a:gd name="connsiteY11" fmla="*/ 438696 h 1517231"/>
                <a:gd name="connsiteX12" fmla="*/ 0 w 1518049"/>
                <a:gd name="connsiteY12" fmla="*/ 827103 h 1517231"/>
                <a:gd name="connsiteX13" fmla="*/ 67662 w 1518049"/>
                <a:gd name="connsiteY13" fmla="*/ 1078533 h 1517231"/>
                <a:gd name="connsiteX14" fmla="*/ 503124 w 1518049"/>
                <a:gd name="connsiteY14" fmla="*/ 827103 h 1517231"/>
                <a:gd name="connsiteX15" fmla="*/ 0 w 1518049"/>
                <a:gd name="connsiteY15" fmla="*/ 827103 h 1517231"/>
                <a:gd name="connsiteX16" fmla="*/ 1014920 w 1518049"/>
                <a:gd name="connsiteY16" fmla="*/ 827103 h 1517231"/>
                <a:gd name="connsiteX17" fmla="*/ 1450385 w 1518049"/>
                <a:gd name="connsiteY17" fmla="*/ 1078533 h 1517231"/>
                <a:gd name="connsiteX18" fmla="*/ 1518050 w 1518049"/>
                <a:gd name="connsiteY18" fmla="*/ 827103 h 1517231"/>
                <a:gd name="connsiteX19" fmla="*/ 1014920 w 1518049"/>
                <a:gd name="connsiteY19" fmla="*/ 827103 h 1517231"/>
                <a:gd name="connsiteX20" fmla="*/ 827550 w 1518049"/>
                <a:gd name="connsiteY20" fmla="*/ 1014373 h 1517231"/>
                <a:gd name="connsiteX21" fmla="*/ 827550 w 1518049"/>
                <a:gd name="connsiteY21" fmla="*/ 1517231 h 1517231"/>
                <a:gd name="connsiteX22" fmla="*/ 1079115 w 1518049"/>
                <a:gd name="connsiteY22" fmla="*/ 1449603 h 1517231"/>
                <a:gd name="connsiteX23" fmla="*/ 827550 w 1518049"/>
                <a:gd name="connsiteY23" fmla="*/ 1014373 h 1517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18049" h="1517231">
                  <a:moveTo>
                    <a:pt x="690494" y="0"/>
                  </a:moveTo>
                  <a:cubicBezTo>
                    <a:pt x="601390" y="7879"/>
                    <a:pt x="516823" y="31447"/>
                    <a:pt x="438932" y="67625"/>
                  </a:cubicBezTo>
                  <a:lnTo>
                    <a:pt x="690494" y="502853"/>
                  </a:lnTo>
                  <a:lnTo>
                    <a:pt x="690494" y="0"/>
                  </a:lnTo>
                  <a:close/>
                  <a:moveTo>
                    <a:pt x="67662" y="438696"/>
                  </a:moveTo>
                  <a:cubicBezTo>
                    <a:pt x="31742" y="516267"/>
                    <a:pt x="7994" y="601010"/>
                    <a:pt x="0" y="690122"/>
                  </a:cubicBezTo>
                  <a:lnTo>
                    <a:pt x="503124" y="690122"/>
                  </a:lnTo>
                  <a:lnTo>
                    <a:pt x="67662" y="438696"/>
                  </a:lnTo>
                  <a:close/>
                  <a:moveTo>
                    <a:pt x="1450385" y="438696"/>
                  </a:moveTo>
                  <a:lnTo>
                    <a:pt x="1014920" y="690122"/>
                  </a:lnTo>
                  <a:lnTo>
                    <a:pt x="1518050" y="690122"/>
                  </a:lnTo>
                  <a:cubicBezTo>
                    <a:pt x="1509994" y="601010"/>
                    <a:pt x="1486305" y="516267"/>
                    <a:pt x="1450385" y="438696"/>
                  </a:cubicBezTo>
                  <a:close/>
                  <a:moveTo>
                    <a:pt x="0" y="827103"/>
                  </a:moveTo>
                  <a:cubicBezTo>
                    <a:pt x="8106" y="916382"/>
                    <a:pt x="31742" y="1001072"/>
                    <a:pt x="67662" y="1078533"/>
                  </a:cubicBezTo>
                  <a:lnTo>
                    <a:pt x="503124" y="827103"/>
                  </a:lnTo>
                  <a:lnTo>
                    <a:pt x="0" y="827103"/>
                  </a:lnTo>
                  <a:close/>
                  <a:moveTo>
                    <a:pt x="1014920" y="827103"/>
                  </a:moveTo>
                  <a:lnTo>
                    <a:pt x="1450385" y="1078533"/>
                  </a:lnTo>
                  <a:cubicBezTo>
                    <a:pt x="1486361" y="1001072"/>
                    <a:pt x="1510111" y="916382"/>
                    <a:pt x="1518050" y="827103"/>
                  </a:cubicBezTo>
                  <a:lnTo>
                    <a:pt x="1014920" y="827103"/>
                  </a:lnTo>
                  <a:close/>
                  <a:moveTo>
                    <a:pt x="827550" y="1014373"/>
                  </a:moveTo>
                  <a:lnTo>
                    <a:pt x="827550" y="1517231"/>
                  </a:lnTo>
                  <a:cubicBezTo>
                    <a:pt x="916716" y="1509180"/>
                    <a:pt x="1001224" y="1485781"/>
                    <a:pt x="1079115" y="1449603"/>
                  </a:cubicBezTo>
                  <a:lnTo>
                    <a:pt x="827550" y="1014373"/>
                  </a:lnTo>
                  <a:close/>
                </a:path>
              </a:pathLst>
            </a:custGeom>
            <a:solidFill>
              <a:srgbClr val="118745"/>
            </a:solidFill>
            <a:ln w="555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26" name="Forma libre 1325">
              <a:extLst>
                <a:ext uri="{FF2B5EF4-FFF2-40B4-BE49-F238E27FC236}">
                  <a16:creationId xmlns:a16="http://schemas.microsoft.com/office/drawing/2014/main" id="{C29AD792-FA0B-FACC-CC64-737D7740866B}"/>
                </a:ext>
              </a:extLst>
            </p:cNvPr>
            <p:cNvSpPr/>
            <p:nvPr/>
          </p:nvSpPr>
          <p:spPr>
            <a:xfrm>
              <a:off x="1290995" y="1625202"/>
              <a:ext cx="113754" cy="140660"/>
            </a:xfrm>
            <a:custGeom>
              <a:avLst/>
              <a:gdLst>
                <a:gd name="connsiteX0" fmla="*/ -1 w 113754"/>
                <a:gd name="connsiteY0" fmla="*/ 16755 h 140660"/>
                <a:gd name="connsiteX1" fmla="*/ -1 w 113754"/>
                <a:gd name="connsiteY1" fmla="*/ -2 h 140660"/>
                <a:gd name="connsiteX2" fmla="*/ 113754 w 113754"/>
                <a:gd name="connsiteY2" fmla="*/ -2 h 140660"/>
                <a:gd name="connsiteX3" fmla="*/ 113754 w 113754"/>
                <a:gd name="connsiteY3" fmla="*/ 16755 h 140660"/>
                <a:gd name="connsiteX4" fmla="*/ 66620 w 113754"/>
                <a:gd name="connsiteY4" fmla="*/ 16755 h 140660"/>
                <a:gd name="connsiteX5" fmla="*/ 66620 w 113754"/>
                <a:gd name="connsiteY5" fmla="*/ 140658 h 140660"/>
                <a:gd name="connsiteX6" fmla="*/ 47189 w 113754"/>
                <a:gd name="connsiteY6" fmla="*/ 140658 h 140660"/>
                <a:gd name="connsiteX7" fmla="*/ 47189 w 113754"/>
                <a:gd name="connsiteY7" fmla="*/ 16755 h 14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754" h="140660">
                  <a:moveTo>
                    <a:pt x="-1" y="16755"/>
                  </a:moveTo>
                  <a:lnTo>
                    <a:pt x="-1" y="-2"/>
                  </a:lnTo>
                  <a:lnTo>
                    <a:pt x="113754" y="-2"/>
                  </a:lnTo>
                  <a:lnTo>
                    <a:pt x="113754" y="16755"/>
                  </a:lnTo>
                  <a:lnTo>
                    <a:pt x="66620" y="16755"/>
                  </a:lnTo>
                  <a:lnTo>
                    <a:pt x="66620" y="140658"/>
                  </a:lnTo>
                  <a:lnTo>
                    <a:pt x="47189" y="140658"/>
                  </a:lnTo>
                  <a:lnTo>
                    <a:pt x="47189" y="16755"/>
                  </a:lnTo>
                  <a:close/>
                </a:path>
              </a:pathLst>
            </a:custGeom>
            <a:solidFill>
              <a:srgbClr val="118745"/>
            </a:solidFill>
            <a:ln w="555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327" name="Forma libre 1326">
              <a:extLst>
                <a:ext uri="{FF2B5EF4-FFF2-40B4-BE49-F238E27FC236}">
                  <a16:creationId xmlns:a16="http://schemas.microsoft.com/office/drawing/2014/main" id="{8B2C2E12-AFA6-988A-7459-12DA29C421DD}"/>
                </a:ext>
              </a:extLst>
            </p:cNvPr>
            <p:cNvSpPr/>
            <p:nvPr/>
          </p:nvSpPr>
          <p:spPr>
            <a:xfrm>
              <a:off x="1425236" y="1625202"/>
              <a:ext cx="148341" cy="140660"/>
            </a:xfrm>
            <a:custGeom>
              <a:avLst/>
              <a:gdLst>
                <a:gd name="connsiteX0" fmla="*/ 128355 w 148341"/>
                <a:gd name="connsiteY0" fmla="*/ 13926 h 140660"/>
                <a:gd name="connsiteX1" fmla="*/ 83330 w 148341"/>
                <a:gd name="connsiteY1" fmla="*/ 140658 h 140660"/>
                <a:gd name="connsiteX2" fmla="*/ 65065 w 148341"/>
                <a:gd name="connsiteY2" fmla="*/ 140658 h 140660"/>
                <a:gd name="connsiteX3" fmla="*/ 19985 w 148341"/>
                <a:gd name="connsiteY3" fmla="*/ 13926 h 140660"/>
                <a:gd name="connsiteX4" fmla="*/ 19541 w 148341"/>
                <a:gd name="connsiteY4" fmla="*/ 13926 h 140660"/>
                <a:gd name="connsiteX5" fmla="*/ 19541 w 148341"/>
                <a:gd name="connsiteY5" fmla="*/ 140658 h 140660"/>
                <a:gd name="connsiteX6" fmla="*/ -1 w 148341"/>
                <a:gd name="connsiteY6" fmla="*/ 140658 h 140660"/>
                <a:gd name="connsiteX7" fmla="*/ -1 w 148341"/>
                <a:gd name="connsiteY7" fmla="*/ -2 h 140660"/>
                <a:gd name="connsiteX8" fmla="*/ 34975 w 148341"/>
                <a:gd name="connsiteY8" fmla="*/ -2 h 140660"/>
                <a:gd name="connsiteX9" fmla="*/ 75502 w 148341"/>
                <a:gd name="connsiteY9" fmla="*/ 115911 h 140660"/>
                <a:gd name="connsiteX10" fmla="*/ 75946 w 148341"/>
                <a:gd name="connsiteY10" fmla="*/ 115911 h 140660"/>
                <a:gd name="connsiteX11" fmla="*/ 115752 w 148341"/>
                <a:gd name="connsiteY11" fmla="*/ -2 h 140660"/>
                <a:gd name="connsiteX12" fmla="*/ 148341 w 148341"/>
                <a:gd name="connsiteY12" fmla="*/ -2 h 140660"/>
                <a:gd name="connsiteX13" fmla="*/ 148341 w 148341"/>
                <a:gd name="connsiteY13" fmla="*/ 140658 h 140660"/>
                <a:gd name="connsiteX14" fmla="*/ 128910 w 148341"/>
                <a:gd name="connsiteY14" fmla="*/ 140658 h 140660"/>
                <a:gd name="connsiteX15" fmla="*/ 128910 w 148341"/>
                <a:gd name="connsiteY15" fmla="*/ 13926 h 14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8341" h="140660">
                  <a:moveTo>
                    <a:pt x="128355" y="13926"/>
                  </a:moveTo>
                  <a:lnTo>
                    <a:pt x="83330" y="140658"/>
                  </a:lnTo>
                  <a:lnTo>
                    <a:pt x="65065" y="140658"/>
                  </a:lnTo>
                  <a:lnTo>
                    <a:pt x="19985" y="13926"/>
                  </a:lnTo>
                  <a:lnTo>
                    <a:pt x="19541" y="13926"/>
                  </a:lnTo>
                  <a:lnTo>
                    <a:pt x="19541" y="140658"/>
                  </a:lnTo>
                  <a:lnTo>
                    <a:pt x="-1" y="140658"/>
                  </a:lnTo>
                  <a:lnTo>
                    <a:pt x="-1" y="-2"/>
                  </a:lnTo>
                  <a:lnTo>
                    <a:pt x="34975" y="-2"/>
                  </a:lnTo>
                  <a:lnTo>
                    <a:pt x="75502" y="115911"/>
                  </a:lnTo>
                  <a:lnTo>
                    <a:pt x="75946" y="115911"/>
                  </a:lnTo>
                  <a:lnTo>
                    <a:pt x="115752" y="-2"/>
                  </a:lnTo>
                  <a:lnTo>
                    <a:pt x="148341" y="-2"/>
                  </a:lnTo>
                  <a:lnTo>
                    <a:pt x="148341" y="140658"/>
                  </a:lnTo>
                  <a:lnTo>
                    <a:pt x="128910" y="140658"/>
                  </a:lnTo>
                  <a:lnTo>
                    <a:pt x="128910" y="13926"/>
                  </a:lnTo>
                  <a:close/>
                </a:path>
              </a:pathLst>
            </a:custGeom>
            <a:solidFill>
              <a:srgbClr val="118745"/>
            </a:solidFill>
            <a:ln w="555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1329" name="Title 1">
            <a:extLst>
              <a:ext uri="{FF2B5EF4-FFF2-40B4-BE49-F238E27FC236}">
                <a16:creationId xmlns:a16="http://schemas.microsoft.com/office/drawing/2014/main" id="{7A9D6EFD-CA5C-6F40-BA0B-D8BF01EB41B4}"/>
              </a:ext>
            </a:extLst>
          </p:cNvPr>
          <p:cNvSpPr txBox="1">
            <a:spLocks/>
          </p:cNvSpPr>
          <p:nvPr/>
        </p:nvSpPr>
        <p:spPr>
          <a:xfrm>
            <a:off x="6055937" y="2364879"/>
            <a:ext cx="291747" cy="138499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900" b="0" spc="0" noProof="0">
                <a:solidFill>
                  <a:schemeClr val="bg1">
                    <a:lumMod val="50000"/>
                  </a:schemeClr>
                </a:solidFill>
                <a:latin typeface="Pulso Light" pitchFamily="2" charset="0"/>
              </a:rPr>
              <a:t>Resto</a:t>
            </a:r>
          </a:p>
        </p:txBody>
      </p:sp>
      <p:sp>
        <p:nvSpPr>
          <p:cNvPr id="1330" name="Title 1">
            <a:extLst>
              <a:ext uri="{FF2B5EF4-FFF2-40B4-BE49-F238E27FC236}">
                <a16:creationId xmlns:a16="http://schemas.microsoft.com/office/drawing/2014/main" id="{4C3C8D6D-9C6C-093A-2D45-99B4031EB8C3}"/>
              </a:ext>
            </a:extLst>
          </p:cNvPr>
          <p:cNvSpPr txBox="1">
            <a:spLocks/>
          </p:cNvSpPr>
          <p:nvPr/>
        </p:nvSpPr>
        <p:spPr>
          <a:xfrm>
            <a:off x="2195532" y="3382460"/>
            <a:ext cx="291747" cy="138499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900" b="0" spc="0" noProof="0">
                <a:solidFill>
                  <a:schemeClr val="bg1">
                    <a:lumMod val="50000"/>
                  </a:schemeClr>
                </a:solidFill>
                <a:latin typeface="Pulso Light" pitchFamily="2" charset="0"/>
              </a:rPr>
              <a:t>Resto</a:t>
            </a:r>
          </a:p>
        </p:txBody>
      </p:sp>
      <p:sp>
        <p:nvSpPr>
          <p:cNvPr id="1331" name="Title 1">
            <a:extLst>
              <a:ext uri="{FF2B5EF4-FFF2-40B4-BE49-F238E27FC236}">
                <a16:creationId xmlns:a16="http://schemas.microsoft.com/office/drawing/2014/main" id="{E2F12704-32AA-4E4B-8A38-01B95892A113}"/>
              </a:ext>
            </a:extLst>
          </p:cNvPr>
          <p:cNvSpPr txBox="1">
            <a:spLocks/>
          </p:cNvSpPr>
          <p:nvPr/>
        </p:nvSpPr>
        <p:spPr>
          <a:xfrm>
            <a:off x="7198047" y="4254164"/>
            <a:ext cx="291747" cy="138499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900" b="0" spc="0" noProof="0">
                <a:solidFill>
                  <a:schemeClr val="bg1">
                    <a:lumMod val="50000"/>
                  </a:schemeClr>
                </a:solidFill>
                <a:latin typeface="Pulso Light" pitchFamily="2" charset="0"/>
              </a:rPr>
              <a:t>Resto</a:t>
            </a:r>
          </a:p>
        </p:txBody>
      </p:sp>
      <p:sp>
        <p:nvSpPr>
          <p:cNvPr id="1333" name="CuadroTexto 1332">
            <a:extLst>
              <a:ext uri="{FF2B5EF4-FFF2-40B4-BE49-F238E27FC236}">
                <a16:creationId xmlns:a16="http://schemas.microsoft.com/office/drawing/2014/main" id="{E11C07F9-70B6-C37B-D4E8-E5A6228D0AA6}"/>
              </a:ext>
            </a:extLst>
          </p:cNvPr>
          <p:cNvSpPr txBox="1"/>
          <p:nvPr/>
        </p:nvSpPr>
        <p:spPr>
          <a:xfrm>
            <a:off x="534326" y="4516536"/>
            <a:ext cx="1804981" cy="91500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500" u="none" strike="noStrike" kern="1200" cap="none" spc="0" normalizeH="0" baseline="0" noProof="0">
                <a:ln>
                  <a:noFill/>
                </a:ln>
                <a:solidFill>
                  <a:srgbClr val="24272A"/>
                </a:solidFill>
                <a:effectLst/>
                <a:uLnTx/>
                <a:uFillTx/>
                <a:latin typeface="Pulso Light" pitchFamily="2" charset="0"/>
                <a:cs typeface="+mn-cs"/>
              </a:rPr>
              <a:t>(1) Mercado B2B = Pyme + GGCC.  -  </a:t>
            </a:r>
            <a:r>
              <a:rPr kumimoji="0" lang="es-AR" sz="500" u="none" strike="noStrike" kern="1200" cap="none" spc="0" normalizeH="0" baseline="0" noProof="0">
                <a:ln>
                  <a:noFill/>
                </a:ln>
                <a:solidFill>
                  <a:srgbClr val="24272A"/>
                </a:solidFill>
                <a:effectLst/>
                <a:uLnTx/>
                <a:uFillTx/>
                <a:latin typeface="Pulso Light" pitchFamily="2" charset="0"/>
                <a:ea typeface="Open Sans"/>
                <a:cs typeface="Open Sans"/>
              </a:rPr>
              <a:t>(2) Corresponde a 1H2024</a:t>
            </a:r>
          </a:p>
        </p:txBody>
      </p:sp>
      <p:sp>
        <p:nvSpPr>
          <p:cNvPr id="1337" name="CuadroTexto 1336">
            <a:extLst>
              <a:ext uri="{FF2B5EF4-FFF2-40B4-BE49-F238E27FC236}">
                <a16:creationId xmlns:a16="http://schemas.microsoft.com/office/drawing/2014/main" id="{59167009-0532-86C3-A17D-90BF10183D6F}"/>
              </a:ext>
            </a:extLst>
          </p:cNvPr>
          <p:cNvSpPr txBox="1"/>
          <p:nvPr/>
        </p:nvSpPr>
        <p:spPr>
          <a:xfrm>
            <a:off x="6238253" y="4516536"/>
            <a:ext cx="2069477" cy="91500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marL="0" marR="0" lvl="0" indent="0" algn="r" defTabSz="91433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500" u="none" strike="noStrike" kern="1200" cap="none" spc="0" normalizeH="0" baseline="0" noProof="0">
                <a:ln>
                  <a:noFill/>
                </a:ln>
                <a:solidFill>
                  <a:srgbClr val="24272A"/>
                </a:solidFill>
                <a:effectLst/>
                <a:uLnTx/>
                <a:uFillTx/>
                <a:latin typeface="Pulso Light" pitchFamily="2" charset="0"/>
                <a:cs typeface="+mn-cs"/>
              </a:rPr>
              <a:t>Fuente: IDC Análisis por segmentos de mercado market share  - 2H2024</a:t>
            </a:r>
          </a:p>
        </p:txBody>
      </p:sp>
    </p:spTree>
    <p:extLst>
      <p:ext uri="{BB962C8B-B14F-4D97-AF65-F5344CB8AC3E}">
        <p14:creationId xmlns:p14="http://schemas.microsoft.com/office/powerpoint/2010/main" val="3826469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439D18-B995-4F9E-178F-BC020AB388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hlinkClick r:id="rId3" action="ppaction://hlinksldjump"/>
            <a:extLst>
              <a:ext uri="{FF2B5EF4-FFF2-40B4-BE49-F238E27FC236}">
                <a16:creationId xmlns:a16="http://schemas.microsoft.com/office/drawing/2014/main" id="{A9C764CB-8942-12A0-5A14-B3B599CBB0CB}"/>
              </a:ext>
            </a:extLst>
          </p:cNvPr>
          <p:cNvSpPr/>
          <p:nvPr/>
        </p:nvSpPr>
        <p:spPr>
          <a:xfrm>
            <a:off x="540656" y="1941776"/>
            <a:ext cx="8045393" cy="2666260"/>
          </a:xfrm>
          <a:prstGeom prst="rect">
            <a:avLst/>
          </a:prstGeom>
          <a:noFill/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AR" kern="1200"/>
          </a:p>
        </p:txBody>
      </p:sp>
      <p:graphicFrame>
        <p:nvGraphicFramePr>
          <p:cNvPr id="10" name="Chart 10">
            <a:extLst>
              <a:ext uri="{FF2B5EF4-FFF2-40B4-BE49-F238E27FC236}">
                <a16:creationId xmlns:a16="http://schemas.microsoft.com/office/drawing/2014/main" id="{73501389-BCE6-7FE6-05B2-E25841279D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1520510"/>
              </p:ext>
            </p:extLst>
          </p:nvPr>
        </p:nvGraphicFramePr>
        <p:xfrm>
          <a:off x="742494" y="1941776"/>
          <a:ext cx="7670692" cy="2464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3FB705D-1B4F-CE5B-3818-B99493A4883A}"/>
              </a:ext>
            </a:extLst>
          </p:cNvPr>
          <p:cNvSpPr txBox="1">
            <a:spLocks/>
          </p:cNvSpPr>
          <p:nvPr/>
        </p:nvSpPr>
        <p:spPr>
          <a:xfrm>
            <a:off x="540657" y="606142"/>
            <a:ext cx="5682244" cy="718145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tx2"/>
                </a:solidFill>
                <a:latin typeface="Pulso Light" pitchFamily="2" charset="0"/>
              </a:rPr>
              <a:t>Negocio B2B</a:t>
            </a:r>
          </a:p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bg2"/>
                </a:solidFill>
                <a:latin typeface="Pulso Light" pitchFamily="2" charset="0"/>
              </a:rPr>
              <a:t>Verticales</a:t>
            </a:r>
          </a:p>
        </p:txBody>
      </p:sp>
      <p:sp>
        <p:nvSpPr>
          <p:cNvPr id="5" name="Rectángulo: esquinas redondeadas 20">
            <a:extLst>
              <a:ext uri="{FF2B5EF4-FFF2-40B4-BE49-F238E27FC236}">
                <a16:creationId xmlns:a16="http://schemas.microsoft.com/office/drawing/2014/main" id="{3E8B7E1E-BC03-D36B-042E-A86CE4C8D874}"/>
              </a:ext>
            </a:extLst>
          </p:cNvPr>
          <p:cNvSpPr/>
          <p:nvPr/>
        </p:nvSpPr>
        <p:spPr>
          <a:xfrm rot="16200000">
            <a:off x="-398336" y="3028691"/>
            <a:ext cx="2097117" cy="1845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80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 Medium" panose="02000000000000000000" pitchFamily="2" charset="0"/>
                <a:cs typeface="Lato" panose="020F0502020204030203" pitchFamily="34" charset="0"/>
              </a:rPr>
              <a:t>CAGR (25-29)</a:t>
            </a:r>
          </a:p>
        </p:txBody>
      </p:sp>
      <p:sp>
        <p:nvSpPr>
          <p:cNvPr id="7" name="Rectángulo: esquinas redondeadas 21">
            <a:extLst>
              <a:ext uri="{FF2B5EF4-FFF2-40B4-BE49-F238E27FC236}">
                <a16:creationId xmlns:a16="http://schemas.microsoft.com/office/drawing/2014/main" id="{2593312A-0694-C03B-4A4A-47E3FF2D8CCA}"/>
              </a:ext>
            </a:extLst>
          </p:cNvPr>
          <p:cNvSpPr/>
          <p:nvPr/>
        </p:nvSpPr>
        <p:spPr>
          <a:xfrm>
            <a:off x="1285103" y="4445086"/>
            <a:ext cx="6813868" cy="1845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80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 Medium" panose="02000000000000000000" pitchFamily="2" charset="0"/>
              </a:rPr>
              <a:t>Crecimiento Anual 2025</a:t>
            </a:r>
          </a:p>
        </p:txBody>
      </p:sp>
      <p:sp>
        <p:nvSpPr>
          <p:cNvPr id="12" name="Marcador de texto 8">
            <a:extLst>
              <a:ext uri="{FF2B5EF4-FFF2-40B4-BE49-F238E27FC236}">
                <a16:creationId xmlns:a16="http://schemas.microsoft.com/office/drawing/2014/main" id="{A7B08E87-6EEF-F4C4-51C1-1EB70726D6D9}"/>
              </a:ext>
            </a:extLst>
          </p:cNvPr>
          <p:cNvSpPr txBox="1">
            <a:spLocks/>
          </p:cNvSpPr>
          <p:nvPr/>
        </p:nvSpPr>
        <p:spPr>
          <a:xfrm>
            <a:off x="540657" y="1357647"/>
            <a:ext cx="5043047" cy="46576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200" noProof="0">
                <a:solidFill>
                  <a:srgbClr val="150958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Mercado de TI Empresarial por Industria Vertical, Argentina 2025-2029</a:t>
            </a:r>
          </a:p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200" noProof="0">
                <a:solidFill>
                  <a:srgbClr val="150958"/>
                </a:solidFill>
                <a:latin typeface="Pulso Light" pitchFamily="2" charset="0"/>
                <a:ea typeface="Roboto" panose="02000000000000000000" pitchFamily="2" charset="0"/>
                <a:cs typeface="Open Sans" pitchFamily="2" charset="0"/>
              </a:rPr>
              <a:t>Total 2025: US$ 7.7B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EE85F71F-1BF1-5E63-FDC2-D5FF06197F8B}"/>
              </a:ext>
            </a:extLst>
          </p:cNvPr>
          <p:cNvSpPr txBox="1"/>
          <p:nvPr/>
        </p:nvSpPr>
        <p:spPr>
          <a:xfrm>
            <a:off x="6460725" y="4524425"/>
            <a:ext cx="2216953" cy="91500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marL="0" marR="0" lvl="0" indent="0" algn="r" defTabSz="91433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500" u="none" strike="noStrike" kern="1200" cap="none" spc="0" normalizeH="0" baseline="0" noProof="0">
                <a:ln>
                  <a:noFill/>
                </a:ln>
                <a:solidFill>
                  <a:srgbClr val="24272A"/>
                </a:solidFill>
                <a:effectLst/>
                <a:uLnTx/>
                <a:uFillTx/>
                <a:latin typeface="Pulso Light" pitchFamily="2" charset="0"/>
                <a:cs typeface="+mn-cs"/>
              </a:rPr>
              <a:t>Fuente: IDC ICT </a:t>
            </a:r>
            <a:r>
              <a:rPr kumimoji="0" lang="es-AR" sz="500" u="none" strike="noStrike" kern="1200" cap="none" spc="0" normalizeH="0" baseline="0" noProof="0" err="1">
                <a:ln>
                  <a:noFill/>
                </a:ln>
                <a:solidFill>
                  <a:srgbClr val="24272A"/>
                </a:solidFill>
                <a:effectLst/>
                <a:uLnTx/>
                <a:uFillTx/>
                <a:latin typeface="Pulso Light" pitchFamily="2" charset="0"/>
                <a:cs typeface="+mn-cs"/>
              </a:rPr>
              <a:t>Spending</a:t>
            </a:r>
            <a:r>
              <a:rPr kumimoji="0" lang="es-AR" sz="500" u="none" strike="noStrike" kern="1200" cap="none" spc="0" normalizeH="0" baseline="0" noProof="0">
                <a:ln>
                  <a:noFill/>
                </a:ln>
                <a:solidFill>
                  <a:srgbClr val="24272A"/>
                </a:solidFill>
                <a:effectLst/>
                <a:uLnTx/>
                <a:uFillTx/>
                <a:latin typeface="Pulso Light" pitchFamily="2" charset="0"/>
                <a:cs typeface="+mn-cs"/>
              </a:rPr>
              <a:t> Guide Enterprise and SMB </a:t>
            </a:r>
            <a:r>
              <a:rPr kumimoji="0" lang="es-AR" sz="500" u="none" strike="noStrike" kern="1200" cap="none" spc="0" normalizeH="0" baseline="0" noProof="0" err="1">
                <a:ln>
                  <a:noFill/>
                </a:ln>
                <a:solidFill>
                  <a:srgbClr val="24272A"/>
                </a:solidFill>
                <a:effectLst/>
                <a:uLnTx/>
                <a:uFillTx/>
                <a:latin typeface="Pulso Light" pitchFamily="2" charset="0"/>
                <a:cs typeface="+mn-cs"/>
              </a:rPr>
              <a:t>by</a:t>
            </a:r>
            <a:r>
              <a:rPr kumimoji="0" lang="es-AR" sz="500" u="none" strike="noStrike" kern="1200" cap="none" spc="0" normalizeH="0" baseline="0" noProof="0">
                <a:ln>
                  <a:noFill/>
                </a:ln>
                <a:solidFill>
                  <a:srgbClr val="24272A"/>
                </a:solidFill>
                <a:effectLst/>
                <a:uLnTx/>
                <a:uFillTx/>
                <a:latin typeface="Pulso Light" pitchFamily="2" charset="0"/>
                <a:cs typeface="+mn-cs"/>
              </a:rPr>
              <a:t> </a:t>
            </a:r>
            <a:r>
              <a:rPr kumimoji="0" lang="es-AR" sz="500" u="none" strike="noStrike" kern="1200" cap="none" spc="0" normalizeH="0" baseline="0" noProof="0" err="1">
                <a:ln>
                  <a:noFill/>
                </a:ln>
                <a:solidFill>
                  <a:srgbClr val="24272A"/>
                </a:solidFill>
                <a:effectLst/>
                <a:uLnTx/>
                <a:uFillTx/>
                <a:latin typeface="Pulso Light" pitchFamily="2" charset="0"/>
                <a:cs typeface="+mn-cs"/>
              </a:rPr>
              <a:t>Industry</a:t>
            </a:r>
            <a:r>
              <a:rPr kumimoji="0" lang="es-AR" sz="500" u="none" strike="noStrike" kern="1200" cap="none" spc="0" normalizeH="0" baseline="0" noProof="0">
                <a:ln>
                  <a:noFill/>
                </a:ln>
                <a:solidFill>
                  <a:srgbClr val="24272A"/>
                </a:solidFill>
                <a:effectLst/>
                <a:uLnTx/>
                <a:uFillTx/>
                <a:latin typeface="Pulso Light" pitchFamily="2" charset="0"/>
                <a:cs typeface="+mn-cs"/>
              </a:rPr>
              <a:t>, Julio de 2025</a:t>
            </a:r>
          </a:p>
        </p:txBody>
      </p:sp>
    </p:spTree>
    <p:extLst>
      <p:ext uri="{BB962C8B-B14F-4D97-AF65-F5344CB8AC3E}">
        <p14:creationId xmlns:p14="http://schemas.microsoft.com/office/powerpoint/2010/main" val="905001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454374-56A2-365B-FD22-60C3E84F58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o 6">
            <a:extLst>
              <a:ext uri="{FF2B5EF4-FFF2-40B4-BE49-F238E27FC236}">
                <a16:creationId xmlns:a16="http://schemas.microsoft.com/office/drawing/2014/main" id="{E34B6855-2929-61EF-78F7-68BCEF4824B4}"/>
              </a:ext>
            </a:extLst>
          </p:cNvPr>
          <p:cNvGrpSpPr/>
          <p:nvPr/>
        </p:nvGrpSpPr>
        <p:grpSpPr>
          <a:xfrm>
            <a:off x="-1046649" y="1104457"/>
            <a:ext cx="6377242" cy="3811884"/>
            <a:chOff x="-301806" y="1458614"/>
            <a:chExt cx="5478480" cy="3274665"/>
          </a:xfrm>
        </p:grpSpPr>
        <p:graphicFrame>
          <p:nvGraphicFramePr>
            <p:cNvPr id="84" name="Gráfico 83">
              <a:extLst>
                <a:ext uri="{FF2B5EF4-FFF2-40B4-BE49-F238E27FC236}">
                  <a16:creationId xmlns:a16="http://schemas.microsoft.com/office/drawing/2014/main" id="{0A36C3CC-8909-A39B-BC27-8BEA929632D3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-240935" y="1542302"/>
            <a:ext cx="5417609" cy="31721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85" name="Gráfico 84">
              <a:extLst>
                <a:ext uri="{FF2B5EF4-FFF2-40B4-BE49-F238E27FC236}">
                  <a16:creationId xmlns:a16="http://schemas.microsoft.com/office/drawing/2014/main" id="{3153EBC2-CC6B-7138-6C3E-B37D432C46DD}"/>
                </a:ext>
              </a:extLst>
            </p:cNvPr>
            <p:cNvGraphicFramePr/>
            <p:nvPr/>
          </p:nvGraphicFramePr>
          <p:xfrm>
            <a:off x="818230" y="2159001"/>
            <a:ext cx="3299282" cy="193183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pSp>
          <p:nvGrpSpPr>
            <p:cNvPr id="86" name="Grupo 85">
              <a:extLst>
                <a:ext uri="{FF2B5EF4-FFF2-40B4-BE49-F238E27FC236}">
                  <a16:creationId xmlns:a16="http://schemas.microsoft.com/office/drawing/2014/main" id="{78BB63F2-72B0-3A08-6C21-4F03D8C48F93}"/>
                </a:ext>
              </a:extLst>
            </p:cNvPr>
            <p:cNvGrpSpPr/>
            <p:nvPr/>
          </p:nvGrpSpPr>
          <p:grpSpPr>
            <a:xfrm>
              <a:off x="-301806" y="1458614"/>
              <a:ext cx="5232226" cy="3274665"/>
              <a:chOff x="1592246" y="203200"/>
              <a:chExt cx="10484897" cy="6654800"/>
            </a:xfrm>
          </p:grpSpPr>
          <p:graphicFrame>
            <p:nvGraphicFramePr>
              <p:cNvPr id="106" name="Gráfico 105">
                <a:extLst>
                  <a:ext uri="{FF2B5EF4-FFF2-40B4-BE49-F238E27FC236}">
                    <a16:creationId xmlns:a16="http://schemas.microsoft.com/office/drawing/2014/main" id="{1EFBC584-CB90-516D-4B34-7C4AD8AAFC5D}"/>
                  </a:ext>
                </a:extLst>
              </p:cNvPr>
              <p:cNvGraphicFramePr/>
              <p:nvPr/>
            </p:nvGraphicFramePr>
            <p:xfrm>
              <a:off x="1592246" y="203200"/>
              <a:ext cx="9982205" cy="665480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graphicFrame>
            <p:nvGraphicFramePr>
              <p:cNvPr id="107" name="Gráfico 106">
                <a:extLst>
                  <a:ext uri="{FF2B5EF4-FFF2-40B4-BE49-F238E27FC236}">
                    <a16:creationId xmlns:a16="http://schemas.microsoft.com/office/drawing/2014/main" id="{442CD9F8-56CF-ACC0-64DF-09D0AF8C887A}"/>
                  </a:ext>
                </a:extLst>
              </p:cNvPr>
              <p:cNvGraphicFramePr/>
              <p:nvPr/>
            </p:nvGraphicFramePr>
            <p:xfrm>
              <a:off x="2207698" y="659232"/>
              <a:ext cx="9869445" cy="5860495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6"/>
              </a:graphicData>
            </a:graphic>
          </p:graphicFrame>
        </p:grpSp>
        <p:sp>
          <p:nvSpPr>
            <p:cNvPr id="87" name="Rectángulo redondeado 86">
              <a:extLst>
                <a:ext uri="{FF2B5EF4-FFF2-40B4-BE49-F238E27FC236}">
                  <a16:creationId xmlns:a16="http://schemas.microsoft.com/office/drawing/2014/main" id="{9E5A4105-77D5-40C3-9736-34F0E251EB8B}"/>
                </a:ext>
              </a:extLst>
            </p:cNvPr>
            <p:cNvSpPr/>
            <p:nvPr/>
          </p:nvSpPr>
          <p:spPr>
            <a:xfrm>
              <a:off x="2543347" y="2147012"/>
              <a:ext cx="299981" cy="118352"/>
            </a:xfrm>
            <a:prstGeom prst="roundRect">
              <a:avLst>
                <a:gd name="adj" fmla="val 50000"/>
              </a:avLst>
            </a:prstGeom>
            <a:noFill/>
            <a:ln w="6350" cap="rnd" cmpd="sng">
              <a:solidFill>
                <a:schemeClr val="bg1">
                  <a:lumMod val="25000"/>
                </a:schemeClr>
              </a:solidFill>
              <a:prstDash val="solid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n-US" sz="700">
                  <a:solidFill>
                    <a:schemeClr val="bg1">
                      <a:lumMod val="25000"/>
                    </a:schemeClr>
                  </a:solidFill>
                  <a:latin typeface="Pulso" pitchFamily="2" charset="0"/>
                  <a:ea typeface="Roboto" panose="02000000000000000000" pitchFamily="2" charset="0"/>
                </a:rPr>
                <a:t>2026</a:t>
              </a:r>
            </a:p>
          </p:txBody>
        </p:sp>
        <p:sp>
          <p:nvSpPr>
            <p:cNvPr id="88" name="Rectángulo redondeado 87">
              <a:extLst>
                <a:ext uri="{FF2B5EF4-FFF2-40B4-BE49-F238E27FC236}">
                  <a16:creationId xmlns:a16="http://schemas.microsoft.com/office/drawing/2014/main" id="{27F9154B-7015-F24E-059A-A39A76354A4D}"/>
                </a:ext>
              </a:extLst>
            </p:cNvPr>
            <p:cNvSpPr/>
            <p:nvPr/>
          </p:nvSpPr>
          <p:spPr>
            <a:xfrm>
              <a:off x="2552872" y="2550091"/>
              <a:ext cx="299981" cy="118352"/>
            </a:xfrm>
            <a:prstGeom prst="roundRect">
              <a:avLst>
                <a:gd name="adj" fmla="val 50000"/>
              </a:avLst>
            </a:prstGeom>
            <a:noFill/>
            <a:ln w="6350" cap="rnd" cmpd="sng">
              <a:solidFill>
                <a:schemeClr val="bg1">
                  <a:lumMod val="25000"/>
                </a:schemeClr>
              </a:solidFill>
              <a:prstDash val="solid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n-US" sz="700">
                  <a:solidFill>
                    <a:schemeClr val="bg1">
                      <a:lumMod val="25000"/>
                    </a:schemeClr>
                  </a:solidFill>
                  <a:latin typeface="Pulso" pitchFamily="2" charset="0"/>
                  <a:ea typeface="Roboto" panose="02000000000000000000" pitchFamily="2" charset="0"/>
                </a:rPr>
                <a:t>2025</a:t>
              </a:r>
            </a:p>
          </p:txBody>
        </p:sp>
        <p:sp>
          <p:nvSpPr>
            <p:cNvPr id="89" name="CuadroTexto 88">
              <a:extLst>
                <a:ext uri="{FF2B5EF4-FFF2-40B4-BE49-F238E27FC236}">
                  <a16:creationId xmlns:a16="http://schemas.microsoft.com/office/drawing/2014/main" id="{0DF39A5D-C69E-99AA-7E0E-AE29C1B63E5E}"/>
                </a:ext>
              </a:extLst>
            </p:cNvPr>
            <p:cNvSpPr txBox="1"/>
            <p:nvPr/>
          </p:nvSpPr>
          <p:spPr>
            <a:xfrm>
              <a:off x="3121649" y="3400805"/>
              <a:ext cx="321169" cy="20075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algn="ctr">
                <a:lnSpc>
                  <a:spcPct val="130000"/>
                </a:lnSpc>
                <a:spcBef>
                  <a:spcPts val="1000"/>
                </a:spcBef>
              </a:pPr>
              <a:r>
                <a:rPr lang="es-AR" sz="700">
                  <a:solidFill>
                    <a:schemeClr val="bg1">
                      <a:lumMod val="25000"/>
                    </a:schemeClr>
                  </a:solidFill>
                  <a:latin typeface="Pulso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CORE</a:t>
              </a:r>
            </a:p>
          </p:txBody>
        </p:sp>
        <p:sp>
          <p:nvSpPr>
            <p:cNvPr id="90" name="CuadroTexto 89">
              <a:extLst>
                <a:ext uri="{FF2B5EF4-FFF2-40B4-BE49-F238E27FC236}">
                  <a16:creationId xmlns:a16="http://schemas.microsoft.com/office/drawing/2014/main" id="{B97D3A2F-A40B-10E1-85C1-A82A90F8218C}"/>
                </a:ext>
              </a:extLst>
            </p:cNvPr>
            <p:cNvSpPr txBox="1"/>
            <p:nvPr/>
          </p:nvSpPr>
          <p:spPr>
            <a:xfrm>
              <a:off x="1487744" y="3237244"/>
              <a:ext cx="221783" cy="20075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algn="ctr">
                <a:lnSpc>
                  <a:spcPct val="130000"/>
                </a:lnSpc>
                <a:spcBef>
                  <a:spcPts val="1000"/>
                </a:spcBef>
              </a:pPr>
              <a:r>
                <a:rPr lang="es-AR" sz="700">
                  <a:solidFill>
                    <a:schemeClr val="bg1">
                      <a:lumMod val="25000"/>
                    </a:schemeClr>
                  </a:solidFill>
                  <a:latin typeface="Pulso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IOT</a:t>
              </a:r>
            </a:p>
          </p:txBody>
        </p:sp>
        <p:sp>
          <p:nvSpPr>
            <p:cNvPr id="91" name="CuadroTexto 90">
              <a:extLst>
                <a:ext uri="{FF2B5EF4-FFF2-40B4-BE49-F238E27FC236}">
                  <a16:creationId xmlns:a16="http://schemas.microsoft.com/office/drawing/2014/main" id="{6DFB660D-F6BC-1F11-2A28-742EA28DB078}"/>
                </a:ext>
              </a:extLst>
            </p:cNvPr>
            <p:cNvSpPr txBox="1"/>
            <p:nvPr/>
          </p:nvSpPr>
          <p:spPr>
            <a:xfrm>
              <a:off x="1338731" y="2732270"/>
              <a:ext cx="388495" cy="20075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algn="ctr">
                <a:lnSpc>
                  <a:spcPct val="130000"/>
                </a:lnSpc>
                <a:spcBef>
                  <a:spcPts val="1000"/>
                </a:spcBef>
              </a:pPr>
              <a:r>
                <a:rPr lang="es-AR" sz="700">
                  <a:solidFill>
                    <a:schemeClr val="bg1">
                      <a:lumMod val="25000"/>
                    </a:schemeClr>
                  </a:solidFill>
                  <a:latin typeface="Pulso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CLOUD</a:t>
              </a:r>
            </a:p>
          </p:txBody>
        </p:sp>
        <p:sp>
          <p:nvSpPr>
            <p:cNvPr id="92" name="CuadroTexto 91">
              <a:extLst>
                <a:ext uri="{FF2B5EF4-FFF2-40B4-BE49-F238E27FC236}">
                  <a16:creationId xmlns:a16="http://schemas.microsoft.com/office/drawing/2014/main" id="{70F75969-93B5-1928-4715-6D1D2631C127}"/>
                </a:ext>
              </a:extLst>
            </p:cNvPr>
            <p:cNvSpPr txBox="1"/>
            <p:nvPr/>
          </p:nvSpPr>
          <p:spPr>
            <a:xfrm>
              <a:off x="1662948" y="2197002"/>
              <a:ext cx="324375" cy="20075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algn="ctr">
                <a:lnSpc>
                  <a:spcPct val="130000"/>
                </a:lnSpc>
                <a:spcBef>
                  <a:spcPts val="1000"/>
                </a:spcBef>
              </a:pPr>
              <a:r>
                <a:rPr lang="es-AR" sz="700">
                  <a:solidFill>
                    <a:schemeClr val="bg1">
                      <a:lumMod val="25000"/>
                    </a:schemeClr>
                  </a:solidFill>
                  <a:latin typeface="Pulso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CIBER</a:t>
              </a:r>
            </a:p>
          </p:txBody>
        </p:sp>
        <p:sp>
          <p:nvSpPr>
            <p:cNvPr id="93" name="CuadroTexto 92">
              <a:extLst>
                <a:ext uri="{FF2B5EF4-FFF2-40B4-BE49-F238E27FC236}">
                  <a16:creationId xmlns:a16="http://schemas.microsoft.com/office/drawing/2014/main" id="{36F0351E-B206-1CD7-63F4-F155651B7384}"/>
                </a:ext>
              </a:extLst>
            </p:cNvPr>
            <p:cNvSpPr txBox="1"/>
            <p:nvPr/>
          </p:nvSpPr>
          <p:spPr>
            <a:xfrm>
              <a:off x="1929747" y="1974208"/>
              <a:ext cx="539177" cy="20075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algn="ctr">
                <a:lnSpc>
                  <a:spcPct val="130000"/>
                </a:lnSpc>
                <a:spcBef>
                  <a:spcPts val="1000"/>
                </a:spcBef>
              </a:pPr>
              <a:r>
                <a:rPr lang="es-AR" sz="700">
                  <a:solidFill>
                    <a:schemeClr val="bg1">
                      <a:lumMod val="25000"/>
                    </a:schemeClr>
                  </a:solidFill>
                  <a:latin typeface="Pulso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PROY. ESP.</a:t>
              </a:r>
            </a:p>
          </p:txBody>
        </p:sp>
        <p:sp>
          <p:nvSpPr>
            <p:cNvPr id="95" name="CuadroTexto 94">
              <a:extLst>
                <a:ext uri="{FF2B5EF4-FFF2-40B4-BE49-F238E27FC236}">
                  <a16:creationId xmlns:a16="http://schemas.microsoft.com/office/drawing/2014/main" id="{1203C9CD-9A65-AD4A-7BD9-485B7AE1EE24}"/>
                </a:ext>
              </a:extLst>
            </p:cNvPr>
            <p:cNvSpPr txBox="1"/>
            <p:nvPr/>
          </p:nvSpPr>
          <p:spPr>
            <a:xfrm>
              <a:off x="3185288" y="3645407"/>
              <a:ext cx="239416" cy="20075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algn="ctr">
                <a:lnSpc>
                  <a:spcPct val="130000"/>
                </a:lnSpc>
                <a:spcBef>
                  <a:spcPts val="1000"/>
                </a:spcBef>
              </a:pPr>
              <a:r>
                <a:rPr lang="es-AR" sz="700">
                  <a:solidFill>
                    <a:schemeClr val="bg1">
                      <a:lumMod val="25000"/>
                    </a:schemeClr>
                  </a:solidFill>
                  <a:latin typeface="Pulso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-3%</a:t>
              </a:r>
            </a:p>
          </p:txBody>
        </p:sp>
        <p:sp>
          <p:nvSpPr>
            <p:cNvPr id="96" name="CuadroTexto 95">
              <a:extLst>
                <a:ext uri="{FF2B5EF4-FFF2-40B4-BE49-F238E27FC236}">
                  <a16:creationId xmlns:a16="http://schemas.microsoft.com/office/drawing/2014/main" id="{3FC1D634-F915-AB30-CD49-B38CC558778A}"/>
                </a:ext>
              </a:extLst>
            </p:cNvPr>
            <p:cNvSpPr txBox="1"/>
            <p:nvPr/>
          </p:nvSpPr>
          <p:spPr>
            <a:xfrm>
              <a:off x="1669492" y="3215202"/>
              <a:ext cx="293919" cy="20075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algn="ctr">
                <a:lnSpc>
                  <a:spcPct val="130000"/>
                </a:lnSpc>
                <a:spcBef>
                  <a:spcPts val="1000"/>
                </a:spcBef>
              </a:pPr>
              <a:r>
                <a:rPr lang="es-AR" sz="700">
                  <a:solidFill>
                    <a:schemeClr val="bg1">
                      <a:lumMod val="25000"/>
                    </a:schemeClr>
                  </a:solidFill>
                  <a:latin typeface="Pulso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+41%</a:t>
              </a:r>
            </a:p>
          </p:txBody>
        </p:sp>
        <p:sp>
          <p:nvSpPr>
            <p:cNvPr id="97" name="CuadroTexto 96">
              <a:extLst>
                <a:ext uri="{FF2B5EF4-FFF2-40B4-BE49-F238E27FC236}">
                  <a16:creationId xmlns:a16="http://schemas.microsoft.com/office/drawing/2014/main" id="{C1008503-3A56-63F0-22E4-0402F028A282}"/>
                </a:ext>
              </a:extLst>
            </p:cNvPr>
            <p:cNvSpPr txBox="1"/>
            <p:nvPr/>
          </p:nvSpPr>
          <p:spPr>
            <a:xfrm>
              <a:off x="1466740" y="3507531"/>
              <a:ext cx="289109" cy="20075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algn="ctr">
                <a:lnSpc>
                  <a:spcPct val="130000"/>
                </a:lnSpc>
                <a:spcBef>
                  <a:spcPts val="1000"/>
                </a:spcBef>
              </a:pPr>
              <a:r>
                <a:rPr lang="es-AR" sz="700">
                  <a:solidFill>
                    <a:schemeClr val="bg1">
                      <a:lumMod val="25000"/>
                    </a:schemeClr>
                  </a:solidFill>
                  <a:latin typeface="Pulso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+10%</a:t>
              </a:r>
            </a:p>
          </p:txBody>
        </p:sp>
        <p:sp>
          <p:nvSpPr>
            <p:cNvPr id="99" name="CuadroTexto 98">
              <a:extLst>
                <a:ext uri="{FF2B5EF4-FFF2-40B4-BE49-F238E27FC236}">
                  <a16:creationId xmlns:a16="http://schemas.microsoft.com/office/drawing/2014/main" id="{FFF9B5E1-924A-BAF3-B4A2-1935DABA70A6}"/>
                </a:ext>
              </a:extLst>
            </p:cNvPr>
            <p:cNvSpPr txBox="1"/>
            <p:nvPr/>
          </p:nvSpPr>
          <p:spPr>
            <a:xfrm>
              <a:off x="1367249" y="2996835"/>
              <a:ext cx="287507" cy="20075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algn="ctr">
                <a:lnSpc>
                  <a:spcPct val="130000"/>
                </a:lnSpc>
                <a:spcBef>
                  <a:spcPts val="1000"/>
                </a:spcBef>
              </a:pPr>
              <a:r>
                <a:rPr lang="es-AR" sz="700">
                  <a:solidFill>
                    <a:schemeClr val="bg1">
                      <a:lumMod val="25000"/>
                    </a:schemeClr>
                  </a:solidFill>
                  <a:latin typeface="Pulso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+21%</a:t>
              </a:r>
            </a:p>
          </p:txBody>
        </p:sp>
        <p:sp>
          <p:nvSpPr>
            <p:cNvPr id="101" name="CuadroTexto 100">
              <a:extLst>
                <a:ext uri="{FF2B5EF4-FFF2-40B4-BE49-F238E27FC236}">
                  <a16:creationId xmlns:a16="http://schemas.microsoft.com/office/drawing/2014/main" id="{B91E3614-6DF6-E18A-075D-8766BEA60161}"/>
                </a:ext>
              </a:extLst>
            </p:cNvPr>
            <p:cNvSpPr txBox="1"/>
            <p:nvPr/>
          </p:nvSpPr>
          <p:spPr>
            <a:xfrm>
              <a:off x="1663881" y="2440549"/>
              <a:ext cx="305139" cy="20075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algn="ctr">
                <a:lnSpc>
                  <a:spcPct val="130000"/>
                </a:lnSpc>
                <a:spcBef>
                  <a:spcPts val="1000"/>
                </a:spcBef>
              </a:pPr>
              <a:r>
                <a:rPr lang="es-AR" sz="700">
                  <a:solidFill>
                    <a:schemeClr val="bg1">
                      <a:lumMod val="25000"/>
                    </a:schemeClr>
                  </a:solidFill>
                  <a:latin typeface="Pulso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+24%</a:t>
              </a:r>
            </a:p>
          </p:txBody>
        </p:sp>
        <p:sp>
          <p:nvSpPr>
            <p:cNvPr id="103" name="CuadroTexto 102">
              <a:extLst>
                <a:ext uri="{FF2B5EF4-FFF2-40B4-BE49-F238E27FC236}">
                  <a16:creationId xmlns:a16="http://schemas.microsoft.com/office/drawing/2014/main" id="{AC5B6259-E181-AE1D-0342-988E442A8211}"/>
                </a:ext>
              </a:extLst>
            </p:cNvPr>
            <p:cNvSpPr txBox="1"/>
            <p:nvPr/>
          </p:nvSpPr>
          <p:spPr>
            <a:xfrm>
              <a:off x="2071390" y="2229556"/>
              <a:ext cx="301933" cy="20075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algn="ctr">
                <a:lnSpc>
                  <a:spcPct val="130000"/>
                </a:lnSpc>
                <a:spcBef>
                  <a:spcPts val="1000"/>
                </a:spcBef>
              </a:pPr>
              <a:r>
                <a:rPr lang="es-AR" sz="700">
                  <a:solidFill>
                    <a:schemeClr val="bg1">
                      <a:lumMod val="25000"/>
                    </a:schemeClr>
                  </a:solidFill>
                  <a:latin typeface="Pulso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+29%</a:t>
              </a:r>
            </a:p>
          </p:txBody>
        </p:sp>
        <p:sp>
          <p:nvSpPr>
            <p:cNvPr id="104" name="CuadroTexto 103">
              <a:extLst>
                <a:ext uri="{FF2B5EF4-FFF2-40B4-BE49-F238E27FC236}">
                  <a16:creationId xmlns:a16="http://schemas.microsoft.com/office/drawing/2014/main" id="{89D3FB3C-2519-E5D6-119B-25BBA10AFB68}"/>
                </a:ext>
              </a:extLst>
            </p:cNvPr>
            <p:cNvSpPr txBox="1"/>
            <p:nvPr/>
          </p:nvSpPr>
          <p:spPr>
            <a:xfrm>
              <a:off x="3647662" y="2960483"/>
              <a:ext cx="229230" cy="318924"/>
            </a:xfrm>
            <a:prstGeom prst="rect">
              <a:avLst/>
            </a:prstGeom>
            <a:solidFill>
              <a:srgbClr val="F0F0F0"/>
            </a:solidFill>
          </p:spPr>
          <p:txBody>
            <a:bodyPr wrap="none" lIns="0" tIns="36000" rIns="0" bIns="36000" rtlCol="0">
              <a:sp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AR" sz="800">
                  <a:solidFill>
                    <a:srgbClr val="01B7EC"/>
                  </a:solidFill>
                  <a:latin typeface="Pulso" pitchFamily="2" charset="0"/>
                </a:rPr>
                <a:t>Core</a:t>
              </a:r>
              <a:br>
                <a:rPr lang="es-AR" sz="800">
                  <a:solidFill>
                    <a:srgbClr val="01B7EC"/>
                  </a:solidFill>
                  <a:latin typeface="Pulso" pitchFamily="2" charset="0"/>
                </a:rPr>
              </a:br>
              <a:r>
                <a:rPr lang="es-AR" sz="800" b="1">
                  <a:solidFill>
                    <a:srgbClr val="01B7EC"/>
                  </a:solidFill>
                  <a:latin typeface="Pulso" pitchFamily="2" charset="0"/>
                </a:rPr>
                <a:t>68%</a:t>
              </a:r>
            </a:p>
          </p:txBody>
        </p:sp>
        <p:sp>
          <p:nvSpPr>
            <p:cNvPr id="105" name="CuadroTexto 104">
              <a:extLst>
                <a:ext uri="{FF2B5EF4-FFF2-40B4-BE49-F238E27FC236}">
                  <a16:creationId xmlns:a16="http://schemas.microsoft.com/office/drawing/2014/main" id="{9F5102CE-5B45-CC74-3D13-EAC2A1A4CF58}"/>
                </a:ext>
              </a:extLst>
            </p:cNvPr>
            <p:cNvSpPr txBox="1"/>
            <p:nvPr/>
          </p:nvSpPr>
          <p:spPr>
            <a:xfrm>
              <a:off x="1072605" y="2960483"/>
              <a:ext cx="238847" cy="318924"/>
            </a:xfrm>
            <a:prstGeom prst="rect">
              <a:avLst/>
            </a:prstGeom>
            <a:solidFill>
              <a:srgbClr val="F0F0F0"/>
            </a:solidFill>
          </p:spPr>
          <p:txBody>
            <a:bodyPr wrap="none" lIns="0" tIns="36000" rIns="0" bIns="36000" rtlCol="0">
              <a:sp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AR" sz="800" err="1">
                  <a:solidFill>
                    <a:srgbClr val="AA03B8"/>
                  </a:solidFill>
                  <a:latin typeface="Pulso" pitchFamily="2" charset="0"/>
                </a:rPr>
                <a:t>Tech</a:t>
              </a:r>
              <a:br>
                <a:rPr lang="es-AR" sz="800">
                  <a:solidFill>
                    <a:srgbClr val="AA03B8"/>
                  </a:solidFill>
                  <a:latin typeface="Pulso" pitchFamily="2" charset="0"/>
                </a:rPr>
              </a:br>
              <a:r>
                <a:rPr lang="es-AR" sz="800" b="1">
                  <a:solidFill>
                    <a:srgbClr val="AA03B8"/>
                  </a:solidFill>
                  <a:latin typeface="Pulso" pitchFamily="2" charset="0"/>
                </a:rPr>
                <a:t>32%</a:t>
              </a:r>
            </a:p>
          </p:txBody>
        </p:sp>
      </p:grpSp>
      <p:grpSp>
        <p:nvGrpSpPr>
          <p:cNvPr id="8" name="Grupo 7">
            <a:extLst>
              <a:ext uri="{FF2B5EF4-FFF2-40B4-BE49-F238E27FC236}">
                <a16:creationId xmlns:a16="http://schemas.microsoft.com/office/drawing/2014/main" id="{0A945332-2FBB-4A9F-BED9-1E2D7926D3E3}"/>
              </a:ext>
            </a:extLst>
          </p:cNvPr>
          <p:cNvGrpSpPr/>
          <p:nvPr/>
        </p:nvGrpSpPr>
        <p:grpSpPr>
          <a:xfrm>
            <a:off x="2695840" y="1200061"/>
            <a:ext cx="6306385" cy="3692594"/>
            <a:chOff x="3623726" y="1540744"/>
            <a:chExt cx="5417609" cy="3172187"/>
          </a:xfrm>
        </p:grpSpPr>
        <p:graphicFrame>
          <p:nvGraphicFramePr>
            <p:cNvPr id="9" name="Gráfico 8">
              <a:extLst>
                <a:ext uri="{FF2B5EF4-FFF2-40B4-BE49-F238E27FC236}">
                  <a16:creationId xmlns:a16="http://schemas.microsoft.com/office/drawing/2014/main" id="{C241C692-EB84-4778-A44E-F05B1C66360F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3623726" y="1540744"/>
            <a:ext cx="5417609" cy="317218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grpSp>
          <p:nvGrpSpPr>
            <p:cNvPr id="10" name="Grupo 9">
              <a:extLst>
                <a:ext uri="{FF2B5EF4-FFF2-40B4-BE49-F238E27FC236}">
                  <a16:creationId xmlns:a16="http://schemas.microsoft.com/office/drawing/2014/main" id="{2821B8F5-C8DD-BE97-EA40-DE5BED804F44}"/>
                </a:ext>
              </a:extLst>
            </p:cNvPr>
            <p:cNvGrpSpPr/>
            <p:nvPr/>
          </p:nvGrpSpPr>
          <p:grpSpPr>
            <a:xfrm>
              <a:off x="3869981" y="1681458"/>
              <a:ext cx="4925099" cy="2883807"/>
              <a:chOff x="3869981" y="1681458"/>
              <a:chExt cx="4925099" cy="2883807"/>
            </a:xfrm>
          </p:grpSpPr>
          <p:graphicFrame>
            <p:nvGraphicFramePr>
              <p:cNvPr id="13" name="Gráfico 12">
                <a:extLst>
                  <a:ext uri="{FF2B5EF4-FFF2-40B4-BE49-F238E27FC236}">
                    <a16:creationId xmlns:a16="http://schemas.microsoft.com/office/drawing/2014/main" id="{F93DA9DB-18C0-37B1-338C-170EC8A13FFC}"/>
                  </a:ext>
                </a:extLst>
              </p:cNvPr>
              <p:cNvGraphicFramePr/>
              <p:nvPr/>
            </p:nvGraphicFramePr>
            <p:xfrm>
              <a:off x="3869981" y="1681458"/>
              <a:ext cx="4925099" cy="288380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8"/>
              </a:graphicData>
            </a:graphic>
          </p:graphicFrame>
          <p:graphicFrame>
            <p:nvGraphicFramePr>
              <p:cNvPr id="15" name="Gráfico 14">
                <a:extLst>
                  <a:ext uri="{FF2B5EF4-FFF2-40B4-BE49-F238E27FC236}">
                    <a16:creationId xmlns:a16="http://schemas.microsoft.com/office/drawing/2014/main" id="{AA5296C8-9796-932A-4873-F1DA91E2EF6B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4685549" y="2159000"/>
              <a:ext cx="3295412" cy="192957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9"/>
              </a:graphicData>
            </a:graphic>
          </p:graphicFrame>
          <p:sp>
            <p:nvSpPr>
              <p:cNvPr id="16" name="Rectángulo redondeado 15">
                <a:extLst>
                  <a:ext uri="{FF2B5EF4-FFF2-40B4-BE49-F238E27FC236}">
                    <a16:creationId xmlns:a16="http://schemas.microsoft.com/office/drawing/2014/main" id="{A3E0CE5E-9398-6579-0E23-8D4BF052758E}"/>
                  </a:ext>
                </a:extLst>
              </p:cNvPr>
              <p:cNvSpPr/>
              <p:nvPr/>
            </p:nvSpPr>
            <p:spPr>
              <a:xfrm>
                <a:off x="6392849" y="2130607"/>
                <a:ext cx="299981" cy="118352"/>
              </a:xfrm>
              <a:prstGeom prst="roundRect">
                <a:avLst>
                  <a:gd name="adj" fmla="val 50000"/>
                </a:avLst>
              </a:prstGeom>
              <a:noFill/>
              <a:ln w="6350" cap="rnd" cmpd="sng">
                <a:solidFill>
                  <a:schemeClr val="bg1">
                    <a:lumMod val="25000"/>
                  </a:schemeClr>
                </a:solidFill>
                <a:prstDash val="solid"/>
                <a:miter lim="800000"/>
              </a:ln>
              <a:effectLst>
                <a:outerShdw blurRad="38100" dist="12700" dir="5400000" algn="t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 anchorCtr="0">
                <a:noAutofit/>
              </a:bodyPr>
              <a:lstStyle/>
              <a:p>
                <a:pPr algn="ctr">
                  <a:spcBef>
                    <a:spcPts val="1000"/>
                  </a:spcBef>
                </a:pPr>
                <a:r>
                  <a:rPr lang="en-US" sz="70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Roboto" panose="02000000000000000000" pitchFamily="2" charset="0"/>
                  </a:rPr>
                  <a:t>2026</a:t>
                </a:r>
              </a:p>
            </p:txBody>
          </p:sp>
          <p:sp>
            <p:nvSpPr>
              <p:cNvPr id="17" name="Rectángulo redondeado 16">
                <a:extLst>
                  <a:ext uri="{FF2B5EF4-FFF2-40B4-BE49-F238E27FC236}">
                    <a16:creationId xmlns:a16="http://schemas.microsoft.com/office/drawing/2014/main" id="{5EE9EF93-EC0E-D0D9-2CC8-68B43A8ACBD5}"/>
                  </a:ext>
                </a:extLst>
              </p:cNvPr>
              <p:cNvSpPr/>
              <p:nvPr/>
            </p:nvSpPr>
            <p:spPr>
              <a:xfrm>
                <a:off x="6392849" y="2540975"/>
                <a:ext cx="299981" cy="118352"/>
              </a:xfrm>
              <a:prstGeom prst="roundRect">
                <a:avLst>
                  <a:gd name="adj" fmla="val 50000"/>
                </a:avLst>
              </a:prstGeom>
              <a:noFill/>
              <a:ln w="6350" cap="rnd" cmpd="sng">
                <a:solidFill>
                  <a:schemeClr val="bg1">
                    <a:lumMod val="25000"/>
                  </a:schemeClr>
                </a:solidFill>
                <a:prstDash val="solid"/>
                <a:miter lim="800000"/>
              </a:ln>
              <a:effectLst>
                <a:outerShdw blurRad="38100" dist="12700" dir="5400000" algn="t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 anchorCtr="0">
                <a:noAutofit/>
              </a:bodyPr>
              <a:lstStyle/>
              <a:p>
                <a:pPr algn="ctr">
                  <a:spcBef>
                    <a:spcPts val="1000"/>
                  </a:spcBef>
                </a:pPr>
                <a:r>
                  <a:rPr lang="en-US" sz="70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Roboto" panose="02000000000000000000" pitchFamily="2" charset="0"/>
                  </a:rPr>
                  <a:t>2025</a:t>
                </a:r>
              </a:p>
            </p:txBody>
          </p:sp>
          <p:sp>
            <p:nvSpPr>
              <p:cNvPr id="18" name="CuadroTexto 17">
                <a:extLst>
                  <a:ext uri="{FF2B5EF4-FFF2-40B4-BE49-F238E27FC236}">
                    <a16:creationId xmlns:a16="http://schemas.microsoft.com/office/drawing/2014/main" id="{F3481D7D-05FD-FCAD-656A-E6309C9A90E3}"/>
                  </a:ext>
                </a:extLst>
              </p:cNvPr>
              <p:cNvSpPr txBox="1"/>
              <p:nvPr/>
            </p:nvSpPr>
            <p:spPr>
              <a:xfrm>
                <a:off x="7023892" y="3418853"/>
                <a:ext cx="321169" cy="200752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>
                  <a:lnSpc>
                    <a:spcPct val="130000"/>
                  </a:lnSpc>
                  <a:spcBef>
                    <a:spcPts val="1000"/>
                  </a:spcBef>
                </a:pPr>
                <a:r>
                  <a:rPr lang="es-AR" sz="70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CORE</a:t>
                </a:r>
              </a:p>
            </p:txBody>
          </p:sp>
          <p:sp>
            <p:nvSpPr>
              <p:cNvPr id="47" name="CuadroTexto 46">
                <a:extLst>
                  <a:ext uri="{FF2B5EF4-FFF2-40B4-BE49-F238E27FC236}">
                    <a16:creationId xmlns:a16="http://schemas.microsoft.com/office/drawing/2014/main" id="{058B1260-D411-4203-5C15-9E49F6E35D23}"/>
                  </a:ext>
                </a:extLst>
              </p:cNvPr>
              <p:cNvSpPr txBox="1"/>
              <p:nvPr/>
            </p:nvSpPr>
            <p:spPr>
              <a:xfrm>
                <a:off x="5300566" y="3116707"/>
                <a:ext cx="221783" cy="200752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>
                  <a:lnSpc>
                    <a:spcPct val="130000"/>
                  </a:lnSpc>
                  <a:spcBef>
                    <a:spcPts val="1000"/>
                  </a:spcBef>
                </a:pPr>
                <a:r>
                  <a:rPr lang="es-AR" sz="70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IOT</a:t>
                </a:r>
              </a:p>
            </p:txBody>
          </p:sp>
          <p:sp>
            <p:nvSpPr>
              <p:cNvPr id="49" name="CuadroTexto 48">
                <a:extLst>
                  <a:ext uri="{FF2B5EF4-FFF2-40B4-BE49-F238E27FC236}">
                    <a16:creationId xmlns:a16="http://schemas.microsoft.com/office/drawing/2014/main" id="{C17771CD-E912-5CD9-8661-C3CA172815F8}"/>
                  </a:ext>
                </a:extLst>
              </p:cNvPr>
              <p:cNvSpPr txBox="1"/>
              <p:nvPr/>
            </p:nvSpPr>
            <p:spPr>
              <a:xfrm>
                <a:off x="5335398" y="2403339"/>
                <a:ext cx="388495" cy="200752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>
                  <a:lnSpc>
                    <a:spcPct val="130000"/>
                  </a:lnSpc>
                  <a:spcBef>
                    <a:spcPts val="1000"/>
                  </a:spcBef>
                </a:pPr>
                <a:r>
                  <a:rPr lang="es-AR" sz="70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CLOUD</a:t>
                </a:r>
              </a:p>
            </p:txBody>
          </p:sp>
          <p:sp>
            <p:nvSpPr>
              <p:cNvPr id="63" name="CuadroTexto 62">
                <a:extLst>
                  <a:ext uri="{FF2B5EF4-FFF2-40B4-BE49-F238E27FC236}">
                    <a16:creationId xmlns:a16="http://schemas.microsoft.com/office/drawing/2014/main" id="{4CB2048B-1274-F8DA-EBF2-B3C490A22120}"/>
                  </a:ext>
                </a:extLst>
              </p:cNvPr>
              <p:cNvSpPr txBox="1"/>
              <p:nvPr/>
            </p:nvSpPr>
            <p:spPr>
              <a:xfrm>
                <a:off x="5956357" y="1965703"/>
                <a:ext cx="324375" cy="200752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>
                <a:defPPr>
                  <a:defRPr lang="en-US"/>
                </a:defPPr>
                <a:lvl1pPr algn="ctr">
                  <a:lnSpc>
                    <a:spcPct val="130000"/>
                  </a:lnSpc>
                  <a:spcBef>
                    <a:spcPts val="1000"/>
                  </a:spcBef>
                  <a:defRPr sz="70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lvl1pPr>
              </a:lstStyle>
              <a:p>
                <a:r>
                  <a:rPr lang="es-AR"/>
                  <a:t>CIBER</a:t>
                </a:r>
              </a:p>
            </p:txBody>
          </p:sp>
          <p:sp>
            <p:nvSpPr>
              <p:cNvPr id="70" name="CuadroTexto 69">
                <a:extLst>
                  <a:ext uri="{FF2B5EF4-FFF2-40B4-BE49-F238E27FC236}">
                    <a16:creationId xmlns:a16="http://schemas.microsoft.com/office/drawing/2014/main" id="{6142B402-55A9-8215-CC01-C0F8C40F1494}"/>
                  </a:ext>
                </a:extLst>
              </p:cNvPr>
              <p:cNvSpPr txBox="1"/>
              <p:nvPr/>
            </p:nvSpPr>
            <p:spPr>
              <a:xfrm>
                <a:off x="7107338" y="3687288"/>
                <a:ext cx="202547" cy="200752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>
                  <a:lnSpc>
                    <a:spcPct val="130000"/>
                  </a:lnSpc>
                  <a:spcBef>
                    <a:spcPts val="1000"/>
                  </a:spcBef>
                </a:pPr>
                <a:r>
                  <a:rPr lang="es-AR" sz="70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0%</a:t>
                </a:r>
              </a:p>
            </p:txBody>
          </p:sp>
          <p:sp>
            <p:nvSpPr>
              <p:cNvPr id="79" name="CuadroTexto 78">
                <a:extLst>
                  <a:ext uri="{FF2B5EF4-FFF2-40B4-BE49-F238E27FC236}">
                    <a16:creationId xmlns:a16="http://schemas.microsoft.com/office/drawing/2014/main" id="{E306E6F8-4EB1-3081-A962-09594A98A3C2}"/>
                  </a:ext>
                </a:extLst>
              </p:cNvPr>
              <p:cNvSpPr txBox="1"/>
              <p:nvPr/>
            </p:nvSpPr>
            <p:spPr>
              <a:xfrm>
                <a:off x="5288488" y="3362141"/>
                <a:ext cx="250637" cy="200752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>
                  <a:lnSpc>
                    <a:spcPct val="130000"/>
                  </a:lnSpc>
                  <a:spcBef>
                    <a:spcPts val="1000"/>
                  </a:spcBef>
                </a:pPr>
                <a:r>
                  <a:rPr lang="es-AR" sz="70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+4%</a:t>
                </a:r>
              </a:p>
            </p:txBody>
          </p:sp>
          <p:sp>
            <p:nvSpPr>
              <p:cNvPr id="81" name="CuadroTexto 80">
                <a:extLst>
                  <a:ext uri="{FF2B5EF4-FFF2-40B4-BE49-F238E27FC236}">
                    <a16:creationId xmlns:a16="http://schemas.microsoft.com/office/drawing/2014/main" id="{436B0DA3-95B3-FE84-97E6-66AA93B254DE}"/>
                  </a:ext>
                </a:extLst>
              </p:cNvPr>
              <p:cNvSpPr txBox="1"/>
              <p:nvPr/>
            </p:nvSpPr>
            <p:spPr>
              <a:xfrm>
                <a:off x="5399373" y="2651948"/>
                <a:ext cx="244225" cy="200752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>
                  <a:lnSpc>
                    <a:spcPct val="130000"/>
                  </a:lnSpc>
                  <a:spcBef>
                    <a:spcPts val="1000"/>
                  </a:spcBef>
                </a:pPr>
                <a:r>
                  <a:rPr lang="es-AR" sz="70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+5%</a:t>
                </a:r>
              </a:p>
            </p:txBody>
          </p:sp>
          <p:sp>
            <p:nvSpPr>
              <p:cNvPr id="83" name="CuadroTexto 82">
                <a:extLst>
                  <a:ext uri="{FF2B5EF4-FFF2-40B4-BE49-F238E27FC236}">
                    <a16:creationId xmlns:a16="http://schemas.microsoft.com/office/drawing/2014/main" id="{A054F848-1250-4E6E-7F71-6BDA3D3950C8}"/>
                  </a:ext>
                </a:extLst>
              </p:cNvPr>
              <p:cNvSpPr txBox="1"/>
              <p:nvPr/>
            </p:nvSpPr>
            <p:spPr>
              <a:xfrm>
                <a:off x="5979234" y="2222523"/>
                <a:ext cx="289109" cy="200752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>
                  <a:lnSpc>
                    <a:spcPct val="130000"/>
                  </a:lnSpc>
                  <a:spcBef>
                    <a:spcPts val="1000"/>
                  </a:spcBef>
                </a:pPr>
                <a:r>
                  <a:rPr lang="es-AR" sz="700">
                    <a:solidFill>
                      <a:schemeClr val="bg1">
                        <a:lumMod val="25000"/>
                      </a:schemeClr>
                    </a:solidFill>
                    <a:latin typeface="Pulso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+10%</a:t>
                </a:r>
              </a:p>
            </p:txBody>
          </p:sp>
        </p:grpSp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6F2A23FA-3B93-C907-F278-F44D3A83D460}"/>
                </a:ext>
              </a:extLst>
            </p:cNvPr>
            <p:cNvSpPr txBox="1"/>
            <p:nvPr/>
          </p:nvSpPr>
          <p:spPr>
            <a:xfrm>
              <a:off x="7508562" y="2960483"/>
              <a:ext cx="229230" cy="318924"/>
            </a:xfrm>
            <a:prstGeom prst="rect">
              <a:avLst/>
            </a:prstGeom>
            <a:solidFill>
              <a:srgbClr val="F0F0F0"/>
            </a:solidFill>
          </p:spPr>
          <p:txBody>
            <a:bodyPr wrap="none" lIns="0" tIns="36000" rIns="0" bIns="36000" rtlCol="0">
              <a:sp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AR" sz="800">
                  <a:solidFill>
                    <a:srgbClr val="01B7EC"/>
                  </a:solidFill>
                  <a:latin typeface="Pulso" pitchFamily="2" charset="0"/>
                </a:rPr>
                <a:t>Core</a:t>
              </a:r>
              <a:br>
                <a:rPr lang="es-AR" sz="800">
                  <a:solidFill>
                    <a:srgbClr val="01B7EC"/>
                  </a:solidFill>
                  <a:latin typeface="Pulso" pitchFamily="2" charset="0"/>
                </a:rPr>
              </a:br>
              <a:r>
                <a:rPr lang="es-AR" sz="800" b="1">
                  <a:solidFill>
                    <a:srgbClr val="01B7EC"/>
                  </a:solidFill>
                  <a:latin typeface="Pulso" pitchFamily="2" charset="0"/>
                </a:rPr>
                <a:t>68%</a:t>
              </a:r>
            </a:p>
          </p:txBody>
        </p:sp>
        <p:sp>
          <p:nvSpPr>
            <p:cNvPr id="12" name="CuadroTexto 11">
              <a:extLst>
                <a:ext uri="{FF2B5EF4-FFF2-40B4-BE49-F238E27FC236}">
                  <a16:creationId xmlns:a16="http://schemas.microsoft.com/office/drawing/2014/main" id="{0496A237-7A97-6A07-1657-ED8C0CF78E5D}"/>
                </a:ext>
              </a:extLst>
            </p:cNvPr>
            <p:cNvSpPr txBox="1"/>
            <p:nvPr/>
          </p:nvSpPr>
          <p:spPr>
            <a:xfrm>
              <a:off x="4933505" y="2960483"/>
              <a:ext cx="238847" cy="318924"/>
            </a:xfrm>
            <a:prstGeom prst="rect">
              <a:avLst/>
            </a:prstGeom>
            <a:solidFill>
              <a:srgbClr val="F0F0F0"/>
            </a:solidFill>
          </p:spPr>
          <p:txBody>
            <a:bodyPr wrap="none" lIns="0" tIns="36000" rIns="0" bIns="36000" rtlCol="0">
              <a:sp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AR" sz="800" err="1">
                  <a:solidFill>
                    <a:srgbClr val="AA03B8"/>
                  </a:solidFill>
                  <a:latin typeface="Pulso" pitchFamily="2" charset="0"/>
                </a:rPr>
                <a:t>Tech</a:t>
              </a:r>
              <a:br>
                <a:rPr lang="es-AR" sz="800">
                  <a:solidFill>
                    <a:srgbClr val="AA03B8"/>
                  </a:solidFill>
                  <a:latin typeface="Pulso" pitchFamily="2" charset="0"/>
                </a:rPr>
              </a:br>
              <a:r>
                <a:rPr lang="es-AR" sz="800" b="1">
                  <a:solidFill>
                    <a:srgbClr val="AA03B8"/>
                  </a:solidFill>
                  <a:latin typeface="Pulso" pitchFamily="2" charset="0"/>
                </a:rPr>
                <a:t>32%</a:t>
              </a:r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0ADCDAB4-956A-04D1-38A6-995D5CF96A6C}"/>
              </a:ext>
            </a:extLst>
          </p:cNvPr>
          <p:cNvSpPr txBox="1">
            <a:spLocks/>
          </p:cNvSpPr>
          <p:nvPr/>
        </p:nvSpPr>
        <p:spPr>
          <a:xfrm>
            <a:off x="540657" y="606141"/>
            <a:ext cx="5012270" cy="718145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tx2"/>
                </a:solidFill>
                <a:latin typeface="Pulso Light" pitchFamily="2" charset="0"/>
              </a:rPr>
              <a:t>Composición de Ingresos en USDMM</a:t>
            </a:r>
          </a:p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bg2"/>
                </a:solidFill>
                <a:latin typeface="Pulso Light" pitchFamily="2" charset="0"/>
              </a:rPr>
              <a:t>Evolución 2025/26</a:t>
            </a:r>
          </a:p>
        </p:txBody>
      </p:sp>
      <p:sp>
        <p:nvSpPr>
          <p:cNvPr id="76" name="CuadroTexto 75">
            <a:extLst>
              <a:ext uri="{FF2B5EF4-FFF2-40B4-BE49-F238E27FC236}">
                <a16:creationId xmlns:a16="http://schemas.microsoft.com/office/drawing/2014/main" id="{B85D98F7-CAB4-17DA-6FAF-442F7A8E1DAA}"/>
              </a:ext>
            </a:extLst>
          </p:cNvPr>
          <p:cNvSpPr txBox="1"/>
          <p:nvPr/>
        </p:nvSpPr>
        <p:spPr>
          <a:xfrm>
            <a:off x="8180893" y="3922732"/>
            <a:ext cx="669408" cy="691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r" defTabSz="91433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500" u="none" strike="noStrike" kern="1200" cap="none" spc="0" normalizeH="0" baseline="0" noProof="0">
                <a:ln>
                  <a:noFill/>
                </a:ln>
                <a:solidFill>
                  <a:srgbClr val="24272A"/>
                </a:solidFill>
                <a:effectLst/>
                <a:uLnTx/>
                <a:uFillTx/>
                <a:latin typeface="Pulso Light" pitchFamily="2" charset="0"/>
                <a:cs typeface="+mn-cs"/>
              </a:rPr>
              <a:t>Nota 1: Ciber incluye DSWAN</a:t>
            </a:r>
            <a:br>
              <a:rPr kumimoji="0" lang="es-AR" sz="500" u="none" strike="noStrike" kern="1200" cap="none" spc="0" normalizeH="0" baseline="0" noProof="0">
                <a:ln>
                  <a:noFill/>
                </a:ln>
                <a:solidFill>
                  <a:srgbClr val="24272A"/>
                </a:solidFill>
                <a:effectLst/>
                <a:uLnTx/>
                <a:uFillTx/>
                <a:latin typeface="Pulso Light" pitchFamily="2" charset="0"/>
                <a:cs typeface="+mn-cs"/>
              </a:rPr>
            </a:br>
            <a:r>
              <a:rPr kumimoji="0" lang="es-AR" sz="500" u="none" strike="noStrike" kern="1200" cap="none" spc="0" normalizeH="0" baseline="0" noProof="0">
                <a:ln>
                  <a:noFill/>
                </a:ln>
                <a:solidFill>
                  <a:srgbClr val="24272A"/>
                </a:solidFill>
                <a:effectLst/>
                <a:uLnTx/>
                <a:uFillTx/>
                <a:latin typeface="Pulso Light" pitchFamily="2" charset="0"/>
                <a:cs typeface="+mn-cs"/>
              </a:rPr>
              <a:t>Nota 2: TMA no incluye servicios Core de SMB/SOHO e incluye conectividad Mayorista.</a:t>
            </a:r>
          </a:p>
          <a:p>
            <a:pPr marL="0" marR="0" lvl="0" indent="0" algn="r" defTabSz="91433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500" u="none" strike="noStrike" kern="1200" cap="none" spc="0" normalizeH="0" baseline="0" noProof="0">
              <a:ln>
                <a:noFill/>
              </a:ln>
              <a:solidFill>
                <a:srgbClr val="24272A"/>
              </a:solidFill>
              <a:effectLst/>
              <a:uLnTx/>
              <a:uFillTx/>
              <a:latin typeface="Pulso Light" pitchFamily="2" charset="0"/>
              <a:cs typeface="+mn-cs"/>
            </a:endParaRPr>
          </a:p>
        </p:txBody>
      </p:sp>
      <p:grpSp>
        <p:nvGrpSpPr>
          <p:cNvPr id="108" name="Gráfico 61">
            <a:extLst>
              <a:ext uri="{FF2B5EF4-FFF2-40B4-BE49-F238E27FC236}">
                <a16:creationId xmlns:a16="http://schemas.microsoft.com/office/drawing/2014/main" id="{F816DC99-033F-1796-CA32-2270801B60A1}"/>
              </a:ext>
            </a:extLst>
          </p:cNvPr>
          <p:cNvGrpSpPr>
            <a:grpSpLocks noChangeAspect="1"/>
          </p:cNvGrpSpPr>
          <p:nvPr/>
        </p:nvGrpSpPr>
        <p:grpSpPr>
          <a:xfrm>
            <a:off x="6890929" y="4246904"/>
            <a:ext cx="1079928" cy="258648"/>
            <a:chOff x="0" y="1477046"/>
            <a:chExt cx="7770161" cy="1860995"/>
          </a:xfrm>
          <a:solidFill>
            <a:srgbClr val="0066FF"/>
          </a:solidFill>
        </p:grpSpPr>
        <p:grpSp>
          <p:nvGrpSpPr>
            <p:cNvPr id="109" name="Gráfico 61">
              <a:extLst>
                <a:ext uri="{FF2B5EF4-FFF2-40B4-BE49-F238E27FC236}">
                  <a16:creationId xmlns:a16="http://schemas.microsoft.com/office/drawing/2014/main" id="{2D1BA218-2E83-DEC0-6D1C-B572C7494386}"/>
                </a:ext>
              </a:extLst>
            </p:cNvPr>
            <p:cNvGrpSpPr>
              <a:grpSpLocks/>
            </p:cNvGrpSpPr>
            <p:nvPr/>
          </p:nvGrpSpPr>
          <p:grpSpPr>
            <a:xfrm>
              <a:off x="0" y="1477046"/>
              <a:ext cx="1864779" cy="1860995"/>
              <a:chOff x="0" y="1477046"/>
              <a:chExt cx="1864779" cy="1860995"/>
            </a:xfrm>
            <a:solidFill>
              <a:srgbClr val="0066FF"/>
            </a:solidFill>
          </p:grpSpPr>
          <p:sp>
            <p:nvSpPr>
              <p:cNvPr id="121" name="Forma libre 120">
                <a:extLst>
                  <a:ext uri="{FF2B5EF4-FFF2-40B4-BE49-F238E27FC236}">
                    <a16:creationId xmlns:a16="http://schemas.microsoft.com/office/drawing/2014/main" id="{76E4B787-3993-3CEC-F7FB-F1D67A00F7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0" y="1477046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latin typeface="Pulso" pitchFamily="2" charset="0"/>
                </a:endParaRPr>
              </a:p>
            </p:txBody>
          </p:sp>
          <p:sp>
            <p:nvSpPr>
              <p:cNvPr id="122" name="Forma libre 121">
                <a:extLst>
                  <a:ext uri="{FF2B5EF4-FFF2-40B4-BE49-F238E27FC236}">
                    <a16:creationId xmlns:a16="http://schemas.microsoft.com/office/drawing/2014/main" id="{97667E34-E745-EC75-6A56-F1C83D363F8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54164" y="1477046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latin typeface="Pulso" pitchFamily="2" charset="0"/>
                </a:endParaRPr>
              </a:p>
            </p:txBody>
          </p:sp>
          <p:sp>
            <p:nvSpPr>
              <p:cNvPr id="123" name="Forma libre 122">
                <a:extLst>
                  <a:ext uri="{FF2B5EF4-FFF2-40B4-BE49-F238E27FC236}">
                    <a16:creationId xmlns:a16="http://schemas.microsoft.com/office/drawing/2014/main" id="{B5655939-C1B6-7A70-A306-F8D124E1278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8329" y="1477046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latin typeface="Pulso" pitchFamily="2" charset="0"/>
                </a:endParaRPr>
              </a:p>
            </p:txBody>
          </p:sp>
          <p:sp>
            <p:nvSpPr>
              <p:cNvPr id="124" name="Forma libre 123">
                <a:extLst>
                  <a:ext uri="{FF2B5EF4-FFF2-40B4-BE49-F238E27FC236}">
                    <a16:creationId xmlns:a16="http://schemas.microsoft.com/office/drawing/2014/main" id="{9A0F263A-EC67-4E85-0340-656A95F3258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54164" y="2129883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latin typeface="Pulso" pitchFamily="2" charset="0"/>
                </a:endParaRPr>
              </a:p>
            </p:txBody>
          </p:sp>
          <p:sp>
            <p:nvSpPr>
              <p:cNvPr id="125" name="Forma libre 124">
                <a:extLst>
                  <a:ext uri="{FF2B5EF4-FFF2-40B4-BE49-F238E27FC236}">
                    <a16:creationId xmlns:a16="http://schemas.microsoft.com/office/drawing/2014/main" id="{9C41A7B3-2C65-47F8-7396-803459FD61F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54164" y="2782720"/>
                <a:ext cx="556450" cy="555321"/>
              </a:xfrm>
              <a:custGeom>
                <a:avLst/>
                <a:gdLst>
                  <a:gd name="connsiteX0" fmla="*/ 556450 w 556450"/>
                  <a:gd name="connsiteY0" fmla="*/ 277661 h 555321"/>
                  <a:gd name="connsiteX1" fmla="*/ 278225 w 556450"/>
                  <a:gd name="connsiteY1" fmla="*/ 0 h 555321"/>
                  <a:gd name="connsiteX2" fmla="*/ 0 w 556450"/>
                  <a:gd name="connsiteY2" fmla="*/ 277661 h 555321"/>
                  <a:gd name="connsiteX3" fmla="*/ 278225 w 556450"/>
                  <a:gd name="connsiteY3" fmla="*/ 555321 h 555321"/>
                  <a:gd name="connsiteX4" fmla="*/ 556450 w 556450"/>
                  <a:gd name="connsiteY4" fmla="*/ 277661 h 55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50" h="555321">
                    <a:moveTo>
                      <a:pt x="556450" y="277661"/>
                    </a:moveTo>
                    <a:cubicBezTo>
                      <a:pt x="556450" y="124315"/>
                      <a:pt x="431883" y="0"/>
                      <a:pt x="278225" y="0"/>
                    </a:cubicBezTo>
                    <a:cubicBezTo>
                      <a:pt x="124567" y="0"/>
                      <a:pt x="0" y="124315"/>
                      <a:pt x="0" y="277661"/>
                    </a:cubicBezTo>
                    <a:cubicBezTo>
                      <a:pt x="0" y="431007"/>
                      <a:pt x="124567" y="555321"/>
                      <a:pt x="278225" y="555321"/>
                    </a:cubicBezTo>
                    <a:cubicBezTo>
                      <a:pt x="431883" y="555321"/>
                      <a:pt x="556450" y="431007"/>
                      <a:pt x="556450" y="2776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latin typeface="Pulso" pitchFamily="2" charset="0"/>
                </a:endParaRPr>
              </a:p>
            </p:txBody>
          </p:sp>
        </p:grpSp>
        <p:grpSp>
          <p:nvGrpSpPr>
            <p:cNvPr id="110" name="Gráfico 61">
              <a:extLst>
                <a:ext uri="{FF2B5EF4-FFF2-40B4-BE49-F238E27FC236}">
                  <a16:creationId xmlns:a16="http://schemas.microsoft.com/office/drawing/2014/main" id="{FBB00061-5294-53F6-918D-A2AF52E89AAB}"/>
                </a:ext>
              </a:extLst>
            </p:cNvPr>
            <p:cNvGrpSpPr>
              <a:grpSpLocks/>
            </p:cNvGrpSpPr>
            <p:nvPr/>
          </p:nvGrpSpPr>
          <p:grpSpPr>
            <a:xfrm>
              <a:off x="2198947" y="1998124"/>
              <a:ext cx="5571214" cy="914865"/>
              <a:chOff x="2198947" y="1998124"/>
              <a:chExt cx="5571214" cy="914865"/>
            </a:xfrm>
            <a:solidFill>
              <a:srgbClr val="0066FF"/>
            </a:solidFill>
          </p:grpSpPr>
          <p:sp>
            <p:nvSpPr>
              <p:cNvPr id="111" name="Forma libre 110">
                <a:extLst>
                  <a:ext uri="{FF2B5EF4-FFF2-40B4-BE49-F238E27FC236}">
                    <a16:creationId xmlns:a16="http://schemas.microsoft.com/office/drawing/2014/main" id="{40D7F5DF-CA16-269D-30AC-50560D3CBC6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198947" y="2036833"/>
                <a:ext cx="678779" cy="862757"/>
              </a:xfrm>
              <a:custGeom>
                <a:avLst/>
                <a:gdLst>
                  <a:gd name="connsiteX0" fmla="*/ 258831 w 678779"/>
                  <a:gd name="connsiteY0" fmla="*/ 154091 h 862757"/>
                  <a:gd name="connsiteX1" fmla="*/ 0 w 678779"/>
                  <a:gd name="connsiteY1" fmla="*/ 154091 h 862757"/>
                  <a:gd name="connsiteX2" fmla="*/ 0 w 678779"/>
                  <a:gd name="connsiteY2" fmla="*/ 0 h 862757"/>
                  <a:gd name="connsiteX3" fmla="*/ 678780 w 678779"/>
                  <a:gd name="connsiteY3" fmla="*/ 0 h 862757"/>
                  <a:gd name="connsiteX4" fmla="*/ 678780 w 678779"/>
                  <a:gd name="connsiteY4" fmla="*/ 154091 h 862757"/>
                  <a:gd name="connsiteX5" fmla="*/ 419202 w 678779"/>
                  <a:gd name="connsiteY5" fmla="*/ 154091 h 862757"/>
                  <a:gd name="connsiteX6" fmla="*/ 419202 w 678779"/>
                  <a:gd name="connsiteY6" fmla="*/ 862758 h 862757"/>
                  <a:gd name="connsiteX7" fmla="*/ 258831 w 678779"/>
                  <a:gd name="connsiteY7" fmla="*/ 862758 h 862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8779" h="862757">
                    <a:moveTo>
                      <a:pt x="258831" y="154091"/>
                    </a:moveTo>
                    <a:lnTo>
                      <a:pt x="0" y="154091"/>
                    </a:lnTo>
                    <a:lnTo>
                      <a:pt x="0" y="0"/>
                    </a:lnTo>
                    <a:lnTo>
                      <a:pt x="678780" y="0"/>
                    </a:lnTo>
                    <a:lnTo>
                      <a:pt x="678780" y="154091"/>
                    </a:lnTo>
                    <a:lnTo>
                      <a:pt x="419202" y="154091"/>
                    </a:lnTo>
                    <a:lnTo>
                      <a:pt x="419202" y="862758"/>
                    </a:lnTo>
                    <a:lnTo>
                      <a:pt x="258831" y="862758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latin typeface="Pulso" pitchFamily="2" charset="0"/>
                </a:endParaRPr>
              </a:p>
            </p:txBody>
          </p:sp>
          <p:sp>
            <p:nvSpPr>
              <p:cNvPr id="112" name="Forma libre 111">
                <a:extLst>
                  <a:ext uri="{FF2B5EF4-FFF2-40B4-BE49-F238E27FC236}">
                    <a16:creationId xmlns:a16="http://schemas.microsoft.com/office/drawing/2014/main" id="{59DC4107-2B36-EDCE-C0CF-0C1E0CBBD2E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809103" y="2258664"/>
                <a:ext cx="629549" cy="653581"/>
              </a:xfrm>
              <a:custGeom>
                <a:avLst/>
                <a:gdLst>
                  <a:gd name="connsiteX0" fmla="*/ 475146 w 629549"/>
                  <a:gd name="connsiteY0" fmla="*/ 271705 h 653581"/>
                  <a:gd name="connsiteX1" fmla="*/ 320742 w 629549"/>
                  <a:gd name="connsiteY1" fmla="*/ 130270 h 653581"/>
                  <a:gd name="connsiteX2" fmla="*/ 153658 w 629549"/>
                  <a:gd name="connsiteY2" fmla="*/ 271705 h 653581"/>
                  <a:gd name="connsiteX3" fmla="*/ 475146 w 629549"/>
                  <a:gd name="connsiteY3" fmla="*/ 271705 h 653581"/>
                  <a:gd name="connsiteX4" fmla="*/ 610902 w 629549"/>
                  <a:gd name="connsiteY4" fmla="*/ 456316 h 653581"/>
                  <a:gd name="connsiteX5" fmla="*/ 320742 w 629549"/>
                  <a:gd name="connsiteY5" fmla="*/ 653582 h 653581"/>
                  <a:gd name="connsiteX6" fmla="*/ 0 w 629549"/>
                  <a:gd name="connsiteY6" fmla="*/ 326791 h 653581"/>
                  <a:gd name="connsiteX7" fmla="*/ 320742 w 629549"/>
                  <a:gd name="connsiteY7" fmla="*/ 0 h 653581"/>
                  <a:gd name="connsiteX8" fmla="*/ 629549 w 629549"/>
                  <a:gd name="connsiteY8" fmla="*/ 314136 h 653581"/>
                  <a:gd name="connsiteX9" fmla="*/ 625820 w 629549"/>
                  <a:gd name="connsiteY9" fmla="*/ 358800 h 653581"/>
                  <a:gd name="connsiteX10" fmla="*/ 623582 w 629549"/>
                  <a:gd name="connsiteY10" fmla="*/ 375921 h 653581"/>
                  <a:gd name="connsiteX11" fmla="*/ 154404 w 629549"/>
                  <a:gd name="connsiteY11" fmla="*/ 375921 h 653581"/>
                  <a:gd name="connsiteX12" fmla="*/ 321488 w 629549"/>
                  <a:gd name="connsiteY12" fmla="*/ 524056 h 653581"/>
                  <a:gd name="connsiteX13" fmla="*/ 451277 w 629549"/>
                  <a:gd name="connsiteY13" fmla="*/ 456316 h 653581"/>
                  <a:gd name="connsiteX14" fmla="*/ 610902 w 629549"/>
                  <a:gd name="connsiteY14" fmla="*/ 456316 h 65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29549" h="653581">
                    <a:moveTo>
                      <a:pt x="475146" y="271705"/>
                    </a:moveTo>
                    <a:cubicBezTo>
                      <a:pt x="461719" y="191310"/>
                      <a:pt x="408760" y="130270"/>
                      <a:pt x="320742" y="130270"/>
                    </a:cubicBezTo>
                    <a:cubicBezTo>
                      <a:pt x="226757" y="130270"/>
                      <a:pt x="172306" y="192055"/>
                      <a:pt x="153658" y="271705"/>
                    </a:cubicBezTo>
                    <a:lnTo>
                      <a:pt x="475146" y="271705"/>
                    </a:lnTo>
                    <a:close/>
                    <a:moveTo>
                      <a:pt x="610902" y="456316"/>
                    </a:moveTo>
                    <a:cubicBezTo>
                      <a:pt x="597475" y="505446"/>
                      <a:pt x="519155" y="653582"/>
                      <a:pt x="320742" y="653582"/>
                    </a:cubicBezTo>
                    <a:cubicBezTo>
                      <a:pt x="135756" y="653582"/>
                      <a:pt x="0" y="518101"/>
                      <a:pt x="0" y="326791"/>
                    </a:cubicBezTo>
                    <a:cubicBezTo>
                      <a:pt x="0" y="135480"/>
                      <a:pt x="135756" y="0"/>
                      <a:pt x="320742" y="0"/>
                    </a:cubicBezTo>
                    <a:cubicBezTo>
                      <a:pt x="493793" y="0"/>
                      <a:pt x="629549" y="135480"/>
                      <a:pt x="629549" y="314136"/>
                    </a:cubicBezTo>
                    <a:cubicBezTo>
                      <a:pt x="629549" y="332746"/>
                      <a:pt x="627312" y="347634"/>
                      <a:pt x="625820" y="358800"/>
                    </a:cubicBezTo>
                    <a:lnTo>
                      <a:pt x="623582" y="375921"/>
                    </a:lnTo>
                    <a:lnTo>
                      <a:pt x="154404" y="375921"/>
                    </a:lnTo>
                    <a:cubicBezTo>
                      <a:pt x="167830" y="463760"/>
                      <a:pt x="233470" y="524056"/>
                      <a:pt x="321488" y="524056"/>
                    </a:cubicBezTo>
                    <a:cubicBezTo>
                      <a:pt x="394587" y="524056"/>
                      <a:pt x="438596" y="482370"/>
                      <a:pt x="451277" y="456316"/>
                    </a:cubicBezTo>
                    <a:lnTo>
                      <a:pt x="610902" y="456316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latin typeface="Pulso" pitchFamily="2" charset="0"/>
                </a:endParaRPr>
              </a:p>
            </p:txBody>
          </p:sp>
          <p:sp>
            <p:nvSpPr>
              <p:cNvPr id="113" name="Forma libre 112">
                <a:extLst>
                  <a:ext uri="{FF2B5EF4-FFF2-40B4-BE49-F238E27FC236}">
                    <a16:creationId xmlns:a16="http://schemas.microsoft.com/office/drawing/2014/main" id="{60F6AA28-82CB-F994-EDA7-A18AFDE5184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531146" y="2036833"/>
                <a:ext cx="154403" cy="862757"/>
              </a:xfrm>
              <a:custGeom>
                <a:avLst/>
                <a:gdLst>
                  <a:gd name="connsiteX0" fmla="*/ 0 w 154403"/>
                  <a:gd name="connsiteY0" fmla="*/ 0 h 862757"/>
                  <a:gd name="connsiteX1" fmla="*/ 154404 w 154403"/>
                  <a:gd name="connsiteY1" fmla="*/ 0 h 862757"/>
                  <a:gd name="connsiteX2" fmla="*/ 154404 w 154403"/>
                  <a:gd name="connsiteY2" fmla="*/ 862758 h 862757"/>
                  <a:gd name="connsiteX3" fmla="*/ 0 w 154403"/>
                  <a:gd name="connsiteY3" fmla="*/ 862758 h 862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4403" h="862757">
                    <a:moveTo>
                      <a:pt x="0" y="0"/>
                    </a:moveTo>
                    <a:lnTo>
                      <a:pt x="154404" y="0"/>
                    </a:lnTo>
                    <a:lnTo>
                      <a:pt x="154404" y="862758"/>
                    </a:lnTo>
                    <a:lnTo>
                      <a:pt x="0" y="862758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latin typeface="Pulso" pitchFamily="2" charset="0"/>
                </a:endParaRPr>
              </a:p>
            </p:txBody>
          </p:sp>
          <p:sp>
            <p:nvSpPr>
              <p:cNvPr id="114" name="Forma libre 113">
                <a:extLst>
                  <a:ext uri="{FF2B5EF4-FFF2-40B4-BE49-F238E27FC236}">
                    <a16:creationId xmlns:a16="http://schemas.microsoft.com/office/drawing/2014/main" id="{BC522D38-0F5D-AA14-9251-2502F513A0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778788" y="2258664"/>
                <a:ext cx="629549" cy="653581"/>
              </a:xfrm>
              <a:custGeom>
                <a:avLst/>
                <a:gdLst>
                  <a:gd name="connsiteX0" fmla="*/ 474400 w 629549"/>
                  <a:gd name="connsiteY0" fmla="*/ 271705 h 653581"/>
                  <a:gd name="connsiteX1" fmla="*/ 319996 w 629549"/>
                  <a:gd name="connsiteY1" fmla="*/ 130270 h 653581"/>
                  <a:gd name="connsiteX2" fmla="*/ 152912 w 629549"/>
                  <a:gd name="connsiteY2" fmla="*/ 271705 h 653581"/>
                  <a:gd name="connsiteX3" fmla="*/ 474400 w 629549"/>
                  <a:gd name="connsiteY3" fmla="*/ 271705 h 653581"/>
                  <a:gd name="connsiteX4" fmla="*/ 610902 w 629549"/>
                  <a:gd name="connsiteY4" fmla="*/ 456316 h 653581"/>
                  <a:gd name="connsiteX5" fmla="*/ 320742 w 629549"/>
                  <a:gd name="connsiteY5" fmla="*/ 653582 h 653581"/>
                  <a:gd name="connsiteX6" fmla="*/ 0 w 629549"/>
                  <a:gd name="connsiteY6" fmla="*/ 326791 h 653581"/>
                  <a:gd name="connsiteX7" fmla="*/ 320742 w 629549"/>
                  <a:gd name="connsiteY7" fmla="*/ 0 h 653581"/>
                  <a:gd name="connsiteX8" fmla="*/ 629549 w 629549"/>
                  <a:gd name="connsiteY8" fmla="*/ 314136 h 653581"/>
                  <a:gd name="connsiteX9" fmla="*/ 625820 w 629549"/>
                  <a:gd name="connsiteY9" fmla="*/ 358800 h 653581"/>
                  <a:gd name="connsiteX10" fmla="*/ 623582 w 629549"/>
                  <a:gd name="connsiteY10" fmla="*/ 375921 h 653581"/>
                  <a:gd name="connsiteX11" fmla="*/ 154404 w 629549"/>
                  <a:gd name="connsiteY11" fmla="*/ 375921 h 653581"/>
                  <a:gd name="connsiteX12" fmla="*/ 321488 w 629549"/>
                  <a:gd name="connsiteY12" fmla="*/ 524056 h 653581"/>
                  <a:gd name="connsiteX13" fmla="*/ 451276 w 629549"/>
                  <a:gd name="connsiteY13" fmla="*/ 456316 h 653581"/>
                  <a:gd name="connsiteX14" fmla="*/ 610902 w 629549"/>
                  <a:gd name="connsiteY14" fmla="*/ 456316 h 65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29549" h="653581">
                    <a:moveTo>
                      <a:pt x="474400" y="271705"/>
                    </a:moveTo>
                    <a:cubicBezTo>
                      <a:pt x="460974" y="191310"/>
                      <a:pt x="408014" y="130270"/>
                      <a:pt x="319996" y="130270"/>
                    </a:cubicBezTo>
                    <a:cubicBezTo>
                      <a:pt x="226011" y="130270"/>
                      <a:pt x="171559" y="192055"/>
                      <a:pt x="152912" y="271705"/>
                    </a:cubicBezTo>
                    <a:lnTo>
                      <a:pt x="474400" y="271705"/>
                    </a:lnTo>
                    <a:close/>
                    <a:moveTo>
                      <a:pt x="610902" y="456316"/>
                    </a:moveTo>
                    <a:cubicBezTo>
                      <a:pt x="597475" y="505446"/>
                      <a:pt x="519155" y="653582"/>
                      <a:pt x="320742" y="653582"/>
                    </a:cubicBezTo>
                    <a:cubicBezTo>
                      <a:pt x="135756" y="653582"/>
                      <a:pt x="0" y="518101"/>
                      <a:pt x="0" y="326791"/>
                    </a:cubicBezTo>
                    <a:cubicBezTo>
                      <a:pt x="0" y="135480"/>
                      <a:pt x="135756" y="0"/>
                      <a:pt x="320742" y="0"/>
                    </a:cubicBezTo>
                    <a:cubicBezTo>
                      <a:pt x="493793" y="0"/>
                      <a:pt x="629549" y="135480"/>
                      <a:pt x="629549" y="314136"/>
                    </a:cubicBezTo>
                    <a:cubicBezTo>
                      <a:pt x="629549" y="332746"/>
                      <a:pt x="627312" y="347634"/>
                      <a:pt x="625820" y="358800"/>
                    </a:cubicBezTo>
                    <a:lnTo>
                      <a:pt x="623582" y="375921"/>
                    </a:lnTo>
                    <a:lnTo>
                      <a:pt x="154404" y="375921"/>
                    </a:lnTo>
                    <a:cubicBezTo>
                      <a:pt x="167830" y="463760"/>
                      <a:pt x="233471" y="524056"/>
                      <a:pt x="321488" y="524056"/>
                    </a:cubicBezTo>
                    <a:cubicBezTo>
                      <a:pt x="394587" y="524056"/>
                      <a:pt x="438596" y="482370"/>
                      <a:pt x="451276" y="456316"/>
                    </a:cubicBezTo>
                    <a:lnTo>
                      <a:pt x="610902" y="456316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latin typeface="Pulso" pitchFamily="2" charset="0"/>
                </a:endParaRPr>
              </a:p>
            </p:txBody>
          </p:sp>
          <p:sp>
            <p:nvSpPr>
              <p:cNvPr id="115" name="Forma libre 114">
                <a:extLst>
                  <a:ext uri="{FF2B5EF4-FFF2-40B4-BE49-F238E27FC236}">
                    <a16:creationId xmlns:a16="http://schemas.microsoft.com/office/drawing/2014/main" id="{A1A6C985-45F1-958D-A604-35F268CB290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444888" y="2024923"/>
                <a:ext cx="395333" cy="875412"/>
              </a:xfrm>
              <a:custGeom>
                <a:avLst/>
                <a:gdLst>
                  <a:gd name="connsiteX0" fmla="*/ 105173 w 395333"/>
                  <a:gd name="connsiteY0" fmla="*/ 394531 h 875412"/>
                  <a:gd name="connsiteX1" fmla="*/ 0 w 395333"/>
                  <a:gd name="connsiteY1" fmla="*/ 394531 h 875412"/>
                  <a:gd name="connsiteX2" fmla="*/ 0 w 395333"/>
                  <a:gd name="connsiteY2" fmla="*/ 246396 h 875412"/>
                  <a:gd name="connsiteX3" fmla="*/ 105173 w 395333"/>
                  <a:gd name="connsiteY3" fmla="*/ 246396 h 875412"/>
                  <a:gd name="connsiteX4" fmla="*/ 105173 w 395333"/>
                  <a:gd name="connsiteY4" fmla="*/ 154091 h 875412"/>
                  <a:gd name="connsiteX5" fmla="*/ 259577 w 395333"/>
                  <a:gd name="connsiteY5" fmla="*/ 0 h 875412"/>
                  <a:gd name="connsiteX6" fmla="*/ 395333 w 395333"/>
                  <a:gd name="connsiteY6" fmla="*/ 0 h 875412"/>
                  <a:gd name="connsiteX7" fmla="*/ 395333 w 395333"/>
                  <a:gd name="connsiteY7" fmla="*/ 135481 h 875412"/>
                  <a:gd name="connsiteX8" fmla="*/ 302840 w 395333"/>
                  <a:gd name="connsiteY8" fmla="*/ 135481 h 875412"/>
                  <a:gd name="connsiteX9" fmla="*/ 259577 w 395333"/>
                  <a:gd name="connsiteY9" fmla="*/ 178656 h 875412"/>
                  <a:gd name="connsiteX10" fmla="*/ 259577 w 395333"/>
                  <a:gd name="connsiteY10" fmla="*/ 246396 h 875412"/>
                  <a:gd name="connsiteX11" fmla="*/ 395333 w 395333"/>
                  <a:gd name="connsiteY11" fmla="*/ 246396 h 875412"/>
                  <a:gd name="connsiteX12" fmla="*/ 395333 w 395333"/>
                  <a:gd name="connsiteY12" fmla="*/ 394531 h 875412"/>
                  <a:gd name="connsiteX13" fmla="*/ 259577 w 395333"/>
                  <a:gd name="connsiteY13" fmla="*/ 394531 h 875412"/>
                  <a:gd name="connsiteX14" fmla="*/ 259577 w 395333"/>
                  <a:gd name="connsiteY14" fmla="*/ 875413 h 875412"/>
                  <a:gd name="connsiteX15" fmla="*/ 105173 w 395333"/>
                  <a:gd name="connsiteY15" fmla="*/ 875413 h 875412"/>
                  <a:gd name="connsiteX16" fmla="*/ 105173 w 395333"/>
                  <a:gd name="connsiteY16" fmla="*/ 394531 h 875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95333" h="875412">
                    <a:moveTo>
                      <a:pt x="105173" y="394531"/>
                    </a:moveTo>
                    <a:lnTo>
                      <a:pt x="0" y="394531"/>
                    </a:lnTo>
                    <a:lnTo>
                      <a:pt x="0" y="246396"/>
                    </a:lnTo>
                    <a:lnTo>
                      <a:pt x="105173" y="246396"/>
                    </a:lnTo>
                    <a:lnTo>
                      <a:pt x="105173" y="154091"/>
                    </a:lnTo>
                    <a:cubicBezTo>
                      <a:pt x="105173" y="60296"/>
                      <a:pt x="165592" y="0"/>
                      <a:pt x="259577" y="0"/>
                    </a:cubicBezTo>
                    <a:lnTo>
                      <a:pt x="395333" y="0"/>
                    </a:lnTo>
                    <a:lnTo>
                      <a:pt x="395333" y="135481"/>
                    </a:lnTo>
                    <a:lnTo>
                      <a:pt x="302840" y="135481"/>
                    </a:lnTo>
                    <a:cubicBezTo>
                      <a:pt x="278225" y="135481"/>
                      <a:pt x="259577" y="154091"/>
                      <a:pt x="259577" y="178656"/>
                    </a:cubicBezTo>
                    <a:lnTo>
                      <a:pt x="259577" y="246396"/>
                    </a:lnTo>
                    <a:lnTo>
                      <a:pt x="395333" y="246396"/>
                    </a:lnTo>
                    <a:lnTo>
                      <a:pt x="395333" y="394531"/>
                    </a:lnTo>
                    <a:lnTo>
                      <a:pt x="259577" y="394531"/>
                    </a:lnTo>
                    <a:lnTo>
                      <a:pt x="259577" y="875413"/>
                    </a:lnTo>
                    <a:lnTo>
                      <a:pt x="105173" y="875413"/>
                    </a:lnTo>
                    <a:lnTo>
                      <a:pt x="105173" y="394531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latin typeface="Pulso" pitchFamily="2" charset="0"/>
                </a:endParaRPr>
              </a:p>
            </p:txBody>
          </p:sp>
          <p:sp>
            <p:nvSpPr>
              <p:cNvPr id="116" name="Forma libre 115">
                <a:extLst>
                  <a:ext uri="{FF2B5EF4-FFF2-40B4-BE49-F238E27FC236}">
                    <a16:creationId xmlns:a16="http://schemas.microsoft.com/office/drawing/2014/main" id="{5D781401-B4D1-D1B4-2C97-F60211FF478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98067" y="2258664"/>
                <a:ext cx="580319" cy="640927"/>
              </a:xfrm>
              <a:custGeom>
                <a:avLst/>
                <a:gdLst>
                  <a:gd name="connsiteX0" fmla="*/ 0 w 580319"/>
                  <a:gd name="connsiteY0" fmla="*/ 12655 h 640927"/>
                  <a:gd name="connsiteX1" fmla="*/ 141723 w 580319"/>
                  <a:gd name="connsiteY1" fmla="*/ 12655 h 640927"/>
                  <a:gd name="connsiteX2" fmla="*/ 154404 w 580319"/>
                  <a:gd name="connsiteY2" fmla="*/ 74440 h 640927"/>
                  <a:gd name="connsiteX3" fmla="*/ 160371 w 580319"/>
                  <a:gd name="connsiteY3" fmla="*/ 74440 h 640927"/>
                  <a:gd name="connsiteX4" fmla="*/ 202142 w 580319"/>
                  <a:gd name="connsiteY4" fmla="*/ 37220 h 640927"/>
                  <a:gd name="connsiteX5" fmla="*/ 333423 w 580319"/>
                  <a:gd name="connsiteY5" fmla="*/ 0 h 640927"/>
                  <a:gd name="connsiteX6" fmla="*/ 580319 w 580319"/>
                  <a:gd name="connsiteY6" fmla="*/ 265006 h 640927"/>
                  <a:gd name="connsiteX7" fmla="*/ 580319 w 580319"/>
                  <a:gd name="connsiteY7" fmla="*/ 640927 h 640927"/>
                  <a:gd name="connsiteX8" fmla="*/ 425915 w 580319"/>
                  <a:gd name="connsiteY8" fmla="*/ 640927 h 640927"/>
                  <a:gd name="connsiteX9" fmla="*/ 425915 w 580319"/>
                  <a:gd name="connsiteY9" fmla="*/ 277661 h 640927"/>
                  <a:gd name="connsiteX10" fmla="*/ 290160 w 580319"/>
                  <a:gd name="connsiteY10" fmla="*/ 142180 h 640927"/>
                  <a:gd name="connsiteX11" fmla="*/ 154404 w 580319"/>
                  <a:gd name="connsiteY11" fmla="*/ 277661 h 640927"/>
                  <a:gd name="connsiteX12" fmla="*/ 154404 w 580319"/>
                  <a:gd name="connsiteY12" fmla="*/ 640927 h 640927"/>
                  <a:gd name="connsiteX13" fmla="*/ 0 w 580319"/>
                  <a:gd name="connsiteY13" fmla="*/ 640927 h 640927"/>
                  <a:gd name="connsiteX14" fmla="*/ 0 w 580319"/>
                  <a:gd name="connsiteY14" fmla="*/ 12655 h 640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80319" h="640927">
                    <a:moveTo>
                      <a:pt x="0" y="12655"/>
                    </a:moveTo>
                    <a:lnTo>
                      <a:pt x="141723" y="12655"/>
                    </a:lnTo>
                    <a:lnTo>
                      <a:pt x="154404" y="74440"/>
                    </a:lnTo>
                    <a:lnTo>
                      <a:pt x="160371" y="74440"/>
                    </a:lnTo>
                    <a:cubicBezTo>
                      <a:pt x="171560" y="61041"/>
                      <a:pt x="186478" y="48386"/>
                      <a:pt x="202142" y="37220"/>
                    </a:cubicBezTo>
                    <a:cubicBezTo>
                      <a:pt x="230487" y="18610"/>
                      <a:pt x="273750" y="0"/>
                      <a:pt x="333423" y="0"/>
                    </a:cubicBezTo>
                    <a:cubicBezTo>
                      <a:pt x="475146" y="0"/>
                      <a:pt x="580319" y="104960"/>
                      <a:pt x="580319" y="265006"/>
                    </a:cubicBezTo>
                    <a:lnTo>
                      <a:pt x="580319" y="640927"/>
                    </a:lnTo>
                    <a:lnTo>
                      <a:pt x="425915" y="640927"/>
                    </a:lnTo>
                    <a:lnTo>
                      <a:pt x="425915" y="277661"/>
                    </a:lnTo>
                    <a:cubicBezTo>
                      <a:pt x="425915" y="197266"/>
                      <a:pt x="369972" y="142180"/>
                      <a:pt x="290160" y="142180"/>
                    </a:cubicBezTo>
                    <a:cubicBezTo>
                      <a:pt x="209601" y="142180"/>
                      <a:pt x="154404" y="198010"/>
                      <a:pt x="154404" y="277661"/>
                    </a:cubicBezTo>
                    <a:lnTo>
                      <a:pt x="154404" y="640927"/>
                    </a:lnTo>
                    <a:lnTo>
                      <a:pt x="0" y="640927"/>
                    </a:lnTo>
                    <a:lnTo>
                      <a:pt x="0" y="12655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latin typeface="Pulso" pitchFamily="2" charset="0"/>
                </a:endParaRPr>
              </a:p>
            </p:txBody>
          </p:sp>
          <p:sp>
            <p:nvSpPr>
              <p:cNvPr id="117" name="Forma libre 116">
                <a:extLst>
                  <a:ext uri="{FF2B5EF4-FFF2-40B4-BE49-F238E27FC236}">
                    <a16:creationId xmlns:a16="http://schemas.microsoft.com/office/drawing/2014/main" id="{F8562124-5C61-ECE5-0655-1297883A476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544629" y="2258664"/>
                <a:ext cx="616868" cy="653581"/>
              </a:xfrm>
              <a:custGeom>
                <a:avLst/>
                <a:gdLst>
                  <a:gd name="connsiteX0" fmla="*/ 616869 w 616868"/>
                  <a:gd name="connsiteY0" fmla="*/ 407186 h 653581"/>
                  <a:gd name="connsiteX1" fmla="*/ 320742 w 616868"/>
                  <a:gd name="connsiteY1" fmla="*/ 653582 h 653581"/>
                  <a:gd name="connsiteX2" fmla="*/ 0 w 616868"/>
                  <a:gd name="connsiteY2" fmla="*/ 326791 h 653581"/>
                  <a:gd name="connsiteX3" fmla="*/ 320742 w 616868"/>
                  <a:gd name="connsiteY3" fmla="*/ 0 h 653581"/>
                  <a:gd name="connsiteX4" fmla="*/ 616869 w 616868"/>
                  <a:gd name="connsiteY4" fmla="*/ 240441 h 653581"/>
                  <a:gd name="connsiteX5" fmla="*/ 462465 w 616868"/>
                  <a:gd name="connsiteY5" fmla="*/ 240441 h 653581"/>
                  <a:gd name="connsiteX6" fmla="*/ 320742 w 616868"/>
                  <a:gd name="connsiteY6" fmla="*/ 142180 h 653581"/>
                  <a:gd name="connsiteX7" fmla="*/ 153658 w 616868"/>
                  <a:gd name="connsiteY7" fmla="*/ 326791 h 653581"/>
                  <a:gd name="connsiteX8" fmla="*/ 320742 w 616868"/>
                  <a:gd name="connsiteY8" fmla="*/ 511402 h 653581"/>
                  <a:gd name="connsiteX9" fmla="*/ 462465 w 616868"/>
                  <a:gd name="connsiteY9" fmla="*/ 406442 h 653581"/>
                  <a:gd name="connsiteX10" fmla="*/ 616869 w 616868"/>
                  <a:gd name="connsiteY10" fmla="*/ 406442 h 65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6868" h="653581">
                    <a:moveTo>
                      <a:pt x="616869" y="407186"/>
                    </a:moveTo>
                    <a:cubicBezTo>
                      <a:pt x="596729" y="505446"/>
                      <a:pt x="519154" y="653582"/>
                      <a:pt x="320742" y="653582"/>
                    </a:cubicBezTo>
                    <a:cubicBezTo>
                      <a:pt x="135756" y="653582"/>
                      <a:pt x="0" y="518101"/>
                      <a:pt x="0" y="326791"/>
                    </a:cubicBezTo>
                    <a:cubicBezTo>
                      <a:pt x="0" y="135480"/>
                      <a:pt x="135756" y="0"/>
                      <a:pt x="320742" y="0"/>
                    </a:cubicBezTo>
                    <a:cubicBezTo>
                      <a:pt x="519900" y="0"/>
                      <a:pt x="597475" y="148135"/>
                      <a:pt x="616869" y="240441"/>
                    </a:cubicBezTo>
                    <a:lnTo>
                      <a:pt x="462465" y="240441"/>
                    </a:lnTo>
                    <a:cubicBezTo>
                      <a:pt x="449038" y="204710"/>
                      <a:pt x="413235" y="142180"/>
                      <a:pt x="320742" y="142180"/>
                    </a:cubicBezTo>
                    <a:cubicBezTo>
                      <a:pt x="228249" y="142180"/>
                      <a:pt x="153658" y="215876"/>
                      <a:pt x="153658" y="326791"/>
                    </a:cubicBezTo>
                    <a:cubicBezTo>
                      <a:pt x="153658" y="437706"/>
                      <a:pt x="227503" y="511402"/>
                      <a:pt x="320742" y="511402"/>
                    </a:cubicBezTo>
                    <a:cubicBezTo>
                      <a:pt x="413981" y="511402"/>
                      <a:pt x="449038" y="449617"/>
                      <a:pt x="462465" y="406442"/>
                    </a:cubicBezTo>
                    <a:lnTo>
                      <a:pt x="616869" y="406442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latin typeface="Pulso" pitchFamily="2" charset="0"/>
                </a:endParaRPr>
              </a:p>
            </p:txBody>
          </p:sp>
          <p:sp>
            <p:nvSpPr>
              <p:cNvPr id="118" name="Forma libre 117">
                <a:extLst>
                  <a:ext uri="{FF2B5EF4-FFF2-40B4-BE49-F238E27FC236}">
                    <a16:creationId xmlns:a16="http://schemas.microsoft.com/office/drawing/2014/main" id="{A2B2033A-45A8-A8C1-E03E-8E32B193B34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214458" y="2259408"/>
                <a:ext cx="555703" cy="653581"/>
              </a:xfrm>
              <a:custGeom>
                <a:avLst/>
                <a:gdLst>
                  <a:gd name="connsiteX0" fmla="*/ 401300 w 555703"/>
                  <a:gd name="connsiteY0" fmla="*/ 369222 h 653581"/>
                  <a:gd name="connsiteX1" fmla="*/ 271512 w 555703"/>
                  <a:gd name="connsiteY1" fmla="*/ 369222 h 653581"/>
                  <a:gd name="connsiteX2" fmla="*/ 154404 w 555703"/>
                  <a:gd name="connsiteY2" fmla="*/ 449617 h 653581"/>
                  <a:gd name="connsiteX3" fmla="*/ 252864 w 555703"/>
                  <a:gd name="connsiteY3" fmla="*/ 530012 h 653581"/>
                  <a:gd name="connsiteX4" fmla="*/ 401300 w 555703"/>
                  <a:gd name="connsiteY4" fmla="*/ 388576 h 653581"/>
                  <a:gd name="connsiteX5" fmla="*/ 401300 w 555703"/>
                  <a:gd name="connsiteY5" fmla="*/ 369222 h 653581"/>
                  <a:gd name="connsiteX6" fmla="*/ 413235 w 555703"/>
                  <a:gd name="connsiteY6" fmla="*/ 579142 h 653581"/>
                  <a:gd name="connsiteX7" fmla="*/ 407268 w 555703"/>
                  <a:gd name="connsiteY7" fmla="*/ 579142 h 653581"/>
                  <a:gd name="connsiteX8" fmla="*/ 364005 w 555703"/>
                  <a:gd name="connsiteY8" fmla="*/ 616362 h 653581"/>
                  <a:gd name="connsiteX9" fmla="*/ 228249 w 555703"/>
                  <a:gd name="connsiteY9" fmla="*/ 653582 h 653581"/>
                  <a:gd name="connsiteX10" fmla="*/ 0 w 555703"/>
                  <a:gd name="connsiteY10" fmla="*/ 462271 h 653581"/>
                  <a:gd name="connsiteX11" fmla="*/ 259577 w 555703"/>
                  <a:gd name="connsiteY11" fmla="*/ 252351 h 653581"/>
                  <a:gd name="connsiteX12" fmla="*/ 401300 w 555703"/>
                  <a:gd name="connsiteY12" fmla="*/ 252351 h 653581"/>
                  <a:gd name="connsiteX13" fmla="*/ 401300 w 555703"/>
                  <a:gd name="connsiteY13" fmla="*/ 239696 h 653581"/>
                  <a:gd name="connsiteX14" fmla="*/ 290159 w 555703"/>
                  <a:gd name="connsiteY14" fmla="*/ 122826 h 653581"/>
                  <a:gd name="connsiteX15" fmla="*/ 179019 w 555703"/>
                  <a:gd name="connsiteY15" fmla="*/ 203221 h 653581"/>
                  <a:gd name="connsiteX16" fmla="*/ 24615 w 555703"/>
                  <a:gd name="connsiteY16" fmla="*/ 203221 h 653581"/>
                  <a:gd name="connsiteX17" fmla="*/ 290159 w 555703"/>
                  <a:gd name="connsiteY17" fmla="*/ 0 h 653581"/>
                  <a:gd name="connsiteX18" fmla="*/ 555704 w 555703"/>
                  <a:gd name="connsiteY18" fmla="*/ 240441 h 653581"/>
                  <a:gd name="connsiteX19" fmla="*/ 555704 w 555703"/>
                  <a:gd name="connsiteY19" fmla="*/ 640927 h 653581"/>
                  <a:gd name="connsiteX20" fmla="*/ 425916 w 555703"/>
                  <a:gd name="connsiteY20" fmla="*/ 640927 h 653581"/>
                  <a:gd name="connsiteX21" fmla="*/ 413235 w 555703"/>
                  <a:gd name="connsiteY21" fmla="*/ 579142 h 65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5703" h="653581">
                    <a:moveTo>
                      <a:pt x="401300" y="369222"/>
                    </a:moveTo>
                    <a:lnTo>
                      <a:pt x="271512" y="369222"/>
                    </a:lnTo>
                    <a:cubicBezTo>
                      <a:pt x="190953" y="369222"/>
                      <a:pt x="154404" y="399742"/>
                      <a:pt x="154404" y="449617"/>
                    </a:cubicBezTo>
                    <a:cubicBezTo>
                      <a:pt x="154404" y="498747"/>
                      <a:pt x="190207" y="530012"/>
                      <a:pt x="252864" y="530012"/>
                    </a:cubicBezTo>
                    <a:cubicBezTo>
                      <a:pt x="346849" y="530012"/>
                      <a:pt x="401300" y="475671"/>
                      <a:pt x="401300" y="388576"/>
                    </a:cubicBezTo>
                    <a:lnTo>
                      <a:pt x="401300" y="369222"/>
                    </a:lnTo>
                    <a:close/>
                    <a:moveTo>
                      <a:pt x="413235" y="579142"/>
                    </a:moveTo>
                    <a:lnTo>
                      <a:pt x="407268" y="579142"/>
                    </a:lnTo>
                    <a:cubicBezTo>
                      <a:pt x="396079" y="592541"/>
                      <a:pt x="381161" y="605196"/>
                      <a:pt x="364005" y="616362"/>
                    </a:cubicBezTo>
                    <a:cubicBezTo>
                      <a:pt x="334168" y="634972"/>
                      <a:pt x="290906" y="653582"/>
                      <a:pt x="228249" y="653582"/>
                    </a:cubicBezTo>
                    <a:cubicBezTo>
                      <a:pt x="85034" y="653582"/>
                      <a:pt x="0" y="565743"/>
                      <a:pt x="0" y="462271"/>
                    </a:cubicBezTo>
                    <a:cubicBezTo>
                      <a:pt x="0" y="338701"/>
                      <a:pt x="86526" y="252351"/>
                      <a:pt x="259577" y="252351"/>
                    </a:cubicBezTo>
                    <a:lnTo>
                      <a:pt x="401300" y="252351"/>
                    </a:lnTo>
                    <a:lnTo>
                      <a:pt x="401300" y="239696"/>
                    </a:lnTo>
                    <a:cubicBezTo>
                      <a:pt x="401300" y="170467"/>
                      <a:pt x="359530" y="122826"/>
                      <a:pt x="290159" y="122826"/>
                    </a:cubicBezTo>
                    <a:cubicBezTo>
                      <a:pt x="220790" y="122826"/>
                      <a:pt x="184986" y="167490"/>
                      <a:pt x="179019" y="203221"/>
                    </a:cubicBezTo>
                    <a:lnTo>
                      <a:pt x="24615" y="203221"/>
                    </a:lnTo>
                    <a:cubicBezTo>
                      <a:pt x="38041" y="99749"/>
                      <a:pt x="122329" y="0"/>
                      <a:pt x="290159" y="0"/>
                    </a:cubicBezTo>
                    <a:cubicBezTo>
                      <a:pt x="450530" y="0"/>
                      <a:pt x="555704" y="105705"/>
                      <a:pt x="555704" y="240441"/>
                    </a:cubicBezTo>
                    <a:lnTo>
                      <a:pt x="555704" y="640927"/>
                    </a:lnTo>
                    <a:lnTo>
                      <a:pt x="425916" y="640927"/>
                    </a:lnTo>
                    <a:lnTo>
                      <a:pt x="413235" y="579142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latin typeface="Pulso" pitchFamily="2" charset="0"/>
                </a:endParaRPr>
              </a:p>
            </p:txBody>
          </p:sp>
          <p:sp>
            <p:nvSpPr>
              <p:cNvPr id="119" name="Forma libre 118">
                <a:extLst>
                  <a:ext uri="{FF2B5EF4-FFF2-40B4-BE49-F238E27FC236}">
                    <a16:creationId xmlns:a16="http://schemas.microsoft.com/office/drawing/2014/main" id="{544F823A-C135-57CD-D632-D598C6C6FD0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282068" y="1998124"/>
                <a:ext cx="183494" cy="901466"/>
              </a:xfrm>
              <a:custGeom>
                <a:avLst/>
                <a:gdLst>
                  <a:gd name="connsiteX0" fmla="*/ 14918 w 183494"/>
                  <a:gd name="connsiteY0" fmla="*/ 273194 h 901466"/>
                  <a:gd name="connsiteX1" fmla="*/ 169322 w 183494"/>
                  <a:gd name="connsiteY1" fmla="*/ 273194 h 901466"/>
                  <a:gd name="connsiteX2" fmla="*/ 169322 w 183494"/>
                  <a:gd name="connsiteY2" fmla="*/ 901467 h 901466"/>
                  <a:gd name="connsiteX3" fmla="*/ 14918 w 183494"/>
                  <a:gd name="connsiteY3" fmla="*/ 901467 h 901466"/>
                  <a:gd name="connsiteX4" fmla="*/ 14918 w 183494"/>
                  <a:gd name="connsiteY4" fmla="*/ 273194 h 901466"/>
                  <a:gd name="connsiteX5" fmla="*/ 183494 w 183494"/>
                  <a:gd name="connsiteY5" fmla="*/ 91561 h 901466"/>
                  <a:gd name="connsiteX6" fmla="*/ 91747 w 183494"/>
                  <a:gd name="connsiteY6" fmla="*/ 0 h 901466"/>
                  <a:gd name="connsiteX7" fmla="*/ 0 w 183494"/>
                  <a:gd name="connsiteY7" fmla="*/ 91561 h 901466"/>
                  <a:gd name="connsiteX8" fmla="*/ 91747 w 183494"/>
                  <a:gd name="connsiteY8" fmla="*/ 183122 h 901466"/>
                  <a:gd name="connsiteX9" fmla="*/ 183494 w 183494"/>
                  <a:gd name="connsiteY9" fmla="*/ 91561 h 901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3494" h="901466">
                    <a:moveTo>
                      <a:pt x="14918" y="273194"/>
                    </a:moveTo>
                    <a:lnTo>
                      <a:pt x="169322" y="273194"/>
                    </a:lnTo>
                    <a:lnTo>
                      <a:pt x="169322" y="901467"/>
                    </a:lnTo>
                    <a:lnTo>
                      <a:pt x="14918" y="901467"/>
                    </a:lnTo>
                    <a:lnTo>
                      <a:pt x="14918" y="273194"/>
                    </a:lnTo>
                    <a:close/>
                    <a:moveTo>
                      <a:pt x="183494" y="91561"/>
                    </a:moveTo>
                    <a:cubicBezTo>
                      <a:pt x="183494" y="40942"/>
                      <a:pt x="142469" y="0"/>
                      <a:pt x="91747" y="0"/>
                    </a:cubicBezTo>
                    <a:cubicBezTo>
                      <a:pt x="41025" y="0"/>
                      <a:pt x="0" y="40942"/>
                      <a:pt x="0" y="91561"/>
                    </a:cubicBezTo>
                    <a:cubicBezTo>
                      <a:pt x="0" y="142180"/>
                      <a:pt x="41025" y="183122"/>
                      <a:pt x="91747" y="183122"/>
                    </a:cubicBezTo>
                    <a:cubicBezTo>
                      <a:pt x="142469" y="182378"/>
                      <a:pt x="183494" y="142180"/>
                      <a:pt x="183494" y="91561"/>
                    </a:cubicBezTo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latin typeface="Pulso" pitchFamily="2" charset="0"/>
                </a:endParaRPr>
              </a:p>
            </p:txBody>
          </p:sp>
          <p:sp>
            <p:nvSpPr>
              <p:cNvPr id="120" name="Forma libre 119">
                <a:extLst>
                  <a:ext uri="{FF2B5EF4-FFF2-40B4-BE49-F238E27FC236}">
                    <a16:creationId xmlns:a16="http://schemas.microsoft.com/office/drawing/2014/main" id="{A00A9474-054A-8D99-C211-ED26E03DF8D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3344" y="2006313"/>
                <a:ext cx="642229" cy="905932"/>
              </a:xfrm>
              <a:custGeom>
                <a:avLst/>
                <a:gdLst>
                  <a:gd name="connsiteX0" fmla="*/ 487826 w 642229"/>
                  <a:gd name="connsiteY0" fmla="*/ 579142 h 905932"/>
                  <a:gd name="connsiteX1" fmla="*/ 320742 w 642229"/>
                  <a:gd name="connsiteY1" fmla="*/ 394531 h 905932"/>
                  <a:gd name="connsiteX2" fmla="*/ 153658 w 642229"/>
                  <a:gd name="connsiteY2" fmla="*/ 579142 h 905932"/>
                  <a:gd name="connsiteX3" fmla="*/ 320742 w 642229"/>
                  <a:gd name="connsiteY3" fmla="*/ 763753 h 905932"/>
                  <a:gd name="connsiteX4" fmla="*/ 487826 w 642229"/>
                  <a:gd name="connsiteY4" fmla="*/ 579142 h 905932"/>
                  <a:gd name="connsiteX5" fmla="*/ 642230 w 642229"/>
                  <a:gd name="connsiteY5" fmla="*/ 579142 h 905932"/>
                  <a:gd name="connsiteX6" fmla="*/ 320742 w 642229"/>
                  <a:gd name="connsiteY6" fmla="*/ 905933 h 905932"/>
                  <a:gd name="connsiteX7" fmla="*/ 0 w 642229"/>
                  <a:gd name="connsiteY7" fmla="*/ 579142 h 905932"/>
                  <a:gd name="connsiteX8" fmla="*/ 320742 w 642229"/>
                  <a:gd name="connsiteY8" fmla="*/ 252351 h 905932"/>
                  <a:gd name="connsiteX9" fmla="*/ 642230 w 642229"/>
                  <a:gd name="connsiteY9" fmla="*/ 579142 h 905932"/>
                  <a:gd name="connsiteX10" fmla="*/ 376685 w 642229"/>
                  <a:gd name="connsiteY10" fmla="*/ 0 h 905932"/>
                  <a:gd name="connsiteX11" fmla="*/ 537056 w 642229"/>
                  <a:gd name="connsiteY11" fmla="*/ 0 h 905932"/>
                  <a:gd name="connsiteX12" fmla="*/ 388620 w 642229"/>
                  <a:gd name="connsiteY12" fmla="*/ 178656 h 905932"/>
                  <a:gd name="connsiteX13" fmla="*/ 258831 w 642229"/>
                  <a:gd name="connsiteY13" fmla="*/ 178656 h 905932"/>
                  <a:gd name="connsiteX14" fmla="*/ 376685 w 642229"/>
                  <a:gd name="connsiteY14" fmla="*/ 0 h 905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42229" h="905932">
                    <a:moveTo>
                      <a:pt x="487826" y="579142"/>
                    </a:moveTo>
                    <a:cubicBezTo>
                      <a:pt x="487826" y="468227"/>
                      <a:pt x="413981" y="394531"/>
                      <a:pt x="320742" y="394531"/>
                    </a:cubicBezTo>
                    <a:cubicBezTo>
                      <a:pt x="228249" y="394531"/>
                      <a:pt x="153658" y="468227"/>
                      <a:pt x="153658" y="579142"/>
                    </a:cubicBezTo>
                    <a:cubicBezTo>
                      <a:pt x="153658" y="690057"/>
                      <a:pt x="227503" y="763753"/>
                      <a:pt x="320742" y="763753"/>
                    </a:cubicBezTo>
                    <a:cubicBezTo>
                      <a:pt x="413981" y="763753"/>
                      <a:pt x="487826" y="690057"/>
                      <a:pt x="487826" y="579142"/>
                    </a:cubicBezTo>
                    <a:moveTo>
                      <a:pt x="642230" y="579142"/>
                    </a:moveTo>
                    <a:cubicBezTo>
                      <a:pt x="642230" y="770452"/>
                      <a:pt x="506474" y="905933"/>
                      <a:pt x="320742" y="905933"/>
                    </a:cubicBezTo>
                    <a:cubicBezTo>
                      <a:pt x="135756" y="905933"/>
                      <a:pt x="0" y="770452"/>
                      <a:pt x="0" y="579142"/>
                    </a:cubicBezTo>
                    <a:cubicBezTo>
                      <a:pt x="0" y="387832"/>
                      <a:pt x="135756" y="252351"/>
                      <a:pt x="320742" y="252351"/>
                    </a:cubicBezTo>
                    <a:cubicBezTo>
                      <a:pt x="506474" y="252351"/>
                      <a:pt x="642230" y="387832"/>
                      <a:pt x="642230" y="579142"/>
                    </a:cubicBezTo>
                    <a:moveTo>
                      <a:pt x="376685" y="0"/>
                    </a:moveTo>
                    <a:lnTo>
                      <a:pt x="537056" y="0"/>
                    </a:lnTo>
                    <a:lnTo>
                      <a:pt x="388620" y="178656"/>
                    </a:lnTo>
                    <a:lnTo>
                      <a:pt x="258831" y="178656"/>
                    </a:lnTo>
                    <a:lnTo>
                      <a:pt x="376685" y="0"/>
                    </a:lnTo>
                    <a:close/>
                  </a:path>
                </a:pathLst>
              </a:custGeom>
              <a:solidFill>
                <a:srgbClr val="0066FF"/>
              </a:solidFill>
              <a:ln w="74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>
                  <a:latin typeface="Pulso" pitchFamily="2" charset="0"/>
                </a:endParaRPr>
              </a:p>
            </p:txBody>
          </p:sp>
        </p:grpSp>
      </p:grpSp>
      <p:grpSp>
        <p:nvGrpSpPr>
          <p:cNvPr id="142" name="Grupo 141">
            <a:extLst>
              <a:ext uri="{FF2B5EF4-FFF2-40B4-BE49-F238E27FC236}">
                <a16:creationId xmlns:a16="http://schemas.microsoft.com/office/drawing/2014/main" id="{2D18D749-4E8D-7C8B-B421-154CC62A0890}"/>
              </a:ext>
            </a:extLst>
          </p:cNvPr>
          <p:cNvGrpSpPr>
            <a:grpSpLocks/>
          </p:cNvGrpSpPr>
          <p:nvPr/>
        </p:nvGrpSpPr>
        <p:grpSpPr>
          <a:xfrm>
            <a:off x="3173268" y="4274599"/>
            <a:ext cx="889989" cy="175940"/>
            <a:chOff x="2449147" y="2050732"/>
            <a:chExt cx="4244889" cy="839152"/>
          </a:xfrm>
        </p:grpSpPr>
        <p:sp>
          <p:nvSpPr>
            <p:cNvPr id="143" name="Forma libre 142">
              <a:extLst>
                <a:ext uri="{FF2B5EF4-FFF2-40B4-BE49-F238E27FC236}">
                  <a16:creationId xmlns:a16="http://schemas.microsoft.com/office/drawing/2014/main" id="{6824D998-C8B9-C01C-7CB3-B7B1E07CBE24}"/>
                </a:ext>
              </a:extLst>
            </p:cNvPr>
            <p:cNvSpPr>
              <a:spLocks/>
            </p:cNvSpPr>
            <p:nvPr/>
          </p:nvSpPr>
          <p:spPr>
            <a:xfrm>
              <a:off x="2449147" y="2138362"/>
              <a:ext cx="340798" cy="736282"/>
            </a:xfrm>
            <a:custGeom>
              <a:avLst/>
              <a:gdLst>
                <a:gd name="connsiteX0" fmla="*/ 219901 w 340798"/>
                <a:gd name="connsiteY0" fmla="*/ 0 h 736282"/>
                <a:gd name="connsiteX1" fmla="*/ 99003 w 340798"/>
                <a:gd name="connsiteY1" fmla="*/ 0 h 736282"/>
                <a:gd name="connsiteX2" fmla="*/ 91387 w 340798"/>
                <a:gd name="connsiteY2" fmla="*/ 133350 h 736282"/>
                <a:gd name="connsiteX3" fmla="*/ 0 w 340798"/>
                <a:gd name="connsiteY3" fmla="*/ 133350 h 736282"/>
                <a:gd name="connsiteX4" fmla="*/ 0 w 340798"/>
                <a:gd name="connsiteY4" fmla="*/ 240030 h 736282"/>
                <a:gd name="connsiteX5" fmla="*/ 90435 w 340798"/>
                <a:gd name="connsiteY5" fmla="*/ 240030 h 736282"/>
                <a:gd name="connsiteX6" fmla="*/ 91387 w 340798"/>
                <a:gd name="connsiteY6" fmla="*/ 601980 h 736282"/>
                <a:gd name="connsiteX7" fmla="*/ 197054 w 340798"/>
                <a:gd name="connsiteY7" fmla="*/ 736283 h 736282"/>
                <a:gd name="connsiteX8" fmla="*/ 340799 w 340798"/>
                <a:gd name="connsiteY8" fmla="*/ 736283 h 736282"/>
                <a:gd name="connsiteX9" fmla="*/ 340799 w 340798"/>
                <a:gd name="connsiteY9" fmla="*/ 618173 h 736282"/>
                <a:gd name="connsiteX10" fmla="*/ 238940 w 340798"/>
                <a:gd name="connsiteY10" fmla="*/ 618173 h 736282"/>
                <a:gd name="connsiteX11" fmla="*/ 220853 w 340798"/>
                <a:gd name="connsiteY11" fmla="*/ 594360 h 736282"/>
                <a:gd name="connsiteX12" fmla="*/ 220853 w 340798"/>
                <a:gd name="connsiteY12" fmla="*/ 239077 h 736282"/>
                <a:gd name="connsiteX13" fmla="*/ 340799 w 340798"/>
                <a:gd name="connsiteY13" fmla="*/ 239077 h 736282"/>
                <a:gd name="connsiteX14" fmla="*/ 340799 w 340798"/>
                <a:gd name="connsiteY14" fmla="*/ 132398 h 736282"/>
                <a:gd name="connsiteX15" fmla="*/ 219901 w 340798"/>
                <a:gd name="connsiteY15" fmla="*/ 132398 h 736282"/>
                <a:gd name="connsiteX16" fmla="*/ 219901 w 340798"/>
                <a:gd name="connsiteY16" fmla="*/ 0 h 73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0798" h="736282">
                  <a:moveTo>
                    <a:pt x="219901" y="0"/>
                  </a:moveTo>
                  <a:lnTo>
                    <a:pt x="99003" y="0"/>
                  </a:lnTo>
                  <a:lnTo>
                    <a:pt x="91387" y="133350"/>
                  </a:lnTo>
                  <a:lnTo>
                    <a:pt x="0" y="133350"/>
                  </a:lnTo>
                  <a:lnTo>
                    <a:pt x="0" y="240030"/>
                  </a:lnTo>
                  <a:lnTo>
                    <a:pt x="90435" y="240030"/>
                  </a:lnTo>
                  <a:lnTo>
                    <a:pt x="91387" y="601980"/>
                  </a:lnTo>
                  <a:cubicBezTo>
                    <a:pt x="91387" y="691515"/>
                    <a:pt x="126610" y="736283"/>
                    <a:pt x="197054" y="736283"/>
                  </a:cubicBezTo>
                  <a:lnTo>
                    <a:pt x="340799" y="736283"/>
                  </a:lnTo>
                  <a:lnTo>
                    <a:pt x="340799" y="618173"/>
                  </a:lnTo>
                  <a:lnTo>
                    <a:pt x="238940" y="618173"/>
                  </a:lnTo>
                  <a:cubicBezTo>
                    <a:pt x="224661" y="618173"/>
                    <a:pt x="220853" y="615315"/>
                    <a:pt x="220853" y="594360"/>
                  </a:cubicBezTo>
                  <a:lnTo>
                    <a:pt x="220853" y="239077"/>
                  </a:lnTo>
                  <a:lnTo>
                    <a:pt x="340799" y="239077"/>
                  </a:lnTo>
                  <a:lnTo>
                    <a:pt x="340799" y="132398"/>
                  </a:lnTo>
                  <a:lnTo>
                    <a:pt x="219901" y="132398"/>
                  </a:lnTo>
                  <a:lnTo>
                    <a:pt x="219901" y="0"/>
                  </a:ln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4" name="Forma libre 143">
              <a:extLst>
                <a:ext uri="{FF2B5EF4-FFF2-40B4-BE49-F238E27FC236}">
                  <a16:creationId xmlns:a16="http://schemas.microsoft.com/office/drawing/2014/main" id="{0D1339F9-D0D1-4A8C-7157-AB880D1CCC17}"/>
                </a:ext>
              </a:extLst>
            </p:cNvPr>
            <p:cNvSpPr>
              <a:spLocks/>
            </p:cNvSpPr>
            <p:nvPr/>
          </p:nvSpPr>
          <p:spPr>
            <a:xfrm>
              <a:off x="2838496" y="2254567"/>
              <a:ext cx="572122" cy="634365"/>
            </a:xfrm>
            <a:custGeom>
              <a:avLst/>
              <a:gdLst>
                <a:gd name="connsiteX0" fmla="*/ 297961 w 572122"/>
                <a:gd name="connsiteY0" fmla="*/ 0 h 634365"/>
                <a:gd name="connsiteX1" fmla="*/ 86628 w 572122"/>
                <a:gd name="connsiteY1" fmla="*/ 90488 h 634365"/>
                <a:gd name="connsiteX2" fmla="*/ 0 w 572122"/>
                <a:gd name="connsiteY2" fmla="*/ 318135 h 634365"/>
                <a:gd name="connsiteX3" fmla="*/ 82820 w 572122"/>
                <a:gd name="connsiteY3" fmla="*/ 544830 h 634365"/>
                <a:gd name="connsiteX4" fmla="*/ 309384 w 572122"/>
                <a:gd name="connsiteY4" fmla="*/ 634365 h 634365"/>
                <a:gd name="connsiteX5" fmla="*/ 449321 w 572122"/>
                <a:gd name="connsiteY5" fmla="*/ 603885 h 634365"/>
                <a:gd name="connsiteX6" fmla="*/ 561651 w 572122"/>
                <a:gd name="connsiteY6" fmla="*/ 515303 h 634365"/>
                <a:gd name="connsiteX7" fmla="*/ 564507 w 572122"/>
                <a:gd name="connsiteY7" fmla="*/ 511493 h 634365"/>
                <a:gd name="connsiteX8" fmla="*/ 489303 w 572122"/>
                <a:gd name="connsiteY8" fmla="*/ 435293 h 634365"/>
                <a:gd name="connsiteX9" fmla="*/ 485495 w 572122"/>
                <a:gd name="connsiteY9" fmla="*/ 440055 h 634365"/>
                <a:gd name="connsiteX10" fmla="*/ 320808 w 572122"/>
                <a:gd name="connsiteY10" fmla="*/ 514350 h 634365"/>
                <a:gd name="connsiteX11" fmla="*/ 136129 w 572122"/>
                <a:gd name="connsiteY11" fmla="*/ 371475 h 634365"/>
                <a:gd name="connsiteX12" fmla="*/ 571171 w 572122"/>
                <a:gd name="connsiteY12" fmla="*/ 371475 h 634365"/>
                <a:gd name="connsiteX13" fmla="*/ 571171 w 572122"/>
                <a:gd name="connsiteY13" fmla="*/ 366713 h 634365"/>
                <a:gd name="connsiteX14" fmla="*/ 572123 w 572122"/>
                <a:gd name="connsiteY14" fmla="*/ 287655 h 634365"/>
                <a:gd name="connsiteX15" fmla="*/ 498823 w 572122"/>
                <a:gd name="connsiteY15" fmla="*/ 85725 h 634365"/>
                <a:gd name="connsiteX16" fmla="*/ 297961 w 572122"/>
                <a:gd name="connsiteY16" fmla="*/ 0 h 634365"/>
                <a:gd name="connsiteX17" fmla="*/ 137081 w 572122"/>
                <a:gd name="connsiteY17" fmla="*/ 268605 h 634365"/>
                <a:gd name="connsiteX18" fmla="*/ 300817 w 572122"/>
                <a:gd name="connsiteY18" fmla="*/ 125730 h 634365"/>
                <a:gd name="connsiteX19" fmla="*/ 445513 w 572122"/>
                <a:gd name="connsiteY19" fmla="*/ 268605 h 634365"/>
                <a:gd name="connsiteX20" fmla="*/ 137081 w 572122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2122" h="634365">
                  <a:moveTo>
                    <a:pt x="297961" y="0"/>
                  </a:moveTo>
                  <a:cubicBezTo>
                    <a:pt x="217045" y="0"/>
                    <a:pt x="141841" y="32385"/>
                    <a:pt x="86628" y="90488"/>
                  </a:cubicBezTo>
                  <a:cubicBezTo>
                    <a:pt x="30462" y="149543"/>
                    <a:pt x="0" y="230505"/>
                    <a:pt x="0" y="318135"/>
                  </a:cubicBezTo>
                  <a:cubicBezTo>
                    <a:pt x="0" y="405765"/>
                    <a:pt x="28559" y="487680"/>
                    <a:pt x="82820" y="544830"/>
                  </a:cubicBezTo>
                  <a:cubicBezTo>
                    <a:pt x="138985" y="603885"/>
                    <a:pt x="217045" y="634365"/>
                    <a:pt x="309384" y="634365"/>
                  </a:cubicBezTo>
                  <a:cubicBezTo>
                    <a:pt x="357934" y="634365"/>
                    <a:pt x="406483" y="623888"/>
                    <a:pt x="449321" y="603885"/>
                  </a:cubicBezTo>
                  <a:cubicBezTo>
                    <a:pt x="494063" y="582930"/>
                    <a:pt x="532141" y="553403"/>
                    <a:pt x="561651" y="515303"/>
                  </a:cubicBezTo>
                  <a:lnTo>
                    <a:pt x="564507" y="511493"/>
                  </a:lnTo>
                  <a:lnTo>
                    <a:pt x="489303" y="435293"/>
                  </a:lnTo>
                  <a:lnTo>
                    <a:pt x="485495" y="440055"/>
                  </a:lnTo>
                  <a:cubicBezTo>
                    <a:pt x="444561" y="487680"/>
                    <a:pt x="384588" y="514350"/>
                    <a:pt x="320808" y="514350"/>
                  </a:cubicBezTo>
                  <a:cubicBezTo>
                    <a:pt x="211333" y="514350"/>
                    <a:pt x="150408" y="467678"/>
                    <a:pt x="136129" y="371475"/>
                  </a:cubicBezTo>
                  <a:lnTo>
                    <a:pt x="571171" y="371475"/>
                  </a:lnTo>
                  <a:lnTo>
                    <a:pt x="571171" y="366713"/>
                  </a:lnTo>
                  <a:cubicBezTo>
                    <a:pt x="572123" y="324803"/>
                    <a:pt x="572123" y="309563"/>
                    <a:pt x="572123" y="287655"/>
                  </a:cubicBezTo>
                  <a:cubicBezTo>
                    <a:pt x="572123" y="210503"/>
                    <a:pt x="546420" y="139065"/>
                    <a:pt x="498823" y="85725"/>
                  </a:cubicBezTo>
                  <a:cubicBezTo>
                    <a:pt x="450273" y="29528"/>
                    <a:pt x="380781" y="0"/>
                    <a:pt x="297961" y="0"/>
                  </a:cubicBezTo>
                  <a:close/>
                  <a:moveTo>
                    <a:pt x="137081" y="268605"/>
                  </a:moveTo>
                  <a:cubicBezTo>
                    <a:pt x="150408" y="172403"/>
                    <a:pt x="203718" y="125730"/>
                    <a:pt x="300817" y="125730"/>
                  </a:cubicBezTo>
                  <a:cubicBezTo>
                    <a:pt x="383636" y="125730"/>
                    <a:pt x="441706" y="182880"/>
                    <a:pt x="445513" y="268605"/>
                  </a:cubicBezTo>
                  <a:lnTo>
                    <a:pt x="137081" y="268605"/>
                  </a:ln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5" name="Forma libre 144">
              <a:extLst>
                <a:ext uri="{FF2B5EF4-FFF2-40B4-BE49-F238E27FC236}">
                  <a16:creationId xmlns:a16="http://schemas.microsoft.com/office/drawing/2014/main" id="{085CF97E-D492-45EC-C79C-D956A277125D}"/>
                </a:ext>
              </a:extLst>
            </p:cNvPr>
            <p:cNvSpPr>
              <a:spLocks/>
            </p:cNvSpPr>
            <p:nvPr/>
          </p:nvSpPr>
          <p:spPr>
            <a:xfrm>
              <a:off x="3786639" y="2254567"/>
              <a:ext cx="572122" cy="634365"/>
            </a:xfrm>
            <a:custGeom>
              <a:avLst/>
              <a:gdLst>
                <a:gd name="connsiteX0" fmla="*/ 297961 w 572122"/>
                <a:gd name="connsiteY0" fmla="*/ 0 h 634365"/>
                <a:gd name="connsiteX1" fmla="*/ 86628 w 572122"/>
                <a:gd name="connsiteY1" fmla="*/ 90488 h 634365"/>
                <a:gd name="connsiteX2" fmla="*/ 0 w 572122"/>
                <a:gd name="connsiteY2" fmla="*/ 318135 h 634365"/>
                <a:gd name="connsiteX3" fmla="*/ 82820 w 572122"/>
                <a:gd name="connsiteY3" fmla="*/ 544830 h 634365"/>
                <a:gd name="connsiteX4" fmla="*/ 309384 w 572122"/>
                <a:gd name="connsiteY4" fmla="*/ 634365 h 634365"/>
                <a:gd name="connsiteX5" fmla="*/ 449321 w 572122"/>
                <a:gd name="connsiteY5" fmla="*/ 603885 h 634365"/>
                <a:gd name="connsiteX6" fmla="*/ 561651 w 572122"/>
                <a:gd name="connsiteY6" fmla="*/ 515303 h 634365"/>
                <a:gd name="connsiteX7" fmla="*/ 564507 w 572122"/>
                <a:gd name="connsiteY7" fmla="*/ 511493 h 634365"/>
                <a:gd name="connsiteX8" fmla="*/ 489303 w 572122"/>
                <a:gd name="connsiteY8" fmla="*/ 435293 h 634365"/>
                <a:gd name="connsiteX9" fmla="*/ 485495 w 572122"/>
                <a:gd name="connsiteY9" fmla="*/ 440055 h 634365"/>
                <a:gd name="connsiteX10" fmla="*/ 320808 w 572122"/>
                <a:gd name="connsiteY10" fmla="*/ 514350 h 634365"/>
                <a:gd name="connsiteX11" fmla="*/ 136129 w 572122"/>
                <a:gd name="connsiteY11" fmla="*/ 371475 h 634365"/>
                <a:gd name="connsiteX12" fmla="*/ 571171 w 572122"/>
                <a:gd name="connsiteY12" fmla="*/ 371475 h 634365"/>
                <a:gd name="connsiteX13" fmla="*/ 571171 w 572122"/>
                <a:gd name="connsiteY13" fmla="*/ 366713 h 634365"/>
                <a:gd name="connsiteX14" fmla="*/ 572123 w 572122"/>
                <a:gd name="connsiteY14" fmla="*/ 287655 h 634365"/>
                <a:gd name="connsiteX15" fmla="*/ 498823 w 572122"/>
                <a:gd name="connsiteY15" fmla="*/ 85725 h 634365"/>
                <a:gd name="connsiteX16" fmla="*/ 297961 w 572122"/>
                <a:gd name="connsiteY16" fmla="*/ 0 h 634365"/>
                <a:gd name="connsiteX17" fmla="*/ 136129 w 572122"/>
                <a:gd name="connsiteY17" fmla="*/ 268605 h 634365"/>
                <a:gd name="connsiteX18" fmla="*/ 299865 w 572122"/>
                <a:gd name="connsiteY18" fmla="*/ 125730 h 634365"/>
                <a:gd name="connsiteX19" fmla="*/ 444561 w 572122"/>
                <a:gd name="connsiteY19" fmla="*/ 268605 h 634365"/>
                <a:gd name="connsiteX20" fmla="*/ 136129 w 572122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2122" h="634365">
                  <a:moveTo>
                    <a:pt x="297961" y="0"/>
                  </a:moveTo>
                  <a:cubicBezTo>
                    <a:pt x="217045" y="0"/>
                    <a:pt x="141841" y="32385"/>
                    <a:pt x="86628" y="90488"/>
                  </a:cubicBezTo>
                  <a:cubicBezTo>
                    <a:pt x="30462" y="149543"/>
                    <a:pt x="0" y="230505"/>
                    <a:pt x="0" y="318135"/>
                  </a:cubicBezTo>
                  <a:cubicBezTo>
                    <a:pt x="0" y="405765"/>
                    <a:pt x="28559" y="487680"/>
                    <a:pt x="82820" y="544830"/>
                  </a:cubicBezTo>
                  <a:cubicBezTo>
                    <a:pt x="138985" y="603885"/>
                    <a:pt x="217045" y="634365"/>
                    <a:pt x="309384" y="634365"/>
                  </a:cubicBezTo>
                  <a:cubicBezTo>
                    <a:pt x="357934" y="634365"/>
                    <a:pt x="406483" y="623888"/>
                    <a:pt x="449321" y="603885"/>
                  </a:cubicBezTo>
                  <a:cubicBezTo>
                    <a:pt x="494063" y="582930"/>
                    <a:pt x="532141" y="553403"/>
                    <a:pt x="561651" y="515303"/>
                  </a:cubicBezTo>
                  <a:lnTo>
                    <a:pt x="564507" y="511493"/>
                  </a:lnTo>
                  <a:lnTo>
                    <a:pt x="489303" y="435293"/>
                  </a:lnTo>
                  <a:lnTo>
                    <a:pt x="485495" y="440055"/>
                  </a:lnTo>
                  <a:cubicBezTo>
                    <a:pt x="444561" y="487680"/>
                    <a:pt x="384588" y="514350"/>
                    <a:pt x="320808" y="514350"/>
                  </a:cubicBezTo>
                  <a:cubicBezTo>
                    <a:pt x="211333" y="514350"/>
                    <a:pt x="150408" y="467678"/>
                    <a:pt x="136129" y="371475"/>
                  </a:cubicBezTo>
                  <a:lnTo>
                    <a:pt x="571171" y="371475"/>
                  </a:lnTo>
                  <a:lnTo>
                    <a:pt x="571171" y="366713"/>
                  </a:lnTo>
                  <a:cubicBezTo>
                    <a:pt x="572123" y="324803"/>
                    <a:pt x="572123" y="309563"/>
                    <a:pt x="572123" y="287655"/>
                  </a:cubicBezTo>
                  <a:cubicBezTo>
                    <a:pt x="572123" y="210503"/>
                    <a:pt x="546420" y="139065"/>
                    <a:pt x="498823" y="85725"/>
                  </a:cubicBezTo>
                  <a:cubicBezTo>
                    <a:pt x="450273" y="29528"/>
                    <a:pt x="379829" y="0"/>
                    <a:pt x="297961" y="0"/>
                  </a:cubicBezTo>
                  <a:close/>
                  <a:moveTo>
                    <a:pt x="136129" y="268605"/>
                  </a:moveTo>
                  <a:cubicBezTo>
                    <a:pt x="149456" y="172403"/>
                    <a:pt x="202766" y="125730"/>
                    <a:pt x="299865" y="125730"/>
                  </a:cubicBezTo>
                  <a:cubicBezTo>
                    <a:pt x="382685" y="125730"/>
                    <a:pt x="440754" y="182880"/>
                    <a:pt x="444561" y="268605"/>
                  </a:cubicBezTo>
                  <a:lnTo>
                    <a:pt x="136129" y="268605"/>
                  </a:ln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6" name="Forma libre 145">
              <a:extLst>
                <a:ext uri="{FF2B5EF4-FFF2-40B4-BE49-F238E27FC236}">
                  <a16:creationId xmlns:a16="http://schemas.microsoft.com/office/drawing/2014/main" id="{57EDA3D3-C216-958A-3F22-C6783020F24A}"/>
                </a:ext>
              </a:extLst>
            </p:cNvPr>
            <p:cNvSpPr>
              <a:spLocks/>
            </p:cNvSpPr>
            <p:nvPr/>
          </p:nvSpPr>
          <p:spPr>
            <a:xfrm>
              <a:off x="3508670" y="2050732"/>
              <a:ext cx="232276" cy="823912"/>
            </a:xfrm>
            <a:custGeom>
              <a:avLst/>
              <a:gdLst>
                <a:gd name="connsiteX0" fmla="*/ 134225 w 232276"/>
                <a:gd name="connsiteY0" fmla="*/ 701040 h 823912"/>
                <a:gd name="connsiteX1" fmla="*/ 130417 w 232276"/>
                <a:gd name="connsiteY1" fmla="*/ 681038 h 823912"/>
                <a:gd name="connsiteX2" fmla="*/ 130417 w 232276"/>
                <a:gd name="connsiteY2" fmla="*/ 0 h 823912"/>
                <a:gd name="connsiteX3" fmla="*/ 0 w 232276"/>
                <a:gd name="connsiteY3" fmla="*/ 0 h 823912"/>
                <a:gd name="connsiteX4" fmla="*/ 0 w 232276"/>
                <a:gd name="connsiteY4" fmla="*/ 688658 h 823912"/>
                <a:gd name="connsiteX5" fmla="*/ 26655 w 232276"/>
                <a:gd name="connsiteY5" fmla="*/ 789623 h 823912"/>
                <a:gd name="connsiteX6" fmla="*/ 106619 w 232276"/>
                <a:gd name="connsiteY6" fmla="*/ 823913 h 823912"/>
                <a:gd name="connsiteX7" fmla="*/ 232276 w 232276"/>
                <a:gd name="connsiteY7" fmla="*/ 823913 h 823912"/>
                <a:gd name="connsiteX8" fmla="*/ 232276 w 232276"/>
                <a:gd name="connsiteY8" fmla="*/ 705803 h 823912"/>
                <a:gd name="connsiteX9" fmla="*/ 147553 w 232276"/>
                <a:gd name="connsiteY9" fmla="*/ 705803 h 823912"/>
                <a:gd name="connsiteX10" fmla="*/ 134225 w 232276"/>
                <a:gd name="connsiteY10" fmla="*/ 701040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2276" h="823912">
                  <a:moveTo>
                    <a:pt x="134225" y="701040"/>
                  </a:moveTo>
                  <a:cubicBezTo>
                    <a:pt x="132321" y="698183"/>
                    <a:pt x="130417" y="691515"/>
                    <a:pt x="130417" y="681038"/>
                  </a:cubicBezTo>
                  <a:lnTo>
                    <a:pt x="130417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0" y="766763"/>
                    <a:pt x="26655" y="789623"/>
                  </a:cubicBezTo>
                  <a:cubicBezTo>
                    <a:pt x="44742" y="812483"/>
                    <a:pt x="71396" y="823913"/>
                    <a:pt x="106619" y="823913"/>
                  </a:cubicBezTo>
                  <a:lnTo>
                    <a:pt x="232276" y="823913"/>
                  </a:lnTo>
                  <a:lnTo>
                    <a:pt x="232276" y="705803"/>
                  </a:lnTo>
                  <a:lnTo>
                    <a:pt x="147553" y="705803"/>
                  </a:lnTo>
                  <a:cubicBezTo>
                    <a:pt x="138033" y="705803"/>
                    <a:pt x="135177" y="702945"/>
                    <a:pt x="134225" y="701040"/>
                  </a:cubicBez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7" name="Forma libre 146">
              <a:extLst>
                <a:ext uri="{FF2B5EF4-FFF2-40B4-BE49-F238E27FC236}">
                  <a16:creationId xmlns:a16="http://schemas.microsoft.com/office/drawing/2014/main" id="{D496BA90-1F78-6D69-582B-11406191E2E2}"/>
                </a:ext>
              </a:extLst>
            </p:cNvPr>
            <p:cNvSpPr>
              <a:spLocks/>
            </p:cNvSpPr>
            <p:nvPr/>
          </p:nvSpPr>
          <p:spPr>
            <a:xfrm>
              <a:off x="5786690" y="2254567"/>
              <a:ext cx="907346" cy="619125"/>
            </a:xfrm>
            <a:custGeom>
              <a:avLst/>
              <a:gdLst>
                <a:gd name="connsiteX0" fmla="*/ 856757 w 907346"/>
                <a:gd name="connsiteY0" fmla="*/ 64770 h 619125"/>
                <a:gd name="connsiteX1" fmla="*/ 706348 w 907346"/>
                <a:gd name="connsiteY1" fmla="*/ 0 h 619125"/>
                <a:gd name="connsiteX2" fmla="*/ 579739 w 907346"/>
                <a:gd name="connsiteY2" fmla="*/ 41910 h 619125"/>
                <a:gd name="connsiteX3" fmla="*/ 506438 w 907346"/>
                <a:gd name="connsiteY3" fmla="*/ 144780 h 619125"/>
                <a:gd name="connsiteX4" fmla="*/ 500727 w 907346"/>
                <a:gd name="connsiteY4" fmla="*/ 144780 h 619125"/>
                <a:gd name="connsiteX5" fmla="*/ 317952 w 907346"/>
                <a:gd name="connsiteY5" fmla="*/ 0 h 619125"/>
                <a:gd name="connsiteX6" fmla="*/ 124706 w 907346"/>
                <a:gd name="connsiteY6" fmla="*/ 130493 h 619125"/>
                <a:gd name="connsiteX7" fmla="*/ 119946 w 907346"/>
                <a:gd name="connsiteY7" fmla="*/ 130493 h 619125"/>
                <a:gd name="connsiteX8" fmla="*/ 111378 w 907346"/>
                <a:gd name="connsiteY8" fmla="*/ 16193 h 619125"/>
                <a:gd name="connsiteX9" fmla="*/ 0 w 907346"/>
                <a:gd name="connsiteY9" fmla="*/ 16193 h 619125"/>
                <a:gd name="connsiteX10" fmla="*/ 0 w 907346"/>
                <a:gd name="connsiteY10" fmla="*/ 619125 h 619125"/>
                <a:gd name="connsiteX11" fmla="*/ 130417 w 907346"/>
                <a:gd name="connsiteY11" fmla="*/ 619125 h 619125"/>
                <a:gd name="connsiteX12" fmla="*/ 130417 w 907346"/>
                <a:gd name="connsiteY12" fmla="*/ 282893 h 619125"/>
                <a:gd name="connsiteX13" fmla="*/ 161832 w 907346"/>
                <a:gd name="connsiteY13" fmla="*/ 174308 h 619125"/>
                <a:gd name="connsiteX14" fmla="*/ 277018 w 907346"/>
                <a:gd name="connsiteY14" fmla="*/ 111443 h 619125"/>
                <a:gd name="connsiteX15" fmla="*/ 388396 w 907346"/>
                <a:gd name="connsiteY15" fmla="*/ 257175 h 619125"/>
                <a:gd name="connsiteX16" fmla="*/ 388396 w 907346"/>
                <a:gd name="connsiteY16" fmla="*/ 619125 h 619125"/>
                <a:gd name="connsiteX17" fmla="*/ 518814 w 907346"/>
                <a:gd name="connsiteY17" fmla="*/ 619125 h 619125"/>
                <a:gd name="connsiteX18" fmla="*/ 518814 w 907346"/>
                <a:gd name="connsiteY18" fmla="*/ 282893 h 619125"/>
                <a:gd name="connsiteX19" fmla="*/ 552132 w 907346"/>
                <a:gd name="connsiteY19" fmla="*/ 172403 h 619125"/>
                <a:gd name="connsiteX20" fmla="*/ 666366 w 907346"/>
                <a:gd name="connsiteY20" fmla="*/ 111443 h 619125"/>
                <a:gd name="connsiteX21" fmla="*/ 747282 w 907346"/>
                <a:gd name="connsiteY21" fmla="*/ 145733 h 619125"/>
                <a:gd name="connsiteX22" fmla="*/ 776793 w 907346"/>
                <a:gd name="connsiteY22" fmla="*/ 257175 h 619125"/>
                <a:gd name="connsiteX23" fmla="*/ 776793 w 907346"/>
                <a:gd name="connsiteY23" fmla="*/ 619125 h 619125"/>
                <a:gd name="connsiteX24" fmla="*/ 907210 w 907346"/>
                <a:gd name="connsiteY24" fmla="*/ 619125 h 619125"/>
                <a:gd name="connsiteX25" fmla="*/ 907210 w 907346"/>
                <a:gd name="connsiteY25" fmla="*/ 240983 h 619125"/>
                <a:gd name="connsiteX26" fmla="*/ 856757 w 907346"/>
                <a:gd name="connsiteY26" fmla="*/ 64770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07346" h="619125">
                  <a:moveTo>
                    <a:pt x="856757" y="64770"/>
                  </a:moveTo>
                  <a:cubicBezTo>
                    <a:pt x="821534" y="21908"/>
                    <a:pt x="770129" y="0"/>
                    <a:pt x="706348" y="0"/>
                  </a:cubicBezTo>
                  <a:cubicBezTo>
                    <a:pt x="656847" y="0"/>
                    <a:pt x="614009" y="14288"/>
                    <a:pt x="579739" y="41910"/>
                  </a:cubicBezTo>
                  <a:cubicBezTo>
                    <a:pt x="550228" y="65723"/>
                    <a:pt x="525477" y="100013"/>
                    <a:pt x="506438" y="144780"/>
                  </a:cubicBezTo>
                  <a:lnTo>
                    <a:pt x="500727" y="144780"/>
                  </a:lnTo>
                  <a:cubicBezTo>
                    <a:pt x="475024" y="51435"/>
                    <a:pt x="410291" y="0"/>
                    <a:pt x="317952" y="0"/>
                  </a:cubicBezTo>
                  <a:cubicBezTo>
                    <a:pt x="225612" y="0"/>
                    <a:pt x="159928" y="46673"/>
                    <a:pt x="124706" y="130493"/>
                  </a:cubicBezTo>
                  <a:lnTo>
                    <a:pt x="119946" y="130493"/>
                  </a:lnTo>
                  <a:lnTo>
                    <a:pt x="111378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0417" y="619125"/>
                  </a:lnTo>
                  <a:lnTo>
                    <a:pt x="130417" y="282893"/>
                  </a:lnTo>
                  <a:cubicBezTo>
                    <a:pt x="130417" y="254318"/>
                    <a:pt x="138985" y="210503"/>
                    <a:pt x="161832" y="174308"/>
                  </a:cubicBezTo>
                  <a:cubicBezTo>
                    <a:pt x="179919" y="145733"/>
                    <a:pt x="215141" y="111443"/>
                    <a:pt x="277018" y="111443"/>
                  </a:cubicBezTo>
                  <a:cubicBezTo>
                    <a:pt x="351270" y="111443"/>
                    <a:pt x="388396" y="160020"/>
                    <a:pt x="388396" y="257175"/>
                  </a:cubicBezTo>
                  <a:lnTo>
                    <a:pt x="388396" y="619125"/>
                  </a:lnTo>
                  <a:lnTo>
                    <a:pt x="518814" y="619125"/>
                  </a:lnTo>
                  <a:lnTo>
                    <a:pt x="518814" y="282893"/>
                  </a:lnTo>
                  <a:cubicBezTo>
                    <a:pt x="518814" y="244793"/>
                    <a:pt x="531189" y="202883"/>
                    <a:pt x="552132" y="172403"/>
                  </a:cubicBezTo>
                  <a:cubicBezTo>
                    <a:pt x="571171" y="144780"/>
                    <a:pt x="606393" y="111443"/>
                    <a:pt x="666366" y="111443"/>
                  </a:cubicBezTo>
                  <a:cubicBezTo>
                    <a:pt x="701588" y="111443"/>
                    <a:pt x="729195" y="122873"/>
                    <a:pt x="747282" y="145733"/>
                  </a:cubicBezTo>
                  <a:cubicBezTo>
                    <a:pt x="767273" y="169545"/>
                    <a:pt x="776793" y="207645"/>
                    <a:pt x="776793" y="257175"/>
                  </a:cubicBezTo>
                  <a:lnTo>
                    <a:pt x="776793" y="619125"/>
                  </a:lnTo>
                  <a:lnTo>
                    <a:pt x="907210" y="619125"/>
                  </a:lnTo>
                  <a:lnTo>
                    <a:pt x="907210" y="240983"/>
                  </a:lnTo>
                  <a:cubicBezTo>
                    <a:pt x="909114" y="166688"/>
                    <a:pt x="891027" y="106680"/>
                    <a:pt x="856757" y="64770"/>
                  </a:cubicBez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8" name="Forma libre 147">
              <a:extLst>
                <a:ext uri="{FF2B5EF4-FFF2-40B4-BE49-F238E27FC236}">
                  <a16:creationId xmlns:a16="http://schemas.microsoft.com/office/drawing/2014/main" id="{0F96B44A-1C73-F767-507A-5C2DE63E7FAA}"/>
                </a:ext>
              </a:extLst>
            </p:cNvPr>
            <p:cNvSpPr>
              <a:spLocks/>
            </p:cNvSpPr>
            <p:nvPr/>
          </p:nvSpPr>
          <p:spPr>
            <a:xfrm>
              <a:off x="4437774" y="2254567"/>
              <a:ext cx="566411" cy="635317"/>
            </a:xfrm>
            <a:custGeom>
              <a:avLst/>
              <a:gdLst>
                <a:gd name="connsiteX0" fmla="*/ 293201 w 566411"/>
                <a:gd name="connsiteY0" fmla="*/ 129540 h 635317"/>
                <a:gd name="connsiteX1" fmla="*/ 297009 w 566411"/>
                <a:gd name="connsiteY1" fmla="*/ 129540 h 635317"/>
                <a:gd name="connsiteX2" fmla="*/ 458841 w 566411"/>
                <a:gd name="connsiteY2" fmla="*/ 234315 h 635317"/>
                <a:gd name="connsiteX3" fmla="*/ 566411 w 566411"/>
                <a:gd name="connsiteY3" fmla="*/ 186690 h 635317"/>
                <a:gd name="connsiteX4" fmla="*/ 288442 w 566411"/>
                <a:gd name="connsiteY4" fmla="*/ 0 h 635317"/>
                <a:gd name="connsiteX5" fmla="*/ 82820 w 566411"/>
                <a:gd name="connsiteY5" fmla="*/ 91440 h 635317"/>
                <a:gd name="connsiteX6" fmla="*/ 0 w 566411"/>
                <a:gd name="connsiteY6" fmla="*/ 320993 h 635317"/>
                <a:gd name="connsiteX7" fmla="*/ 290345 w 566411"/>
                <a:gd name="connsiteY7" fmla="*/ 635318 h 635317"/>
                <a:gd name="connsiteX8" fmla="*/ 446465 w 566411"/>
                <a:gd name="connsiteY8" fmla="*/ 597218 h 635317"/>
                <a:gd name="connsiteX9" fmla="*/ 561651 w 566411"/>
                <a:gd name="connsiteY9" fmla="*/ 481013 h 635317"/>
                <a:gd name="connsiteX10" fmla="*/ 563556 w 566411"/>
                <a:gd name="connsiteY10" fmla="*/ 477203 h 635317"/>
                <a:gd name="connsiteX11" fmla="*/ 473120 w 566411"/>
                <a:gd name="connsiteY11" fmla="*/ 417195 h 635317"/>
                <a:gd name="connsiteX12" fmla="*/ 470264 w 566411"/>
                <a:gd name="connsiteY12" fmla="*/ 421958 h 635317"/>
                <a:gd name="connsiteX13" fmla="*/ 301769 w 566411"/>
                <a:gd name="connsiteY13" fmla="*/ 515303 h 635317"/>
                <a:gd name="connsiteX14" fmla="*/ 179919 w 566411"/>
                <a:gd name="connsiteY14" fmla="*/ 461010 h 635317"/>
                <a:gd name="connsiteX15" fmla="*/ 132321 w 566411"/>
                <a:gd name="connsiteY15" fmla="*/ 320040 h 635317"/>
                <a:gd name="connsiteX16" fmla="*/ 181823 w 566411"/>
                <a:gd name="connsiteY16" fmla="*/ 179070 h 635317"/>
                <a:gd name="connsiteX17" fmla="*/ 293201 w 566411"/>
                <a:gd name="connsiteY17" fmla="*/ 12954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66411" h="635317">
                  <a:moveTo>
                    <a:pt x="293201" y="129540"/>
                  </a:moveTo>
                  <a:lnTo>
                    <a:pt x="297009" y="129540"/>
                  </a:lnTo>
                  <a:cubicBezTo>
                    <a:pt x="317952" y="130493"/>
                    <a:pt x="417907" y="138113"/>
                    <a:pt x="458841" y="234315"/>
                  </a:cubicBezTo>
                  <a:lnTo>
                    <a:pt x="566411" y="186690"/>
                  </a:lnTo>
                  <a:cubicBezTo>
                    <a:pt x="566411" y="186690"/>
                    <a:pt x="515958" y="0"/>
                    <a:pt x="288442" y="0"/>
                  </a:cubicBezTo>
                  <a:cubicBezTo>
                    <a:pt x="208477" y="0"/>
                    <a:pt x="135177" y="32385"/>
                    <a:pt x="82820" y="91440"/>
                  </a:cubicBezTo>
                  <a:cubicBezTo>
                    <a:pt x="29511" y="150495"/>
                    <a:pt x="0" y="231458"/>
                    <a:pt x="0" y="320993"/>
                  </a:cubicBezTo>
                  <a:cubicBezTo>
                    <a:pt x="0" y="502920"/>
                    <a:pt x="121850" y="635318"/>
                    <a:pt x="290345" y="635318"/>
                  </a:cubicBezTo>
                  <a:cubicBezTo>
                    <a:pt x="348414" y="635318"/>
                    <a:pt x="400772" y="622935"/>
                    <a:pt x="446465" y="597218"/>
                  </a:cubicBezTo>
                  <a:cubicBezTo>
                    <a:pt x="494063" y="570548"/>
                    <a:pt x="533093" y="531495"/>
                    <a:pt x="561651" y="481013"/>
                  </a:cubicBezTo>
                  <a:lnTo>
                    <a:pt x="563556" y="477203"/>
                  </a:lnTo>
                  <a:lnTo>
                    <a:pt x="473120" y="417195"/>
                  </a:lnTo>
                  <a:lnTo>
                    <a:pt x="470264" y="421958"/>
                  </a:lnTo>
                  <a:cubicBezTo>
                    <a:pt x="432186" y="481013"/>
                    <a:pt x="370309" y="515303"/>
                    <a:pt x="301769" y="515303"/>
                  </a:cubicBezTo>
                  <a:cubicBezTo>
                    <a:pt x="254171" y="515303"/>
                    <a:pt x="210381" y="496253"/>
                    <a:pt x="179919" y="461010"/>
                  </a:cubicBezTo>
                  <a:cubicBezTo>
                    <a:pt x="149457" y="425768"/>
                    <a:pt x="132321" y="375285"/>
                    <a:pt x="132321" y="320040"/>
                  </a:cubicBezTo>
                  <a:cubicBezTo>
                    <a:pt x="132321" y="261938"/>
                    <a:pt x="149457" y="213360"/>
                    <a:pt x="181823" y="179070"/>
                  </a:cubicBezTo>
                  <a:cubicBezTo>
                    <a:pt x="212285" y="146685"/>
                    <a:pt x="251315" y="129540"/>
                    <a:pt x="293201" y="129540"/>
                  </a:cubicBez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49" name="Forma libre 148">
              <a:extLst>
                <a:ext uri="{FF2B5EF4-FFF2-40B4-BE49-F238E27FC236}">
                  <a16:creationId xmlns:a16="http://schemas.microsoft.com/office/drawing/2014/main" id="{AFECA6FD-668B-4CA9-D071-5A855323B995}"/>
                </a:ext>
              </a:extLst>
            </p:cNvPr>
            <p:cNvSpPr>
              <a:spLocks/>
            </p:cNvSpPr>
            <p:nvPr/>
          </p:nvSpPr>
          <p:spPr>
            <a:xfrm>
              <a:off x="5079390" y="2254567"/>
              <a:ext cx="605441" cy="226695"/>
            </a:xfrm>
            <a:custGeom>
              <a:avLst/>
              <a:gdLst>
                <a:gd name="connsiteX0" fmla="*/ 302721 w 605441"/>
                <a:gd name="connsiteY0" fmla="*/ 125730 h 226695"/>
                <a:gd name="connsiteX1" fmla="*/ 471216 w 605441"/>
                <a:gd name="connsiteY1" fmla="*/ 226695 h 226695"/>
                <a:gd name="connsiteX2" fmla="*/ 605441 w 605441"/>
                <a:gd name="connsiteY2" fmla="*/ 226695 h 226695"/>
                <a:gd name="connsiteX3" fmla="*/ 302721 w 605441"/>
                <a:gd name="connsiteY3" fmla="*/ 0 h 226695"/>
                <a:gd name="connsiteX4" fmla="*/ 0 w 605441"/>
                <a:gd name="connsiteY4" fmla="*/ 226695 h 226695"/>
                <a:gd name="connsiteX5" fmla="*/ 135177 w 605441"/>
                <a:gd name="connsiteY5" fmla="*/ 226695 h 226695"/>
                <a:gd name="connsiteX6" fmla="*/ 302721 w 605441"/>
                <a:gd name="connsiteY6" fmla="*/ 125730 h 226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5441" h="226695">
                  <a:moveTo>
                    <a:pt x="302721" y="125730"/>
                  </a:moveTo>
                  <a:cubicBezTo>
                    <a:pt x="375069" y="125730"/>
                    <a:pt x="438850" y="166688"/>
                    <a:pt x="471216" y="226695"/>
                  </a:cubicBezTo>
                  <a:lnTo>
                    <a:pt x="605441" y="226695"/>
                  </a:lnTo>
                  <a:cubicBezTo>
                    <a:pt x="566411" y="95250"/>
                    <a:pt x="445514" y="0"/>
                    <a:pt x="302721" y="0"/>
                  </a:cubicBezTo>
                  <a:cubicBezTo>
                    <a:pt x="159928" y="0"/>
                    <a:pt x="39030" y="96203"/>
                    <a:pt x="0" y="226695"/>
                  </a:cubicBezTo>
                  <a:lnTo>
                    <a:pt x="135177" y="226695"/>
                  </a:lnTo>
                  <a:cubicBezTo>
                    <a:pt x="166592" y="166688"/>
                    <a:pt x="230372" y="125730"/>
                    <a:pt x="302721" y="125730"/>
                  </a:cubicBez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50" name="Forma libre 149">
              <a:extLst>
                <a:ext uri="{FF2B5EF4-FFF2-40B4-BE49-F238E27FC236}">
                  <a16:creationId xmlns:a16="http://schemas.microsoft.com/office/drawing/2014/main" id="{FCC251CA-3B0F-B5E7-D060-204E4423A68C}"/>
                </a:ext>
              </a:extLst>
            </p:cNvPr>
            <p:cNvSpPr>
              <a:spLocks/>
            </p:cNvSpPr>
            <p:nvPr/>
          </p:nvSpPr>
          <p:spPr>
            <a:xfrm>
              <a:off x="5066062" y="2543175"/>
              <a:ext cx="632095" cy="345757"/>
            </a:xfrm>
            <a:custGeom>
              <a:avLst/>
              <a:gdLst>
                <a:gd name="connsiteX0" fmla="*/ 505486 w 632095"/>
                <a:gd name="connsiteY0" fmla="*/ 0 h 345757"/>
                <a:gd name="connsiteX1" fmla="*/ 507390 w 632095"/>
                <a:gd name="connsiteY1" fmla="*/ 28575 h 345757"/>
                <a:gd name="connsiteX2" fmla="*/ 316048 w 632095"/>
                <a:gd name="connsiteY2" fmla="*/ 220027 h 345757"/>
                <a:gd name="connsiteX3" fmla="*/ 124706 w 632095"/>
                <a:gd name="connsiteY3" fmla="*/ 28575 h 345757"/>
                <a:gd name="connsiteX4" fmla="*/ 126610 w 632095"/>
                <a:gd name="connsiteY4" fmla="*/ 0 h 345757"/>
                <a:gd name="connsiteX5" fmla="*/ 952 w 632095"/>
                <a:gd name="connsiteY5" fmla="*/ 0 h 345757"/>
                <a:gd name="connsiteX6" fmla="*/ 0 w 632095"/>
                <a:gd name="connsiteY6" fmla="*/ 28575 h 345757"/>
                <a:gd name="connsiteX7" fmla="*/ 316048 w 632095"/>
                <a:gd name="connsiteY7" fmla="*/ 345758 h 345757"/>
                <a:gd name="connsiteX8" fmla="*/ 632096 w 632095"/>
                <a:gd name="connsiteY8" fmla="*/ 28575 h 345757"/>
                <a:gd name="connsiteX9" fmla="*/ 631144 w 632095"/>
                <a:gd name="connsiteY9" fmla="*/ 0 h 345757"/>
                <a:gd name="connsiteX10" fmla="*/ 505486 w 632095"/>
                <a:gd name="connsiteY10" fmla="*/ 0 h 345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2095" h="345757">
                  <a:moveTo>
                    <a:pt x="505486" y="0"/>
                  </a:moveTo>
                  <a:cubicBezTo>
                    <a:pt x="506438" y="9525"/>
                    <a:pt x="507390" y="19050"/>
                    <a:pt x="507390" y="28575"/>
                  </a:cubicBezTo>
                  <a:cubicBezTo>
                    <a:pt x="507390" y="134302"/>
                    <a:pt x="421715" y="220027"/>
                    <a:pt x="316048" y="220027"/>
                  </a:cubicBezTo>
                  <a:cubicBezTo>
                    <a:pt x="210381" y="220027"/>
                    <a:pt x="124706" y="134302"/>
                    <a:pt x="124706" y="28575"/>
                  </a:cubicBezTo>
                  <a:cubicBezTo>
                    <a:pt x="124706" y="19050"/>
                    <a:pt x="125658" y="9525"/>
                    <a:pt x="126610" y="0"/>
                  </a:cubicBezTo>
                  <a:lnTo>
                    <a:pt x="952" y="0"/>
                  </a:lnTo>
                  <a:cubicBezTo>
                    <a:pt x="0" y="9525"/>
                    <a:pt x="0" y="19050"/>
                    <a:pt x="0" y="28575"/>
                  </a:cubicBezTo>
                  <a:cubicBezTo>
                    <a:pt x="0" y="203835"/>
                    <a:pt x="141841" y="345758"/>
                    <a:pt x="316048" y="345758"/>
                  </a:cubicBezTo>
                  <a:cubicBezTo>
                    <a:pt x="490255" y="345758"/>
                    <a:pt x="632096" y="202883"/>
                    <a:pt x="632096" y="28575"/>
                  </a:cubicBezTo>
                  <a:cubicBezTo>
                    <a:pt x="632096" y="19050"/>
                    <a:pt x="632096" y="9525"/>
                    <a:pt x="631144" y="0"/>
                  </a:cubicBezTo>
                  <a:lnTo>
                    <a:pt x="505486" y="0"/>
                  </a:lnTo>
                  <a:close/>
                </a:path>
              </a:pathLst>
            </a:custGeom>
            <a:solidFill>
              <a:srgbClr val="3C00A0"/>
            </a:solidFill>
            <a:ln w="95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grpSp>
        <p:nvGrpSpPr>
          <p:cNvPr id="4" name="Grupo 3">
            <a:extLst>
              <a:ext uri="{FF2B5EF4-FFF2-40B4-BE49-F238E27FC236}">
                <a16:creationId xmlns:a16="http://schemas.microsoft.com/office/drawing/2014/main" id="{A6D9DA7E-6A22-D29A-71C0-0578F21B8771}"/>
              </a:ext>
            </a:extLst>
          </p:cNvPr>
          <p:cNvGrpSpPr/>
          <p:nvPr/>
        </p:nvGrpSpPr>
        <p:grpSpPr>
          <a:xfrm>
            <a:off x="5562862" y="2660088"/>
            <a:ext cx="565860" cy="764447"/>
            <a:chOff x="7689646" y="497447"/>
            <a:chExt cx="565860" cy="764447"/>
          </a:xfrm>
        </p:grpSpPr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11D5BF3A-8229-3A21-3F9C-4781A07E3A00}"/>
                </a:ext>
              </a:extLst>
            </p:cNvPr>
            <p:cNvSpPr txBox="1">
              <a:spLocks/>
            </p:cNvSpPr>
            <p:nvPr/>
          </p:nvSpPr>
          <p:spPr>
            <a:xfrm>
              <a:off x="7689646" y="497447"/>
              <a:ext cx="565860" cy="3385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s-AR" sz="800">
                  <a:solidFill>
                    <a:srgbClr val="0066FF"/>
                  </a:solidFill>
                  <a:latin typeface="Pulso Light" pitchFamily="2" charset="0"/>
                </a:rPr>
                <a:t>2025</a:t>
              </a:r>
            </a:p>
            <a:p>
              <a:pPr algn="ctr">
                <a:spcBef>
                  <a:spcPts val="0"/>
                </a:spcBef>
              </a:pPr>
              <a:r>
                <a:rPr lang="es-ES_tradnl" sz="800" b="1">
                  <a:solidFill>
                    <a:srgbClr val="0066FF"/>
                  </a:solidFill>
                  <a:latin typeface="Pulso" pitchFamily="2" charset="0"/>
                </a:rPr>
                <a:t>U$ 449MM</a:t>
              </a:r>
            </a:p>
            <a:p>
              <a:pPr algn="ctr">
                <a:spcBef>
                  <a:spcPts val="0"/>
                </a:spcBef>
              </a:pPr>
              <a:r>
                <a:rPr lang="es-ES_tradnl" sz="600">
                  <a:solidFill>
                    <a:srgbClr val="0066FF"/>
                  </a:solidFill>
                  <a:latin typeface="Pulso" pitchFamily="2" charset="0"/>
                </a:rPr>
                <a:t>-2% vs 24</a:t>
              </a:r>
            </a:p>
          </p:txBody>
        </p:sp>
        <p:sp>
          <p:nvSpPr>
            <p:cNvPr id="23" name="CuadroTexto 22">
              <a:extLst>
                <a:ext uri="{FF2B5EF4-FFF2-40B4-BE49-F238E27FC236}">
                  <a16:creationId xmlns:a16="http://schemas.microsoft.com/office/drawing/2014/main" id="{45923776-2D3C-D802-316B-16BC1356E2AA}"/>
                </a:ext>
              </a:extLst>
            </p:cNvPr>
            <p:cNvSpPr txBox="1">
              <a:spLocks/>
            </p:cNvSpPr>
            <p:nvPr/>
          </p:nvSpPr>
          <p:spPr>
            <a:xfrm>
              <a:off x="7692852" y="923340"/>
              <a:ext cx="559449" cy="3385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s-ES_tradnl" sz="800">
                  <a:solidFill>
                    <a:srgbClr val="0066FF"/>
                  </a:solidFill>
                  <a:latin typeface="Pulso Light" pitchFamily="2" charset="0"/>
                </a:rPr>
                <a:t>2026</a:t>
              </a:r>
            </a:p>
            <a:p>
              <a:pPr algn="ctr">
                <a:spcBef>
                  <a:spcPts val="0"/>
                </a:spcBef>
              </a:pPr>
              <a:r>
                <a:rPr lang="es-ES_tradnl" sz="800" b="1">
                  <a:solidFill>
                    <a:srgbClr val="0066FF"/>
                  </a:solidFill>
                  <a:latin typeface="Pulso" pitchFamily="2" charset="0"/>
                </a:rPr>
                <a:t>U$ 456MM</a:t>
              </a:r>
            </a:p>
            <a:p>
              <a:pPr algn="ctr">
                <a:spcBef>
                  <a:spcPts val="0"/>
                </a:spcBef>
              </a:pPr>
              <a:r>
                <a:rPr lang="es-ES_tradnl" sz="600">
                  <a:solidFill>
                    <a:srgbClr val="0066FF"/>
                  </a:solidFill>
                  <a:latin typeface="Pulso" pitchFamily="2" charset="0"/>
                </a:rPr>
                <a:t>+2% vs 25</a:t>
              </a:r>
            </a:p>
          </p:txBody>
        </p:sp>
        <p:cxnSp>
          <p:nvCxnSpPr>
            <p:cNvPr id="3" name="Conector recto 2">
              <a:extLst>
                <a:ext uri="{FF2B5EF4-FFF2-40B4-BE49-F238E27FC236}">
                  <a16:creationId xmlns:a16="http://schemas.microsoft.com/office/drawing/2014/main" id="{FE45BFD9-1B86-076D-E696-99E2432EB150}"/>
                </a:ext>
              </a:extLst>
            </p:cNvPr>
            <p:cNvCxnSpPr>
              <a:cxnSpLocks/>
            </p:cNvCxnSpPr>
            <p:nvPr/>
          </p:nvCxnSpPr>
          <p:spPr>
            <a:xfrm>
              <a:off x="7701075" y="876790"/>
              <a:ext cx="543003" cy="0"/>
            </a:xfrm>
            <a:prstGeom prst="line">
              <a:avLst/>
            </a:prstGeom>
            <a:ln cap="rnd">
              <a:solidFill>
                <a:srgbClr val="0066FF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o 25">
            <a:extLst>
              <a:ext uri="{FF2B5EF4-FFF2-40B4-BE49-F238E27FC236}">
                <a16:creationId xmlns:a16="http://schemas.microsoft.com/office/drawing/2014/main" id="{DB95DAB2-6BFC-2BD6-EBA9-18D1AE1252D6}"/>
              </a:ext>
            </a:extLst>
          </p:cNvPr>
          <p:cNvGrpSpPr/>
          <p:nvPr/>
        </p:nvGrpSpPr>
        <p:grpSpPr>
          <a:xfrm>
            <a:off x="1899488" y="2660088"/>
            <a:ext cx="559449" cy="764447"/>
            <a:chOff x="7692852" y="497447"/>
            <a:chExt cx="559449" cy="764447"/>
          </a:xfrm>
        </p:grpSpPr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B7EBDC29-5610-8481-E4AB-4BE9E259BC6E}"/>
                </a:ext>
              </a:extLst>
            </p:cNvPr>
            <p:cNvSpPr txBox="1">
              <a:spLocks/>
            </p:cNvSpPr>
            <p:nvPr/>
          </p:nvSpPr>
          <p:spPr>
            <a:xfrm>
              <a:off x="7693653" y="497447"/>
              <a:ext cx="557845" cy="3385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s-AR" sz="800">
                  <a:solidFill>
                    <a:srgbClr val="3C00A0"/>
                  </a:solidFill>
                  <a:latin typeface="Pulso Light" pitchFamily="2" charset="0"/>
                </a:rPr>
                <a:t>2025</a:t>
              </a:r>
            </a:p>
            <a:p>
              <a:pPr algn="ctr">
                <a:spcBef>
                  <a:spcPts val="0"/>
                </a:spcBef>
              </a:pPr>
              <a:r>
                <a:rPr lang="es-ES_tradnl" sz="800" b="1">
                  <a:solidFill>
                    <a:srgbClr val="3C00A0"/>
                  </a:solidFill>
                  <a:latin typeface="Pulso" pitchFamily="2" charset="0"/>
                </a:rPr>
                <a:t>U$ 483MM</a:t>
              </a:r>
            </a:p>
            <a:p>
              <a:pPr algn="ctr">
                <a:spcBef>
                  <a:spcPts val="0"/>
                </a:spcBef>
              </a:pPr>
              <a:r>
                <a:rPr lang="es-ES_tradnl" sz="600">
                  <a:solidFill>
                    <a:srgbClr val="3C00A0"/>
                  </a:solidFill>
                  <a:latin typeface="Pulso" pitchFamily="2" charset="0"/>
                </a:rPr>
                <a:t>+10% vs 24</a:t>
              </a:r>
            </a:p>
          </p:txBody>
        </p:sp>
        <p:sp>
          <p:nvSpPr>
            <p:cNvPr id="28" name="CuadroTexto 27">
              <a:extLst>
                <a:ext uri="{FF2B5EF4-FFF2-40B4-BE49-F238E27FC236}">
                  <a16:creationId xmlns:a16="http://schemas.microsoft.com/office/drawing/2014/main" id="{2E22BC4E-4D25-AF38-D0D3-9E9AC16778C8}"/>
                </a:ext>
              </a:extLst>
            </p:cNvPr>
            <p:cNvSpPr txBox="1">
              <a:spLocks/>
            </p:cNvSpPr>
            <p:nvPr/>
          </p:nvSpPr>
          <p:spPr>
            <a:xfrm>
              <a:off x="7692852" y="923340"/>
              <a:ext cx="559449" cy="3385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s-ES_tradnl" sz="800">
                  <a:solidFill>
                    <a:srgbClr val="3C00A0"/>
                  </a:solidFill>
                  <a:latin typeface="Pulso Light" pitchFamily="2" charset="0"/>
                </a:rPr>
                <a:t>2026</a:t>
              </a:r>
            </a:p>
            <a:p>
              <a:pPr algn="ctr">
                <a:spcBef>
                  <a:spcPts val="0"/>
                </a:spcBef>
              </a:pPr>
              <a:r>
                <a:rPr lang="es-ES_tradnl" sz="800" b="1">
                  <a:solidFill>
                    <a:srgbClr val="3C00A0"/>
                  </a:solidFill>
                  <a:latin typeface="Pulso" pitchFamily="2" charset="0"/>
                </a:rPr>
                <a:t>U$ 504MM</a:t>
              </a:r>
            </a:p>
            <a:p>
              <a:pPr algn="ctr">
                <a:spcBef>
                  <a:spcPts val="0"/>
                </a:spcBef>
              </a:pPr>
              <a:r>
                <a:rPr lang="es-ES_tradnl" sz="600">
                  <a:solidFill>
                    <a:srgbClr val="3C00A0"/>
                  </a:solidFill>
                  <a:latin typeface="Pulso" pitchFamily="2" charset="0"/>
                </a:rPr>
                <a:t>+4% vs 25</a:t>
              </a:r>
            </a:p>
          </p:txBody>
        </p:sp>
        <p:cxnSp>
          <p:nvCxnSpPr>
            <p:cNvPr id="29" name="Conector recto 28">
              <a:extLst>
                <a:ext uri="{FF2B5EF4-FFF2-40B4-BE49-F238E27FC236}">
                  <a16:creationId xmlns:a16="http://schemas.microsoft.com/office/drawing/2014/main" id="{DB3CA867-76CF-805C-6221-E504E5ED22E6}"/>
                </a:ext>
              </a:extLst>
            </p:cNvPr>
            <p:cNvCxnSpPr>
              <a:cxnSpLocks/>
            </p:cNvCxnSpPr>
            <p:nvPr/>
          </p:nvCxnSpPr>
          <p:spPr>
            <a:xfrm>
              <a:off x="7701075" y="876790"/>
              <a:ext cx="543003" cy="0"/>
            </a:xfrm>
            <a:prstGeom prst="line">
              <a:avLst/>
            </a:prstGeom>
            <a:ln cap="rnd">
              <a:solidFill>
                <a:srgbClr val="3C00A0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96041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1BF523-A104-BCCA-6171-F992EA2E3F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orma libre 46">
            <a:extLst>
              <a:ext uri="{FF2B5EF4-FFF2-40B4-BE49-F238E27FC236}">
                <a16:creationId xmlns:a16="http://schemas.microsoft.com/office/drawing/2014/main" id="{BDCD1F5A-E55A-4A7E-8277-CFE1587D2F8A}"/>
              </a:ext>
            </a:extLst>
          </p:cNvPr>
          <p:cNvSpPr/>
          <p:nvPr/>
        </p:nvSpPr>
        <p:spPr>
          <a:xfrm>
            <a:off x="4783762" y="0"/>
            <a:ext cx="3438000" cy="5148000"/>
          </a:xfrm>
          <a:custGeom>
            <a:avLst/>
            <a:gdLst>
              <a:gd name="connsiteX0" fmla="*/ 0 w 3437719"/>
              <a:gd name="connsiteY0" fmla="*/ 0 h 5143500"/>
              <a:gd name="connsiteX1" fmla="*/ 2845711 w 3437719"/>
              <a:gd name="connsiteY1" fmla="*/ 0 h 5143500"/>
              <a:gd name="connsiteX2" fmla="*/ 2859164 w 3437719"/>
              <a:gd name="connsiteY2" fmla="*/ 26279 h 5143500"/>
              <a:gd name="connsiteX3" fmla="*/ 3437719 w 3437719"/>
              <a:gd name="connsiteY3" fmla="*/ 2571759 h 5143500"/>
              <a:gd name="connsiteX4" fmla="*/ 2859164 w 3437719"/>
              <a:gd name="connsiteY4" fmla="*/ 5109548 h 5143500"/>
              <a:gd name="connsiteX5" fmla="*/ 2841774 w 3437719"/>
              <a:gd name="connsiteY5" fmla="*/ 5143500 h 5143500"/>
              <a:gd name="connsiteX6" fmla="*/ 2 w 3437719"/>
              <a:gd name="connsiteY6" fmla="*/ 5143500 h 5143500"/>
              <a:gd name="connsiteX7" fmla="*/ 73187 w 3437719"/>
              <a:gd name="connsiteY7" fmla="*/ 5076984 h 5143500"/>
              <a:gd name="connsiteX8" fmla="*/ 1110970 w 3437719"/>
              <a:gd name="connsiteY8" fmla="*/ 2571759 h 5143500"/>
              <a:gd name="connsiteX9" fmla="*/ 73187 w 3437719"/>
              <a:gd name="connsiteY9" fmla="*/ 66518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37719" h="5143500">
                <a:moveTo>
                  <a:pt x="0" y="0"/>
                </a:moveTo>
                <a:lnTo>
                  <a:pt x="2845711" y="0"/>
                </a:lnTo>
                <a:lnTo>
                  <a:pt x="2859164" y="26279"/>
                </a:lnTo>
                <a:cubicBezTo>
                  <a:pt x="3229966" y="796168"/>
                  <a:pt x="3437719" y="1659563"/>
                  <a:pt x="3437719" y="2571759"/>
                </a:cubicBezTo>
                <a:cubicBezTo>
                  <a:pt x="3437719" y="3478995"/>
                  <a:pt x="3229966" y="4340218"/>
                  <a:pt x="2859164" y="5109548"/>
                </a:cubicBezTo>
                <a:lnTo>
                  <a:pt x="2841774" y="5143500"/>
                </a:lnTo>
                <a:lnTo>
                  <a:pt x="2" y="5143500"/>
                </a:lnTo>
                <a:lnTo>
                  <a:pt x="73187" y="5076984"/>
                </a:lnTo>
                <a:cubicBezTo>
                  <a:pt x="714366" y="4435804"/>
                  <a:pt x="1110970" y="3550051"/>
                  <a:pt x="1110970" y="2571759"/>
                </a:cubicBezTo>
                <a:cubicBezTo>
                  <a:pt x="1110970" y="1593458"/>
                  <a:pt x="714366" y="707700"/>
                  <a:pt x="73187" y="66518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grpSp>
        <p:nvGrpSpPr>
          <p:cNvPr id="59" name="Grupo 58">
            <a:extLst>
              <a:ext uri="{FF2B5EF4-FFF2-40B4-BE49-F238E27FC236}">
                <a16:creationId xmlns:a16="http://schemas.microsoft.com/office/drawing/2014/main" id="{B9B818C2-C7A5-61DF-0750-BB363D6F7251}"/>
              </a:ext>
            </a:extLst>
          </p:cNvPr>
          <p:cNvGrpSpPr/>
          <p:nvPr/>
        </p:nvGrpSpPr>
        <p:grpSpPr>
          <a:xfrm>
            <a:off x="117446" y="4735746"/>
            <a:ext cx="8906400" cy="268682"/>
            <a:chOff x="117446" y="4735746"/>
            <a:chExt cx="8906400" cy="268682"/>
          </a:xfrm>
        </p:grpSpPr>
        <p:sp>
          <p:nvSpPr>
            <p:cNvPr id="48" name="Rectángulo redondeado 47">
              <a:extLst>
                <a:ext uri="{FF2B5EF4-FFF2-40B4-BE49-F238E27FC236}">
                  <a16:creationId xmlns:a16="http://schemas.microsoft.com/office/drawing/2014/main" id="{5451E7C6-A5E8-B7BC-97F6-0F82FD06683A}"/>
                </a:ext>
              </a:extLst>
            </p:cNvPr>
            <p:cNvSpPr/>
            <p:nvPr/>
          </p:nvSpPr>
          <p:spPr>
            <a:xfrm>
              <a:off x="117446" y="4735746"/>
              <a:ext cx="8906400" cy="26868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lvl="0" algn="ctr">
                <a:spcBef>
                  <a:spcPts val="1000"/>
                </a:spcBef>
              </a:pPr>
              <a:endParaRPr lang="es-AR" sz="14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  <p:grpSp>
          <p:nvGrpSpPr>
            <p:cNvPr id="49" name="Gráfico 3">
              <a:extLst>
                <a:ext uri="{FF2B5EF4-FFF2-40B4-BE49-F238E27FC236}">
                  <a16:creationId xmlns:a16="http://schemas.microsoft.com/office/drawing/2014/main" id="{5BA83C58-4FE0-F6C7-3178-81077E0ED995}"/>
                </a:ext>
              </a:extLst>
            </p:cNvPr>
            <p:cNvGrpSpPr/>
            <p:nvPr/>
          </p:nvGrpSpPr>
          <p:grpSpPr>
            <a:xfrm>
              <a:off x="8243851" y="4808412"/>
              <a:ext cx="549475" cy="126054"/>
              <a:chOff x="3835717" y="2907982"/>
              <a:chExt cx="4521517" cy="1037272"/>
            </a:xfrm>
            <a:solidFill>
              <a:schemeClr val="accent2"/>
            </a:solidFill>
          </p:grpSpPr>
          <p:sp>
            <p:nvSpPr>
              <p:cNvPr id="50" name="Forma libre 49">
                <a:extLst>
                  <a:ext uri="{FF2B5EF4-FFF2-40B4-BE49-F238E27FC236}">
                    <a16:creationId xmlns:a16="http://schemas.microsoft.com/office/drawing/2014/main" id="{257FDE05-20BD-9D06-0A7D-72195474DE4F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1" name="Forma libre 50">
                <a:extLst>
                  <a:ext uri="{FF2B5EF4-FFF2-40B4-BE49-F238E27FC236}">
                    <a16:creationId xmlns:a16="http://schemas.microsoft.com/office/drawing/2014/main" id="{AFEEC1BC-F10E-3B61-1174-6B8351553186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2" name="Forma libre 51">
                <a:extLst>
                  <a:ext uri="{FF2B5EF4-FFF2-40B4-BE49-F238E27FC236}">
                    <a16:creationId xmlns:a16="http://schemas.microsoft.com/office/drawing/2014/main" id="{9FEF7567-674A-7879-B99C-9010F667E36F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3" name="Forma libre 52">
                <a:extLst>
                  <a:ext uri="{FF2B5EF4-FFF2-40B4-BE49-F238E27FC236}">
                    <a16:creationId xmlns:a16="http://schemas.microsoft.com/office/drawing/2014/main" id="{B98DC409-3AF1-FB6E-2228-04FFB9F4C31C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4" name="Forma libre 53">
                <a:extLst>
                  <a:ext uri="{FF2B5EF4-FFF2-40B4-BE49-F238E27FC236}">
                    <a16:creationId xmlns:a16="http://schemas.microsoft.com/office/drawing/2014/main" id="{C1531124-C4D4-6820-7259-DE10E19D119E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5" name="Forma libre 54">
                <a:extLst>
                  <a:ext uri="{FF2B5EF4-FFF2-40B4-BE49-F238E27FC236}">
                    <a16:creationId xmlns:a16="http://schemas.microsoft.com/office/drawing/2014/main" id="{ACDC6525-53B3-0155-1EA9-2B6E9F9D820E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6" name="Forma libre 55">
                <a:extLst>
                  <a:ext uri="{FF2B5EF4-FFF2-40B4-BE49-F238E27FC236}">
                    <a16:creationId xmlns:a16="http://schemas.microsoft.com/office/drawing/2014/main" id="{1D46CAAB-00D3-8829-FF87-639817F0031D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7" name="Forma libre 56">
                <a:extLst>
                  <a:ext uri="{FF2B5EF4-FFF2-40B4-BE49-F238E27FC236}">
                    <a16:creationId xmlns:a16="http://schemas.microsoft.com/office/drawing/2014/main" id="{378E8898-29A0-479D-A226-28F87BB643B7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58" name="Rectángulo 57">
              <a:extLst>
                <a:ext uri="{FF2B5EF4-FFF2-40B4-BE49-F238E27FC236}">
                  <a16:creationId xmlns:a16="http://schemas.microsoft.com/office/drawing/2014/main" id="{5FDE4EC2-076B-FEB7-4608-F1FD0A0F509C}"/>
                </a:ext>
              </a:extLst>
            </p:cNvPr>
            <p:cNvSpPr/>
            <p:nvPr/>
          </p:nvSpPr>
          <p:spPr>
            <a:xfrm>
              <a:off x="257485" y="4831799"/>
              <a:ext cx="1163588" cy="10464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l">
                <a:lnSpc>
                  <a:spcPct val="85000"/>
                </a:lnSpc>
              </a:pPr>
              <a:r>
                <a:rPr lang="es-ES_tradnl" sz="800" b="0" i="0" spc="-7" noProof="0">
                  <a:solidFill>
                    <a:schemeClr val="tx2"/>
                  </a:solidFill>
                  <a:latin typeface="Pulso Light" pitchFamily="2" charset="0"/>
                  <a:ea typeface="Inter Light BETA" panose="020B0402030000000004" pitchFamily="34" charset="0"/>
                </a:rPr>
                <a:t>Estrategia</a:t>
              </a:r>
              <a:r>
                <a:rPr lang="es-ES_tradnl" sz="800" b="0" i="0" spc="-7" noProof="0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  <a:t>  </a:t>
              </a:r>
              <a:r>
                <a:rPr lang="es-ES_tradnl" sz="800" b="1" i="0" spc="-7" noProof="0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  <a:t>2026  ·  2030</a:t>
              </a:r>
              <a:endPara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Extra Bold" panose="020B0502030000000004" pitchFamily="34" charset="0"/>
              </a:endParaRPr>
            </a:p>
          </p:txBody>
        </p:sp>
      </p:grpSp>
      <p:sp>
        <p:nvSpPr>
          <p:cNvPr id="22" name="Marcador de texto 8">
            <a:extLst>
              <a:ext uri="{FF2B5EF4-FFF2-40B4-BE49-F238E27FC236}">
                <a16:creationId xmlns:a16="http://schemas.microsoft.com/office/drawing/2014/main" id="{E4D328AD-6D5D-7D4C-C4A5-D2CB1783CC43}"/>
              </a:ext>
            </a:extLst>
          </p:cNvPr>
          <p:cNvSpPr txBox="1">
            <a:spLocks/>
          </p:cNvSpPr>
          <p:nvPr/>
        </p:nvSpPr>
        <p:spPr>
          <a:xfrm>
            <a:off x="1234837" y="1573440"/>
            <a:ext cx="4254250" cy="224266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400" spc="-15">
                <a:latin typeface="Pulso Light"/>
                <a:ea typeface="Open Sans Light"/>
                <a:cs typeface="Open Sans Light"/>
              </a:rPr>
              <a:t>Nuevo Modelo de Trabajo.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400" spc="-15">
                <a:latin typeface="Pulso Light"/>
                <a:ea typeface="Open Sans Light"/>
                <a:cs typeface="Open Sans Light"/>
              </a:rPr>
              <a:t>Integración cultural con TMA.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ES" sz="1400" spc="-15">
                <a:latin typeface="Pulso Light"/>
                <a:ea typeface="Open Sans Light"/>
                <a:cs typeface="Open Sans Light"/>
              </a:rPr>
              <a:t>Lograr escalabilidad, regionalización y eficiencias operativas de nuestras plataformas.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ES" sz="1400" spc="-15">
                <a:latin typeface="Pulso Light"/>
                <a:ea typeface="Open Sans Light"/>
                <a:cs typeface="Open Sans Light"/>
              </a:rPr>
              <a:t>La IA como acelerador  de la evolución tecnológica.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ES" sz="1400" spc="-15">
                <a:latin typeface="Pulso Light"/>
                <a:ea typeface="Open Sans Light"/>
                <a:cs typeface="Open Sans Light"/>
              </a:rPr>
              <a:t>El futuro de la operación de las redes y servicios:</a:t>
            </a:r>
            <a:br>
              <a:rPr lang="es-ES" sz="1400" spc="-15">
                <a:latin typeface="Pulso Light" pitchFamily="2" charset="0"/>
                <a:ea typeface="Open Sans Light"/>
                <a:cs typeface="Open Sans Light"/>
              </a:rPr>
            </a:br>
            <a:r>
              <a:rPr lang="es-ES" sz="1400" spc="-15">
                <a:latin typeface="Pulso Light"/>
                <a:ea typeface="Open Sans Light"/>
                <a:cs typeface="Open Sans Light"/>
              </a:rPr>
              <a:t>Redes Autónomas.</a:t>
            </a:r>
            <a:endParaRPr lang="es-AR" sz="1400" spc="-15">
              <a:latin typeface="Pulso Light"/>
              <a:ea typeface="Open Sans Light"/>
              <a:cs typeface="Open Sans Light"/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3427D1E9-63CE-E813-2343-784701C23B4D}"/>
              </a:ext>
            </a:extLst>
          </p:cNvPr>
          <p:cNvGrpSpPr/>
          <p:nvPr/>
        </p:nvGrpSpPr>
        <p:grpSpPr>
          <a:xfrm>
            <a:off x="540651" y="704102"/>
            <a:ext cx="4479948" cy="720517"/>
            <a:chOff x="1186436" y="701273"/>
            <a:chExt cx="1928192" cy="310113"/>
          </a:xfrm>
        </p:grpSpPr>
        <p:grpSp>
          <p:nvGrpSpPr>
            <p:cNvPr id="3" name="Grupo 2">
              <a:extLst>
                <a:ext uri="{FF2B5EF4-FFF2-40B4-BE49-F238E27FC236}">
                  <a16:creationId xmlns:a16="http://schemas.microsoft.com/office/drawing/2014/main" id="{5377C76B-7620-2F96-8AD1-D6DC666E5376}"/>
                </a:ext>
              </a:extLst>
            </p:cNvPr>
            <p:cNvGrpSpPr/>
            <p:nvPr/>
          </p:nvGrpSpPr>
          <p:grpSpPr>
            <a:xfrm>
              <a:off x="1186436" y="727786"/>
              <a:ext cx="236474" cy="236229"/>
              <a:chOff x="3955161" y="1943655"/>
              <a:chExt cx="1169097" cy="1167892"/>
            </a:xfrm>
          </p:grpSpPr>
          <p:sp>
            <p:nvSpPr>
              <p:cNvPr id="5" name="Forma libre 4">
                <a:extLst>
                  <a:ext uri="{FF2B5EF4-FFF2-40B4-BE49-F238E27FC236}">
                    <a16:creationId xmlns:a16="http://schemas.microsoft.com/office/drawing/2014/main" id="{554DC77B-21FC-6C0A-9957-7B6F2EBB4607}"/>
                  </a:ext>
                </a:extLst>
              </p:cNvPr>
              <p:cNvSpPr/>
              <p:nvPr/>
            </p:nvSpPr>
            <p:spPr>
              <a:xfrm>
                <a:off x="4190142" y="2178081"/>
                <a:ext cx="699134" cy="699134"/>
              </a:xfrm>
              <a:custGeom>
                <a:avLst/>
                <a:gdLst>
                  <a:gd name="connsiteX0" fmla="*/ 699135 w 699134"/>
                  <a:gd name="connsiteY0" fmla="*/ 349567 h 699134"/>
                  <a:gd name="connsiteX1" fmla="*/ 349568 w 699134"/>
                  <a:gd name="connsiteY1" fmla="*/ 699135 h 699134"/>
                  <a:gd name="connsiteX2" fmla="*/ 0 w 699134"/>
                  <a:gd name="connsiteY2" fmla="*/ 349568 h 699134"/>
                  <a:gd name="connsiteX3" fmla="*/ 349568 w 699134"/>
                  <a:gd name="connsiteY3" fmla="*/ 0 h 699134"/>
                  <a:gd name="connsiteX4" fmla="*/ 699135 w 699134"/>
                  <a:gd name="connsiteY4" fmla="*/ 349567 h 699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134" h="699134">
                    <a:moveTo>
                      <a:pt x="699135" y="349567"/>
                    </a:moveTo>
                    <a:cubicBezTo>
                      <a:pt x="699135" y="542628"/>
                      <a:pt x="542628" y="699135"/>
                      <a:pt x="349568" y="699135"/>
                    </a:cubicBezTo>
                    <a:cubicBezTo>
                      <a:pt x="156507" y="699135"/>
                      <a:pt x="0" y="542628"/>
                      <a:pt x="0" y="349568"/>
                    </a:cubicBezTo>
                    <a:cubicBezTo>
                      <a:pt x="0" y="156507"/>
                      <a:pt x="156507" y="0"/>
                      <a:pt x="349568" y="0"/>
                    </a:cubicBezTo>
                    <a:cubicBezTo>
                      <a:pt x="542628" y="0"/>
                      <a:pt x="699135" y="156507"/>
                      <a:pt x="699135" y="349567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" name="Forma libre 5">
                <a:extLst>
                  <a:ext uri="{FF2B5EF4-FFF2-40B4-BE49-F238E27FC236}">
                    <a16:creationId xmlns:a16="http://schemas.microsoft.com/office/drawing/2014/main" id="{B58B2365-C39A-6503-3BE0-9AC0164A82AA}"/>
                  </a:ext>
                </a:extLst>
              </p:cNvPr>
              <p:cNvSpPr/>
              <p:nvPr/>
            </p:nvSpPr>
            <p:spPr>
              <a:xfrm>
                <a:off x="4552759" y="2731320"/>
                <a:ext cx="481275" cy="380227"/>
              </a:xfrm>
              <a:custGeom>
                <a:avLst/>
                <a:gdLst>
                  <a:gd name="connsiteX0" fmla="*/ 298704 w 481275"/>
                  <a:gd name="connsiteY0" fmla="*/ 6070 h 380227"/>
                  <a:gd name="connsiteX1" fmla="*/ 12764 w 481275"/>
                  <a:gd name="connsiteY1" fmla="*/ 171138 h 380227"/>
                  <a:gd name="connsiteX2" fmla="*/ 0 w 481275"/>
                  <a:gd name="connsiteY2" fmla="*/ 184568 h 380227"/>
                  <a:gd name="connsiteX3" fmla="*/ 0 w 481275"/>
                  <a:gd name="connsiteY3" fmla="*/ 366686 h 380227"/>
                  <a:gd name="connsiteX4" fmla="*/ 14002 w 481275"/>
                  <a:gd name="connsiteY4" fmla="*/ 380212 h 380227"/>
                  <a:gd name="connsiteX5" fmla="*/ 479203 w 481275"/>
                  <a:gd name="connsiteY5" fmla="*/ 111892 h 380227"/>
                  <a:gd name="connsiteX6" fmla="*/ 474535 w 481275"/>
                  <a:gd name="connsiteY6" fmla="*/ 93033 h 380227"/>
                  <a:gd name="connsiteX7" fmla="*/ 316611 w 481275"/>
                  <a:gd name="connsiteY7" fmla="*/ 1879 h 380227"/>
                  <a:gd name="connsiteX8" fmla="*/ 298704 w 481275"/>
                  <a:gd name="connsiteY8" fmla="*/ 6070 h 38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275" h="380227">
                    <a:moveTo>
                      <a:pt x="298704" y="6070"/>
                    </a:moveTo>
                    <a:cubicBezTo>
                      <a:pt x="235744" y="99510"/>
                      <a:pt x="131921" y="163041"/>
                      <a:pt x="12764" y="171138"/>
                    </a:cubicBezTo>
                    <a:cubicBezTo>
                      <a:pt x="5620" y="171614"/>
                      <a:pt x="0" y="177424"/>
                      <a:pt x="0" y="184568"/>
                    </a:cubicBezTo>
                    <a:lnTo>
                      <a:pt x="0" y="366686"/>
                    </a:lnTo>
                    <a:cubicBezTo>
                      <a:pt x="0" y="374306"/>
                      <a:pt x="6382" y="380592"/>
                      <a:pt x="14002" y="380212"/>
                    </a:cubicBezTo>
                    <a:cubicBezTo>
                      <a:pt x="209359" y="371258"/>
                      <a:pt x="379762" y="266578"/>
                      <a:pt x="479203" y="111892"/>
                    </a:cubicBezTo>
                    <a:cubicBezTo>
                      <a:pt x="483299" y="105510"/>
                      <a:pt x="481108" y="96843"/>
                      <a:pt x="474535" y="93033"/>
                    </a:cubicBezTo>
                    <a:lnTo>
                      <a:pt x="316611" y="1879"/>
                    </a:lnTo>
                    <a:cubicBezTo>
                      <a:pt x="310515" y="-1836"/>
                      <a:pt x="302705" y="164"/>
                      <a:pt x="298704" y="6070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7" name="Forma libre 6">
                <a:extLst>
                  <a:ext uri="{FF2B5EF4-FFF2-40B4-BE49-F238E27FC236}">
                    <a16:creationId xmlns:a16="http://schemas.microsoft.com/office/drawing/2014/main" id="{DFD0E76F-87B4-4AB5-1041-8F2A31B7D878}"/>
                  </a:ext>
                </a:extLst>
              </p:cNvPr>
              <p:cNvSpPr/>
              <p:nvPr/>
            </p:nvSpPr>
            <p:spPr>
              <a:xfrm>
                <a:off x="4045385" y="1943655"/>
                <a:ext cx="481275" cy="380282"/>
              </a:xfrm>
              <a:custGeom>
                <a:avLst/>
                <a:gdLst>
                  <a:gd name="connsiteX0" fmla="*/ 182571 w 481275"/>
                  <a:gd name="connsiteY0" fmla="*/ 374158 h 380282"/>
                  <a:gd name="connsiteX1" fmla="*/ 468512 w 481275"/>
                  <a:gd name="connsiteY1" fmla="*/ 209090 h 380282"/>
                  <a:gd name="connsiteX2" fmla="*/ 481275 w 481275"/>
                  <a:gd name="connsiteY2" fmla="*/ 195660 h 380282"/>
                  <a:gd name="connsiteX3" fmla="*/ 481275 w 481275"/>
                  <a:gd name="connsiteY3" fmla="*/ 13542 h 380282"/>
                  <a:gd name="connsiteX4" fmla="*/ 467274 w 481275"/>
                  <a:gd name="connsiteY4" fmla="*/ 16 h 380282"/>
                  <a:gd name="connsiteX5" fmla="*/ 2073 w 481275"/>
                  <a:gd name="connsiteY5" fmla="*/ 268336 h 380282"/>
                  <a:gd name="connsiteX6" fmla="*/ 6740 w 481275"/>
                  <a:gd name="connsiteY6" fmla="*/ 287195 h 380282"/>
                  <a:gd name="connsiteX7" fmla="*/ 164664 w 481275"/>
                  <a:gd name="connsiteY7" fmla="*/ 378540 h 380282"/>
                  <a:gd name="connsiteX8" fmla="*/ 182571 w 481275"/>
                  <a:gd name="connsiteY8" fmla="*/ 374158 h 380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275" h="380282">
                    <a:moveTo>
                      <a:pt x="182571" y="374158"/>
                    </a:moveTo>
                    <a:cubicBezTo>
                      <a:pt x="245532" y="280718"/>
                      <a:pt x="349354" y="217186"/>
                      <a:pt x="468512" y="209090"/>
                    </a:cubicBezTo>
                    <a:cubicBezTo>
                      <a:pt x="475656" y="208614"/>
                      <a:pt x="481275" y="202804"/>
                      <a:pt x="481275" y="195660"/>
                    </a:cubicBezTo>
                    <a:lnTo>
                      <a:pt x="481275" y="13542"/>
                    </a:lnTo>
                    <a:cubicBezTo>
                      <a:pt x="481275" y="5922"/>
                      <a:pt x="474894" y="-364"/>
                      <a:pt x="467274" y="16"/>
                    </a:cubicBezTo>
                    <a:cubicBezTo>
                      <a:pt x="271916" y="8970"/>
                      <a:pt x="101514" y="113650"/>
                      <a:pt x="2073" y="268336"/>
                    </a:cubicBezTo>
                    <a:cubicBezTo>
                      <a:pt x="-2023" y="274717"/>
                      <a:pt x="168" y="283385"/>
                      <a:pt x="6740" y="287195"/>
                    </a:cubicBezTo>
                    <a:lnTo>
                      <a:pt x="164664" y="378540"/>
                    </a:lnTo>
                    <a:cubicBezTo>
                      <a:pt x="170856" y="382064"/>
                      <a:pt x="178571" y="380064"/>
                      <a:pt x="182571" y="37415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8" name="Forma libre 7">
                <a:extLst>
                  <a:ext uri="{FF2B5EF4-FFF2-40B4-BE49-F238E27FC236}">
                    <a16:creationId xmlns:a16="http://schemas.microsoft.com/office/drawing/2014/main" id="{276C3634-248F-5B68-55DC-B26870A90A62}"/>
                  </a:ext>
                </a:extLst>
              </p:cNvPr>
              <p:cNvSpPr/>
              <p:nvPr/>
            </p:nvSpPr>
            <p:spPr>
              <a:xfrm>
                <a:off x="4875850" y="2251895"/>
                <a:ext cx="248408" cy="551508"/>
              </a:xfrm>
              <a:custGeom>
                <a:avLst/>
                <a:gdLst>
                  <a:gd name="connsiteX0" fmla="*/ 164493 w 248408"/>
                  <a:gd name="connsiteY0" fmla="*/ 549693 h 551508"/>
                  <a:gd name="connsiteX1" fmla="*/ 183162 w 248408"/>
                  <a:gd name="connsiteY1" fmla="*/ 544359 h 551508"/>
                  <a:gd name="connsiteX2" fmla="*/ 248409 w 248408"/>
                  <a:gd name="connsiteY2" fmla="*/ 275754 h 551508"/>
                  <a:gd name="connsiteX3" fmla="*/ 183162 w 248408"/>
                  <a:gd name="connsiteY3" fmla="*/ 7149 h 551508"/>
                  <a:gd name="connsiteX4" fmla="*/ 164493 w 248408"/>
                  <a:gd name="connsiteY4" fmla="*/ 1815 h 551508"/>
                  <a:gd name="connsiteX5" fmla="*/ 6664 w 248408"/>
                  <a:gd name="connsiteY5" fmla="*/ 92969 h 551508"/>
                  <a:gd name="connsiteX6" fmla="*/ 1425 w 248408"/>
                  <a:gd name="connsiteY6" fmla="*/ 110686 h 551508"/>
                  <a:gd name="connsiteX7" fmla="*/ 39621 w 248408"/>
                  <a:gd name="connsiteY7" fmla="*/ 275754 h 551508"/>
                  <a:gd name="connsiteX8" fmla="*/ 1425 w 248408"/>
                  <a:gd name="connsiteY8" fmla="*/ 440822 h 551508"/>
                  <a:gd name="connsiteX9" fmla="*/ 6664 w 248408"/>
                  <a:gd name="connsiteY9" fmla="*/ 458539 h 551508"/>
                  <a:gd name="connsiteX10" fmla="*/ 164493 w 248408"/>
                  <a:gd name="connsiteY10" fmla="*/ 549693 h 551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8408" h="551508">
                    <a:moveTo>
                      <a:pt x="164493" y="549693"/>
                    </a:moveTo>
                    <a:cubicBezTo>
                      <a:pt x="171065" y="553503"/>
                      <a:pt x="179638" y="551122"/>
                      <a:pt x="183162" y="544359"/>
                    </a:cubicBezTo>
                    <a:cubicBezTo>
                      <a:pt x="224882" y="463968"/>
                      <a:pt x="248409" y="372623"/>
                      <a:pt x="248409" y="275754"/>
                    </a:cubicBezTo>
                    <a:cubicBezTo>
                      <a:pt x="248409" y="178885"/>
                      <a:pt x="224787" y="87540"/>
                      <a:pt x="183162" y="7149"/>
                    </a:cubicBezTo>
                    <a:cubicBezTo>
                      <a:pt x="179638" y="386"/>
                      <a:pt x="171065" y="-1995"/>
                      <a:pt x="164493" y="1815"/>
                    </a:cubicBezTo>
                    <a:lnTo>
                      <a:pt x="6664" y="92969"/>
                    </a:lnTo>
                    <a:cubicBezTo>
                      <a:pt x="473" y="96589"/>
                      <a:pt x="-1718" y="104304"/>
                      <a:pt x="1425" y="110686"/>
                    </a:cubicBezTo>
                    <a:cubicBezTo>
                      <a:pt x="25809" y="160502"/>
                      <a:pt x="39621" y="216509"/>
                      <a:pt x="39621" y="275754"/>
                    </a:cubicBezTo>
                    <a:cubicBezTo>
                      <a:pt x="39621" y="335000"/>
                      <a:pt x="25905" y="391007"/>
                      <a:pt x="1425" y="440822"/>
                    </a:cubicBezTo>
                    <a:cubicBezTo>
                      <a:pt x="-1718" y="447204"/>
                      <a:pt x="473" y="455015"/>
                      <a:pt x="6664" y="458539"/>
                    </a:cubicBezTo>
                    <a:lnTo>
                      <a:pt x="164493" y="549693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9" name="Forma libre 8">
                <a:extLst>
                  <a:ext uri="{FF2B5EF4-FFF2-40B4-BE49-F238E27FC236}">
                    <a16:creationId xmlns:a16="http://schemas.microsoft.com/office/drawing/2014/main" id="{4C79AA0F-6200-4DAE-EC99-7A349463561D}"/>
                  </a:ext>
                </a:extLst>
              </p:cNvPr>
              <p:cNvSpPr/>
              <p:nvPr/>
            </p:nvSpPr>
            <p:spPr>
              <a:xfrm>
                <a:off x="4552854" y="1943845"/>
                <a:ext cx="481317" cy="380159"/>
              </a:xfrm>
              <a:custGeom>
                <a:avLst/>
                <a:gdLst>
                  <a:gd name="connsiteX0" fmla="*/ 12668 w 481317"/>
                  <a:gd name="connsiteY0" fmla="*/ 208995 h 380159"/>
                  <a:gd name="connsiteX1" fmla="*/ 298609 w 481317"/>
                  <a:gd name="connsiteY1" fmla="*/ 374063 h 380159"/>
                  <a:gd name="connsiteX2" fmla="*/ 316611 w 481317"/>
                  <a:gd name="connsiteY2" fmla="*/ 378349 h 380159"/>
                  <a:gd name="connsiteX3" fmla="*/ 474535 w 481317"/>
                  <a:gd name="connsiteY3" fmla="*/ 287195 h 380159"/>
                  <a:gd name="connsiteX4" fmla="*/ 479203 w 481317"/>
                  <a:gd name="connsiteY4" fmla="*/ 268336 h 380159"/>
                  <a:gd name="connsiteX5" fmla="*/ 14002 w 481317"/>
                  <a:gd name="connsiteY5" fmla="*/ 16 h 380159"/>
                  <a:gd name="connsiteX6" fmla="*/ 0 w 481317"/>
                  <a:gd name="connsiteY6" fmla="*/ 13542 h 380159"/>
                  <a:gd name="connsiteX7" fmla="*/ 0 w 481317"/>
                  <a:gd name="connsiteY7" fmla="*/ 195660 h 380159"/>
                  <a:gd name="connsiteX8" fmla="*/ 12668 w 481317"/>
                  <a:gd name="connsiteY8" fmla="*/ 208995 h 380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317" h="380159">
                    <a:moveTo>
                      <a:pt x="12668" y="208995"/>
                    </a:moveTo>
                    <a:cubicBezTo>
                      <a:pt x="131731" y="217091"/>
                      <a:pt x="235553" y="280623"/>
                      <a:pt x="298609" y="374063"/>
                    </a:cubicBezTo>
                    <a:cubicBezTo>
                      <a:pt x="302609" y="379969"/>
                      <a:pt x="310420" y="381969"/>
                      <a:pt x="316611" y="378349"/>
                    </a:cubicBezTo>
                    <a:lnTo>
                      <a:pt x="474535" y="287195"/>
                    </a:lnTo>
                    <a:cubicBezTo>
                      <a:pt x="481108" y="283385"/>
                      <a:pt x="483394" y="274717"/>
                      <a:pt x="479203" y="268336"/>
                    </a:cubicBezTo>
                    <a:cubicBezTo>
                      <a:pt x="379857" y="113554"/>
                      <a:pt x="209359" y="8875"/>
                      <a:pt x="14002" y="16"/>
                    </a:cubicBezTo>
                    <a:cubicBezTo>
                      <a:pt x="6382" y="-365"/>
                      <a:pt x="0" y="5922"/>
                      <a:pt x="0" y="13542"/>
                    </a:cubicBezTo>
                    <a:lnTo>
                      <a:pt x="0" y="195660"/>
                    </a:lnTo>
                    <a:cubicBezTo>
                      <a:pt x="0" y="202708"/>
                      <a:pt x="5525" y="208519"/>
                      <a:pt x="12668" y="20899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0" name="Forma libre 9">
                <a:extLst>
                  <a:ext uri="{FF2B5EF4-FFF2-40B4-BE49-F238E27FC236}">
                    <a16:creationId xmlns:a16="http://schemas.microsoft.com/office/drawing/2014/main" id="{4D0F8AE0-6769-B201-00D3-92D69337FB79}"/>
                  </a:ext>
                </a:extLst>
              </p:cNvPr>
              <p:cNvSpPr/>
              <p:nvPr/>
            </p:nvSpPr>
            <p:spPr>
              <a:xfrm>
                <a:off x="4045248" y="2731293"/>
                <a:ext cx="481318" cy="380159"/>
              </a:xfrm>
              <a:custGeom>
                <a:avLst/>
                <a:gdLst>
                  <a:gd name="connsiteX0" fmla="*/ 468649 w 481318"/>
                  <a:gd name="connsiteY0" fmla="*/ 171165 h 380159"/>
                  <a:gd name="connsiteX1" fmla="*/ 182709 w 481318"/>
                  <a:gd name="connsiteY1" fmla="*/ 6097 h 380159"/>
                  <a:gd name="connsiteX2" fmla="*/ 164707 w 481318"/>
                  <a:gd name="connsiteY2" fmla="*/ 1810 h 380159"/>
                  <a:gd name="connsiteX3" fmla="*/ 6782 w 481318"/>
                  <a:gd name="connsiteY3" fmla="*/ 92965 h 380159"/>
                  <a:gd name="connsiteX4" fmla="*/ 2115 w 481318"/>
                  <a:gd name="connsiteY4" fmla="*/ 111824 h 380159"/>
                  <a:gd name="connsiteX5" fmla="*/ 467316 w 481318"/>
                  <a:gd name="connsiteY5" fmla="*/ 380143 h 380159"/>
                  <a:gd name="connsiteX6" fmla="*/ 481318 w 481318"/>
                  <a:gd name="connsiteY6" fmla="*/ 366618 h 380159"/>
                  <a:gd name="connsiteX7" fmla="*/ 481318 w 481318"/>
                  <a:gd name="connsiteY7" fmla="*/ 184500 h 380159"/>
                  <a:gd name="connsiteX8" fmla="*/ 468649 w 481318"/>
                  <a:gd name="connsiteY8" fmla="*/ 171165 h 380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318" h="380159">
                    <a:moveTo>
                      <a:pt x="468649" y="171165"/>
                    </a:moveTo>
                    <a:cubicBezTo>
                      <a:pt x="349587" y="163069"/>
                      <a:pt x="245764" y="99537"/>
                      <a:pt x="182709" y="6097"/>
                    </a:cubicBezTo>
                    <a:cubicBezTo>
                      <a:pt x="178709" y="191"/>
                      <a:pt x="170898" y="-1809"/>
                      <a:pt x="164707" y="1810"/>
                    </a:cubicBezTo>
                    <a:lnTo>
                      <a:pt x="6782" y="92965"/>
                    </a:lnTo>
                    <a:cubicBezTo>
                      <a:pt x="210" y="96775"/>
                      <a:pt x="-2076" y="105442"/>
                      <a:pt x="2115" y="111824"/>
                    </a:cubicBezTo>
                    <a:cubicBezTo>
                      <a:pt x="101461" y="266605"/>
                      <a:pt x="271958" y="371285"/>
                      <a:pt x="467316" y="380143"/>
                    </a:cubicBezTo>
                    <a:cubicBezTo>
                      <a:pt x="474936" y="380525"/>
                      <a:pt x="481318" y="374238"/>
                      <a:pt x="481318" y="366618"/>
                    </a:cubicBezTo>
                    <a:lnTo>
                      <a:pt x="481318" y="184500"/>
                    </a:lnTo>
                    <a:cubicBezTo>
                      <a:pt x="481413" y="177356"/>
                      <a:pt x="475793" y="171641"/>
                      <a:pt x="468649" y="17116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A753F0B8-1D61-3DCD-3674-07CE47106F6D}"/>
                  </a:ext>
                </a:extLst>
              </p:cNvPr>
              <p:cNvSpPr/>
              <p:nvPr/>
            </p:nvSpPr>
            <p:spPr>
              <a:xfrm>
                <a:off x="3955161" y="2251895"/>
                <a:ext cx="248408" cy="551508"/>
              </a:xfrm>
              <a:custGeom>
                <a:avLst/>
                <a:gdLst>
                  <a:gd name="connsiteX0" fmla="*/ 241744 w 248408"/>
                  <a:gd name="connsiteY0" fmla="*/ 458539 h 551508"/>
                  <a:gd name="connsiteX1" fmla="*/ 246983 w 248408"/>
                  <a:gd name="connsiteY1" fmla="*/ 440822 h 551508"/>
                  <a:gd name="connsiteX2" fmla="*/ 208788 w 248408"/>
                  <a:gd name="connsiteY2" fmla="*/ 275754 h 551508"/>
                  <a:gd name="connsiteX3" fmla="*/ 246983 w 248408"/>
                  <a:gd name="connsiteY3" fmla="*/ 110686 h 551508"/>
                  <a:gd name="connsiteX4" fmla="*/ 241744 w 248408"/>
                  <a:gd name="connsiteY4" fmla="*/ 92969 h 551508"/>
                  <a:gd name="connsiteX5" fmla="*/ 83915 w 248408"/>
                  <a:gd name="connsiteY5" fmla="*/ 1815 h 551508"/>
                  <a:gd name="connsiteX6" fmla="*/ 65246 w 248408"/>
                  <a:gd name="connsiteY6" fmla="*/ 7149 h 551508"/>
                  <a:gd name="connsiteX7" fmla="*/ 0 w 248408"/>
                  <a:gd name="connsiteY7" fmla="*/ 275754 h 551508"/>
                  <a:gd name="connsiteX8" fmla="*/ 65246 w 248408"/>
                  <a:gd name="connsiteY8" fmla="*/ 544359 h 551508"/>
                  <a:gd name="connsiteX9" fmla="*/ 83915 w 248408"/>
                  <a:gd name="connsiteY9" fmla="*/ 549693 h 551508"/>
                  <a:gd name="connsiteX10" fmla="*/ 241744 w 248408"/>
                  <a:gd name="connsiteY10" fmla="*/ 458539 h 551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8408" h="551508">
                    <a:moveTo>
                      <a:pt x="241744" y="458539"/>
                    </a:moveTo>
                    <a:cubicBezTo>
                      <a:pt x="247936" y="454919"/>
                      <a:pt x="250126" y="447204"/>
                      <a:pt x="246983" y="440822"/>
                    </a:cubicBezTo>
                    <a:cubicBezTo>
                      <a:pt x="222599" y="391007"/>
                      <a:pt x="208788" y="335000"/>
                      <a:pt x="208788" y="275754"/>
                    </a:cubicBezTo>
                    <a:cubicBezTo>
                      <a:pt x="208788" y="216509"/>
                      <a:pt x="222504" y="160502"/>
                      <a:pt x="246983" y="110686"/>
                    </a:cubicBezTo>
                    <a:cubicBezTo>
                      <a:pt x="250126" y="104304"/>
                      <a:pt x="247936" y="96494"/>
                      <a:pt x="241744" y="92969"/>
                    </a:cubicBezTo>
                    <a:lnTo>
                      <a:pt x="83915" y="1815"/>
                    </a:lnTo>
                    <a:cubicBezTo>
                      <a:pt x="77343" y="-1995"/>
                      <a:pt x="68771" y="386"/>
                      <a:pt x="65246" y="7149"/>
                    </a:cubicBezTo>
                    <a:cubicBezTo>
                      <a:pt x="23527" y="87540"/>
                      <a:pt x="0" y="178885"/>
                      <a:pt x="0" y="275754"/>
                    </a:cubicBezTo>
                    <a:cubicBezTo>
                      <a:pt x="0" y="372623"/>
                      <a:pt x="23622" y="463968"/>
                      <a:pt x="65246" y="544359"/>
                    </a:cubicBezTo>
                    <a:cubicBezTo>
                      <a:pt x="68771" y="551122"/>
                      <a:pt x="77343" y="553503"/>
                      <a:pt x="83915" y="549693"/>
                    </a:cubicBezTo>
                    <a:lnTo>
                      <a:pt x="241744" y="458539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2C4AD3CB-4942-FA61-1D6D-0F925C3EC01C}"/>
                </a:ext>
              </a:extLst>
            </p:cNvPr>
            <p:cNvSpPr/>
            <p:nvPr/>
          </p:nvSpPr>
          <p:spPr>
            <a:xfrm>
              <a:off x="1492873" y="701273"/>
              <a:ext cx="1621755" cy="31011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ts val="2800"/>
                </a:lnSpc>
              </a:pPr>
              <a:r>
                <a:rPr lang="en-US" sz="2500" b="0" i="0" spc="-60" noProof="1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  <a:t>Transformación</a:t>
              </a:r>
              <a:br>
                <a:rPr lang="en-US" sz="2500" b="0" i="0" spc="-60" noProof="1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</a:br>
              <a:r>
                <a:rPr lang="en-US" sz="2500" spc="-7" noProof="1">
                  <a:solidFill>
                    <a:schemeClr val="bg2"/>
                  </a:solidFill>
                  <a:latin typeface="Pulso" pitchFamily="2" charset="0"/>
                  <a:ea typeface="Inter Light BETA" panose="020B0402030000000004" pitchFamily="34" charset="0"/>
                </a:rPr>
                <a:t>Tecnológica y Cultura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38317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7B06BE-6BBC-65A2-0A8F-7D166521CC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redondeado 2">
            <a:extLst>
              <a:ext uri="{FF2B5EF4-FFF2-40B4-BE49-F238E27FC236}">
                <a16:creationId xmlns:a16="http://schemas.microsoft.com/office/drawing/2014/main" id="{0AE3D68E-565F-0468-55CD-68B30872B2E9}"/>
              </a:ext>
            </a:extLst>
          </p:cNvPr>
          <p:cNvSpPr/>
          <p:nvPr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4" name="Gráfico 3">
            <a:extLst>
              <a:ext uri="{FF2B5EF4-FFF2-40B4-BE49-F238E27FC236}">
                <a16:creationId xmlns:a16="http://schemas.microsoft.com/office/drawing/2014/main" id="{5486B49F-5EA1-52B4-7F53-63D726C4BDEC}"/>
              </a:ext>
            </a:extLst>
          </p:cNvPr>
          <p:cNvGrpSpPr/>
          <p:nvPr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5" name="Forma libre 4">
              <a:extLst>
                <a:ext uri="{FF2B5EF4-FFF2-40B4-BE49-F238E27FC236}">
                  <a16:creationId xmlns:a16="http://schemas.microsoft.com/office/drawing/2014/main" id="{E11A04BF-23FF-30C4-4328-F567C7E68642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6" name="Forma libre 5">
              <a:extLst>
                <a:ext uri="{FF2B5EF4-FFF2-40B4-BE49-F238E27FC236}">
                  <a16:creationId xmlns:a16="http://schemas.microsoft.com/office/drawing/2014/main" id="{C37195A6-6597-E79E-1FA6-56FB83D4F6E7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32D9142F-0754-1FA5-7350-0E597F36610F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BA832804-B0A7-FB4E-9928-CE96CC55162A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2ABBD54D-1C4F-0125-864A-C73F939BA685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5810DB63-926A-EA90-A039-0979F55DF16D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53DD7913-DE8D-3A25-FE0C-570A0DEFDC28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2" name="Forma libre 11">
              <a:extLst>
                <a:ext uri="{FF2B5EF4-FFF2-40B4-BE49-F238E27FC236}">
                  <a16:creationId xmlns:a16="http://schemas.microsoft.com/office/drawing/2014/main" id="{DC8658F7-2CF9-E15A-551D-0BEF1B070F7F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13" name="Rectángulo 12">
            <a:extLst>
              <a:ext uri="{FF2B5EF4-FFF2-40B4-BE49-F238E27FC236}">
                <a16:creationId xmlns:a16="http://schemas.microsoft.com/office/drawing/2014/main" id="{E7FE26EA-FBB9-DCA4-4801-6C1F29A78D82}"/>
              </a:ext>
            </a:extLst>
          </p:cNvPr>
          <p:cNvSpPr/>
          <p:nvPr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351C173D-3119-0E35-A214-F31A7B62D549}"/>
              </a:ext>
            </a:extLst>
          </p:cNvPr>
          <p:cNvSpPr/>
          <p:nvPr/>
        </p:nvSpPr>
        <p:spPr>
          <a:xfrm>
            <a:off x="3611309" y="772510"/>
            <a:ext cx="3687120" cy="3687120"/>
          </a:xfrm>
          <a:prstGeom prst="ellipse">
            <a:avLst/>
          </a:prstGeom>
          <a:noFill/>
          <a:ln w="57150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00"/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6041BE2D-C108-D998-8B93-1E854BB69CEA}"/>
              </a:ext>
            </a:extLst>
          </p:cNvPr>
          <p:cNvSpPr/>
          <p:nvPr/>
        </p:nvSpPr>
        <p:spPr>
          <a:xfrm>
            <a:off x="5234859" y="523689"/>
            <a:ext cx="461222" cy="461222"/>
          </a:xfrm>
          <a:prstGeom prst="ellipse">
            <a:avLst/>
          </a:prstGeom>
          <a:blipFill>
            <a:blip r:embed="rId2"/>
            <a:stretch>
              <a:fillRect/>
            </a:stretch>
          </a:blipFill>
          <a:ln>
            <a:solidFill>
              <a:schemeClr val="bg2"/>
            </a:solidFill>
          </a:ln>
          <a:effectLst>
            <a:outerShdw blurRad="321592" sx="130000" sy="130000" algn="ctr" rotWithShape="0">
              <a:schemeClr val="bg2"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AR" sz="1050" b="1">
                <a:solidFill>
                  <a:srgbClr val="FFFFFF"/>
                </a:solidFill>
                <a:latin typeface="Pulso" pitchFamily="2" charset="0"/>
              </a:rPr>
              <a:t>IA</a:t>
            </a:r>
          </a:p>
        </p:txBody>
      </p:sp>
      <p:grpSp>
        <p:nvGrpSpPr>
          <p:cNvPr id="43" name="Grupo 42">
            <a:extLst>
              <a:ext uri="{FF2B5EF4-FFF2-40B4-BE49-F238E27FC236}">
                <a16:creationId xmlns:a16="http://schemas.microsoft.com/office/drawing/2014/main" id="{6CE93B07-8807-D88D-3EDD-E46FA2999283}"/>
              </a:ext>
            </a:extLst>
          </p:cNvPr>
          <p:cNvGrpSpPr/>
          <p:nvPr/>
        </p:nvGrpSpPr>
        <p:grpSpPr>
          <a:xfrm>
            <a:off x="3850479" y="1011681"/>
            <a:ext cx="3208780" cy="3208778"/>
            <a:chOff x="4864271" y="1189748"/>
            <a:chExt cx="3208780" cy="3208778"/>
          </a:xfrm>
        </p:grpSpPr>
        <p:sp>
          <p:nvSpPr>
            <p:cNvPr id="71" name="Elipse 70">
              <a:extLst>
                <a:ext uri="{FF2B5EF4-FFF2-40B4-BE49-F238E27FC236}">
                  <a16:creationId xmlns:a16="http://schemas.microsoft.com/office/drawing/2014/main" id="{E158BE3D-7549-9726-5E11-4B51F46A83B7}"/>
                </a:ext>
              </a:extLst>
            </p:cNvPr>
            <p:cNvSpPr/>
            <p:nvPr/>
          </p:nvSpPr>
          <p:spPr>
            <a:xfrm>
              <a:off x="5990993" y="2051319"/>
              <a:ext cx="1040861" cy="1040862"/>
            </a:xfrm>
            <a:prstGeom prst="ellipse">
              <a:avLst/>
            </a:prstGeom>
            <a:solidFill>
              <a:schemeClr val="bg2"/>
            </a:solidFill>
            <a:ln w="38100" cap="rnd" cmpd="sng">
              <a:noFill/>
              <a:prstDash val="sysDash"/>
              <a:miter lim="800000"/>
            </a:ln>
            <a:effectLst>
              <a:outerShdw blurRad="292100" sx="119914" sy="119914" algn="ctr" rotWithShape="0">
                <a:srgbClr val="041D35">
                  <a:alpha val="40000"/>
                </a:srgbClr>
              </a:outerShdw>
            </a:effectLst>
            <a:scene3d>
              <a:camera prst="orthographicFront"/>
              <a:lightRig rig="chilly" dir="t"/>
            </a:scene3d>
            <a:sp3d extrusionH="12700" contourW="12700">
              <a:bevelT w="25400" h="25400"/>
              <a:extrusionClr>
                <a:srgbClr val="052C50"/>
              </a:extrusionClr>
              <a:contourClr>
                <a:srgbClr val="052C50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1400" b="1">
                <a:solidFill>
                  <a:schemeClr val="tx1"/>
                </a:solidFill>
              </a:endParaRPr>
            </a:p>
          </p:txBody>
        </p:sp>
        <p:sp>
          <p:nvSpPr>
            <p:cNvPr id="72" name="Title 1">
              <a:extLst>
                <a:ext uri="{FF2B5EF4-FFF2-40B4-BE49-F238E27FC236}">
                  <a16:creationId xmlns:a16="http://schemas.microsoft.com/office/drawing/2014/main" id="{6310BEC9-D53F-23C3-C1B5-441BD09C1416}"/>
                </a:ext>
              </a:extLst>
            </p:cNvPr>
            <p:cNvSpPr txBox="1">
              <a:spLocks/>
            </p:cNvSpPr>
            <p:nvPr/>
          </p:nvSpPr>
          <p:spPr>
            <a:xfrm>
              <a:off x="6039890" y="2225502"/>
              <a:ext cx="943066" cy="692497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defTabSz="914318">
                <a:lnSpc>
                  <a:spcPct val="85000"/>
                </a:lnSpc>
                <a:spcBef>
                  <a:spcPct val="0"/>
                </a:spcBef>
                <a:buNone/>
                <a:defRPr sz="2800" b="0" i="0" spc="-5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77"/>
                  <a:ea typeface="Montserrat" charset="0"/>
                  <a:cs typeface="Montserrat" charset="0"/>
                </a:defRPr>
              </a:lvl1pPr>
            </a:lstStyle>
            <a:p>
              <a:pPr algn="ctr" defTabSz="685739" fontAlgn="auto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es-ES_tradnl" sz="900" b="1" spc="0">
                  <a:solidFill>
                    <a:srgbClr val="FFFFFF"/>
                  </a:solidFill>
                  <a:latin typeface="Pulso" pitchFamily="2" charset="0"/>
                  <a:ea typeface="Roboto" panose="02000000000000000000" pitchFamily="2" charset="0"/>
                </a:rPr>
                <a:t>Cultura  </a:t>
              </a:r>
            </a:p>
            <a:p>
              <a:pPr lvl="0" algn="ctr">
                <a:lnSpc>
                  <a:spcPct val="100000"/>
                </a:lnSpc>
                <a:defRPr/>
              </a:pPr>
              <a:r>
                <a:rPr lang="es-ES_tradnl" sz="900" b="1" spc="0">
                  <a:solidFill>
                    <a:srgbClr val="FFFFFF"/>
                  </a:solidFill>
                  <a:latin typeface="Pulso" pitchFamily="2" charset="0"/>
                  <a:ea typeface="Roboto" panose="02000000000000000000" pitchFamily="2" charset="0"/>
                </a:rPr>
                <a:t> Orgullo </a:t>
              </a:r>
              <a:br>
                <a:rPr lang="es-ES_tradnl" sz="900" b="1" spc="0">
                  <a:solidFill>
                    <a:srgbClr val="FFFFFF"/>
                  </a:solidFill>
                  <a:latin typeface="Pulso" pitchFamily="2" charset="0"/>
                  <a:ea typeface="Roboto" panose="02000000000000000000" pitchFamily="2" charset="0"/>
                </a:rPr>
              </a:br>
              <a:r>
                <a:rPr lang="es-ES_tradnl" sz="900" b="1" spc="0">
                  <a:solidFill>
                    <a:srgbClr val="FFFFFF"/>
                  </a:solidFill>
                  <a:latin typeface="Pulso" pitchFamily="2" charset="0"/>
                  <a:ea typeface="Roboto" panose="02000000000000000000" pitchFamily="2" charset="0"/>
                </a:rPr>
                <a:t> ENPS + NPS Gestión del  cambio</a:t>
              </a:r>
            </a:p>
          </p:txBody>
        </p:sp>
        <p:grpSp>
          <p:nvGrpSpPr>
            <p:cNvPr id="16" name="Grupo 15">
              <a:extLst>
                <a:ext uri="{FF2B5EF4-FFF2-40B4-BE49-F238E27FC236}">
                  <a16:creationId xmlns:a16="http://schemas.microsoft.com/office/drawing/2014/main" id="{59EBFE5E-627A-794F-BE6D-F18D462D0FE8}"/>
                </a:ext>
              </a:extLst>
            </p:cNvPr>
            <p:cNvGrpSpPr/>
            <p:nvPr/>
          </p:nvGrpSpPr>
          <p:grpSpPr>
            <a:xfrm>
              <a:off x="4864271" y="1189748"/>
              <a:ext cx="3208780" cy="3208778"/>
              <a:chOff x="4643847" y="1110343"/>
              <a:chExt cx="5381897" cy="5381897"/>
            </a:xfrm>
          </p:grpSpPr>
          <p:sp>
            <p:nvSpPr>
              <p:cNvPr id="17" name="Elipse 16">
                <a:extLst>
                  <a:ext uri="{FF2B5EF4-FFF2-40B4-BE49-F238E27FC236}">
                    <a16:creationId xmlns:a16="http://schemas.microsoft.com/office/drawing/2014/main" id="{79FDA2FE-3528-07F1-15DC-0167241C3928}"/>
                  </a:ext>
                </a:extLst>
              </p:cNvPr>
              <p:cNvSpPr/>
              <p:nvPr/>
            </p:nvSpPr>
            <p:spPr>
              <a:xfrm>
                <a:off x="6104528" y="2571024"/>
                <a:ext cx="2460534" cy="2460534"/>
              </a:xfrm>
              <a:prstGeom prst="ellipse">
                <a:avLst/>
              </a:prstGeom>
              <a:solidFill>
                <a:schemeClr val="tx1"/>
              </a:solidFill>
              <a:ln w="38100" cap="rnd" cmpd="sng">
                <a:noFill/>
                <a:prstDash val="sysDash"/>
                <a:miter lim="800000"/>
              </a:ln>
              <a:effectLst>
                <a:outerShdw blurRad="38100" dist="12700" dir="5400000" algn="t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noAutofit/>
              </a:bodyPr>
              <a:lstStyle/>
              <a:p>
                <a:pPr algn="ctr">
                  <a:spcBef>
                    <a:spcPts val="750"/>
                  </a:spcBef>
                </a:pPr>
                <a:endParaRPr lang="en-US" sz="1050" b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" name="Grupo 17">
                <a:extLst>
                  <a:ext uri="{FF2B5EF4-FFF2-40B4-BE49-F238E27FC236}">
                    <a16:creationId xmlns:a16="http://schemas.microsoft.com/office/drawing/2014/main" id="{E67351E7-8A91-9644-1E91-6D6DC2517460}"/>
                  </a:ext>
                </a:extLst>
              </p:cNvPr>
              <p:cNvGrpSpPr/>
              <p:nvPr/>
            </p:nvGrpSpPr>
            <p:grpSpPr>
              <a:xfrm>
                <a:off x="4643847" y="1110343"/>
                <a:ext cx="5381897" cy="5381897"/>
                <a:chOff x="4643847" y="1110343"/>
                <a:chExt cx="5381897" cy="5381897"/>
              </a:xfrm>
            </p:grpSpPr>
            <p:sp>
              <p:nvSpPr>
                <p:cNvPr id="19" name="Lágrima 18">
                  <a:extLst>
                    <a:ext uri="{FF2B5EF4-FFF2-40B4-BE49-F238E27FC236}">
                      <a16:creationId xmlns:a16="http://schemas.microsoft.com/office/drawing/2014/main" id="{946EAA70-5052-617F-384A-694369F4609C}"/>
                    </a:ext>
                  </a:extLst>
                </p:cNvPr>
                <p:cNvSpPr/>
                <p:nvPr/>
              </p:nvSpPr>
              <p:spPr>
                <a:xfrm>
                  <a:off x="4643847" y="3819072"/>
                  <a:ext cx="2673168" cy="2673168"/>
                </a:xfrm>
                <a:prstGeom prst="teardrop">
                  <a:avLst/>
                </a:prstGeom>
                <a:gradFill flip="none" rotWithShape="1">
                  <a:gsLst>
                    <a:gs pos="0">
                      <a:schemeClr val="accent2">
                        <a:lumMod val="40000"/>
                        <a:lumOff val="60000"/>
                      </a:schemeClr>
                    </a:gs>
                    <a:gs pos="40000">
                      <a:schemeClr val="accent2">
                        <a:lumMod val="95000"/>
                        <a:lumOff val="5000"/>
                      </a:schemeClr>
                    </a:gs>
                    <a:gs pos="100000">
                      <a:schemeClr val="accent1">
                        <a:lumMod val="50000"/>
                      </a:schemeClr>
                    </a:gs>
                    <a:gs pos="75000">
                      <a:schemeClr val="accent1"/>
                    </a:gs>
                  </a:gsLst>
                  <a:path path="circle">
                    <a:fillToRect t="100000" r="100000"/>
                  </a:path>
                  <a:tileRect l="-100000" b="-100000"/>
                </a:gradFill>
                <a:ln w="38100" cap="rnd" cmpd="sng">
                  <a:noFill/>
                  <a:prstDash val="sysDash"/>
                  <a:miter lim="800000"/>
                </a:ln>
                <a:effectLst>
                  <a:outerShdw blurRad="38100" dist="12700" dir="5400000" algn="t" rotWithShape="0">
                    <a:prstClr val="black">
                      <a:alpha val="15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t">
                  <a:noAutofit/>
                </a:bodyPr>
                <a:lstStyle/>
                <a:p>
                  <a:pPr algn="ctr">
                    <a:spcBef>
                      <a:spcPts val="750"/>
                    </a:spcBef>
                  </a:pPr>
                  <a:endParaRPr lang="en-US" sz="1050" b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" name="Lágrima 19">
                  <a:extLst>
                    <a:ext uri="{FF2B5EF4-FFF2-40B4-BE49-F238E27FC236}">
                      <a16:creationId xmlns:a16="http://schemas.microsoft.com/office/drawing/2014/main" id="{A1E0057D-78AB-5A8C-219D-C922746194CA}"/>
                    </a:ext>
                  </a:extLst>
                </p:cNvPr>
                <p:cNvSpPr/>
                <p:nvPr/>
              </p:nvSpPr>
              <p:spPr>
                <a:xfrm flipH="1">
                  <a:off x="7343657" y="3819072"/>
                  <a:ext cx="2673168" cy="2673168"/>
                </a:xfrm>
                <a:prstGeom prst="teardrop">
                  <a:avLst/>
                </a:prstGeom>
                <a:gradFill flip="none" rotWithShape="1">
                  <a:gsLst>
                    <a:gs pos="0">
                      <a:schemeClr val="accent2">
                        <a:lumMod val="40000"/>
                        <a:lumOff val="60000"/>
                      </a:schemeClr>
                    </a:gs>
                    <a:gs pos="40000">
                      <a:schemeClr val="accent2">
                        <a:lumMod val="95000"/>
                        <a:lumOff val="5000"/>
                      </a:schemeClr>
                    </a:gs>
                    <a:gs pos="100000">
                      <a:schemeClr val="accent1">
                        <a:lumMod val="50000"/>
                      </a:schemeClr>
                    </a:gs>
                    <a:gs pos="75000">
                      <a:schemeClr val="accent1"/>
                    </a:gs>
                  </a:gsLst>
                  <a:path path="circle">
                    <a:fillToRect t="100000" r="100000"/>
                  </a:path>
                  <a:tileRect l="-100000" b="-100000"/>
                </a:gradFill>
                <a:ln w="38100" cap="rnd" cmpd="sng">
                  <a:noFill/>
                  <a:prstDash val="sysDash"/>
                  <a:miter lim="800000"/>
                </a:ln>
                <a:effectLst>
                  <a:outerShdw blurRad="38100" dist="12700" dir="5400000" algn="t" rotWithShape="0">
                    <a:prstClr val="black">
                      <a:alpha val="15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t">
                  <a:noAutofit/>
                </a:bodyPr>
                <a:lstStyle/>
                <a:p>
                  <a:pPr algn="ctr">
                    <a:spcBef>
                      <a:spcPts val="750"/>
                    </a:spcBef>
                  </a:pPr>
                  <a:endParaRPr lang="en-US" sz="1050" b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" name="Lágrima 20">
                  <a:extLst>
                    <a:ext uri="{FF2B5EF4-FFF2-40B4-BE49-F238E27FC236}">
                      <a16:creationId xmlns:a16="http://schemas.microsoft.com/office/drawing/2014/main" id="{72E4905B-0636-0A49-8C61-D439C6F397F2}"/>
                    </a:ext>
                  </a:extLst>
                </p:cNvPr>
                <p:cNvSpPr/>
                <p:nvPr/>
              </p:nvSpPr>
              <p:spPr>
                <a:xfrm flipV="1">
                  <a:off x="4643847" y="1110343"/>
                  <a:ext cx="2673168" cy="2673168"/>
                </a:xfrm>
                <a:prstGeom prst="teardrop">
                  <a:avLst/>
                </a:prstGeom>
                <a:gradFill flip="none" rotWithShape="1">
                  <a:gsLst>
                    <a:gs pos="0">
                      <a:schemeClr val="accent2">
                        <a:lumMod val="40000"/>
                        <a:lumOff val="60000"/>
                      </a:schemeClr>
                    </a:gs>
                    <a:gs pos="40000">
                      <a:schemeClr val="accent2">
                        <a:lumMod val="95000"/>
                        <a:lumOff val="5000"/>
                      </a:schemeClr>
                    </a:gs>
                    <a:gs pos="100000">
                      <a:schemeClr val="accent1">
                        <a:lumMod val="50000"/>
                      </a:schemeClr>
                    </a:gs>
                    <a:gs pos="75000">
                      <a:schemeClr val="accent1"/>
                    </a:gs>
                  </a:gsLst>
                  <a:path path="circle">
                    <a:fillToRect t="100000" r="100000"/>
                  </a:path>
                  <a:tileRect l="-100000" b="-100000"/>
                </a:gradFill>
                <a:ln w="38100" cap="rnd" cmpd="sng">
                  <a:noFill/>
                  <a:prstDash val="sysDash"/>
                  <a:miter lim="800000"/>
                </a:ln>
                <a:effectLst>
                  <a:outerShdw blurRad="38100" dist="12700" dir="5400000" algn="t" rotWithShape="0">
                    <a:prstClr val="black">
                      <a:alpha val="15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t">
                  <a:noAutofit/>
                </a:bodyPr>
                <a:lstStyle/>
                <a:p>
                  <a:pPr algn="ctr">
                    <a:spcBef>
                      <a:spcPts val="750"/>
                    </a:spcBef>
                  </a:pPr>
                  <a:endParaRPr lang="en-US" sz="1050" b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" name="Lágrima 21">
                  <a:extLst>
                    <a:ext uri="{FF2B5EF4-FFF2-40B4-BE49-F238E27FC236}">
                      <a16:creationId xmlns:a16="http://schemas.microsoft.com/office/drawing/2014/main" id="{9175BD9B-514B-C01A-7C58-47947BE98AE1}"/>
                    </a:ext>
                  </a:extLst>
                </p:cNvPr>
                <p:cNvSpPr/>
                <p:nvPr/>
              </p:nvSpPr>
              <p:spPr>
                <a:xfrm flipH="1" flipV="1">
                  <a:off x="7352576" y="1110343"/>
                  <a:ext cx="2673168" cy="2673168"/>
                </a:xfrm>
                <a:prstGeom prst="teardrop">
                  <a:avLst/>
                </a:prstGeom>
                <a:gradFill flip="none" rotWithShape="1">
                  <a:gsLst>
                    <a:gs pos="100000">
                      <a:schemeClr val="accent2">
                        <a:lumMod val="40000"/>
                        <a:lumOff val="60000"/>
                      </a:schemeClr>
                    </a:gs>
                    <a:gs pos="40000">
                      <a:schemeClr val="accent2">
                        <a:lumMod val="95000"/>
                        <a:lumOff val="5000"/>
                      </a:schemeClr>
                    </a:gs>
                    <a:gs pos="0">
                      <a:schemeClr val="accent1">
                        <a:lumMod val="50000"/>
                      </a:schemeClr>
                    </a:gs>
                    <a:gs pos="75000">
                      <a:schemeClr val="accent1"/>
                    </a:gs>
                  </a:gsLst>
                  <a:path path="circle">
                    <a:fillToRect t="100000" r="100000"/>
                  </a:path>
                  <a:tileRect l="-100000" b="-100000"/>
                </a:gradFill>
                <a:ln w="38100" cap="rnd" cmpd="sng">
                  <a:noFill/>
                  <a:prstDash val="sysDash"/>
                  <a:miter lim="800000"/>
                </a:ln>
                <a:effectLst>
                  <a:outerShdw blurRad="38100" dist="12700" dir="5400000" algn="t" rotWithShape="0">
                    <a:prstClr val="black">
                      <a:alpha val="15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t">
                  <a:noAutofit/>
                </a:bodyPr>
                <a:lstStyle/>
                <a:p>
                  <a:pPr algn="ctr">
                    <a:spcBef>
                      <a:spcPts val="750"/>
                    </a:spcBef>
                  </a:pPr>
                  <a:endParaRPr lang="en-US" sz="1050" b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3" name="Elipse 22">
                  <a:extLst>
                    <a:ext uri="{FF2B5EF4-FFF2-40B4-BE49-F238E27FC236}">
                      <a16:creationId xmlns:a16="http://schemas.microsoft.com/office/drawing/2014/main" id="{56F274E6-0FF3-7A24-B1F5-B4B132ED5291}"/>
                    </a:ext>
                  </a:extLst>
                </p:cNvPr>
                <p:cNvSpPr/>
                <p:nvPr/>
              </p:nvSpPr>
              <p:spPr>
                <a:xfrm>
                  <a:off x="4750164" y="1216660"/>
                  <a:ext cx="2460534" cy="2460534"/>
                </a:xfrm>
                <a:prstGeom prst="ellipse">
                  <a:avLst/>
                </a:prstGeom>
                <a:solidFill>
                  <a:srgbClr val="FFFFFF">
                    <a:alpha val="74729"/>
                  </a:srgbClr>
                </a:solidFill>
                <a:ln w="38100" cap="rnd" cmpd="sng">
                  <a:noFill/>
                  <a:prstDash val="sysDash"/>
                  <a:miter lim="800000"/>
                </a:ln>
                <a:effectLst>
                  <a:outerShdw blurRad="38100" dist="12700" dir="5400000" algn="t" rotWithShape="0">
                    <a:prstClr val="black">
                      <a:alpha val="15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t">
                  <a:noAutofit/>
                </a:bodyPr>
                <a:lstStyle/>
                <a:p>
                  <a:pPr algn="ctr">
                    <a:spcBef>
                      <a:spcPts val="750"/>
                    </a:spcBef>
                  </a:pPr>
                  <a:endParaRPr lang="en-US" sz="1050" b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4" name="Elipse 23">
                  <a:extLst>
                    <a:ext uri="{FF2B5EF4-FFF2-40B4-BE49-F238E27FC236}">
                      <a16:creationId xmlns:a16="http://schemas.microsoft.com/office/drawing/2014/main" id="{070EB3BD-0BF9-17B3-D94B-06A7C7B75EDF}"/>
                    </a:ext>
                  </a:extLst>
                </p:cNvPr>
                <p:cNvSpPr/>
                <p:nvPr/>
              </p:nvSpPr>
              <p:spPr>
                <a:xfrm>
                  <a:off x="7458893" y="1216660"/>
                  <a:ext cx="2460534" cy="2460534"/>
                </a:xfrm>
                <a:prstGeom prst="ellipse">
                  <a:avLst/>
                </a:prstGeom>
                <a:solidFill>
                  <a:srgbClr val="FFFFFF">
                    <a:alpha val="75147"/>
                  </a:srgbClr>
                </a:solidFill>
                <a:ln w="38100" cap="rnd" cmpd="sng">
                  <a:noFill/>
                  <a:prstDash val="sysDash"/>
                  <a:miter lim="800000"/>
                </a:ln>
                <a:effectLst>
                  <a:outerShdw blurRad="38100" dist="12700" dir="5400000" algn="t" rotWithShape="0">
                    <a:prstClr val="black">
                      <a:alpha val="15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t">
                  <a:noAutofit/>
                </a:bodyPr>
                <a:lstStyle/>
                <a:p>
                  <a:pPr algn="ctr">
                    <a:spcBef>
                      <a:spcPts val="750"/>
                    </a:spcBef>
                  </a:pPr>
                  <a:endParaRPr lang="en-US" sz="1050" b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" name="Elipse 26">
                  <a:extLst>
                    <a:ext uri="{FF2B5EF4-FFF2-40B4-BE49-F238E27FC236}">
                      <a16:creationId xmlns:a16="http://schemas.microsoft.com/office/drawing/2014/main" id="{F7C402DD-1F4F-7D40-32F4-FECF90E18A4B}"/>
                    </a:ext>
                  </a:extLst>
                </p:cNvPr>
                <p:cNvSpPr/>
                <p:nvPr/>
              </p:nvSpPr>
              <p:spPr>
                <a:xfrm>
                  <a:off x="4750164" y="3916470"/>
                  <a:ext cx="2460534" cy="2460534"/>
                </a:xfrm>
                <a:prstGeom prst="ellipse">
                  <a:avLst/>
                </a:prstGeom>
                <a:solidFill>
                  <a:srgbClr val="FFFFFF">
                    <a:alpha val="74909"/>
                  </a:srgbClr>
                </a:solidFill>
                <a:ln w="38100" cap="rnd" cmpd="sng">
                  <a:noFill/>
                  <a:prstDash val="sysDash"/>
                  <a:miter lim="800000"/>
                </a:ln>
                <a:effectLst>
                  <a:outerShdw blurRad="38100" dist="12700" dir="5400000" algn="t" rotWithShape="0">
                    <a:prstClr val="black">
                      <a:alpha val="15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t">
                  <a:noAutofit/>
                </a:bodyPr>
                <a:lstStyle/>
                <a:p>
                  <a:pPr algn="ctr">
                    <a:spcBef>
                      <a:spcPts val="750"/>
                    </a:spcBef>
                  </a:pPr>
                  <a:endParaRPr lang="en-US" sz="1050" b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" name="Elipse 27">
                  <a:extLst>
                    <a:ext uri="{FF2B5EF4-FFF2-40B4-BE49-F238E27FC236}">
                      <a16:creationId xmlns:a16="http://schemas.microsoft.com/office/drawing/2014/main" id="{44AD301E-E905-FF9C-61C0-557C4DC82D7C}"/>
                    </a:ext>
                  </a:extLst>
                </p:cNvPr>
                <p:cNvSpPr/>
                <p:nvPr/>
              </p:nvSpPr>
              <p:spPr>
                <a:xfrm>
                  <a:off x="7458893" y="3927934"/>
                  <a:ext cx="2460534" cy="2460533"/>
                </a:xfrm>
                <a:prstGeom prst="ellipse">
                  <a:avLst/>
                </a:prstGeom>
                <a:solidFill>
                  <a:srgbClr val="FFFFFF">
                    <a:alpha val="74635"/>
                  </a:srgbClr>
                </a:solidFill>
                <a:ln w="38100" cap="rnd" cmpd="sng">
                  <a:noFill/>
                  <a:prstDash val="sysDash"/>
                  <a:miter lim="800000"/>
                </a:ln>
                <a:effectLst>
                  <a:outerShdw blurRad="38100" dist="12700" dir="5400000" algn="t" rotWithShape="0">
                    <a:prstClr val="black">
                      <a:alpha val="15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t">
                  <a:noAutofit/>
                </a:bodyPr>
                <a:lstStyle/>
                <a:p>
                  <a:pPr algn="ctr">
                    <a:spcBef>
                      <a:spcPts val="750"/>
                    </a:spcBef>
                  </a:pPr>
                  <a:endParaRPr lang="en-US" sz="1050" b="1">
                    <a:solidFill>
                      <a:schemeClr val="tx1"/>
                    </a:solidFill>
                  </a:endParaRPr>
                </a:p>
              </p:txBody>
            </p:sp>
          </p:grpSp>
        </p:grpSp>
        <p:sp>
          <p:nvSpPr>
            <p:cNvPr id="31" name="Marcador de texto 4">
              <a:extLst>
                <a:ext uri="{FF2B5EF4-FFF2-40B4-BE49-F238E27FC236}">
                  <a16:creationId xmlns:a16="http://schemas.microsoft.com/office/drawing/2014/main" id="{FA49475D-3522-95C5-AFA4-8C13BC9BD8A7}"/>
                </a:ext>
              </a:extLst>
            </p:cNvPr>
            <p:cNvSpPr txBox="1">
              <a:spLocks/>
            </p:cNvSpPr>
            <p:nvPr/>
          </p:nvSpPr>
          <p:spPr>
            <a:xfrm>
              <a:off x="5028892" y="1726412"/>
              <a:ext cx="1257748" cy="61811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ctr" defTabSz="914318" rtl="0" eaLnBrk="1" latinLnBrk="0" hangingPunct="1">
                <a:lnSpc>
                  <a:spcPct val="114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400" b="1" i="0" kern="1200">
                  <a:solidFill>
                    <a:schemeClr val="bg2"/>
                  </a:solidFill>
                  <a:latin typeface="Montserrat" pitchFamily="2" charset="77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 marL="0" indent="0" algn="l" defTabSz="914318" rtl="0" eaLnBrk="1" latinLnBrk="0" hangingPunct="1">
                <a:lnSpc>
                  <a:spcPct val="150000"/>
                </a:lnSpc>
                <a:spcBef>
                  <a:spcPts val="499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318" rtl="0" eaLnBrk="1" latinLnBrk="0" hangingPunct="1">
                <a:lnSpc>
                  <a:spcPct val="150000"/>
                </a:lnSpc>
                <a:spcBef>
                  <a:spcPts val="499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318" rtl="0" eaLnBrk="1" latinLnBrk="0" hangingPunct="1">
                <a:lnSpc>
                  <a:spcPct val="150000"/>
                </a:lnSpc>
                <a:spcBef>
                  <a:spcPts val="499"/>
                </a:spcBef>
                <a:buFont typeface="Arial" panose="020B0604020202020204" pitchFamily="34" charset="0"/>
                <a:buNone/>
                <a:defRPr sz="1000" kern="1200">
                  <a:solidFill>
                    <a:schemeClr val="tx1">
                      <a:alpha val="7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318" rtl="0" eaLnBrk="1" latinLnBrk="0" hangingPunct="1">
                <a:lnSpc>
                  <a:spcPct val="150000"/>
                </a:lnSpc>
                <a:spcBef>
                  <a:spcPts val="499"/>
                </a:spcBef>
                <a:buFont typeface="Arial" panose="020B0604020202020204" pitchFamily="34" charset="0"/>
                <a:buNone/>
                <a:defRPr sz="1000" kern="1200" baseline="0">
                  <a:solidFill>
                    <a:schemeClr val="tx1">
                      <a:alpha val="5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374" indent="-228580" algn="l" defTabSz="914318" rtl="0" eaLnBrk="1" latinLnBrk="0" hangingPunct="1">
                <a:lnSpc>
                  <a:spcPct val="90000"/>
                </a:lnSpc>
                <a:spcBef>
                  <a:spcPts val="499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534" indent="-228580" algn="l" defTabSz="914318" rtl="0" eaLnBrk="1" latinLnBrk="0" hangingPunct="1">
                <a:lnSpc>
                  <a:spcPct val="90000"/>
                </a:lnSpc>
                <a:spcBef>
                  <a:spcPts val="499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692" indent="-228580" algn="l" defTabSz="914318" rtl="0" eaLnBrk="1" latinLnBrk="0" hangingPunct="1">
                <a:lnSpc>
                  <a:spcPct val="90000"/>
                </a:lnSpc>
                <a:spcBef>
                  <a:spcPts val="499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850" indent="-228580" algn="l" defTabSz="914318" rtl="0" eaLnBrk="1" latinLnBrk="0" hangingPunct="1">
                <a:lnSpc>
                  <a:spcPct val="90000"/>
                </a:lnSpc>
                <a:spcBef>
                  <a:spcPts val="499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739" fontAlgn="auto">
                <a:lnSpc>
                  <a:spcPct val="100000"/>
                </a:lnSpc>
                <a:spcAft>
                  <a:spcPts val="450"/>
                </a:spcAft>
                <a:defRPr/>
              </a:pPr>
              <a:r>
                <a:rPr lang="es-MX" sz="900" b="0">
                  <a:solidFill>
                    <a:schemeClr val="tx2"/>
                  </a:solidFill>
                  <a:latin typeface="Pulso" pitchFamily="2" charset="0"/>
                  <a:ea typeface="Roboto" panose="02000000000000000000" pitchFamily="2" charset="0"/>
                </a:rPr>
                <a:t>Consolidar foco Client Centric para fortalecer nuestro ecosistema</a:t>
              </a:r>
            </a:p>
            <a:p>
              <a:pPr defTabSz="685739" fontAlgn="auto">
                <a:lnSpc>
                  <a:spcPct val="100000"/>
                </a:lnSpc>
                <a:spcAft>
                  <a:spcPts val="450"/>
                </a:spcAft>
                <a:defRPr/>
              </a:pPr>
              <a:r>
                <a:rPr lang="es-MX" sz="900">
                  <a:solidFill>
                    <a:schemeClr val="tx2"/>
                  </a:solidFill>
                  <a:latin typeface="Pulso" pitchFamily="2" charset="0"/>
                  <a:ea typeface="Roboto Light" panose="02000000000000000000" pitchFamily="2" charset="0"/>
                </a:rPr>
                <a:t>Creación de valor</a:t>
              </a:r>
            </a:p>
          </p:txBody>
        </p:sp>
        <p:sp>
          <p:nvSpPr>
            <p:cNvPr id="32" name="Marcador de texto 4">
              <a:extLst>
                <a:ext uri="{FF2B5EF4-FFF2-40B4-BE49-F238E27FC236}">
                  <a16:creationId xmlns:a16="http://schemas.microsoft.com/office/drawing/2014/main" id="{8F750F85-2F03-43BB-5DD6-760C89400B36}"/>
                </a:ext>
              </a:extLst>
            </p:cNvPr>
            <p:cNvSpPr txBox="1">
              <a:spLocks/>
            </p:cNvSpPr>
            <p:nvPr/>
          </p:nvSpPr>
          <p:spPr>
            <a:xfrm>
              <a:off x="6683767" y="1641089"/>
              <a:ext cx="1187178" cy="8951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ctr" defTabSz="914318" rtl="0" eaLnBrk="1" latinLnBrk="0" hangingPunct="1">
                <a:lnSpc>
                  <a:spcPct val="114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400" b="1" i="0" kern="1200">
                  <a:solidFill>
                    <a:schemeClr val="bg2"/>
                  </a:solidFill>
                  <a:latin typeface="Montserrat" pitchFamily="2" charset="77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 marL="0" indent="0" algn="l" defTabSz="914318" rtl="0" eaLnBrk="1" latinLnBrk="0" hangingPunct="1">
                <a:lnSpc>
                  <a:spcPct val="150000"/>
                </a:lnSpc>
                <a:spcBef>
                  <a:spcPts val="499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318" rtl="0" eaLnBrk="1" latinLnBrk="0" hangingPunct="1">
                <a:lnSpc>
                  <a:spcPct val="150000"/>
                </a:lnSpc>
                <a:spcBef>
                  <a:spcPts val="499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318" rtl="0" eaLnBrk="1" latinLnBrk="0" hangingPunct="1">
                <a:lnSpc>
                  <a:spcPct val="150000"/>
                </a:lnSpc>
                <a:spcBef>
                  <a:spcPts val="499"/>
                </a:spcBef>
                <a:buFont typeface="Arial" panose="020B0604020202020204" pitchFamily="34" charset="0"/>
                <a:buNone/>
                <a:defRPr sz="1000" kern="1200">
                  <a:solidFill>
                    <a:schemeClr val="tx1">
                      <a:alpha val="7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318" rtl="0" eaLnBrk="1" latinLnBrk="0" hangingPunct="1">
                <a:lnSpc>
                  <a:spcPct val="150000"/>
                </a:lnSpc>
                <a:spcBef>
                  <a:spcPts val="499"/>
                </a:spcBef>
                <a:buFont typeface="Arial" panose="020B0604020202020204" pitchFamily="34" charset="0"/>
                <a:buNone/>
                <a:defRPr sz="1000" kern="1200" baseline="0">
                  <a:solidFill>
                    <a:schemeClr val="tx1">
                      <a:alpha val="5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374" indent="-228580" algn="l" defTabSz="914318" rtl="0" eaLnBrk="1" latinLnBrk="0" hangingPunct="1">
                <a:lnSpc>
                  <a:spcPct val="90000"/>
                </a:lnSpc>
                <a:spcBef>
                  <a:spcPts val="499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534" indent="-228580" algn="l" defTabSz="914318" rtl="0" eaLnBrk="1" latinLnBrk="0" hangingPunct="1">
                <a:lnSpc>
                  <a:spcPct val="90000"/>
                </a:lnSpc>
                <a:spcBef>
                  <a:spcPts val="499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692" indent="-228580" algn="l" defTabSz="914318" rtl="0" eaLnBrk="1" latinLnBrk="0" hangingPunct="1">
                <a:lnSpc>
                  <a:spcPct val="90000"/>
                </a:lnSpc>
                <a:spcBef>
                  <a:spcPts val="499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850" indent="-228580" algn="l" defTabSz="914318" rtl="0" eaLnBrk="1" latinLnBrk="0" hangingPunct="1">
                <a:lnSpc>
                  <a:spcPct val="90000"/>
                </a:lnSpc>
                <a:spcBef>
                  <a:spcPts val="499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Aft>
                  <a:spcPts val="450"/>
                </a:spcAft>
                <a:defRPr/>
              </a:pPr>
              <a:r>
                <a:rPr lang="es-MX" sz="900" b="0">
                  <a:solidFill>
                    <a:schemeClr val="tx2"/>
                  </a:solidFill>
                  <a:latin typeface="Pulso" pitchFamily="2" charset="0"/>
                  <a:ea typeface="Roboto" panose="02000000000000000000" pitchFamily="2" charset="0"/>
                </a:rPr>
                <a:t>Agilizar procesos para acelerar el “Time to Market”</a:t>
              </a:r>
            </a:p>
            <a:p>
              <a:pPr>
                <a:lnSpc>
                  <a:spcPct val="100000"/>
                </a:lnSpc>
                <a:spcAft>
                  <a:spcPts val="450"/>
                </a:spcAft>
                <a:defRPr/>
              </a:pPr>
              <a:r>
                <a:rPr lang="es-MX" sz="900">
                  <a:solidFill>
                    <a:schemeClr val="tx2"/>
                  </a:solidFill>
                  <a:latin typeface="Pulso" pitchFamily="2" charset="0"/>
                  <a:ea typeface="Roboto Light" panose="02000000000000000000" pitchFamily="2" charset="0"/>
                </a:rPr>
                <a:t>Arquitectura, Colaboración &amp;</a:t>
              </a:r>
              <a:br>
                <a:rPr lang="es-MX" sz="900">
                  <a:solidFill>
                    <a:schemeClr val="tx2"/>
                  </a:solidFill>
                  <a:latin typeface="Pulso" pitchFamily="2" charset="0"/>
                  <a:ea typeface="Roboto Light" panose="02000000000000000000" pitchFamily="2" charset="0"/>
                </a:rPr>
              </a:br>
              <a:r>
                <a:rPr lang="es-MX" sz="900">
                  <a:solidFill>
                    <a:schemeClr val="tx2"/>
                  </a:solidFill>
                  <a:latin typeface="Pulso" pitchFamily="2" charset="0"/>
                  <a:ea typeface="Roboto Light" panose="02000000000000000000" pitchFamily="2" charset="0"/>
                </a:rPr>
                <a:t>Velocidad</a:t>
              </a:r>
            </a:p>
          </p:txBody>
        </p:sp>
        <p:sp>
          <p:nvSpPr>
            <p:cNvPr id="37" name="Marcador de texto 4">
              <a:extLst>
                <a:ext uri="{FF2B5EF4-FFF2-40B4-BE49-F238E27FC236}">
                  <a16:creationId xmlns:a16="http://schemas.microsoft.com/office/drawing/2014/main" id="{F604EFAA-A362-FC9D-ADD6-68A012BB5450}"/>
                </a:ext>
              </a:extLst>
            </p:cNvPr>
            <p:cNvSpPr txBox="1">
              <a:spLocks/>
            </p:cNvSpPr>
            <p:nvPr/>
          </p:nvSpPr>
          <p:spPr>
            <a:xfrm>
              <a:off x="5066376" y="3234728"/>
              <a:ext cx="1189578" cy="8951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ctr" defTabSz="914318" rtl="0" eaLnBrk="1" latinLnBrk="0" hangingPunct="1">
                <a:lnSpc>
                  <a:spcPct val="114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400" b="1" i="0" kern="1200">
                  <a:solidFill>
                    <a:schemeClr val="bg2"/>
                  </a:solidFill>
                  <a:latin typeface="Montserrat" pitchFamily="2" charset="77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 marL="0" indent="0" algn="l" defTabSz="914318" rtl="0" eaLnBrk="1" latinLnBrk="0" hangingPunct="1">
                <a:lnSpc>
                  <a:spcPct val="150000"/>
                </a:lnSpc>
                <a:spcBef>
                  <a:spcPts val="499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318" rtl="0" eaLnBrk="1" latinLnBrk="0" hangingPunct="1">
                <a:lnSpc>
                  <a:spcPct val="150000"/>
                </a:lnSpc>
                <a:spcBef>
                  <a:spcPts val="499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318" rtl="0" eaLnBrk="1" latinLnBrk="0" hangingPunct="1">
                <a:lnSpc>
                  <a:spcPct val="150000"/>
                </a:lnSpc>
                <a:spcBef>
                  <a:spcPts val="499"/>
                </a:spcBef>
                <a:buFont typeface="Arial" panose="020B0604020202020204" pitchFamily="34" charset="0"/>
                <a:buNone/>
                <a:defRPr sz="1000" kern="1200">
                  <a:solidFill>
                    <a:schemeClr val="tx1">
                      <a:alpha val="7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318" rtl="0" eaLnBrk="1" latinLnBrk="0" hangingPunct="1">
                <a:lnSpc>
                  <a:spcPct val="150000"/>
                </a:lnSpc>
                <a:spcBef>
                  <a:spcPts val="499"/>
                </a:spcBef>
                <a:buFont typeface="Arial" panose="020B0604020202020204" pitchFamily="34" charset="0"/>
                <a:buNone/>
                <a:defRPr sz="1000" kern="1200" baseline="0">
                  <a:solidFill>
                    <a:schemeClr val="tx1">
                      <a:alpha val="5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374" indent="-228580" algn="l" defTabSz="914318" rtl="0" eaLnBrk="1" latinLnBrk="0" hangingPunct="1">
                <a:lnSpc>
                  <a:spcPct val="90000"/>
                </a:lnSpc>
                <a:spcBef>
                  <a:spcPts val="499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534" indent="-228580" algn="l" defTabSz="914318" rtl="0" eaLnBrk="1" latinLnBrk="0" hangingPunct="1">
                <a:lnSpc>
                  <a:spcPct val="90000"/>
                </a:lnSpc>
                <a:spcBef>
                  <a:spcPts val="499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692" indent="-228580" algn="l" defTabSz="914318" rtl="0" eaLnBrk="1" latinLnBrk="0" hangingPunct="1">
                <a:lnSpc>
                  <a:spcPct val="90000"/>
                </a:lnSpc>
                <a:spcBef>
                  <a:spcPts val="499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850" indent="-228580" algn="l" defTabSz="914318" rtl="0" eaLnBrk="1" latinLnBrk="0" hangingPunct="1">
                <a:lnSpc>
                  <a:spcPct val="90000"/>
                </a:lnSpc>
                <a:spcBef>
                  <a:spcPts val="499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739" fontAlgn="auto">
                <a:lnSpc>
                  <a:spcPct val="100000"/>
                </a:lnSpc>
                <a:spcAft>
                  <a:spcPts val="450"/>
                </a:spcAft>
                <a:defRPr/>
              </a:pPr>
              <a:r>
                <a:rPr lang="es-MX" sz="900" b="0">
                  <a:solidFill>
                    <a:schemeClr val="tx2"/>
                  </a:solidFill>
                  <a:latin typeface="Pulso" pitchFamily="2" charset="0"/>
                  <a:ea typeface="Roboto" panose="02000000000000000000" pitchFamily="2" charset="0"/>
                </a:rPr>
                <a:t>Impulsar un liderazgo con mirada de expansión, innovación y escalabilidad</a:t>
              </a:r>
            </a:p>
            <a:p>
              <a:pPr defTabSz="685739" fontAlgn="auto">
                <a:lnSpc>
                  <a:spcPct val="100000"/>
                </a:lnSpc>
                <a:spcAft>
                  <a:spcPts val="450"/>
                </a:spcAft>
                <a:defRPr/>
              </a:pPr>
              <a:r>
                <a:rPr lang="es-MX" sz="900">
                  <a:solidFill>
                    <a:schemeClr val="tx2"/>
                  </a:solidFill>
                  <a:latin typeface="Pulso" pitchFamily="2" charset="0"/>
                  <a:ea typeface="Roboto Light" panose="02000000000000000000" pitchFamily="2" charset="0"/>
                </a:rPr>
                <a:t>Mentalidad de Crecimiento</a:t>
              </a:r>
            </a:p>
          </p:txBody>
        </p:sp>
        <p:sp>
          <p:nvSpPr>
            <p:cNvPr id="39" name="Marcador de texto 4">
              <a:extLst>
                <a:ext uri="{FF2B5EF4-FFF2-40B4-BE49-F238E27FC236}">
                  <a16:creationId xmlns:a16="http://schemas.microsoft.com/office/drawing/2014/main" id="{A276A64D-8C69-AFB7-4BA4-21B78EB5AC9A}"/>
                </a:ext>
              </a:extLst>
            </p:cNvPr>
            <p:cNvSpPr txBox="1">
              <a:spLocks/>
            </p:cNvSpPr>
            <p:nvPr/>
          </p:nvSpPr>
          <p:spPr>
            <a:xfrm>
              <a:off x="6576854" y="3101493"/>
              <a:ext cx="1380497" cy="103361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ctr" defTabSz="914318" rtl="0" eaLnBrk="1" latinLnBrk="0" hangingPunct="1">
                <a:lnSpc>
                  <a:spcPct val="114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400" b="1" i="0" kern="1200">
                  <a:solidFill>
                    <a:schemeClr val="bg2"/>
                  </a:solidFill>
                  <a:latin typeface="Montserrat" pitchFamily="2" charset="77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 marL="0" indent="0" algn="l" defTabSz="914318" rtl="0" eaLnBrk="1" latinLnBrk="0" hangingPunct="1">
                <a:lnSpc>
                  <a:spcPct val="150000"/>
                </a:lnSpc>
                <a:spcBef>
                  <a:spcPts val="499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318" rtl="0" eaLnBrk="1" latinLnBrk="0" hangingPunct="1">
                <a:lnSpc>
                  <a:spcPct val="150000"/>
                </a:lnSpc>
                <a:spcBef>
                  <a:spcPts val="499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318" rtl="0" eaLnBrk="1" latinLnBrk="0" hangingPunct="1">
                <a:lnSpc>
                  <a:spcPct val="150000"/>
                </a:lnSpc>
                <a:spcBef>
                  <a:spcPts val="499"/>
                </a:spcBef>
                <a:buFont typeface="Arial" panose="020B0604020202020204" pitchFamily="34" charset="0"/>
                <a:buNone/>
                <a:defRPr sz="1000" kern="1200">
                  <a:solidFill>
                    <a:schemeClr val="tx1">
                      <a:alpha val="7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318" rtl="0" eaLnBrk="1" latinLnBrk="0" hangingPunct="1">
                <a:lnSpc>
                  <a:spcPct val="150000"/>
                </a:lnSpc>
                <a:spcBef>
                  <a:spcPts val="499"/>
                </a:spcBef>
                <a:buFont typeface="Arial" panose="020B0604020202020204" pitchFamily="34" charset="0"/>
                <a:buNone/>
                <a:defRPr sz="1000" kern="1200" baseline="0">
                  <a:solidFill>
                    <a:schemeClr val="tx1">
                      <a:alpha val="5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374" indent="-228580" algn="l" defTabSz="914318" rtl="0" eaLnBrk="1" latinLnBrk="0" hangingPunct="1">
                <a:lnSpc>
                  <a:spcPct val="90000"/>
                </a:lnSpc>
                <a:spcBef>
                  <a:spcPts val="499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534" indent="-228580" algn="l" defTabSz="914318" rtl="0" eaLnBrk="1" latinLnBrk="0" hangingPunct="1">
                <a:lnSpc>
                  <a:spcPct val="90000"/>
                </a:lnSpc>
                <a:spcBef>
                  <a:spcPts val="499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692" indent="-228580" algn="l" defTabSz="914318" rtl="0" eaLnBrk="1" latinLnBrk="0" hangingPunct="1">
                <a:lnSpc>
                  <a:spcPct val="90000"/>
                </a:lnSpc>
                <a:spcBef>
                  <a:spcPts val="499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850" indent="-228580" algn="l" defTabSz="914318" rtl="0" eaLnBrk="1" latinLnBrk="0" hangingPunct="1">
                <a:lnSpc>
                  <a:spcPct val="90000"/>
                </a:lnSpc>
                <a:spcBef>
                  <a:spcPts val="499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739" fontAlgn="auto">
                <a:lnSpc>
                  <a:spcPct val="100000"/>
                </a:lnSpc>
                <a:spcAft>
                  <a:spcPts val="450"/>
                </a:spcAft>
                <a:defRPr/>
              </a:pPr>
              <a:r>
                <a:rPr lang="es-MX" sz="900" b="0">
                  <a:solidFill>
                    <a:schemeClr val="tx2"/>
                  </a:solidFill>
                  <a:latin typeface="Pulso" pitchFamily="2" charset="0"/>
                  <a:ea typeface="Roboto" panose="02000000000000000000" pitchFamily="2" charset="0"/>
                </a:rPr>
                <a:t>Eficientizar la organización, ganar competitividad y potenciar el talento: up/re-skiling</a:t>
              </a:r>
            </a:p>
            <a:p>
              <a:pPr defTabSz="685739" fontAlgn="auto">
                <a:lnSpc>
                  <a:spcPct val="100000"/>
                </a:lnSpc>
                <a:spcAft>
                  <a:spcPts val="450"/>
                </a:spcAft>
                <a:defRPr/>
              </a:pPr>
              <a:r>
                <a:rPr lang="es-MX" sz="900">
                  <a:solidFill>
                    <a:schemeClr val="tx2"/>
                  </a:solidFill>
                  <a:latin typeface="Pulso" pitchFamily="2" charset="0"/>
                  <a:ea typeface="Roboto Light" panose="02000000000000000000" pitchFamily="2" charset="0"/>
                </a:rPr>
                <a:t>Adaptabilidad &amp;  Empoderamiento</a:t>
              </a:r>
            </a:p>
          </p:txBody>
        </p:sp>
        <p:sp>
          <p:nvSpPr>
            <p:cNvPr id="40" name="Elipse 39">
              <a:extLst>
                <a:ext uri="{FF2B5EF4-FFF2-40B4-BE49-F238E27FC236}">
                  <a16:creationId xmlns:a16="http://schemas.microsoft.com/office/drawing/2014/main" id="{0E1A0525-6C1B-7EB6-7DE2-F7BEA132DF66}"/>
                </a:ext>
              </a:extLst>
            </p:cNvPr>
            <p:cNvSpPr/>
            <p:nvPr/>
          </p:nvSpPr>
          <p:spPr>
            <a:xfrm>
              <a:off x="5944422" y="2206854"/>
              <a:ext cx="1048480" cy="1048480"/>
            </a:xfrm>
            <a:prstGeom prst="ellipse">
              <a:avLst/>
            </a:prstGeom>
            <a:solidFill>
              <a:schemeClr val="accent1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750"/>
                </a:spcBef>
              </a:pPr>
              <a:endParaRPr lang="en-US" sz="1050" b="1">
                <a:solidFill>
                  <a:schemeClr val="tx1"/>
                </a:solidFill>
              </a:endParaRPr>
            </a:p>
          </p:txBody>
        </p:sp>
        <p:sp>
          <p:nvSpPr>
            <p:cNvPr id="41" name="Title 1">
              <a:extLst>
                <a:ext uri="{FF2B5EF4-FFF2-40B4-BE49-F238E27FC236}">
                  <a16:creationId xmlns:a16="http://schemas.microsoft.com/office/drawing/2014/main" id="{672AF75C-7F27-B7A9-6F70-FEF660A0A4CD}"/>
                </a:ext>
              </a:extLst>
            </p:cNvPr>
            <p:cNvSpPr txBox="1">
              <a:spLocks/>
            </p:cNvSpPr>
            <p:nvPr/>
          </p:nvSpPr>
          <p:spPr>
            <a:xfrm>
              <a:off x="5961170" y="2350187"/>
              <a:ext cx="1014984" cy="760593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ctr" anchorCtr="0">
              <a:spAutoFit/>
            </a:bodyPr>
            <a:lstStyle>
              <a:defPPr>
                <a:defRPr lang="en-US"/>
              </a:defPPr>
              <a:lvl1pPr defTabSz="914318">
                <a:lnSpc>
                  <a:spcPct val="85000"/>
                </a:lnSpc>
                <a:spcBef>
                  <a:spcPct val="0"/>
                </a:spcBef>
                <a:buNone/>
                <a:defRPr sz="2800" b="0" i="0" spc="-5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77"/>
                  <a:ea typeface="Montserrat" charset="0"/>
                  <a:cs typeface="Montserrat" charset="0"/>
                </a:defRPr>
              </a:lvl1pPr>
            </a:lstStyle>
            <a:p>
              <a:pPr algn="ctr" defTabSz="685739" fontAlgn="auto">
                <a:lnSpc>
                  <a:spcPts val="1170"/>
                </a:lnSpc>
                <a:spcAft>
                  <a:spcPts val="0"/>
                </a:spcAft>
                <a:defRPr/>
              </a:pPr>
              <a:r>
                <a:rPr lang="es-ES_tradnl" sz="900" spc="0">
                  <a:solidFill>
                    <a:srgbClr val="FFFFFF"/>
                  </a:solidFill>
                  <a:latin typeface="Pulso" pitchFamily="2" charset="0"/>
                  <a:ea typeface="Roboto" panose="02000000000000000000" pitchFamily="2" charset="0"/>
                </a:rPr>
                <a:t>Cultura  </a:t>
              </a:r>
            </a:p>
            <a:p>
              <a:pPr lvl="0" algn="ctr">
                <a:lnSpc>
                  <a:spcPts val="1170"/>
                </a:lnSpc>
                <a:spcAft>
                  <a:spcPts val="0"/>
                </a:spcAft>
                <a:defRPr/>
              </a:pPr>
              <a:r>
                <a:rPr lang="es-ES_tradnl" sz="900" spc="0">
                  <a:solidFill>
                    <a:srgbClr val="FFFFFF"/>
                  </a:solidFill>
                  <a:latin typeface="Pulso" pitchFamily="2" charset="0"/>
                  <a:ea typeface="Roboto" panose="02000000000000000000" pitchFamily="2" charset="0"/>
                </a:rPr>
                <a:t> Orgullo</a:t>
              </a:r>
            </a:p>
            <a:p>
              <a:pPr lvl="0" algn="ctr">
                <a:lnSpc>
                  <a:spcPts val="1170"/>
                </a:lnSpc>
                <a:spcAft>
                  <a:spcPts val="0"/>
                </a:spcAft>
                <a:defRPr/>
              </a:pPr>
              <a:r>
                <a:rPr lang="es-ES_tradnl" sz="900" spc="0">
                  <a:solidFill>
                    <a:srgbClr val="FFFFFF"/>
                  </a:solidFill>
                  <a:latin typeface="Pulso" pitchFamily="2" charset="0"/>
                  <a:ea typeface="Roboto" panose="02000000000000000000" pitchFamily="2" charset="0"/>
                </a:rPr>
                <a:t>ENPS + NPS</a:t>
              </a:r>
            </a:p>
            <a:p>
              <a:pPr lvl="0" algn="ctr">
                <a:lnSpc>
                  <a:spcPts val="1170"/>
                </a:lnSpc>
                <a:spcAft>
                  <a:spcPts val="0"/>
                </a:spcAft>
                <a:defRPr/>
              </a:pPr>
              <a:r>
                <a:rPr lang="es-ES_tradnl" sz="900" spc="0">
                  <a:solidFill>
                    <a:srgbClr val="FFFFFF"/>
                  </a:solidFill>
                  <a:latin typeface="Pulso" pitchFamily="2" charset="0"/>
                  <a:ea typeface="Roboto" panose="02000000000000000000" pitchFamily="2" charset="0"/>
                </a:rPr>
                <a:t>Integración TMA</a:t>
              </a:r>
            </a:p>
            <a:p>
              <a:pPr lvl="0" algn="ctr">
                <a:lnSpc>
                  <a:spcPts val="1170"/>
                </a:lnSpc>
                <a:spcAft>
                  <a:spcPts val="0"/>
                </a:spcAft>
                <a:defRPr/>
              </a:pPr>
              <a:r>
                <a:rPr lang="es-ES_tradnl" sz="900" spc="0" err="1">
                  <a:solidFill>
                    <a:srgbClr val="FFFFFF"/>
                  </a:solidFill>
                  <a:latin typeface="Pulso" pitchFamily="2" charset="0"/>
                  <a:ea typeface="Roboto" panose="02000000000000000000" pitchFamily="2" charset="0"/>
                </a:rPr>
                <a:t>Sizing</a:t>
              </a:r>
              <a:endParaRPr lang="es-ES_tradnl" sz="900" spc="0">
                <a:solidFill>
                  <a:srgbClr val="FFFFFF"/>
                </a:solidFill>
                <a:latin typeface="Pulso" pitchFamily="2" charset="0"/>
                <a:ea typeface="Roboto" panose="02000000000000000000" pitchFamily="2" charset="0"/>
              </a:endParaRPr>
            </a:p>
          </p:txBody>
        </p:sp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3DAF68D2-9809-6A1D-5548-B0BC155FF830}"/>
              </a:ext>
            </a:extLst>
          </p:cNvPr>
          <p:cNvSpPr txBox="1">
            <a:spLocks/>
          </p:cNvSpPr>
          <p:nvPr/>
        </p:nvSpPr>
        <p:spPr>
          <a:xfrm>
            <a:off x="540656" y="1179780"/>
            <a:ext cx="2486323" cy="1436291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tx2"/>
                </a:solidFill>
                <a:latin typeface="Pulso Light" pitchFamily="2" charset="0"/>
              </a:rPr>
              <a:t>Preparar la organización para</a:t>
            </a:r>
          </a:p>
          <a:p>
            <a:pPr>
              <a:lnSpc>
                <a:spcPts val="2800"/>
              </a:lnSpc>
            </a:pPr>
            <a:r>
              <a:rPr lang="es-ES_tradnl" sz="2500" noProof="0">
                <a:solidFill>
                  <a:schemeClr val="bg2"/>
                </a:solidFill>
              </a:rPr>
              <a:t>diferenciarse</a:t>
            </a:r>
            <a:r>
              <a:rPr lang="es-ES_tradnl" sz="2500" b="0" noProof="0">
                <a:solidFill>
                  <a:schemeClr val="bg2"/>
                </a:solidFill>
                <a:latin typeface="Pulso Light" pitchFamily="2" charset="0"/>
              </a:rPr>
              <a:t> y </a:t>
            </a:r>
            <a:r>
              <a:rPr lang="es-ES_tradnl" sz="2500" noProof="0">
                <a:solidFill>
                  <a:schemeClr val="bg2"/>
                </a:solidFill>
              </a:rPr>
              <a:t>seguir creciendo</a:t>
            </a:r>
          </a:p>
        </p:txBody>
      </p:sp>
    </p:spTree>
    <p:extLst>
      <p:ext uri="{BB962C8B-B14F-4D97-AF65-F5344CB8AC3E}">
        <p14:creationId xmlns:p14="http://schemas.microsoft.com/office/powerpoint/2010/main" val="587425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D4D446-5C36-A4C1-73AA-22C99B342B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>
            <a:extLst>
              <a:ext uri="{FF2B5EF4-FFF2-40B4-BE49-F238E27FC236}">
                <a16:creationId xmlns:a16="http://schemas.microsoft.com/office/drawing/2014/main" id="{CDDC48C9-469F-4FD0-12F1-193673A38784}"/>
              </a:ext>
            </a:extLst>
          </p:cNvPr>
          <p:cNvSpPr txBox="1">
            <a:spLocks/>
          </p:cNvSpPr>
          <p:nvPr/>
        </p:nvSpPr>
        <p:spPr>
          <a:xfrm>
            <a:off x="3055939" y="540425"/>
            <a:ext cx="3021981" cy="360933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ts val="3200"/>
              </a:lnSpc>
              <a:spcAft>
                <a:spcPts val="0"/>
              </a:spcAft>
              <a:buNone/>
              <a:defRPr sz="2800" b="0" i="0" spc="-70" baseline="0">
                <a:solidFill>
                  <a:schemeClr val="tx2"/>
                </a:solidFill>
                <a:latin typeface="Pulso Light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200">
                <a:solidFill>
                  <a:schemeClr val="bg2"/>
                </a:solidFill>
                <a:latin typeface="Pulso Light"/>
              </a:rPr>
              <a:t>Nuevo Modelo de Trabajo</a:t>
            </a:r>
            <a:endParaRPr lang="es-ES_tradnl" sz="2200">
              <a:solidFill>
                <a:schemeClr val="bg2"/>
              </a:solidFill>
              <a:latin typeface="Pulso Light" pitchFamily="2" charset="0"/>
            </a:endParaRPr>
          </a:p>
        </p:txBody>
      </p:sp>
      <p:sp>
        <p:nvSpPr>
          <p:cNvPr id="115" name="Rectángulo redondeado 114">
            <a:extLst>
              <a:ext uri="{FF2B5EF4-FFF2-40B4-BE49-F238E27FC236}">
                <a16:creationId xmlns:a16="http://schemas.microsoft.com/office/drawing/2014/main" id="{E4D2B09E-DC59-1FA6-98B0-FE67E435F6AB}"/>
              </a:ext>
            </a:extLst>
          </p:cNvPr>
          <p:cNvSpPr/>
          <p:nvPr/>
        </p:nvSpPr>
        <p:spPr>
          <a:xfrm>
            <a:off x="1828345" y="1528264"/>
            <a:ext cx="1351770" cy="1452379"/>
          </a:xfrm>
          <a:prstGeom prst="roundRect">
            <a:avLst>
              <a:gd name="adj" fmla="val 2728"/>
            </a:avLst>
          </a:prstGeom>
          <a:solidFill>
            <a:srgbClr val="FFFFFF"/>
          </a:soli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pic>
        <p:nvPicPr>
          <p:cNvPr id="116" name="Imagen 115">
            <a:extLst>
              <a:ext uri="{FF2B5EF4-FFF2-40B4-BE49-F238E27FC236}">
                <a16:creationId xmlns:a16="http://schemas.microsoft.com/office/drawing/2014/main" id="{62B49EC2-4B78-59D8-38CA-D93616EA7A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60" r="6160"/>
          <a:stretch/>
        </p:blipFill>
        <p:spPr>
          <a:xfrm>
            <a:off x="1828345" y="1528264"/>
            <a:ext cx="1351770" cy="880975"/>
          </a:xfrm>
          <a:prstGeom prst="round2SameRect">
            <a:avLst>
              <a:gd name="adj1" fmla="val 4231"/>
              <a:gd name="adj2" fmla="val 0"/>
            </a:avLst>
          </a:prstGeom>
        </p:spPr>
      </p:pic>
      <p:cxnSp>
        <p:nvCxnSpPr>
          <p:cNvPr id="118" name="Conector recto 117">
            <a:extLst>
              <a:ext uri="{FF2B5EF4-FFF2-40B4-BE49-F238E27FC236}">
                <a16:creationId xmlns:a16="http://schemas.microsoft.com/office/drawing/2014/main" id="{F80DEBC2-F376-3812-5E50-0AB9FDFFE49A}"/>
              </a:ext>
            </a:extLst>
          </p:cNvPr>
          <p:cNvCxnSpPr>
            <a:cxnSpLocks/>
          </p:cNvCxnSpPr>
          <p:nvPr/>
        </p:nvCxnSpPr>
        <p:spPr>
          <a:xfrm>
            <a:off x="1828345" y="2410349"/>
            <a:ext cx="1351770" cy="0"/>
          </a:xfrm>
          <a:prstGeom prst="line">
            <a:avLst/>
          </a:prstGeom>
          <a:ln w="19050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Marcador de texto 8">
            <a:extLst>
              <a:ext uri="{FF2B5EF4-FFF2-40B4-BE49-F238E27FC236}">
                <a16:creationId xmlns:a16="http://schemas.microsoft.com/office/drawing/2014/main" id="{8D2FCC69-522A-0968-16D7-BC1300D5EF53}"/>
              </a:ext>
            </a:extLst>
          </p:cNvPr>
          <p:cNvSpPr txBox="1">
            <a:spLocks/>
          </p:cNvSpPr>
          <p:nvPr/>
        </p:nvSpPr>
        <p:spPr>
          <a:xfrm>
            <a:off x="1898247" y="2567214"/>
            <a:ext cx="1211964" cy="27023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42967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85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volución Modelo Operativo</a:t>
            </a:r>
          </a:p>
        </p:txBody>
      </p:sp>
      <p:sp>
        <p:nvSpPr>
          <p:cNvPr id="128" name="Rectángulo redondeado 127">
            <a:extLst>
              <a:ext uri="{FF2B5EF4-FFF2-40B4-BE49-F238E27FC236}">
                <a16:creationId xmlns:a16="http://schemas.microsoft.com/office/drawing/2014/main" id="{3F56EC33-F69A-D10E-F228-134E32D6A866}"/>
              </a:ext>
            </a:extLst>
          </p:cNvPr>
          <p:cNvSpPr/>
          <p:nvPr/>
        </p:nvSpPr>
        <p:spPr>
          <a:xfrm>
            <a:off x="3215160" y="1528264"/>
            <a:ext cx="1351770" cy="1452379"/>
          </a:xfrm>
          <a:prstGeom prst="roundRect">
            <a:avLst>
              <a:gd name="adj" fmla="val 2728"/>
            </a:avLst>
          </a:prstGeom>
          <a:solidFill>
            <a:srgbClr val="FFFFFF"/>
          </a:soli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pic>
        <p:nvPicPr>
          <p:cNvPr id="129" name="Imagen 128">
            <a:extLst>
              <a:ext uri="{FF2B5EF4-FFF2-40B4-BE49-F238E27FC236}">
                <a16:creationId xmlns:a16="http://schemas.microsoft.com/office/drawing/2014/main" id="{465E0927-B8D2-A566-B8D5-E1EE6C310A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60" r="6160"/>
          <a:stretch/>
        </p:blipFill>
        <p:spPr>
          <a:xfrm>
            <a:off x="3215160" y="1528264"/>
            <a:ext cx="1351770" cy="880975"/>
          </a:xfrm>
          <a:prstGeom prst="round2SameRect">
            <a:avLst>
              <a:gd name="adj1" fmla="val 4231"/>
              <a:gd name="adj2" fmla="val 0"/>
            </a:avLst>
          </a:prstGeom>
        </p:spPr>
      </p:pic>
      <p:cxnSp>
        <p:nvCxnSpPr>
          <p:cNvPr id="131" name="Conector recto 130">
            <a:extLst>
              <a:ext uri="{FF2B5EF4-FFF2-40B4-BE49-F238E27FC236}">
                <a16:creationId xmlns:a16="http://schemas.microsoft.com/office/drawing/2014/main" id="{731368E1-DB5C-F3DB-04A0-B31DC0B70628}"/>
              </a:ext>
            </a:extLst>
          </p:cNvPr>
          <p:cNvCxnSpPr>
            <a:cxnSpLocks/>
          </p:cNvCxnSpPr>
          <p:nvPr/>
        </p:nvCxnSpPr>
        <p:spPr>
          <a:xfrm>
            <a:off x="3215160" y="2410349"/>
            <a:ext cx="1351770" cy="0"/>
          </a:xfrm>
          <a:prstGeom prst="line">
            <a:avLst/>
          </a:prstGeom>
          <a:ln w="19050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Marcador de texto 8">
            <a:extLst>
              <a:ext uri="{FF2B5EF4-FFF2-40B4-BE49-F238E27FC236}">
                <a16:creationId xmlns:a16="http://schemas.microsoft.com/office/drawing/2014/main" id="{0933C22A-0907-741C-F208-87EC29DBD58B}"/>
              </a:ext>
            </a:extLst>
          </p:cNvPr>
          <p:cNvSpPr txBox="1">
            <a:spLocks/>
          </p:cNvSpPr>
          <p:nvPr/>
        </p:nvSpPr>
        <p:spPr>
          <a:xfrm>
            <a:off x="3285062" y="2567214"/>
            <a:ext cx="1211964" cy="27023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42967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85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Personalización y Experiencia</a:t>
            </a:r>
          </a:p>
        </p:txBody>
      </p:sp>
      <p:sp>
        <p:nvSpPr>
          <p:cNvPr id="134" name="Rectángulo redondeado 133">
            <a:extLst>
              <a:ext uri="{FF2B5EF4-FFF2-40B4-BE49-F238E27FC236}">
                <a16:creationId xmlns:a16="http://schemas.microsoft.com/office/drawing/2014/main" id="{04C62425-245D-324D-6657-FA6353459610}"/>
              </a:ext>
            </a:extLst>
          </p:cNvPr>
          <p:cNvSpPr/>
          <p:nvPr/>
        </p:nvSpPr>
        <p:spPr>
          <a:xfrm>
            <a:off x="4601975" y="1528264"/>
            <a:ext cx="1351770" cy="1452379"/>
          </a:xfrm>
          <a:prstGeom prst="roundRect">
            <a:avLst>
              <a:gd name="adj" fmla="val 2728"/>
            </a:avLst>
          </a:prstGeom>
          <a:solidFill>
            <a:srgbClr val="FFFFFF"/>
          </a:soli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pic>
        <p:nvPicPr>
          <p:cNvPr id="135" name="Imagen 134">
            <a:extLst>
              <a:ext uri="{FF2B5EF4-FFF2-40B4-BE49-F238E27FC236}">
                <a16:creationId xmlns:a16="http://schemas.microsoft.com/office/drawing/2014/main" id="{5EB0390C-E9B4-377E-7764-9704222DDB3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60" r="6160"/>
          <a:stretch/>
        </p:blipFill>
        <p:spPr>
          <a:xfrm>
            <a:off x="4601975" y="1528264"/>
            <a:ext cx="1351770" cy="880975"/>
          </a:xfrm>
          <a:prstGeom prst="round2SameRect">
            <a:avLst>
              <a:gd name="adj1" fmla="val 4231"/>
              <a:gd name="adj2" fmla="val 0"/>
            </a:avLst>
          </a:prstGeom>
        </p:spPr>
      </p:pic>
      <p:cxnSp>
        <p:nvCxnSpPr>
          <p:cNvPr id="137" name="Conector recto 136">
            <a:extLst>
              <a:ext uri="{FF2B5EF4-FFF2-40B4-BE49-F238E27FC236}">
                <a16:creationId xmlns:a16="http://schemas.microsoft.com/office/drawing/2014/main" id="{2741D7D1-E1F5-6EE9-4F07-0207DEA1D778}"/>
              </a:ext>
            </a:extLst>
          </p:cNvPr>
          <p:cNvCxnSpPr>
            <a:cxnSpLocks/>
          </p:cNvCxnSpPr>
          <p:nvPr/>
        </p:nvCxnSpPr>
        <p:spPr>
          <a:xfrm>
            <a:off x="4601975" y="2410349"/>
            <a:ext cx="1351770" cy="0"/>
          </a:xfrm>
          <a:prstGeom prst="line">
            <a:avLst/>
          </a:prstGeom>
          <a:ln w="19050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Marcador de texto 8">
            <a:extLst>
              <a:ext uri="{FF2B5EF4-FFF2-40B4-BE49-F238E27FC236}">
                <a16:creationId xmlns:a16="http://schemas.microsoft.com/office/drawing/2014/main" id="{A066692E-85C6-FEDE-AEFA-6DD67C189E66}"/>
              </a:ext>
            </a:extLst>
          </p:cNvPr>
          <p:cNvSpPr txBox="1">
            <a:spLocks/>
          </p:cNvSpPr>
          <p:nvPr/>
        </p:nvSpPr>
        <p:spPr>
          <a:xfrm>
            <a:off x="4671877" y="2567214"/>
            <a:ext cx="1211964" cy="26161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42967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85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mpulso a</a:t>
            </a:r>
            <a:br>
              <a:rPr lang="es-ES_tradnl" sz="85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</a:br>
            <a:r>
              <a:rPr lang="es-ES_tradnl" sz="85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dyacencias, B2B</a:t>
            </a:r>
          </a:p>
        </p:txBody>
      </p:sp>
      <p:sp>
        <p:nvSpPr>
          <p:cNvPr id="140" name="Rectángulo redondeado 139">
            <a:extLst>
              <a:ext uri="{FF2B5EF4-FFF2-40B4-BE49-F238E27FC236}">
                <a16:creationId xmlns:a16="http://schemas.microsoft.com/office/drawing/2014/main" id="{B7101E37-BF8D-E166-34C5-B48704152225}"/>
              </a:ext>
            </a:extLst>
          </p:cNvPr>
          <p:cNvSpPr/>
          <p:nvPr/>
        </p:nvSpPr>
        <p:spPr>
          <a:xfrm>
            <a:off x="5988790" y="1528264"/>
            <a:ext cx="1351770" cy="1452379"/>
          </a:xfrm>
          <a:prstGeom prst="roundRect">
            <a:avLst>
              <a:gd name="adj" fmla="val 2728"/>
            </a:avLst>
          </a:prstGeom>
          <a:solidFill>
            <a:srgbClr val="FFFFFF"/>
          </a:soli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pic>
        <p:nvPicPr>
          <p:cNvPr id="141" name="Imagen 140">
            <a:extLst>
              <a:ext uri="{FF2B5EF4-FFF2-40B4-BE49-F238E27FC236}">
                <a16:creationId xmlns:a16="http://schemas.microsoft.com/office/drawing/2014/main" id="{2F2C1E0B-5620-8D94-89FA-3F047B33188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60" r="6160"/>
          <a:stretch/>
        </p:blipFill>
        <p:spPr>
          <a:xfrm>
            <a:off x="5988790" y="1528264"/>
            <a:ext cx="1351770" cy="880975"/>
          </a:xfrm>
          <a:prstGeom prst="round2SameRect">
            <a:avLst>
              <a:gd name="adj1" fmla="val 4231"/>
              <a:gd name="adj2" fmla="val 0"/>
            </a:avLst>
          </a:prstGeom>
        </p:spPr>
      </p:pic>
      <p:cxnSp>
        <p:nvCxnSpPr>
          <p:cNvPr id="143" name="Conector recto 142">
            <a:extLst>
              <a:ext uri="{FF2B5EF4-FFF2-40B4-BE49-F238E27FC236}">
                <a16:creationId xmlns:a16="http://schemas.microsoft.com/office/drawing/2014/main" id="{C0A30E57-4EFC-9656-715D-1A0D5E2F32EB}"/>
              </a:ext>
            </a:extLst>
          </p:cNvPr>
          <p:cNvCxnSpPr>
            <a:cxnSpLocks/>
          </p:cNvCxnSpPr>
          <p:nvPr/>
        </p:nvCxnSpPr>
        <p:spPr>
          <a:xfrm>
            <a:off x="5988790" y="2410349"/>
            <a:ext cx="1351770" cy="0"/>
          </a:xfrm>
          <a:prstGeom prst="line">
            <a:avLst/>
          </a:prstGeom>
          <a:ln w="19050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Marcador de texto 8">
            <a:extLst>
              <a:ext uri="{FF2B5EF4-FFF2-40B4-BE49-F238E27FC236}">
                <a16:creationId xmlns:a16="http://schemas.microsoft.com/office/drawing/2014/main" id="{975D159C-0DB0-E5D6-381C-DB0415023561}"/>
              </a:ext>
            </a:extLst>
          </p:cNvPr>
          <p:cNvSpPr txBox="1">
            <a:spLocks/>
          </p:cNvSpPr>
          <p:nvPr/>
        </p:nvSpPr>
        <p:spPr>
          <a:xfrm>
            <a:off x="6058692" y="2567214"/>
            <a:ext cx="1211964" cy="26161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42967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85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Búsqueda de</a:t>
            </a:r>
            <a:br>
              <a:rPr lang="es-ES_tradnl" sz="85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</a:br>
            <a:r>
              <a:rPr lang="es-ES_tradnl" sz="85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Eficiencias</a:t>
            </a:r>
          </a:p>
        </p:txBody>
      </p:sp>
      <p:sp>
        <p:nvSpPr>
          <p:cNvPr id="261" name="Rectángulo redondeado 260">
            <a:extLst>
              <a:ext uri="{FF2B5EF4-FFF2-40B4-BE49-F238E27FC236}">
                <a16:creationId xmlns:a16="http://schemas.microsoft.com/office/drawing/2014/main" id="{C3A4F4B7-8FA7-1CEA-6222-8F9161A2D3B9}"/>
              </a:ext>
            </a:extLst>
          </p:cNvPr>
          <p:cNvSpPr/>
          <p:nvPr/>
        </p:nvSpPr>
        <p:spPr>
          <a:xfrm>
            <a:off x="1828345" y="3011585"/>
            <a:ext cx="1351770" cy="1452379"/>
          </a:xfrm>
          <a:prstGeom prst="roundRect">
            <a:avLst>
              <a:gd name="adj" fmla="val 2728"/>
            </a:avLst>
          </a:prstGeom>
          <a:solidFill>
            <a:srgbClr val="FFFFFF"/>
          </a:soli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pic>
        <p:nvPicPr>
          <p:cNvPr id="262" name="Imagen 261">
            <a:extLst>
              <a:ext uri="{FF2B5EF4-FFF2-40B4-BE49-F238E27FC236}">
                <a16:creationId xmlns:a16="http://schemas.microsoft.com/office/drawing/2014/main" id="{AD31F07E-0EBA-9E83-B6F9-73D61E1DED9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60" r="6160"/>
          <a:stretch/>
        </p:blipFill>
        <p:spPr>
          <a:xfrm>
            <a:off x="1828345" y="3011585"/>
            <a:ext cx="1351770" cy="880975"/>
          </a:xfrm>
          <a:prstGeom prst="round2SameRect">
            <a:avLst>
              <a:gd name="adj1" fmla="val 4231"/>
              <a:gd name="adj2" fmla="val 0"/>
            </a:avLst>
          </a:prstGeom>
        </p:spPr>
      </p:pic>
      <p:cxnSp>
        <p:nvCxnSpPr>
          <p:cNvPr id="264" name="Conector recto 263">
            <a:extLst>
              <a:ext uri="{FF2B5EF4-FFF2-40B4-BE49-F238E27FC236}">
                <a16:creationId xmlns:a16="http://schemas.microsoft.com/office/drawing/2014/main" id="{2CC77937-81E6-AEF4-F7FE-9C54111BB42D}"/>
              </a:ext>
            </a:extLst>
          </p:cNvPr>
          <p:cNvCxnSpPr>
            <a:cxnSpLocks/>
          </p:cNvCxnSpPr>
          <p:nvPr/>
        </p:nvCxnSpPr>
        <p:spPr>
          <a:xfrm>
            <a:off x="1828345" y="3893670"/>
            <a:ext cx="1351770" cy="0"/>
          </a:xfrm>
          <a:prstGeom prst="line">
            <a:avLst/>
          </a:prstGeom>
          <a:ln w="19050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Marcador de texto 8">
            <a:extLst>
              <a:ext uri="{FF2B5EF4-FFF2-40B4-BE49-F238E27FC236}">
                <a16:creationId xmlns:a16="http://schemas.microsoft.com/office/drawing/2014/main" id="{82185D28-76BF-4C77-D54B-6C0884BA833C}"/>
              </a:ext>
            </a:extLst>
          </p:cNvPr>
          <p:cNvSpPr txBox="1">
            <a:spLocks/>
          </p:cNvSpPr>
          <p:nvPr/>
        </p:nvSpPr>
        <p:spPr>
          <a:xfrm>
            <a:off x="1898247" y="4120250"/>
            <a:ext cx="1211964" cy="13080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42967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85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I &amp; Digital </a:t>
            </a:r>
            <a:r>
              <a:rPr lang="es-ES_tradnl" sz="850" noProof="0" err="1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First</a:t>
            </a:r>
            <a:endParaRPr lang="es-ES_tradnl" sz="850" noProof="0">
              <a:solidFill>
                <a:schemeClr val="tx2">
                  <a:lumMod val="75000"/>
                  <a:lumOff val="25000"/>
                </a:schemeClr>
              </a:solidFill>
              <a:latin typeface="Pulso" pitchFamily="2" charset="0"/>
              <a:ea typeface="Roboto" panose="02000000000000000000" pitchFamily="2" charset="0"/>
              <a:cs typeface="Open Sans" pitchFamily="2" charset="0"/>
            </a:endParaRPr>
          </a:p>
        </p:txBody>
      </p:sp>
      <p:sp>
        <p:nvSpPr>
          <p:cNvPr id="268" name="Rectángulo redondeado 267">
            <a:extLst>
              <a:ext uri="{FF2B5EF4-FFF2-40B4-BE49-F238E27FC236}">
                <a16:creationId xmlns:a16="http://schemas.microsoft.com/office/drawing/2014/main" id="{8BD9FBDB-E34A-8CCD-22F0-B3E739177812}"/>
              </a:ext>
            </a:extLst>
          </p:cNvPr>
          <p:cNvSpPr/>
          <p:nvPr/>
        </p:nvSpPr>
        <p:spPr>
          <a:xfrm>
            <a:off x="3215160" y="3011585"/>
            <a:ext cx="1351770" cy="1452379"/>
          </a:xfrm>
          <a:prstGeom prst="roundRect">
            <a:avLst>
              <a:gd name="adj" fmla="val 2728"/>
            </a:avLst>
          </a:prstGeom>
          <a:solidFill>
            <a:srgbClr val="FFFFFF"/>
          </a:soli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pic>
        <p:nvPicPr>
          <p:cNvPr id="269" name="Imagen 268">
            <a:extLst>
              <a:ext uri="{FF2B5EF4-FFF2-40B4-BE49-F238E27FC236}">
                <a16:creationId xmlns:a16="http://schemas.microsoft.com/office/drawing/2014/main" id="{91B7C6D4-35DC-205A-844F-784605F8D40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60" r="6160"/>
          <a:stretch/>
        </p:blipFill>
        <p:spPr>
          <a:xfrm>
            <a:off x="3215160" y="3011585"/>
            <a:ext cx="1351770" cy="880975"/>
          </a:xfrm>
          <a:prstGeom prst="round2SameRect">
            <a:avLst>
              <a:gd name="adj1" fmla="val 4231"/>
              <a:gd name="adj2" fmla="val 0"/>
            </a:avLst>
          </a:prstGeom>
        </p:spPr>
      </p:pic>
      <p:cxnSp>
        <p:nvCxnSpPr>
          <p:cNvPr id="271" name="Conector recto 270">
            <a:extLst>
              <a:ext uri="{FF2B5EF4-FFF2-40B4-BE49-F238E27FC236}">
                <a16:creationId xmlns:a16="http://schemas.microsoft.com/office/drawing/2014/main" id="{E0F79FF1-FE45-E7C4-4E45-859CE571067C}"/>
              </a:ext>
            </a:extLst>
          </p:cNvPr>
          <p:cNvCxnSpPr>
            <a:cxnSpLocks/>
          </p:cNvCxnSpPr>
          <p:nvPr/>
        </p:nvCxnSpPr>
        <p:spPr>
          <a:xfrm>
            <a:off x="3215160" y="3893670"/>
            <a:ext cx="1351770" cy="0"/>
          </a:xfrm>
          <a:prstGeom prst="line">
            <a:avLst/>
          </a:prstGeom>
          <a:ln w="19050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Marcador de texto 8">
            <a:extLst>
              <a:ext uri="{FF2B5EF4-FFF2-40B4-BE49-F238E27FC236}">
                <a16:creationId xmlns:a16="http://schemas.microsoft.com/office/drawing/2014/main" id="{3C1FCA71-7CE1-FCA5-C4FF-F846DE84E300}"/>
              </a:ext>
            </a:extLst>
          </p:cNvPr>
          <p:cNvSpPr txBox="1">
            <a:spLocks/>
          </p:cNvSpPr>
          <p:nvPr/>
        </p:nvSpPr>
        <p:spPr>
          <a:xfrm>
            <a:off x="3285062" y="4050535"/>
            <a:ext cx="1211964" cy="27023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42967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85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Simplificación y Decomisionamiento</a:t>
            </a:r>
          </a:p>
        </p:txBody>
      </p:sp>
      <p:sp>
        <p:nvSpPr>
          <p:cNvPr id="275" name="Rectángulo redondeado 274">
            <a:extLst>
              <a:ext uri="{FF2B5EF4-FFF2-40B4-BE49-F238E27FC236}">
                <a16:creationId xmlns:a16="http://schemas.microsoft.com/office/drawing/2014/main" id="{97CCCA2B-39CC-933B-C020-97A93202BC43}"/>
              </a:ext>
            </a:extLst>
          </p:cNvPr>
          <p:cNvSpPr/>
          <p:nvPr/>
        </p:nvSpPr>
        <p:spPr>
          <a:xfrm>
            <a:off x="4601975" y="3011585"/>
            <a:ext cx="1351770" cy="1452379"/>
          </a:xfrm>
          <a:prstGeom prst="roundRect">
            <a:avLst>
              <a:gd name="adj" fmla="val 2728"/>
            </a:avLst>
          </a:prstGeom>
          <a:solidFill>
            <a:srgbClr val="FFFFFF"/>
          </a:soli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pic>
        <p:nvPicPr>
          <p:cNvPr id="276" name="Imagen 275">
            <a:extLst>
              <a:ext uri="{FF2B5EF4-FFF2-40B4-BE49-F238E27FC236}">
                <a16:creationId xmlns:a16="http://schemas.microsoft.com/office/drawing/2014/main" id="{447A4E68-203C-C5C2-2717-AEE0B10DB84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60" r="6160"/>
          <a:stretch/>
        </p:blipFill>
        <p:spPr>
          <a:xfrm>
            <a:off x="4601975" y="3011585"/>
            <a:ext cx="1351770" cy="880975"/>
          </a:xfrm>
          <a:prstGeom prst="round2SameRect">
            <a:avLst>
              <a:gd name="adj1" fmla="val 4231"/>
              <a:gd name="adj2" fmla="val 0"/>
            </a:avLst>
          </a:prstGeom>
        </p:spPr>
      </p:pic>
      <p:cxnSp>
        <p:nvCxnSpPr>
          <p:cNvPr id="278" name="Conector recto 277">
            <a:extLst>
              <a:ext uri="{FF2B5EF4-FFF2-40B4-BE49-F238E27FC236}">
                <a16:creationId xmlns:a16="http://schemas.microsoft.com/office/drawing/2014/main" id="{4ED5C2B1-2F00-E38D-65D7-C565D3E13A4A}"/>
              </a:ext>
            </a:extLst>
          </p:cNvPr>
          <p:cNvCxnSpPr>
            <a:cxnSpLocks/>
          </p:cNvCxnSpPr>
          <p:nvPr/>
        </p:nvCxnSpPr>
        <p:spPr>
          <a:xfrm>
            <a:off x="4601975" y="3893670"/>
            <a:ext cx="1351770" cy="0"/>
          </a:xfrm>
          <a:prstGeom prst="line">
            <a:avLst/>
          </a:prstGeom>
          <a:ln w="19050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Marcador de texto 8">
            <a:extLst>
              <a:ext uri="{FF2B5EF4-FFF2-40B4-BE49-F238E27FC236}">
                <a16:creationId xmlns:a16="http://schemas.microsoft.com/office/drawing/2014/main" id="{7F6928E9-F2C8-3415-D488-5038581588DA}"/>
              </a:ext>
            </a:extLst>
          </p:cNvPr>
          <p:cNvSpPr txBox="1">
            <a:spLocks/>
          </p:cNvSpPr>
          <p:nvPr/>
        </p:nvSpPr>
        <p:spPr>
          <a:xfrm>
            <a:off x="4671877" y="4050535"/>
            <a:ext cx="1211964" cy="26161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42967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85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Éxito en la</a:t>
            </a:r>
            <a:br>
              <a:rPr lang="es-ES_tradnl" sz="85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</a:br>
            <a:r>
              <a:rPr lang="es-ES_tradnl" sz="85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ntegración</a:t>
            </a:r>
          </a:p>
        </p:txBody>
      </p:sp>
      <p:sp>
        <p:nvSpPr>
          <p:cNvPr id="282" name="Rectángulo redondeado 281">
            <a:extLst>
              <a:ext uri="{FF2B5EF4-FFF2-40B4-BE49-F238E27FC236}">
                <a16:creationId xmlns:a16="http://schemas.microsoft.com/office/drawing/2014/main" id="{F86A4A99-6EDA-91AC-C469-200925C0C363}"/>
              </a:ext>
            </a:extLst>
          </p:cNvPr>
          <p:cNvSpPr/>
          <p:nvPr/>
        </p:nvSpPr>
        <p:spPr>
          <a:xfrm>
            <a:off x="5988790" y="3011585"/>
            <a:ext cx="1351770" cy="1452379"/>
          </a:xfrm>
          <a:prstGeom prst="roundRect">
            <a:avLst>
              <a:gd name="adj" fmla="val 2728"/>
            </a:avLst>
          </a:prstGeom>
          <a:solidFill>
            <a:srgbClr val="FFFFFF"/>
          </a:soli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pic>
        <p:nvPicPr>
          <p:cNvPr id="283" name="Imagen 282">
            <a:extLst>
              <a:ext uri="{FF2B5EF4-FFF2-40B4-BE49-F238E27FC236}">
                <a16:creationId xmlns:a16="http://schemas.microsoft.com/office/drawing/2014/main" id="{18DC02F1-266F-6504-633D-0EB1ABDF4D8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60" r="6160"/>
          <a:stretch/>
        </p:blipFill>
        <p:spPr>
          <a:xfrm>
            <a:off x="5988790" y="3011585"/>
            <a:ext cx="1351770" cy="880975"/>
          </a:xfrm>
          <a:prstGeom prst="round2SameRect">
            <a:avLst>
              <a:gd name="adj1" fmla="val 4231"/>
              <a:gd name="adj2" fmla="val 0"/>
            </a:avLst>
          </a:prstGeom>
        </p:spPr>
      </p:pic>
      <p:cxnSp>
        <p:nvCxnSpPr>
          <p:cNvPr id="285" name="Conector recto 284">
            <a:extLst>
              <a:ext uri="{FF2B5EF4-FFF2-40B4-BE49-F238E27FC236}">
                <a16:creationId xmlns:a16="http://schemas.microsoft.com/office/drawing/2014/main" id="{FF625F56-9EAF-E67A-08C6-C4A73A71B531}"/>
              </a:ext>
            </a:extLst>
          </p:cNvPr>
          <p:cNvCxnSpPr>
            <a:cxnSpLocks/>
          </p:cNvCxnSpPr>
          <p:nvPr/>
        </p:nvCxnSpPr>
        <p:spPr>
          <a:xfrm>
            <a:off x="5988790" y="3893670"/>
            <a:ext cx="1351770" cy="0"/>
          </a:xfrm>
          <a:prstGeom prst="line">
            <a:avLst/>
          </a:prstGeom>
          <a:ln w="19050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1" name="Marcador de texto 8">
            <a:extLst>
              <a:ext uri="{FF2B5EF4-FFF2-40B4-BE49-F238E27FC236}">
                <a16:creationId xmlns:a16="http://schemas.microsoft.com/office/drawing/2014/main" id="{E72144A0-8EBF-52F7-4B36-9FE2C0B82341}"/>
              </a:ext>
            </a:extLst>
          </p:cNvPr>
          <p:cNvSpPr txBox="1">
            <a:spLocks/>
          </p:cNvSpPr>
          <p:nvPr/>
        </p:nvSpPr>
        <p:spPr>
          <a:xfrm>
            <a:off x="6058692" y="4120250"/>
            <a:ext cx="1211964" cy="13080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42967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85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Regionalización</a:t>
            </a:r>
          </a:p>
        </p:txBody>
      </p:sp>
      <p:sp>
        <p:nvSpPr>
          <p:cNvPr id="296" name="Rectángulo redondeado 295">
            <a:extLst>
              <a:ext uri="{FF2B5EF4-FFF2-40B4-BE49-F238E27FC236}">
                <a16:creationId xmlns:a16="http://schemas.microsoft.com/office/drawing/2014/main" id="{158CC7DE-864C-C3BE-B9BB-7ED5E48A21F2}"/>
              </a:ext>
            </a:extLst>
          </p:cNvPr>
          <p:cNvSpPr/>
          <p:nvPr/>
        </p:nvSpPr>
        <p:spPr>
          <a:xfrm>
            <a:off x="1828345" y="1179568"/>
            <a:ext cx="5511762" cy="22059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 cap="rnd" cmpd="sng">
            <a:solidFill>
              <a:schemeClr val="tx2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sp>
        <p:nvSpPr>
          <p:cNvPr id="297" name="Rectangle 7">
            <a:extLst>
              <a:ext uri="{FF2B5EF4-FFF2-40B4-BE49-F238E27FC236}">
                <a16:creationId xmlns:a16="http://schemas.microsoft.com/office/drawing/2014/main" id="{8555FF0F-E6C1-0ADF-1758-BC864737B6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8345" y="1174900"/>
            <a:ext cx="5511762" cy="22055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25392" rIns="0" bIns="25392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" sz="105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</a:rPr>
              <a:t>Fascinación por el </a:t>
            </a:r>
            <a:r>
              <a:rPr lang="es-ES" sz="1050" b="1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</a:rPr>
              <a:t>Cliente</a:t>
            </a:r>
          </a:p>
        </p:txBody>
      </p:sp>
    </p:spTree>
    <p:extLst>
      <p:ext uri="{BB962C8B-B14F-4D97-AF65-F5344CB8AC3E}">
        <p14:creationId xmlns:p14="http://schemas.microsoft.com/office/powerpoint/2010/main" val="1049440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9AC2C8-5BA3-27A2-D3A4-E1DBBB09E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redondeado 4">
            <a:extLst>
              <a:ext uri="{FF2B5EF4-FFF2-40B4-BE49-F238E27FC236}">
                <a16:creationId xmlns:a16="http://schemas.microsoft.com/office/drawing/2014/main" id="{45C27912-D6D3-0A41-8B2F-D0E1226E4668}"/>
              </a:ext>
            </a:extLst>
          </p:cNvPr>
          <p:cNvSpPr>
            <a:spLocks/>
          </p:cNvSpPr>
          <p:nvPr/>
        </p:nvSpPr>
        <p:spPr>
          <a:xfrm>
            <a:off x="540658" y="1195463"/>
            <a:ext cx="2638762" cy="2428496"/>
          </a:xfrm>
          <a:prstGeom prst="roundRect">
            <a:avLst>
              <a:gd name="adj" fmla="val 2694"/>
            </a:avLst>
          </a:prstGeom>
          <a:solidFill>
            <a:srgbClr val="FFFFFF"/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454" name="Rectángulo redondeado 453">
            <a:extLst>
              <a:ext uri="{FF2B5EF4-FFF2-40B4-BE49-F238E27FC236}">
                <a16:creationId xmlns:a16="http://schemas.microsoft.com/office/drawing/2014/main" id="{EB7D627D-1643-0191-D9EB-643C7077E736}"/>
              </a:ext>
            </a:extLst>
          </p:cNvPr>
          <p:cNvSpPr>
            <a:spLocks/>
          </p:cNvSpPr>
          <p:nvPr/>
        </p:nvSpPr>
        <p:spPr>
          <a:xfrm>
            <a:off x="3254830" y="1193515"/>
            <a:ext cx="2638762" cy="2430444"/>
          </a:xfrm>
          <a:prstGeom prst="roundRect">
            <a:avLst>
              <a:gd name="adj" fmla="val 2694"/>
            </a:avLst>
          </a:prstGeom>
          <a:solidFill>
            <a:srgbClr val="FFFFFF"/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455" name="Rectángulo redondeado 454">
            <a:extLst>
              <a:ext uri="{FF2B5EF4-FFF2-40B4-BE49-F238E27FC236}">
                <a16:creationId xmlns:a16="http://schemas.microsoft.com/office/drawing/2014/main" id="{A9325825-4D36-555D-E3E9-29E405E3A8D4}"/>
              </a:ext>
            </a:extLst>
          </p:cNvPr>
          <p:cNvSpPr>
            <a:spLocks/>
          </p:cNvSpPr>
          <p:nvPr/>
        </p:nvSpPr>
        <p:spPr>
          <a:xfrm>
            <a:off x="5969001" y="1195463"/>
            <a:ext cx="2638762" cy="2428496"/>
          </a:xfrm>
          <a:prstGeom prst="roundRect">
            <a:avLst>
              <a:gd name="adj" fmla="val 2694"/>
            </a:avLst>
          </a:prstGeom>
          <a:solidFill>
            <a:srgbClr val="FFFFFF"/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A84761A-BC75-EB58-9616-9832C4907B92}"/>
              </a:ext>
            </a:extLst>
          </p:cNvPr>
          <p:cNvSpPr txBox="1">
            <a:spLocks/>
          </p:cNvSpPr>
          <p:nvPr/>
        </p:nvSpPr>
        <p:spPr>
          <a:xfrm>
            <a:off x="540657" y="564893"/>
            <a:ext cx="4393832" cy="393377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200"/>
              </a:lnSpc>
            </a:pPr>
            <a:r>
              <a:rPr lang="es-ES_tradnl" sz="2600" b="0" noProof="0">
                <a:solidFill>
                  <a:schemeClr val="tx2"/>
                </a:solidFill>
                <a:latin typeface="Pulso Light" pitchFamily="2" charset="0"/>
              </a:rPr>
              <a:t>Contexto: </a:t>
            </a: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La tormenta perfecta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123123A-4D8D-66B6-923E-97FFE0D4F289}"/>
              </a:ext>
            </a:extLst>
          </p:cNvPr>
          <p:cNvSpPr txBox="1">
            <a:spLocks/>
          </p:cNvSpPr>
          <p:nvPr/>
        </p:nvSpPr>
        <p:spPr>
          <a:xfrm>
            <a:off x="750522" y="1332998"/>
            <a:ext cx="2217650" cy="16927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100" b="0" spc="0" noProof="0">
                <a:solidFill>
                  <a:schemeClr val="tx2"/>
                </a:solidFill>
              </a:rPr>
              <a:t>Explosión del tráfico de dato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00A5FB08-5F51-BDA6-F70B-14DA6432944E}"/>
              </a:ext>
            </a:extLst>
          </p:cNvPr>
          <p:cNvSpPr txBox="1">
            <a:spLocks/>
          </p:cNvSpPr>
          <p:nvPr/>
        </p:nvSpPr>
        <p:spPr>
          <a:xfrm>
            <a:off x="982750" y="1582052"/>
            <a:ext cx="1753194" cy="273216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ts val="1100"/>
              </a:lnSpc>
            </a:pPr>
            <a:r>
              <a:rPr lang="es-ES_tradnl" sz="800" b="0" spc="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Crecimiento anual 18%-27%</a:t>
            </a:r>
            <a:br>
              <a:rPr lang="es-ES_tradnl" sz="800" b="0" spc="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</a:br>
            <a:r>
              <a:rPr lang="es-ES_tradnl" sz="800" b="0" spc="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Ingreso por Mbps cae 10%-15%</a:t>
            </a:r>
          </a:p>
        </p:txBody>
      </p:sp>
      <p:sp>
        <p:nvSpPr>
          <p:cNvPr id="359" name="Title 1">
            <a:extLst>
              <a:ext uri="{FF2B5EF4-FFF2-40B4-BE49-F238E27FC236}">
                <a16:creationId xmlns:a16="http://schemas.microsoft.com/office/drawing/2014/main" id="{B2B7CEC7-6ED9-53BD-0442-95CD808E17B6}"/>
              </a:ext>
            </a:extLst>
          </p:cNvPr>
          <p:cNvSpPr txBox="1">
            <a:spLocks/>
          </p:cNvSpPr>
          <p:nvPr/>
        </p:nvSpPr>
        <p:spPr>
          <a:xfrm>
            <a:off x="3335761" y="1331050"/>
            <a:ext cx="2484000" cy="338554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100" b="0" spc="0" noProof="0">
                <a:solidFill>
                  <a:schemeClr val="tx2"/>
                </a:solidFill>
              </a:rPr>
              <a:t>Crecimiento del Revenue vs </a:t>
            </a:r>
            <a:r>
              <a:rPr lang="es-ES_tradnl" sz="1100" b="0" spc="0" noProof="0" err="1">
                <a:solidFill>
                  <a:schemeClr val="tx2"/>
                </a:solidFill>
              </a:rPr>
              <a:t>Capex</a:t>
            </a:r>
            <a:endParaRPr lang="es-ES_tradnl" sz="1100" b="0" spc="0" noProof="0">
              <a:solidFill>
                <a:schemeClr val="tx2"/>
              </a:solidFill>
            </a:endParaRPr>
          </a:p>
        </p:txBody>
      </p:sp>
      <p:sp>
        <p:nvSpPr>
          <p:cNvPr id="360" name="Title 1">
            <a:extLst>
              <a:ext uri="{FF2B5EF4-FFF2-40B4-BE49-F238E27FC236}">
                <a16:creationId xmlns:a16="http://schemas.microsoft.com/office/drawing/2014/main" id="{85097456-9900-3A8D-69F4-28D52B67A65B}"/>
              </a:ext>
            </a:extLst>
          </p:cNvPr>
          <p:cNvSpPr txBox="1">
            <a:spLocks/>
          </p:cNvSpPr>
          <p:nvPr/>
        </p:nvSpPr>
        <p:spPr>
          <a:xfrm>
            <a:off x="3569823" y="1582052"/>
            <a:ext cx="2004356" cy="273216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ts val="1100"/>
              </a:lnSpc>
            </a:pPr>
            <a:r>
              <a:rPr lang="es-ES_tradnl" sz="800" b="0" spc="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Inversiones en fibra y 5G hasta 20% de ingresos vs 10% de los hiperescaladores</a:t>
            </a:r>
          </a:p>
        </p:txBody>
      </p:sp>
      <p:sp>
        <p:nvSpPr>
          <p:cNvPr id="363" name="Title 1">
            <a:extLst>
              <a:ext uri="{FF2B5EF4-FFF2-40B4-BE49-F238E27FC236}">
                <a16:creationId xmlns:a16="http://schemas.microsoft.com/office/drawing/2014/main" id="{754C49F5-E655-BD2A-1FE1-E04E115E6832}"/>
              </a:ext>
            </a:extLst>
          </p:cNvPr>
          <p:cNvSpPr txBox="1">
            <a:spLocks/>
          </p:cNvSpPr>
          <p:nvPr/>
        </p:nvSpPr>
        <p:spPr>
          <a:xfrm>
            <a:off x="6174442" y="1332998"/>
            <a:ext cx="2217650" cy="16927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100" b="0" spc="0" noProof="0">
                <a:solidFill>
                  <a:schemeClr val="tx2"/>
                </a:solidFill>
              </a:rPr>
              <a:t>Ingresos estancados</a:t>
            </a:r>
          </a:p>
        </p:txBody>
      </p:sp>
      <p:sp>
        <p:nvSpPr>
          <p:cNvPr id="364" name="Title 1">
            <a:extLst>
              <a:ext uri="{FF2B5EF4-FFF2-40B4-BE49-F238E27FC236}">
                <a16:creationId xmlns:a16="http://schemas.microsoft.com/office/drawing/2014/main" id="{48586F57-78C5-BE81-4C10-A6616D456079}"/>
              </a:ext>
            </a:extLst>
          </p:cNvPr>
          <p:cNvSpPr txBox="1">
            <a:spLocks/>
          </p:cNvSpPr>
          <p:nvPr/>
        </p:nvSpPr>
        <p:spPr>
          <a:xfrm>
            <a:off x="6406670" y="1582052"/>
            <a:ext cx="1753194" cy="273216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ts val="1100"/>
              </a:lnSpc>
            </a:pPr>
            <a:r>
              <a:rPr lang="es-ES_tradnl" sz="800" b="0" spc="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Ingresos planos o en caída por competencia y sustitución OTT</a:t>
            </a:r>
          </a:p>
        </p:txBody>
      </p:sp>
      <p:sp>
        <p:nvSpPr>
          <p:cNvPr id="365" name="Title 1">
            <a:extLst>
              <a:ext uri="{FF2B5EF4-FFF2-40B4-BE49-F238E27FC236}">
                <a16:creationId xmlns:a16="http://schemas.microsoft.com/office/drawing/2014/main" id="{676353B5-736C-FBF6-E333-FF50820B3A91}"/>
              </a:ext>
            </a:extLst>
          </p:cNvPr>
          <p:cNvSpPr txBox="1">
            <a:spLocks/>
          </p:cNvSpPr>
          <p:nvPr/>
        </p:nvSpPr>
        <p:spPr>
          <a:xfrm>
            <a:off x="2564016" y="3859205"/>
            <a:ext cx="4014584" cy="553998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200" b="0" spc="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 Light"/>
              </a:rPr>
              <a:t>La creciente demanda de capacidad de red </a:t>
            </a:r>
            <a:r>
              <a:rPr lang="es-ES_tradnl" sz="1200" spc="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"/>
              </a:rPr>
              <a:t>obliga a las </a:t>
            </a:r>
            <a:r>
              <a:rPr lang="es-ES_tradnl" sz="1200" spc="0" noProof="0" err="1">
                <a:solidFill>
                  <a:schemeClr val="tx2">
                    <a:lumMod val="75000"/>
                    <a:lumOff val="25000"/>
                  </a:schemeClr>
                </a:solidFill>
                <a:latin typeface="Pulso"/>
              </a:rPr>
              <a:t>telcos</a:t>
            </a:r>
            <a:r>
              <a:rPr lang="es-ES_tradnl" sz="1200" spc="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"/>
              </a:rPr>
              <a:t> a realizar inversiones cada vez mayores</a:t>
            </a:r>
            <a:r>
              <a:rPr lang="es-ES_tradnl" sz="1200" b="0" spc="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 Light"/>
              </a:rPr>
              <a:t> y en plazos más </a:t>
            </a:r>
            <a:r>
              <a:rPr lang="es-ES_tradnl" sz="1200" b="0" spc="0">
                <a:solidFill>
                  <a:schemeClr val="tx2">
                    <a:lumMod val="75000"/>
                    <a:lumOff val="25000"/>
                  </a:schemeClr>
                </a:solidFill>
                <a:latin typeface="Pulso Light"/>
              </a:rPr>
              <a:t>cortos</a:t>
            </a:r>
            <a:r>
              <a:rPr lang="es-ES_tradnl" sz="1200" b="0" spc="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 Light"/>
              </a:rPr>
              <a:t>, presionando su rentabilidad</a:t>
            </a:r>
          </a:p>
        </p:txBody>
      </p:sp>
      <p:sp>
        <p:nvSpPr>
          <p:cNvPr id="382" name="CuadroTexto 381">
            <a:extLst>
              <a:ext uri="{FF2B5EF4-FFF2-40B4-BE49-F238E27FC236}">
                <a16:creationId xmlns:a16="http://schemas.microsoft.com/office/drawing/2014/main" id="{F8A354E4-7221-9F16-4C6D-511A6DF4BAEE}"/>
              </a:ext>
            </a:extLst>
          </p:cNvPr>
          <p:cNvSpPr txBox="1"/>
          <p:nvPr/>
        </p:nvSpPr>
        <p:spPr>
          <a:xfrm>
            <a:off x="1306997" y="2197106"/>
            <a:ext cx="18915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200" b="1">
                <a:solidFill>
                  <a:schemeClr val="tx2">
                    <a:lumMod val="90000"/>
                    <a:lumOff val="10000"/>
                  </a:schemeClr>
                </a:solidFill>
                <a:latin typeface="Pulso" pitchFamily="2" charset="0"/>
                <a:cs typeface="+mn-cs"/>
              </a:rPr>
              <a:t>x9</a:t>
            </a:r>
          </a:p>
        </p:txBody>
      </p:sp>
      <p:sp>
        <p:nvSpPr>
          <p:cNvPr id="383" name="Flecha: hacia arriba 82">
            <a:extLst>
              <a:ext uri="{FF2B5EF4-FFF2-40B4-BE49-F238E27FC236}">
                <a16:creationId xmlns:a16="http://schemas.microsoft.com/office/drawing/2014/main" id="{807BC98A-1D69-A84A-AF5B-49FFBD7909BF}"/>
              </a:ext>
            </a:extLst>
          </p:cNvPr>
          <p:cNvSpPr/>
          <p:nvPr/>
        </p:nvSpPr>
        <p:spPr>
          <a:xfrm>
            <a:off x="1156016" y="2215307"/>
            <a:ext cx="95550" cy="128215"/>
          </a:xfrm>
          <a:prstGeom prst="upArrow">
            <a:avLst/>
          </a:prstGeom>
          <a:solidFill>
            <a:schemeClr val="tx2">
              <a:lumMod val="90000"/>
              <a:lumOff val="10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s-AR" sz="135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384" name="Forma libre 383">
            <a:extLst>
              <a:ext uri="{FF2B5EF4-FFF2-40B4-BE49-F238E27FC236}">
                <a16:creationId xmlns:a16="http://schemas.microsoft.com/office/drawing/2014/main" id="{3550C92D-0D1F-3258-0884-F84D8ACEB955}"/>
              </a:ext>
            </a:extLst>
          </p:cNvPr>
          <p:cNvSpPr/>
          <p:nvPr/>
        </p:nvSpPr>
        <p:spPr>
          <a:xfrm>
            <a:off x="1049607" y="2172604"/>
            <a:ext cx="1658112" cy="745616"/>
          </a:xfrm>
          <a:custGeom>
            <a:avLst/>
            <a:gdLst>
              <a:gd name="connsiteX0" fmla="*/ 0 w 1658112"/>
              <a:gd name="connsiteY0" fmla="*/ 745617 h 745616"/>
              <a:gd name="connsiteX1" fmla="*/ 165830 w 1658112"/>
              <a:gd name="connsiteY1" fmla="*/ 727901 h 745616"/>
              <a:gd name="connsiteX2" fmla="*/ 331661 w 1658112"/>
              <a:gd name="connsiteY2" fmla="*/ 702564 h 745616"/>
              <a:gd name="connsiteX3" fmla="*/ 497491 w 1658112"/>
              <a:gd name="connsiteY3" fmla="*/ 665417 h 745616"/>
              <a:gd name="connsiteX4" fmla="*/ 663226 w 1658112"/>
              <a:gd name="connsiteY4" fmla="*/ 615410 h 745616"/>
              <a:gd name="connsiteX5" fmla="*/ 829056 w 1658112"/>
              <a:gd name="connsiteY5" fmla="*/ 555212 h 745616"/>
              <a:gd name="connsiteX6" fmla="*/ 994886 w 1658112"/>
              <a:gd name="connsiteY6" fmla="*/ 473773 h 745616"/>
              <a:gd name="connsiteX7" fmla="*/ 1160717 w 1658112"/>
              <a:gd name="connsiteY7" fmla="*/ 371761 h 745616"/>
              <a:gd name="connsiteX8" fmla="*/ 1326547 w 1658112"/>
              <a:gd name="connsiteY8" fmla="*/ 257937 h 745616"/>
              <a:gd name="connsiteX9" fmla="*/ 1492282 w 1658112"/>
              <a:gd name="connsiteY9" fmla="*/ 142875 h 745616"/>
              <a:gd name="connsiteX10" fmla="*/ 1658112 w 1658112"/>
              <a:gd name="connsiteY10" fmla="*/ 0 h 745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58112" h="745616">
                <a:moveTo>
                  <a:pt x="0" y="745617"/>
                </a:moveTo>
                <a:lnTo>
                  <a:pt x="165830" y="727901"/>
                </a:lnTo>
                <a:lnTo>
                  <a:pt x="331661" y="702564"/>
                </a:lnTo>
                <a:lnTo>
                  <a:pt x="497491" y="665417"/>
                </a:lnTo>
                <a:lnTo>
                  <a:pt x="663226" y="615410"/>
                </a:lnTo>
                <a:lnTo>
                  <a:pt x="829056" y="555212"/>
                </a:lnTo>
                <a:lnTo>
                  <a:pt x="994886" y="473773"/>
                </a:lnTo>
                <a:lnTo>
                  <a:pt x="1160717" y="371761"/>
                </a:lnTo>
                <a:lnTo>
                  <a:pt x="1326547" y="257937"/>
                </a:lnTo>
                <a:lnTo>
                  <a:pt x="1492282" y="142875"/>
                </a:lnTo>
                <a:lnTo>
                  <a:pt x="1658112" y="0"/>
                </a:lnTo>
              </a:path>
            </a:pathLst>
          </a:custGeom>
          <a:noFill/>
          <a:ln w="158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385" name="Forma libre 384">
            <a:extLst>
              <a:ext uri="{FF2B5EF4-FFF2-40B4-BE49-F238E27FC236}">
                <a16:creationId xmlns:a16="http://schemas.microsoft.com/office/drawing/2014/main" id="{CF353F68-ED2B-D46D-D7A7-729213A87593}"/>
              </a:ext>
            </a:extLst>
          </p:cNvPr>
          <p:cNvSpPr/>
          <p:nvPr/>
        </p:nvSpPr>
        <p:spPr>
          <a:xfrm>
            <a:off x="1049607" y="2434541"/>
            <a:ext cx="1658112" cy="483679"/>
          </a:xfrm>
          <a:custGeom>
            <a:avLst/>
            <a:gdLst>
              <a:gd name="connsiteX0" fmla="*/ 0 w 1658112"/>
              <a:gd name="connsiteY0" fmla="*/ 483680 h 483679"/>
              <a:gd name="connsiteX1" fmla="*/ 165830 w 1658112"/>
              <a:gd name="connsiteY1" fmla="*/ 465963 h 483679"/>
              <a:gd name="connsiteX2" fmla="*/ 331661 w 1658112"/>
              <a:gd name="connsiteY2" fmla="*/ 447389 h 483679"/>
              <a:gd name="connsiteX3" fmla="*/ 497491 w 1658112"/>
              <a:gd name="connsiteY3" fmla="*/ 420814 h 483679"/>
              <a:gd name="connsiteX4" fmla="*/ 663226 w 1658112"/>
              <a:gd name="connsiteY4" fmla="*/ 387572 h 483679"/>
              <a:gd name="connsiteX5" fmla="*/ 829056 w 1658112"/>
              <a:gd name="connsiteY5" fmla="*/ 344424 h 483679"/>
              <a:gd name="connsiteX6" fmla="*/ 994886 w 1658112"/>
              <a:gd name="connsiteY6" fmla="*/ 290131 h 483679"/>
              <a:gd name="connsiteX7" fmla="*/ 1160717 w 1658112"/>
              <a:gd name="connsiteY7" fmla="*/ 218122 h 483679"/>
              <a:gd name="connsiteX8" fmla="*/ 1326547 w 1658112"/>
              <a:gd name="connsiteY8" fmla="*/ 149542 h 483679"/>
              <a:gd name="connsiteX9" fmla="*/ 1492282 w 1658112"/>
              <a:gd name="connsiteY9" fmla="*/ 80867 h 483679"/>
              <a:gd name="connsiteX10" fmla="*/ 1658112 w 1658112"/>
              <a:gd name="connsiteY10" fmla="*/ 0 h 4836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58112" h="483679">
                <a:moveTo>
                  <a:pt x="0" y="483680"/>
                </a:moveTo>
                <a:lnTo>
                  <a:pt x="165830" y="465963"/>
                </a:lnTo>
                <a:lnTo>
                  <a:pt x="331661" y="447389"/>
                </a:lnTo>
                <a:lnTo>
                  <a:pt x="497491" y="420814"/>
                </a:lnTo>
                <a:lnTo>
                  <a:pt x="663226" y="387572"/>
                </a:lnTo>
                <a:lnTo>
                  <a:pt x="829056" y="344424"/>
                </a:lnTo>
                <a:lnTo>
                  <a:pt x="994886" y="290131"/>
                </a:lnTo>
                <a:lnTo>
                  <a:pt x="1160717" y="218122"/>
                </a:lnTo>
                <a:lnTo>
                  <a:pt x="1326547" y="149542"/>
                </a:lnTo>
                <a:lnTo>
                  <a:pt x="1492282" y="80867"/>
                </a:lnTo>
                <a:lnTo>
                  <a:pt x="1658112" y="0"/>
                </a:lnTo>
              </a:path>
            </a:pathLst>
          </a:custGeom>
          <a:noFill/>
          <a:ln w="158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386" name="Forma libre 385">
            <a:extLst>
              <a:ext uri="{FF2B5EF4-FFF2-40B4-BE49-F238E27FC236}">
                <a16:creationId xmlns:a16="http://schemas.microsoft.com/office/drawing/2014/main" id="{9BBCECE8-C361-1A52-17FE-6F532BF6159C}"/>
              </a:ext>
            </a:extLst>
          </p:cNvPr>
          <p:cNvSpPr/>
          <p:nvPr/>
        </p:nvSpPr>
        <p:spPr>
          <a:xfrm>
            <a:off x="1049607" y="2588465"/>
            <a:ext cx="1658112" cy="329755"/>
          </a:xfrm>
          <a:custGeom>
            <a:avLst/>
            <a:gdLst>
              <a:gd name="connsiteX0" fmla="*/ 0 w 1658112"/>
              <a:gd name="connsiteY0" fmla="*/ 329755 h 329755"/>
              <a:gd name="connsiteX1" fmla="*/ 165830 w 1658112"/>
              <a:gd name="connsiteY1" fmla="*/ 318897 h 329755"/>
              <a:gd name="connsiteX2" fmla="*/ 331661 w 1658112"/>
              <a:gd name="connsiteY2" fmla="*/ 302323 h 329755"/>
              <a:gd name="connsiteX3" fmla="*/ 497491 w 1658112"/>
              <a:gd name="connsiteY3" fmla="*/ 280226 h 329755"/>
              <a:gd name="connsiteX4" fmla="*/ 663226 w 1658112"/>
              <a:gd name="connsiteY4" fmla="*/ 255841 h 329755"/>
              <a:gd name="connsiteX5" fmla="*/ 829056 w 1658112"/>
              <a:gd name="connsiteY5" fmla="*/ 224790 h 329755"/>
              <a:gd name="connsiteX6" fmla="*/ 994886 w 1658112"/>
              <a:gd name="connsiteY6" fmla="*/ 184976 h 329755"/>
              <a:gd name="connsiteX7" fmla="*/ 1160717 w 1658112"/>
              <a:gd name="connsiteY7" fmla="*/ 136207 h 329755"/>
              <a:gd name="connsiteX8" fmla="*/ 1326547 w 1658112"/>
              <a:gd name="connsiteY8" fmla="*/ 86392 h 329755"/>
              <a:gd name="connsiteX9" fmla="*/ 1492282 w 1658112"/>
              <a:gd name="connsiteY9" fmla="*/ 41910 h 329755"/>
              <a:gd name="connsiteX10" fmla="*/ 1658112 w 1658112"/>
              <a:gd name="connsiteY10" fmla="*/ 0 h 329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58112" h="329755">
                <a:moveTo>
                  <a:pt x="0" y="329755"/>
                </a:moveTo>
                <a:lnTo>
                  <a:pt x="165830" y="318897"/>
                </a:lnTo>
                <a:lnTo>
                  <a:pt x="331661" y="302323"/>
                </a:lnTo>
                <a:lnTo>
                  <a:pt x="497491" y="280226"/>
                </a:lnTo>
                <a:lnTo>
                  <a:pt x="663226" y="255841"/>
                </a:lnTo>
                <a:lnTo>
                  <a:pt x="829056" y="224790"/>
                </a:lnTo>
                <a:lnTo>
                  <a:pt x="994886" y="184976"/>
                </a:lnTo>
                <a:lnTo>
                  <a:pt x="1160717" y="136207"/>
                </a:lnTo>
                <a:lnTo>
                  <a:pt x="1326547" y="86392"/>
                </a:lnTo>
                <a:lnTo>
                  <a:pt x="1492282" y="41910"/>
                </a:lnTo>
                <a:lnTo>
                  <a:pt x="1658112" y="0"/>
                </a:lnTo>
              </a:path>
            </a:pathLst>
          </a:custGeom>
          <a:noFill/>
          <a:ln w="15875" cap="flat">
            <a:solidFill>
              <a:schemeClr val="tx2">
                <a:lumMod val="75000"/>
                <a:lumOff val="2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grpSp>
        <p:nvGrpSpPr>
          <p:cNvPr id="448" name="Grupo 447">
            <a:extLst>
              <a:ext uri="{FF2B5EF4-FFF2-40B4-BE49-F238E27FC236}">
                <a16:creationId xmlns:a16="http://schemas.microsoft.com/office/drawing/2014/main" id="{3FBE674F-8735-C356-8280-748395128B62}"/>
              </a:ext>
            </a:extLst>
          </p:cNvPr>
          <p:cNvGrpSpPr/>
          <p:nvPr/>
        </p:nvGrpSpPr>
        <p:grpSpPr>
          <a:xfrm>
            <a:off x="6330648" y="2209159"/>
            <a:ext cx="2018633" cy="710088"/>
            <a:chOff x="6925535" y="2340640"/>
            <a:chExt cx="2018633" cy="710088"/>
          </a:xfrm>
        </p:grpSpPr>
        <p:sp>
          <p:nvSpPr>
            <p:cNvPr id="387" name="Forma libre 386">
              <a:extLst>
                <a:ext uri="{FF2B5EF4-FFF2-40B4-BE49-F238E27FC236}">
                  <a16:creationId xmlns:a16="http://schemas.microsoft.com/office/drawing/2014/main" id="{752503B7-6D36-6067-122B-148E2197D2BB}"/>
                </a:ext>
              </a:extLst>
            </p:cNvPr>
            <p:cNvSpPr/>
            <p:nvPr/>
          </p:nvSpPr>
          <p:spPr>
            <a:xfrm>
              <a:off x="6925535" y="2340640"/>
              <a:ext cx="2018633" cy="583310"/>
            </a:xfrm>
            <a:custGeom>
              <a:avLst/>
              <a:gdLst>
                <a:gd name="connsiteX0" fmla="*/ 0 w 2018633"/>
                <a:gd name="connsiteY0" fmla="*/ 411861 h 583310"/>
                <a:gd name="connsiteX1" fmla="*/ 98679 w 2018633"/>
                <a:gd name="connsiteY1" fmla="*/ 526923 h 583310"/>
                <a:gd name="connsiteX2" fmla="*/ 186309 w 2018633"/>
                <a:gd name="connsiteY2" fmla="*/ 456533 h 583310"/>
                <a:gd name="connsiteX3" fmla="*/ 196501 w 2018633"/>
                <a:gd name="connsiteY3" fmla="*/ 449485 h 583310"/>
                <a:gd name="connsiteX4" fmla="*/ 219265 w 2018633"/>
                <a:gd name="connsiteY4" fmla="*/ 462725 h 583310"/>
                <a:gd name="connsiteX5" fmla="*/ 238030 w 2018633"/>
                <a:gd name="connsiteY5" fmla="*/ 477679 h 583310"/>
                <a:gd name="connsiteX6" fmla="*/ 246602 w 2018633"/>
                <a:gd name="connsiteY6" fmla="*/ 480727 h 583310"/>
                <a:gd name="connsiteX7" fmla="*/ 256794 w 2018633"/>
                <a:gd name="connsiteY7" fmla="*/ 465106 h 583310"/>
                <a:gd name="connsiteX8" fmla="*/ 299085 w 2018633"/>
                <a:gd name="connsiteY8" fmla="*/ 406337 h 583310"/>
                <a:gd name="connsiteX9" fmla="*/ 351568 w 2018633"/>
                <a:gd name="connsiteY9" fmla="*/ 408718 h 583310"/>
                <a:gd name="connsiteX10" fmla="*/ 364141 w 2018633"/>
                <a:gd name="connsiteY10" fmla="*/ 400907 h 583310"/>
                <a:gd name="connsiteX11" fmla="*/ 382143 w 2018633"/>
                <a:gd name="connsiteY11" fmla="*/ 390715 h 583310"/>
                <a:gd name="connsiteX12" fmla="*/ 407194 w 2018633"/>
                <a:gd name="connsiteY12" fmla="*/ 394621 h 583310"/>
                <a:gd name="connsiteX13" fmla="*/ 437674 w 2018633"/>
                <a:gd name="connsiteY13" fmla="*/ 414242 h 583310"/>
                <a:gd name="connsiteX14" fmla="*/ 491776 w 2018633"/>
                <a:gd name="connsiteY14" fmla="*/ 443960 h 583310"/>
                <a:gd name="connsiteX15" fmla="*/ 536353 w 2018633"/>
                <a:gd name="connsiteY15" fmla="*/ 464344 h 583310"/>
                <a:gd name="connsiteX16" fmla="*/ 558260 w 2018633"/>
                <a:gd name="connsiteY16" fmla="*/ 479203 h 583310"/>
                <a:gd name="connsiteX17" fmla="*/ 583311 w 2018633"/>
                <a:gd name="connsiteY17" fmla="*/ 497205 h 583310"/>
                <a:gd name="connsiteX18" fmla="*/ 634270 w 2018633"/>
                <a:gd name="connsiteY18" fmla="*/ 537115 h 583310"/>
                <a:gd name="connsiteX19" fmla="*/ 640461 w 2018633"/>
                <a:gd name="connsiteY19" fmla="*/ 541877 h 583310"/>
                <a:gd name="connsiteX20" fmla="*/ 743902 w 2018633"/>
                <a:gd name="connsiteY20" fmla="*/ 444722 h 583310"/>
                <a:gd name="connsiteX21" fmla="*/ 765048 w 2018633"/>
                <a:gd name="connsiteY21" fmla="*/ 430625 h 583310"/>
                <a:gd name="connsiteX22" fmla="*/ 784574 w 2018633"/>
                <a:gd name="connsiteY22" fmla="*/ 418910 h 583310"/>
                <a:gd name="connsiteX23" fmla="*/ 822960 w 2018633"/>
                <a:gd name="connsiteY23" fmla="*/ 417386 h 583310"/>
                <a:gd name="connsiteX24" fmla="*/ 847249 w 2018633"/>
                <a:gd name="connsiteY24" fmla="*/ 416528 h 583310"/>
                <a:gd name="connsiteX25" fmla="*/ 866013 w 2018633"/>
                <a:gd name="connsiteY25" fmla="*/ 395383 h 583310"/>
                <a:gd name="connsiteX26" fmla="*/ 897350 w 2018633"/>
                <a:gd name="connsiteY26" fmla="*/ 367189 h 583310"/>
                <a:gd name="connsiteX27" fmla="*/ 907542 w 2018633"/>
                <a:gd name="connsiteY27" fmla="*/ 360997 h 583310"/>
                <a:gd name="connsiteX28" fmla="*/ 911447 w 2018633"/>
                <a:gd name="connsiteY28" fmla="*/ 338233 h 583310"/>
                <a:gd name="connsiteX29" fmla="*/ 927068 w 2018633"/>
                <a:gd name="connsiteY29" fmla="*/ 317087 h 583310"/>
                <a:gd name="connsiteX30" fmla="*/ 950595 w 2018633"/>
                <a:gd name="connsiteY30" fmla="*/ 297561 h 583310"/>
                <a:gd name="connsiteX31" fmla="*/ 974026 w 2018633"/>
                <a:gd name="connsiteY31" fmla="*/ 287369 h 583310"/>
                <a:gd name="connsiteX32" fmla="*/ 985076 w 2018633"/>
                <a:gd name="connsiteY32" fmla="*/ 282702 h 583310"/>
                <a:gd name="connsiteX33" fmla="*/ 1003840 w 2018633"/>
                <a:gd name="connsiteY33" fmla="*/ 234125 h 583310"/>
                <a:gd name="connsiteX34" fmla="*/ 1015555 w 2018633"/>
                <a:gd name="connsiteY34" fmla="*/ 205169 h 583310"/>
                <a:gd name="connsiteX35" fmla="*/ 1024985 w 2018633"/>
                <a:gd name="connsiteY35" fmla="*/ 187928 h 583310"/>
                <a:gd name="connsiteX36" fmla="*/ 1028890 w 2018633"/>
                <a:gd name="connsiteY36" fmla="*/ 172212 h 583310"/>
                <a:gd name="connsiteX37" fmla="*/ 1040606 w 2018633"/>
                <a:gd name="connsiteY37" fmla="*/ 166783 h 583310"/>
                <a:gd name="connsiteX38" fmla="*/ 1063371 w 2018633"/>
                <a:gd name="connsiteY38" fmla="*/ 163640 h 583310"/>
                <a:gd name="connsiteX39" fmla="*/ 1086040 w 2018633"/>
                <a:gd name="connsiteY39" fmla="*/ 164402 h 583310"/>
                <a:gd name="connsiteX40" fmla="*/ 1093089 w 2018633"/>
                <a:gd name="connsiteY40" fmla="*/ 182404 h 583310"/>
                <a:gd name="connsiteX41" fmla="*/ 1107948 w 2018633"/>
                <a:gd name="connsiteY41" fmla="*/ 210598 h 583310"/>
                <a:gd name="connsiteX42" fmla="*/ 1119664 w 2018633"/>
                <a:gd name="connsiteY42" fmla="*/ 230981 h 583310"/>
                <a:gd name="connsiteX43" fmla="*/ 1133761 w 2018633"/>
                <a:gd name="connsiteY43" fmla="*/ 260699 h 583310"/>
                <a:gd name="connsiteX44" fmla="*/ 1142429 w 2018633"/>
                <a:gd name="connsiteY44" fmla="*/ 282702 h 583310"/>
                <a:gd name="connsiteX45" fmla="*/ 1146334 w 2018633"/>
                <a:gd name="connsiteY45" fmla="*/ 299085 h 583310"/>
                <a:gd name="connsiteX46" fmla="*/ 1158049 w 2018633"/>
                <a:gd name="connsiteY46" fmla="*/ 329660 h 583310"/>
                <a:gd name="connsiteX47" fmla="*/ 1161955 w 2018633"/>
                <a:gd name="connsiteY47" fmla="*/ 350044 h 583310"/>
                <a:gd name="connsiteX48" fmla="*/ 1169003 w 2018633"/>
                <a:gd name="connsiteY48" fmla="*/ 365665 h 583310"/>
                <a:gd name="connsiteX49" fmla="*/ 1172908 w 2018633"/>
                <a:gd name="connsiteY49" fmla="*/ 382905 h 583310"/>
                <a:gd name="connsiteX50" fmla="*/ 1177671 w 2018633"/>
                <a:gd name="connsiteY50" fmla="*/ 404051 h 583310"/>
                <a:gd name="connsiteX51" fmla="*/ 1183100 w 2018633"/>
                <a:gd name="connsiteY51" fmla="*/ 412623 h 583310"/>
                <a:gd name="connsiteX52" fmla="*/ 1208151 w 2018633"/>
                <a:gd name="connsiteY52" fmla="*/ 422815 h 583310"/>
                <a:gd name="connsiteX53" fmla="*/ 1220724 w 2018633"/>
                <a:gd name="connsiteY53" fmla="*/ 431387 h 583310"/>
                <a:gd name="connsiteX54" fmla="*/ 1233202 w 2018633"/>
                <a:gd name="connsiteY54" fmla="*/ 433006 h 583310"/>
                <a:gd name="connsiteX55" fmla="*/ 1259872 w 2018633"/>
                <a:gd name="connsiteY55" fmla="*/ 413385 h 583310"/>
                <a:gd name="connsiteX56" fmla="*/ 1290447 w 2018633"/>
                <a:gd name="connsiteY56" fmla="*/ 397002 h 583310"/>
                <a:gd name="connsiteX57" fmla="*/ 1313879 w 2018633"/>
                <a:gd name="connsiteY57" fmla="*/ 380524 h 583310"/>
                <a:gd name="connsiteX58" fmla="*/ 1337405 w 2018633"/>
                <a:gd name="connsiteY58" fmla="*/ 363284 h 583310"/>
                <a:gd name="connsiteX59" fmla="*/ 1355407 w 2018633"/>
                <a:gd name="connsiteY59" fmla="*/ 349187 h 583310"/>
                <a:gd name="connsiteX60" fmla="*/ 1368742 w 2018633"/>
                <a:gd name="connsiteY60" fmla="*/ 342138 h 583310"/>
                <a:gd name="connsiteX61" fmla="*/ 1378934 w 2018633"/>
                <a:gd name="connsiteY61" fmla="*/ 340614 h 583310"/>
                <a:gd name="connsiteX62" fmla="*/ 1392936 w 2018633"/>
                <a:gd name="connsiteY62" fmla="*/ 359378 h 583310"/>
                <a:gd name="connsiteX63" fmla="*/ 1410176 w 2018633"/>
                <a:gd name="connsiteY63" fmla="*/ 380524 h 583310"/>
                <a:gd name="connsiteX64" fmla="*/ 1418844 w 2018633"/>
                <a:gd name="connsiteY64" fmla="*/ 391478 h 583310"/>
                <a:gd name="connsiteX65" fmla="*/ 1433703 w 2018633"/>
                <a:gd name="connsiteY65" fmla="*/ 395383 h 583310"/>
                <a:gd name="connsiteX66" fmla="*/ 1447038 w 2018633"/>
                <a:gd name="connsiteY66" fmla="*/ 375095 h 583310"/>
                <a:gd name="connsiteX67" fmla="*/ 1465040 w 2018633"/>
                <a:gd name="connsiteY67" fmla="*/ 359378 h 583310"/>
                <a:gd name="connsiteX68" fmla="*/ 1473613 w 2018633"/>
                <a:gd name="connsiteY68" fmla="*/ 348425 h 583310"/>
                <a:gd name="connsiteX69" fmla="*/ 1492472 w 2018633"/>
                <a:gd name="connsiteY69" fmla="*/ 346901 h 583310"/>
                <a:gd name="connsiteX70" fmla="*/ 1505712 w 2018633"/>
                <a:gd name="connsiteY70" fmla="*/ 346901 h 583310"/>
                <a:gd name="connsiteX71" fmla="*/ 1521428 w 2018633"/>
                <a:gd name="connsiteY71" fmla="*/ 345281 h 583310"/>
                <a:gd name="connsiteX72" fmla="*/ 1530763 w 2018633"/>
                <a:gd name="connsiteY72" fmla="*/ 331184 h 583310"/>
                <a:gd name="connsiteX73" fmla="*/ 1535525 w 2018633"/>
                <a:gd name="connsiteY73" fmla="*/ 292799 h 583310"/>
                <a:gd name="connsiteX74" fmla="*/ 1548765 w 2018633"/>
                <a:gd name="connsiteY74" fmla="*/ 244316 h 583310"/>
                <a:gd name="connsiteX75" fmla="*/ 1555052 w 2018633"/>
                <a:gd name="connsiteY75" fmla="*/ 202787 h 583310"/>
                <a:gd name="connsiteX76" fmla="*/ 1565243 w 2018633"/>
                <a:gd name="connsiteY76" fmla="*/ 173831 h 583310"/>
                <a:gd name="connsiteX77" fmla="*/ 1572292 w 2018633"/>
                <a:gd name="connsiteY77" fmla="*/ 141732 h 583310"/>
                <a:gd name="connsiteX78" fmla="*/ 1581722 w 2018633"/>
                <a:gd name="connsiteY78" fmla="*/ 107252 h 583310"/>
                <a:gd name="connsiteX79" fmla="*/ 1595819 w 2018633"/>
                <a:gd name="connsiteY79" fmla="*/ 77533 h 583310"/>
                <a:gd name="connsiteX80" fmla="*/ 1602010 w 2018633"/>
                <a:gd name="connsiteY80" fmla="*/ 52483 h 583310"/>
                <a:gd name="connsiteX81" fmla="*/ 1611439 w 2018633"/>
                <a:gd name="connsiteY81" fmla="*/ 32099 h 583310"/>
                <a:gd name="connsiteX82" fmla="*/ 1616107 w 2018633"/>
                <a:gd name="connsiteY82" fmla="*/ 18002 h 583310"/>
                <a:gd name="connsiteX83" fmla="*/ 1620869 w 2018633"/>
                <a:gd name="connsiteY83" fmla="*/ 0 h 583310"/>
                <a:gd name="connsiteX84" fmla="*/ 1631061 w 2018633"/>
                <a:gd name="connsiteY84" fmla="*/ 2381 h 583310"/>
                <a:gd name="connsiteX85" fmla="*/ 1657636 w 2018633"/>
                <a:gd name="connsiteY85" fmla="*/ 36004 h 583310"/>
                <a:gd name="connsiteX86" fmla="*/ 1673257 w 2018633"/>
                <a:gd name="connsiteY86" fmla="*/ 54007 h 583310"/>
                <a:gd name="connsiteX87" fmla="*/ 1684306 w 2018633"/>
                <a:gd name="connsiteY87" fmla="*/ 76771 h 583310"/>
                <a:gd name="connsiteX88" fmla="*/ 1695260 w 2018633"/>
                <a:gd name="connsiteY88" fmla="*/ 100965 h 583310"/>
                <a:gd name="connsiteX89" fmla="*/ 1703832 w 2018633"/>
                <a:gd name="connsiteY89" fmla="*/ 122111 h 583310"/>
                <a:gd name="connsiteX90" fmla="*/ 1717167 w 2018633"/>
                <a:gd name="connsiteY90" fmla="*/ 149542 h 583310"/>
                <a:gd name="connsiteX91" fmla="*/ 1724215 w 2018633"/>
                <a:gd name="connsiteY91" fmla="*/ 169926 h 583310"/>
                <a:gd name="connsiteX92" fmla="*/ 1728121 w 2018633"/>
                <a:gd name="connsiteY92" fmla="*/ 193358 h 583310"/>
                <a:gd name="connsiteX93" fmla="*/ 1735169 w 2018633"/>
                <a:gd name="connsiteY93" fmla="*/ 214503 h 583310"/>
                <a:gd name="connsiteX94" fmla="*/ 1739837 w 2018633"/>
                <a:gd name="connsiteY94" fmla="*/ 236506 h 583310"/>
                <a:gd name="connsiteX95" fmla="*/ 1748504 w 2018633"/>
                <a:gd name="connsiteY95" fmla="*/ 257651 h 583310"/>
                <a:gd name="connsiteX96" fmla="*/ 1751648 w 2018633"/>
                <a:gd name="connsiteY96" fmla="*/ 274796 h 583310"/>
                <a:gd name="connsiteX97" fmla="*/ 1753933 w 2018633"/>
                <a:gd name="connsiteY97" fmla="*/ 287369 h 583310"/>
                <a:gd name="connsiteX98" fmla="*/ 1759458 w 2018633"/>
                <a:gd name="connsiteY98" fmla="*/ 304609 h 583310"/>
                <a:gd name="connsiteX99" fmla="*/ 1762601 w 2018633"/>
                <a:gd name="connsiteY99" fmla="*/ 319469 h 583310"/>
                <a:gd name="connsiteX100" fmla="*/ 1767269 w 2018633"/>
                <a:gd name="connsiteY100" fmla="*/ 346043 h 583310"/>
                <a:gd name="connsiteX101" fmla="*/ 1785271 w 2018633"/>
                <a:gd name="connsiteY101" fmla="*/ 360997 h 583310"/>
                <a:gd name="connsiteX102" fmla="*/ 1802511 w 2018633"/>
                <a:gd name="connsiteY102" fmla="*/ 380524 h 583310"/>
                <a:gd name="connsiteX103" fmla="*/ 1822037 w 2018633"/>
                <a:gd name="connsiteY103" fmla="*/ 397764 h 583310"/>
                <a:gd name="connsiteX104" fmla="*/ 1822895 w 2018633"/>
                <a:gd name="connsiteY104" fmla="*/ 408718 h 583310"/>
                <a:gd name="connsiteX105" fmla="*/ 1828324 w 2018633"/>
                <a:gd name="connsiteY105" fmla="*/ 429863 h 583310"/>
                <a:gd name="connsiteX106" fmla="*/ 1836991 w 2018633"/>
                <a:gd name="connsiteY106" fmla="*/ 451771 h 583310"/>
                <a:gd name="connsiteX107" fmla="*/ 1838515 w 2018633"/>
                <a:gd name="connsiteY107" fmla="*/ 468249 h 583310"/>
                <a:gd name="connsiteX108" fmla="*/ 1847088 w 2018633"/>
                <a:gd name="connsiteY108" fmla="*/ 495681 h 583310"/>
                <a:gd name="connsiteX109" fmla="*/ 1851850 w 2018633"/>
                <a:gd name="connsiteY109" fmla="*/ 512826 h 583310"/>
                <a:gd name="connsiteX110" fmla="*/ 1855756 w 2018633"/>
                <a:gd name="connsiteY110" fmla="*/ 533210 h 583310"/>
                <a:gd name="connsiteX111" fmla="*/ 1859661 w 2018633"/>
                <a:gd name="connsiteY111" fmla="*/ 547306 h 583310"/>
                <a:gd name="connsiteX112" fmla="*/ 1864328 w 2018633"/>
                <a:gd name="connsiteY112" fmla="*/ 564547 h 583310"/>
                <a:gd name="connsiteX113" fmla="*/ 1868233 w 2018633"/>
                <a:gd name="connsiteY113" fmla="*/ 577882 h 583310"/>
                <a:gd name="connsiteX114" fmla="*/ 1881569 w 2018633"/>
                <a:gd name="connsiteY114" fmla="*/ 552831 h 583310"/>
                <a:gd name="connsiteX115" fmla="*/ 1893284 w 2018633"/>
                <a:gd name="connsiteY115" fmla="*/ 528542 h 583310"/>
                <a:gd name="connsiteX116" fmla="*/ 1901952 w 2018633"/>
                <a:gd name="connsiteY116" fmla="*/ 505778 h 583310"/>
                <a:gd name="connsiteX117" fmla="*/ 1914430 w 2018633"/>
                <a:gd name="connsiteY117" fmla="*/ 489395 h 583310"/>
                <a:gd name="connsiteX118" fmla="*/ 1922336 w 2018633"/>
                <a:gd name="connsiteY118" fmla="*/ 486251 h 583310"/>
                <a:gd name="connsiteX119" fmla="*/ 1928527 w 2018633"/>
                <a:gd name="connsiteY119" fmla="*/ 497967 h 583310"/>
                <a:gd name="connsiteX120" fmla="*/ 1934813 w 2018633"/>
                <a:gd name="connsiteY120" fmla="*/ 517588 h 583310"/>
                <a:gd name="connsiteX121" fmla="*/ 1947386 w 2018633"/>
                <a:gd name="connsiteY121" fmla="*/ 542639 h 583310"/>
                <a:gd name="connsiteX122" fmla="*/ 1955959 w 2018633"/>
                <a:gd name="connsiteY122" fmla="*/ 560642 h 583310"/>
                <a:gd name="connsiteX123" fmla="*/ 1961483 w 2018633"/>
                <a:gd name="connsiteY123" fmla="*/ 580168 h 583310"/>
                <a:gd name="connsiteX124" fmla="*/ 1969294 w 2018633"/>
                <a:gd name="connsiteY124" fmla="*/ 583311 h 583310"/>
                <a:gd name="connsiteX125" fmla="*/ 1979486 w 2018633"/>
                <a:gd name="connsiteY125" fmla="*/ 570071 h 583310"/>
                <a:gd name="connsiteX126" fmla="*/ 1991201 w 2018633"/>
                <a:gd name="connsiteY126" fmla="*/ 549688 h 583310"/>
                <a:gd name="connsiteX127" fmla="*/ 2003774 w 2018633"/>
                <a:gd name="connsiteY127" fmla="*/ 528542 h 583310"/>
                <a:gd name="connsiteX128" fmla="*/ 2011585 w 2018633"/>
                <a:gd name="connsiteY128" fmla="*/ 513683 h 583310"/>
                <a:gd name="connsiteX129" fmla="*/ 2018633 w 2018633"/>
                <a:gd name="connsiteY129" fmla="*/ 500348 h 58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2018633" h="583310">
                  <a:moveTo>
                    <a:pt x="0" y="411861"/>
                  </a:moveTo>
                  <a:lnTo>
                    <a:pt x="98679" y="526923"/>
                  </a:lnTo>
                  <a:lnTo>
                    <a:pt x="186309" y="456533"/>
                  </a:lnTo>
                  <a:lnTo>
                    <a:pt x="196501" y="449485"/>
                  </a:lnTo>
                  <a:lnTo>
                    <a:pt x="219265" y="462725"/>
                  </a:lnTo>
                  <a:lnTo>
                    <a:pt x="238030" y="477679"/>
                  </a:lnTo>
                  <a:lnTo>
                    <a:pt x="246602" y="480727"/>
                  </a:lnTo>
                  <a:lnTo>
                    <a:pt x="256794" y="465106"/>
                  </a:lnTo>
                  <a:lnTo>
                    <a:pt x="299085" y="406337"/>
                  </a:lnTo>
                  <a:lnTo>
                    <a:pt x="351568" y="408718"/>
                  </a:lnTo>
                  <a:lnTo>
                    <a:pt x="364141" y="400907"/>
                  </a:lnTo>
                  <a:lnTo>
                    <a:pt x="382143" y="390715"/>
                  </a:lnTo>
                  <a:lnTo>
                    <a:pt x="407194" y="394621"/>
                  </a:lnTo>
                  <a:lnTo>
                    <a:pt x="437674" y="414242"/>
                  </a:lnTo>
                  <a:lnTo>
                    <a:pt x="491776" y="443960"/>
                  </a:lnTo>
                  <a:lnTo>
                    <a:pt x="536353" y="464344"/>
                  </a:lnTo>
                  <a:lnTo>
                    <a:pt x="558260" y="479203"/>
                  </a:lnTo>
                  <a:lnTo>
                    <a:pt x="583311" y="497205"/>
                  </a:lnTo>
                  <a:lnTo>
                    <a:pt x="634270" y="537115"/>
                  </a:lnTo>
                  <a:lnTo>
                    <a:pt x="640461" y="541877"/>
                  </a:lnTo>
                  <a:lnTo>
                    <a:pt x="743902" y="444722"/>
                  </a:lnTo>
                  <a:lnTo>
                    <a:pt x="765048" y="430625"/>
                  </a:lnTo>
                  <a:lnTo>
                    <a:pt x="784574" y="418910"/>
                  </a:lnTo>
                  <a:lnTo>
                    <a:pt x="822960" y="417386"/>
                  </a:lnTo>
                  <a:lnTo>
                    <a:pt x="847249" y="416528"/>
                  </a:lnTo>
                  <a:lnTo>
                    <a:pt x="866013" y="395383"/>
                  </a:lnTo>
                  <a:lnTo>
                    <a:pt x="897350" y="367189"/>
                  </a:lnTo>
                  <a:lnTo>
                    <a:pt x="907542" y="360997"/>
                  </a:lnTo>
                  <a:lnTo>
                    <a:pt x="911447" y="338233"/>
                  </a:lnTo>
                  <a:lnTo>
                    <a:pt x="927068" y="317087"/>
                  </a:lnTo>
                  <a:lnTo>
                    <a:pt x="950595" y="297561"/>
                  </a:lnTo>
                  <a:lnTo>
                    <a:pt x="974026" y="287369"/>
                  </a:lnTo>
                  <a:lnTo>
                    <a:pt x="985076" y="282702"/>
                  </a:lnTo>
                  <a:lnTo>
                    <a:pt x="1003840" y="234125"/>
                  </a:lnTo>
                  <a:lnTo>
                    <a:pt x="1015555" y="205169"/>
                  </a:lnTo>
                  <a:lnTo>
                    <a:pt x="1024985" y="187928"/>
                  </a:lnTo>
                  <a:lnTo>
                    <a:pt x="1028890" y="172212"/>
                  </a:lnTo>
                  <a:lnTo>
                    <a:pt x="1040606" y="166783"/>
                  </a:lnTo>
                  <a:lnTo>
                    <a:pt x="1063371" y="163640"/>
                  </a:lnTo>
                  <a:lnTo>
                    <a:pt x="1086040" y="164402"/>
                  </a:lnTo>
                  <a:lnTo>
                    <a:pt x="1093089" y="182404"/>
                  </a:lnTo>
                  <a:lnTo>
                    <a:pt x="1107948" y="210598"/>
                  </a:lnTo>
                  <a:lnTo>
                    <a:pt x="1119664" y="230981"/>
                  </a:lnTo>
                  <a:lnTo>
                    <a:pt x="1133761" y="260699"/>
                  </a:lnTo>
                  <a:lnTo>
                    <a:pt x="1142429" y="282702"/>
                  </a:lnTo>
                  <a:lnTo>
                    <a:pt x="1146334" y="299085"/>
                  </a:lnTo>
                  <a:lnTo>
                    <a:pt x="1158049" y="329660"/>
                  </a:lnTo>
                  <a:lnTo>
                    <a:pt x="1161955" y="350044"/>
                  </a:lnTo>
                  <a:lnTo>
                    <a:pt x="1169003" y="365665"/>
                  </a:lnTo>
                  <a:lnTo>
                    <a:pt x="1172908" y="382905"/>
                  </a:lnTo>
                  <a:lnTo>
                    <a:pt x="1177671" y="404051"/>
                  </a:lnTo>
                  <a:lnTo>
                    <a:pt x="1183100" y="412623"/>
                  </a:lnTo>
                  <a:lnTo>
                    <a:pt x="1208151" y="422815"/>
                  </a:lnTo>
                  <a:lnTo>
                    <a:pt x="1220724" y="431387"/>
                  </a:lnTo>
                  <a:lnTo>
                    <a:pt x="1233202" y="433006"/>
                  </a:lnTo>
                  <a:lnTo>
                    <a:pt x="1259872" y="413385"/>
                  </a:lnTo>
                  <a:lnTo>
                    <a:pt x="1290447" y="397002"/>
                  </a:lnTo>
                  <a:lnTo>
                    <a:pt x="1313879" y="380524"/>
                  </a:lnTo>
                  <a:lnTo>
                    <a:pt x="1337405" y="363284"/>
                  </a:lnTo>
                  <a:lnTo>
                    <a:pt x="1355407" y="349187"/>
                  </a:lnTo>
                  <a:lnTo>
                    <a:pt x="1368742" y="342138"/>
                  </a:lnTo>
                  <a:lnTo>
                    <a:pt x="1378934" y="340614"/>
                  </a:lnTo>
                  <a:lnTo>
                    <a:pt x="1392936" y="359378"/>
                  </a:lnTo>
                  <a:lnTo>
                    <a:pt x="1410176" y="380524"/>
                  </a:lnTo>
                  <a:lnTo>
                    <a:pt x="1418844" y="391478"/>
                  </a:lnTo>
                  <a:lnTo>
                    <a:pt x="1433703" y="395383"/>
                  </a:lnTo>
                  <a:lnTo>
                    <a:pt x="1447038" y="375095"/>
                  </a:lnTo>
                  <a:lnTo>
                    <a:pt x="1465040" y="359378"/>
                  </a:lnTo>
                  <a:lnTo>
                    <a:pt x="1473613" y="348425"/>
                  </a:lnTo>
                  <a:lnTo>
                    <a:pt x="1492472" y="346901"/>
                  </a:lnTo>
                  <a:lnTo>
                    <a:pt x="1505712" y="346901"/>
                  </a:lnTo>
                  <a:lnTo>
                    <a:pt x="1521428" y="345281"/>
                  </a:lnTo>
                  <a:lnTo>
                    <a:pt x="1530763" y="331184"/>
                  </a:lnTo>
                  <a:lnTo>
                    <a:pt x="1535525" y="292799"/>
                  </a:lnTo>
                  <a:lnTo>
                    <a:pt x="1548765" y="244316"/>
                  </a:lnTo>
                  <a:lnTo>
                    <a:pt x="1555052" y="202787"/>
                  </a:lnTo>
                  <a:lnTo>
                    <a:pt x="1565243" y="173831"/>
                  </a:lnTo>
                  <a:lnTo>
                    <a:pt x="1572292" y="141732"/>
                  </a:lnTo>
                  <a:lnTo>
                    <a:pt x="1581722" y="107252"/>
                  </a:lnTo>
                  <a:lnTo>
                    <a:pt x="1595819" y="77533"/>
                  </a:lnTo>
                  <a:lnTo>
                    <a:pt x="1602010" y="52483"/>
                  </a:lnTo>
                  <a:lnTo>
                    <a:pt x="1611439" y="32099"/>
                  </a:lnTo>
                  <a:lnTo>
                    <a:pt x="1616107" y="18002"/>
                  </a:lnTo>
                  <a:lnTo>
                    <a:pt x="1620869" y="0"/>
                  </a:lnTo>
                  <a:lnTo>
                    <a:pt x="1631061" y="2381"/>
                  </a:lnTo>
                  <a:lnTo>
                    <a:pt x="1657636" y="36004"/>
                  </a:lnTo>
                  <a:lnTo>
                    <a:pt x="1673257" y="54007"/>
                  </a:lnTo>
                  <a:lnTo>
                    <a:pt x="1684306" y="76771"/>
                  </a:lnTo>
                  <a:lnTo>
                    <a:pt x="1695260" y="100965"/>
                  </a:lnTo>
                  <a:lnTo>
                    <a:pt x="1703832" y="122111"/>
                  </a:lnTo>
                  <a:lnTo>
                    <a:pt x="1717167" y="149542"/>
                  </a:lnTo>
                  <a:lnTo>
                    <a:pt x="1724215" y="169926"/>
                  </a:lnTo>
                  <a:lnTo>
                    <a:pt x="1728121" y="193358"/>
                  </a:lnTo>
                  <a:lnTo>
                    <a:pt x="1735169" y="214503"/>
                  </a:lnTo>
                  <a:lnTo>
                    <a:pt x="1739837" y="236506"/>
                  </a:lnTo>
                  <a:lnTo>
                    <a:pt x="1748504" y="257651"/>
                  </a:lnTo>
                  <a:lnTo>
                    <a:pt x="1751648" y="274796"/>
                  </a:lnTo>
                  <a:lnTo>
                    <a:pt x="1753933" y="287369"/>
                  </a:lnTo>
                  <a:lnTo>
                    <a:pt x="1759458" y="304609"/>
                  </a:lnTo>
                  <a:lnTo>
                    <a:pt x="1762601" y="319469"/>
                  </a:lnTo>
                  <a:lnTo>
                    <a:pt x="1767269" y="346043"/>
                  </a:lnTo>
                  <a:lnTo>
                    <a:pt x="1785271" y="360997"/>
                  </a:lnTo>
                  <a:lnTo>
                    <a:pt x="1802511" y="380524"/>
                  </a:lnTo>
                  <a:lnTo>
                    <a:pt x="1822037" y="397764"/>
                  </a:lnTo>
                  <a:lnTo>
                    <a:pt x="1822895" y="408718"/>
                  </a:lnTo>
                  <a:lnTo>
                    <a:pt x="1828324" y="429863"/>
                  </a:lnTo>
                  <a:lnTo>
                    <a:pt x="1836991" y="451771"/>
                  </a:lnTo>
                  <a:lnTo>
                    <a:pt x="1838515" y="468249"/>
                  </a:lnTo>
                  <a:lnTo>
                    <a:pt x="1847088" y="495681"/>
                  </a:lnTo>
                  <a:lnTo>
                    <a:pt x="1851850" y="512826"/>
                  </a:lnTo>
                  <a:lnTo>
                    <a:pt x="1855756" y="533210"/>
                  </a:lnTo>
                  <a:lnTo>
                    <a:pt x="1859661" y="547306"/>
                  </a:lnTo>
                  <a:lnTo>
                    <a:pt x="1864328" y="564547"/>
                  </a:lnTo>
                  <a:lnTo>
                    <a:pt x="1868233" y="577882"/>
                  </a:lnTo>
                  <a:lnTo>
                    <a:pt x="1881569" y="552831"/>
                  </a:lnTo>
                  <a:lnTo>
                    <a:pt x="1893284" y="528542"/>
                  </a:lnTo>
                  <a:lnTo>
                    <a:pt x="1901952" y="505778"/>
                  </a:lnTo>
                  <a:lnTo>
                    <a:pt x="1914430" y="489395"/>
                  </a:lnTo>
                  <a:lnTo>
                    <a:pt x="1922336" y="486251"/>
                  </a:lnTo>
                  <a:lnTo>
                    <a:pt x="1928527" y="497967"/>
                  </a:lnTo>
                  <a:lnTo>
                    <a:pt x="1934813" y="517588"/>
                  </a:lnTo>
                  <a:lnTo>
                    <a:pt x="1947386" y="542639"/>
                  </a:lnTo>
                  <a:lnTo>
                    <a:pt x="1955959" y="560642"/>
                  </a:lnTo>
                  <a:lnTo>
                    <a:pt x="1961483" y="580168"/>
                  </a:lnTo>
                  <a:lnTo>
                    <a:pt x="1969294" y="583311"/>
                  </a:lnTo>
                  <a:lnTo>
                    <a:pt x="1979486" y="570071"/>
                  </a:lnTo>
                  <a:lnTo>
                    <a:pt x="1991201" y="549688"/>
                  </a:lnTo>
                  <a:lnTo>
                    <a:pt x="2003774" y="528542"/>
                  </a:lnTo>
                  <a:lnTo>
                    <a:pt x="2011585" y="513683"/>
                  </a:lnTo>
                  <a:lnTo>
                    <a:pt x="2018633" y="500348"/>
                  </a:ln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88" name="Forma libre 387">
              <a:extLst>
                <a:ext uri="{FF2B5EF4-FFF2-40B4-BE49-F238E27FC236}">
                  <a16:creationId xmlns:a16="http://schemas.microsoft.com/office/drawing/2014/main" id="{52C9DD17-53A7-432C-E19C-1997859A514A}"/>
                </a:ext>
              </a:extLst>
            </p:cNvPr>
            <p:cNvSpPr/>
            <p:nvPr/>
          </p:nvSpPr>
          <p:spPr>
            <a:xfrm>
              <a:off x="6925535" y="2799554"/>
              <a:ext cx="2018633" cy="251174"/>
            </a:xfrm>
            <a:custGeom>
              <a:avLst/>
              <a:gdLst>
                <a:gd name="connsiteX0" fmla="*/ 0 w 2018633"/>
                <a:gd name="connsiteY0" fmla="*/ 138398 h 251174"/>
                <a:gd name="connsiteX1" fmla="*/ 30861 w 2018633"/>
                <a:gd name="connsiteY1" fmla="*/ 126683 h 251174"/>
                <a:gd name="connsiteX2" fmla="*/ 53340 w 2018633"/>
                <a:gd name="connsiteY2" fmla="*/ 114967 h 251174"/>
                <a:gd name="connsiteX3" fmla="*/ 76295 w 2018633"/>
                <a:gd name="connsiteY3" fmla="*/ 98870 h 251174"/>
                <a:gd name="connsiteX4" fmla="*/ 96488 w 2018633"/>
                <a:gd name="connsiteY4" fmla="*/ 87154 h 251174"/>
                <a:gd name="connsiteX5" fmla="*/ 118015 w 2018633"/>
                <a:gd name="connsiteY5" fmla="*/ 72295 h 251174"/>
                <a:gd name="connsiteX6" fmla="*/ 130683 w 2018633"/>
                <a:gd name="connsiteY6" fmla="*/ 67818 h 251174"/>
                <a:gd name="connsiteX7" fmla="*/ 138303 w 2018633"/>
                <a:gd name="connsiteY7" fmla="*/ 59722 h 251174"/>
                <a:gd name="connsiteX8" fmla="*/ 145923 w 2018633"/>
                <a:gd name="connsiteY8" fmla="*/ 51626 h 251174"/>
                <a:gd name="connsiteX9" fmla="*/ 167068 w 2018633"/>
                <a:gd name="connsiteY9" fmla="*/ 51626 h 251174"/>
                <a:gd name="connsiteX10" fmla="*/ 195834 w 2018633"/>
                <a:gd name="connsiteY10" fmla="*/ 51626 h 251174"/>
                <a:gd name="connsiteX11" fmla="*/ 210598 w 2018633"/>
                <a:gd name="connsiteY11" fmla="*/ 60674 h 251174"/>
                <a:gd name="connsiteX12" fmla="*/ 247936 w 2018633"/>
                <a:gd name="connsiteY12" fmla="*/ 83534 h 251174"/>
                <a:gd name="connsiteX13" fmla="*/ 278892 w 2018633"/>
                <a:gd name="connsiteY13" fmla="*/ 98870 h 251174"/>
                <a:gd name="connsiteX14" fmla="*/ 302323 w 2018633"/>
                <a:gd name="connsiteY14" fmla="*/ 107347 h 251174"/>
                <a:gd name="connsiteX15" fmla="*/ 320707 w 2018633"/>
                <a:gd name="connsiteY15" fmla="*/ 117729 h 251174"/>
                <a:gd name="connsiteX16" fmla="*/ 337756 w 2018633"/>
                <a:gd name="connsiteY16" fmla="*/ 124396 h 251174"/>
                <a:gd name="connsiteX17" fmla="*/ 363379 w 2018633"/>
                <a:gd name="connsiteY17" fmla="*/ 140589 h 251174"/>
                <a:gd name="connsiteX18" fmla="*/ 384048 w 2018633"/>
                <a:gd name="connsiteY18" fmla="*/ 154115 h 251174"/>
                <a:gd name="connsiteX19" fmla="*/ 419576 w 2018633"/>
                <a:gd name="connsiteY19" fmla="*/ 171641 h 251174"/>
                <a:gd name="connsiteX20" fmla="*/ 442531 w 2018633"/>
                <a:gd name="connsiteY20" fmla="*/ 183261 h 251174"/>
                <a:gd name="connsiteX21" fmla="*/ 457295 w 2018633"/>
                <a:gd name="connsiteY21" fmla="*/ 190024 h 251174"/>
                <a:gd name="connsiteX22" fmla="*/ 474821 w 2018633"/>
                <a:gd name="connsiteY22" fmla="*/ 200406 h 251174"/>
                <a:gd name="connsiteX23" fmla="*/ 491966 w 2018633"/>
                <a:gd name="connsiteY23" fmla="*/ 212027 h 251174"/>
                <a:gd name="connsiteX24" fmla="*/ 506730 w 2018633"/>
                <a:gd name="connsiteY24" fmla="*/ 222409 h 251174"/>
                <a:gd name="connsiteX25" fmla="*/ 524256 w 2018633"/>
                <a:gd name="connsiteY25" fmla="*/ 233172 h 251174"/>
                <a:gd name="connsiteX26" fmla="*/ 536448 w 2018633"/>
                <a:gd name="connsiteY26" fmla="*/ 240792 h 251174"/>
                <a:gd name="connsiteX27" fmla="*/ 544925 w 2018633"/>
                <a:gd name="connsiteY27" fmla="*/ 248888 h 251174"/>
                <a:gd name="connsiteX28" fmla="*/ 561594 w 2018633"/>
                <a:gd name="connsiteY28" fmla="*/ 251174 h 251174"/>
                <a:gd name="connsiteX29" fmla="*/ 578644 w 2018633"/>
                <a:gd name="connsiteY29" fmla="*/ 250698 h 251174"/>
                <a:gd name="connsiteX30" fmla="*/ 599789 w 2018633"/>
                <a:gd name="connsiteY30" fmla="*/ 251174 h 251174"/>
                <a:gd name="connsiteX31" fmla="*/ 622268 w 2018633"/>
                <a:gd name="connsiteY31" fmla="*/ 249841 h 251174"/>
                <a:gd name="connsiteX32" fmla="*/ 641985 w 2018633"/>
                <a:gd name="connsiteY32" fmla="*/ 243554 h 251174"/>
                <a:gd name="connsiteX33" fmla="*/ 662273 w 2018633"/>
                <a:gd name="connsiteY33" fmla="*/ 233172 h 251174"/>
                <a:gd name="connsiteX34" fmla="*/ 692753 w 2018633"/>
                <a:gd name="connsiteY34" fmla="*/ 209836 h 251174"/>
                <a:gd name="connsiteX35" fmla="*/ 713899 w 2018633"/>
                <a:gd name="connsiteY35" fmla="*/ 192310 h 251174"/>
                <a:gd name="connsiteX36" fmla="*/ 732758 w 2018633"/>
                <a:gd name="connsiteY36" fmla="*/ 173831 h 251174"/>
                <a:gd name="connsiteX37" fmla="*/ 751618 w 2018633"/>
                <a:gd name="connsiteY37" fmla="*/ 160401 h 251174"/>
                <a:gd name="connsiteX38" fmla="*/ 768763 w 2018633"/>
                <a:gd name="connsiteY38" fmla="*/ 149162 h 251174"/>
                <a:gd name="connsiteX39" fmla="*/ 792956 w 2018633"/>
                <a:gd name="connsiteY39" fmla="*/ 133445 h 251174"/>
                <a:gd name="connsiteX40" fmla="*/ 812292 w 2018633"/>
                <a:gd name="connsiteY40" fmla="*/ 123063 h 251174"/>
                <a:gd name="connsiteX41" fmla="*/ 827627 w 2018633"/>
                <a:gd name="connsiteY41" fmla="*/ 121253 h 251174"/>
                <a:gd name="connsiteX42" fmla="*/ 834295 w 2018633"/>
                <a:gd name="connsiteY42" fmla="*/ 110490 h 251174"/>
                <a:gd name="connsiteX43" fmla="*/ 857726 w 2018633"/>
                <a:gd name="connsiteY43" fmla="*/ 108680 h 251174"/>
                <a:gd name="connsiteX44" fmla="*/ 892302 w 2018633"/>
                <a:gd name="connsiteY44" fmla="*/ 109157 h 251174"/>
                <a:gd name="connsiteX45" fmla="*/ 934117 w 2018633"/>
                <a:gd name="connsiteY45" fmla="*/ 112776 h 251174"/>
                <a:gd name="connsiteX46" fmla="*/ 954786 w 2018633"/>
                <a:gd name="connsiteY46" fmla="*/ 109633 h 251174"/>
                <a:gd name="connsiteX47" fmla="*/ 980789 w 2018633"/>
                <a:gd name="connsiteY47" fmla="*/ 103727 h 251174"/>
                <a:gd name="connsiteX48" fmla="*/ 1008221 w 2018633"/>
                <a:gd name="connsiteY48" fmla="*/ 93440 h 251174"/>
                <a:gd name="connsiteX49" fmla="*/ 1037463 w 2018633"/>
                <a:gd name="connsiteY49" fmla="*/ 80391 h 251174"/>
                <a:gd name="connsiteX50" fmla="*/ 1059466 w 2018633"/>
                <a:gd name="connsiteY50" fmla="*/ 69628 h 251174"/>
                <a:gd name="connsiteX51" fmla="*/ 1072515 w 2018633"/>
                <a:gd name="connsiteY51" fmla="*/ 62865 h 251174"/>
                <a:gd name="connsiteX52" fmla="*/ 1085564 w 2018633"/>
                <a:gd name="connsiteY52" fmla="*/ 61055 h 251174"/>
                <a:gd name="connsiteX53" fmla="*/ 1103948 w 2018633"/>
                <a:gd name="connsiteY53" fmla="*/ 62865 h 251174"/>
                <a:gd name="connsiteX54" fmla="*/ 1134523 w 2018633"/>
                <a:gd name="connsiteY54" fmla="*/ 68294 h 251174"/>
                <a:gd name="connsiteX55" fmla="*/ 1151573 w 2018633"/>
                <a:gd name="connsiteY55" fmla="*/ 77724 h 251174"/>
                <a:gd name="connsiteX56" fmla="*/ 1173194 w 2018633"/>
                <a:gd name="connsiteY56" fmla="*/ 91154 h 251174"/>
                <a:gd name="connsiteX57" fmla="*/ 1192530 w 2018633"/>
                <a:gd name="connsiteY57" fmla="*/ 104680 h 251174"/>
                <a:gd name="connsiteX58" fmla="*/ 1219867 w 2018633"/>
                <a:gd name="connsiteY58" fmla="*/ 130683 h 251174"/>
                <a:gd name="connsiteX59" fmla="*/ 1239679 w 2018633"/>
                <a:gd name="connsiteY59" fmla="*/ 145066 h 251174"/>
                <a:gd name="connsiteX60" fmla="*/ 1255871 w 2018633"/>
                <a:gd name="connsiteY60" fmla="*/ 157734 h 251174"/>
                <a:gd name="connsiteX61" fmla="*/ 1269302 w 2018633"/>
                <a:gd name="connsiteY61" fmla="*/ 168497 h 251174"/>
                <a:gd name="connsiteX62" fmla="*/ 1279684 w 2018633"/>
                <a:gd name="connsiteY62" fmla="*/ 173831 h 251174"/>
                <a:gd name="connsiteX63" fmla="*/ 1303020 w 2018633"/>
                <a:gd name="connsiteY63" fmla="*/ 172498 h 251174"/>
                <a:gd name="connsiteX64" fmla="*/ 1325499 w 2018633"/>
                <a:gd name="connsiteY64" fmla="*/ 170688 h 251174"/>
                <a:gd name="connsiteX65" fmla="*/ 1343025 w 2018633"/>
                <a:gd name="connsiteY65" fmla="*/ 165735 h 251174"/>
                <a:gd name="connsiteX66" fmla="*/ 1362837 w 2018633"/>
                <a:gd name="connsiteY66" fmla="*/ 154115 h 251174"/>
                <a:gd name="connsiteX67" fmla="*/ 1378934 w 2018633"/>
                <a:gd name="connsiteY67" fmla="*/ 147352 h 251174"/>
                <a:gd name="connsiteX68" fmla="*/ 1397889 w 2018633"/>
                <a:gd name="connsiteY68" fmla="*/ 145066 h 251174"/>
                <a:gd name="connsiteX69" fmla="*/ 1417130 w 2018633"/>
                <a:gd name="connsiteY69" fmla="*/ 141542 h 251174"/>
                <a:gd name="connsiteX70" fmla="*/ 1427036 w 2018633"/>
                <a:gd name="connsiteY70" fmla="*/ 137922 h 251174"/>
                <a:gd name="connsiteX71" fmla="*/ 1445038 w 2018633"/>
                <a:gd name="connsiteY71" fmla="*/ 140589 h 251174"/>
                <a:gd name="connsiteX72" fmla="*/ 1469327 w 2018633"/>
                <a:gd name="connsiteY72" fmla="*/ 144209 h 251174"/>
                <a:gd name="connsiteX73" fmla="*/ 1488662 w 2018633"/>
                <a:gd name="connsiteY73" fmla="*/ 144685 h 251174"/>
                <a:gd name="connsiteX74" fmla="*/ 1511998 w 2018633"/>
                <a:gd name="connsiteY74" fmla="*/ 144209 h 251174"/>
                <a:gd name="connsiteX75" fmla="*/ 1537145 w 2018633"/>
                <a:gd name="connsiteY75" fmla="*/ 143351 h 251174"/>
                <a:gd name="connsiteX76" fmla="*/ 1559147 w 2018633"/>
                <a:gd name="connsiteY76" fmla="*/ 142399 h 251174"/>
                <a:gd name="connsiteX77" fmla="*/ 1573054 w 2018633"/>
                <a:gd name="connsiteY77" fmla="*/ 137446 h 251174"/>
                <a:gd name="connsiteX78" fmla="*/ 1584293 w 2018633"/>
                <a:gd name="connsiteY78" fmla="*/ 130302 h 251174"/>
                <a:gd name="connsiteX79" fmla="*/ 1597819 w 2018633"/>
                <a:gd name="connsiteY79" fmla="*/ 119063 h 251174"/>
                <a:gd name="connsiteX80" fmla="*/ 1611725 w 2018633"/>
                <a:gd name="connsiteY80" fmla="*/ 105537 h 251174"/>
                <a:gd name="connsiteX81" fmla="*/ 1628775 w 2018633"/>
                <a:gd name="connsiteY81" fmla="*/ 88487 h 251174"/>
                <a:gd name="connsiteX82" fmla="*/ 1636014 w 2018633"/>
                <a:gd name="connsiteY82" fmla="*/ 75438 h 251174"/>
                <a:gd name="connsiteX83" fmla="*/ 1643634 w 2018633"/>
                <a:gd name="connsiteY83" fmla="*/ 59722 h 251174"/>
                <a:gd name="connsiteX84" fmla="*/ 1652588 w 2018633"/>
                <a:gd name="connsiteY84" fmla="*/ 45339 h 251174"/>
                <a:gd name="connsiteX85" fmla="*/ 1663446 w 2018633"/>
                <a:gd name="connsiteY85" fmla="*/ 36767 h 251174"/>
                <a:gd name="connsiteX86" fmla="*/ 1666113 w 2018633"/>
                <a:gd name="connsiteY86" fmla="*/ 25622 h 251174"/>
                <a:gd name="connsiteX87" fmla="*/ 1679162 w 2018633"/>
                <a:gd name="connsiteY87" fmla="*/ 17526 h 251174"/>
                <a:gd name="connsiteX88" fmla="*/ 1692592 w 2018633"/>
                <a:gd name="connsiteY88" fmla="*/ 11240 h 251174"/>
                <a:gd name="connsiteX89" fmla="*/ 1705165 w 2018633"/>
                <a:gd name="connsiteY89" fmla="*/ 4477 h 251174"/>
                <a:gd name="connsiteX90" fmla="*/ 1712881 w 2018633"/>
                <a:gd name="connsiteY90" fmla="*/ 0 h 251174"/>
                <a:gd name="connsiteX91" fmla="*/ 1723644 w 2018633"/>
                <a:gd name="connsiteY91" fmla="*/ 1715 h 251174"/>
                <a:gd name="connsiteX92" fmla="*/ 1739360 w 2018633"/>
                <a:gd name="connsiteY92" fmla="*/ 11621 h 251174"/>
                <a:gd name="connsiteX93" fmla="*/ 1753267 w 2018633"/>
                <a:gd name="connsiteY93" fmla="*/ 22479 h 251174"/>
                <a:gd name="connsiteX94" fmla="*/ 1778032 w 2018633"/>
                <a:gd name="connsiteY94" fmla="*/ 44482 h 251174"/>
                <a:gd name="connsiteX95" fmla="*/ 1795081 w 2018633"/>
                <a:gd name="connsiteY95" fmla="*/ 58388 h 251174"/>
                <a:gd name="connsiteX96" fmla="*/ 1808988 w 2018633"/>
                <a:gd name="connsiteY96" fmla="*/ 75914 h 251174"/>
                <a:gd name="connsiteX97" fmla="*/ 1823371 w 2018633"/>
                <a:gd name="connsiteY97" fmla="*/ 86678 h 251174"/>
                <a:gd name="connsiteX98" fmla="*/ 1833277 w 2018633"/>
                <a:gd name="connsiteY98" fmla="*/ 101060 h 251174"/>
                <a:gd name="connsiteX99" fmla="*/ 1841373 w 2018633"/>
                <a:gd name="connsiteY99" fmla="*/ 110490 h 251174"/>
                <a:gd name="connsiteX100" fmla="*/ 1850327 w 2018633"/>
                <a:gd name="connsiteY100" fmla="*/ 124016 h 251174"/>
                <a:gd name="connsiteX101" fmla="*/ 1852613 w 2018633"/>
                <a:gd name="connsiteY101" fmla="*/ 131636 h 251174"/>
                <a:gd name="connsiteX102" fmla="*/ 1867472 w 2018633"/>
                <a:gd name="connsiteY102" fmla="*/ 145542 h 251174"/>
                <a:gd name="connsiteX103" fmla="*/ 1884521 w 2018633"/>
                <a:gd name="connsiteY103" fmla="*/ 162592 h 251174"/>
                <a:gd name="connsiteX104" fmla="*/ 1904714 w 2018633"/>
                <a:gd name="connsiteY104" fmla="*/ 181546 h 251174"/>
                <a:gd name="connsiteX105" fmla="*/ 1916811 w 2018633"/>
                <a:gd name="connsiteY105" fmla="*/ 191357 h 251174"/>
                <a:gd name="connsiteX106" fmla="*/ 1927193 w 2018633"/>
                <a:gd name="connsiteY106" fmla="*/ 195929 h 251174"/>
                <a:gd name="connsiteX107" fmla="*/ 1941100 w 2018633"/>
                <a:gd name="connsiteY107" fmla="*/ 190500 h 251174"/>
                <a:gd name="connsiteX108" fmla="*/ 1952339 w 2018633"/>
                <a:gd name="connsiteY108" fmla="*/ 185071 h 251174"/>
                <a:gd name="connsiteX109" fmla="*/ 1965865 w 2018633"/>
                <a:gd name="connsiteY109" fmla="*/ 182404 h 251174"/>
                <a:gd name="connsiteX110" fmla="*/ 1990535 w 2018633"/>
                <a:gd name="connsiteY110" fmla="*/ 181546 h 251174"/>
                <a:gd name="connsiteX111" fmla="*/ 2008061 w 2018633"/>
                <a:gd name="connsiteY111" fmla="*/ 189548 h 251174"/>
                <a:gd name="connsiteX112" fmla="*/ 2018633 w 2018633"/>
                <a:gd name="connsiteY112" fmla="*/ 194120 h 25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2018633" h="251174">
                  <a:moveTo>
                    <a:pt x="0" y="138398"/>
                  </a:moveTo>
                  <a:lnTo>
                    <a:pt x="30861" y="126683"/>
                  </a:lnTo>
                  <a:lnTo>
                    <a:pt x="53340" y="114967"/>
                  </a:lnTo>
                  <a:lnTo>
                    <a:pt x="76295" y="98870"/>
                  </a:lnTo>
                  <a:lnTo>
                    <a:pt x="96488" y="87154"/>
                  </a:lnTo>
                  <a:lnTo>
                    <a:pt x="118015" y="72295"/>
                  </a:lnTo>
                  <a:lnTo>
                    <a:pt x="130683" y="67818"/>
                  </a:lnTo>
                  <a:lnTo>
                    <a:pt x="138303" y="59722"/>
                  </a:lnTo>
                  <a:lnTo>
                    <a:pt x="145923" y="51626"/>
                  </a:lnTo>
                  <a:lnTo>
                    <a:pt x="167068" y="51626"/>
                  </a:lnTo>
                  <a:lnTo>
                    <a:pt x="195834" y="51626"/>
                  </a:lnTo>
                  <a:lnTo>
                    <a:pt x="210598" y="60674"/>
                  </a:lnTo>
                  <a:lnTo>
                    <a:pt x="247936" y="83534"/>
                  </a:lnTo>
                  <a:lnTo>
                    <a:pt x="278892" y="98870"/>
                  </a:lnTo>
                  <a:lnTo>
                    <a:pt x="302323" y="107347"/>
                  </a:lnTo>
                  <a:lnTo>
                    <a:pt x="320707" y="117729"/>
                  </a:lnTo>
                  <a:lnTo>
                    <a:pt x="337756" y="124396"/>
                  </a:lnTo>
                  <a:lnTo>
                    <a:pt x="363379" y="140589"/>
                  </a:lnTo>
                  <a:lnTo>
                    <a:pt x="384048" y="154115"/>
                  </a:lnTo>
                  <a:lnTo>
                    <a:pt x="419576" y="171641"/>
                  </a:lnTo>
                  <a:lnTo>
                    <a:pt x="442531" y="183261"/>
                  </a:lnTo>
                  <a:lnTo>
                    <a:pt x="457295" y="190024"/>
                  </a:lnTo>
                  <a:lnTo>
                    <a:pt x="474821" y="200406"/>
                  </a:lnTo>
                  <a:lnTo>
                    <a:pt x="491966" y="212027"/>
                  </a:lnTo>
                  <a:lnTo>
                    <a:pt x="506730" y="222409"/>
                  </a:lnTo>
                  <a:lnTo>
                    <a:pt x="524256" y="233172"/>
                  </a:lnTo>
                  <a:lnTo>
                    <a:pt x="536448" y="240792"/>
                  </a:lnTo>
                  <a:lnTo>
                    <a:pt x="544925" y="248888"/>
                  </a:lnTo>
                  <a:lnTo>
                    <a:pt x="561594" y="251174"/>
                  </a:lnTo>
                  <a:lnTo>
                    <a:pt x="578644" y="250698"/>
                  </a:lnTo>
                  <a:lnTo>
                    <a:pt x="599789" y="251174"/>
                  </a:lnTo>
                  <a:lnTo>
                    <a:pt x="622268" y="249841"/>
                  </a:lnTo>
                  <a:lnTo>
                    <a:pt x="641985" y="243554"/>
                  </a:lnTo>
                  <a:lnTo>
                    <a:pt x="662273" y="233172"/>
                  </a:lnTo>
                  <a:lnTo>
                    <a:pt x="692753" y="209836"/>
                  </a:lnTo>
                  <a:lnTo>
                    <a:pt x="713899" y="192310"/>
                  </a:lnTo>
                  <a:lnTo>
                    <a:pt x="732758" y="173831"/>
                  </a:lnTo>
                  <a:lnTo>
                    <a:pt x="751618" y="160401"/>
                  </a:lnTo>
                  <a:lnTo>
                    <a:pt x="768763" y="149162"/>
                  </a:lnTo>
                  <a:lnTo>
                    <a:pt x="792956" y="133445"/>
                  </a:lnTo>
                  <a:lnTo>
                    <a:pt x="812292" y="123063"/>
                  </a:lnTo>
                  <a:lnTo>
                    <a:pt x="827627" y="121253"/>
                  </a:lnTo>
                  <a:lnTo>
                    <a:pt x="834295" y="110490"/>
                  </a:lnTo>
                  <a:lnTo>
                    <a:pt x="857726" y="108680"/>
                  </a:lnTo>
                  <a:lnTo>
                    <a:pt x="892302" y="109157"/>
                  </a:lnTo>
                  <a:lnTo>
                    <a:pt x="934117" y="112776"/>
                  </a:lnTo>
                  <a:lnTo>
                    <a:pt x="954786" y="109633"/>
                  </a:lnTo>
                  <a:lnTo>
                    <a:pt x="980789" y="103727"/>
                  </a:lnTo>
                  <a:lnTo>
                    <a:pt x="1008221" y="93440"/>
                  </a:lnTo>
                  <a:lnTo>
                    <a:pt x="1037463" y="80391"/>
                  </a:lnTo>
                  <a:lnTo>
                    <a:pt x="1059466" y="69628"/>
                  </a:lnTo>
                  <a:lnTo>
                    <a:pt x="1072515" y="62865"/>
                  </a:lnTo>
                  <a:lnTo>
                    <a:pt x="1085564" y="61055"/>
                  </a:lnTo>
                  <a:lnTo>
                    <a:pt x="1103948" y="62865"/>
                  </a:lnTo>
                  <a:lnTo>
                    <a:pt x="1134523" y="68294"/>
                  </a:lnTo>
                  <a:lnTo>
                    <a:pt x="1151573" y="77724"/>
                  </a:lnTo>
                  <a:lnTo>
                    <a:pt x="1173194" y="91154"/>
                  </a:lnTo>
                  <a:lnTo>
                    <a:pt x="1192530" y="104680"/>
                  </a:lnTo>
                  <a:lnTo>
                    <a:pt x="1219867" y="130683"/>
                  </a:lnTo>
                  <a:lnTo>
                    <a:pt x="1239679" y="145066"/>
                  </a:lnTo>
                  <a:lnTo>
                    <a:pt x="1255871" y="157734"/>
                  </a:lnTo>
                  <a:lnTo>
                    <a:pt x="1269302" y="168497"/>
                  </a:lnTo>
                  <a:lnTo>
                    <a:pt x="1279684" y="173831"/>
                  </a:lnTo>
                  <a:lnTo>
                    <a:pt x="1303020" y="172498"/>
                  </a:lnTo>
                  <a:lnTo>
                    <a:pt x="1325499" y="170688"/>
                  </a:lnTo>
                  <a:lnTo>
                    <a:pt x="1343025" y="165735"/>
                  </a:lnTo>
                  <a:lnTo>
                    <a:pt x="1362837" y="154115"/>
                  </a:lnTo>
                  <a:lnTo>
                    <a:pt x="1378934" y="147352"/>
                  </a:lnTo>
                  <a:lnTo>
                    <a:pt x="1397889" y="145066"/>
                  </a:lnTo>
                  <a:lnTo>
                    <a:pt x="1417130" y="141542"/>
                  </a:lnTo>
                  <a:lnTo>
                    <a:pt x="1427036" y="137922"/>
                  </a:lnTo>
                  <a:lnTo>
                    <a:pt x="1445038" y="140589"/>
                  </a:lnTo>
                  <a:lnTo>
                    <a:pt x="1469327" y="144209"/>
                  </a:lnTo>
                  <a:lnTo>
                    <a:pt x="1488662" y="144685"/>
                  </a:lnTo>
                  <a:lnTo>
                    <a:pt x="1511998" y="144209"/>
                  </a:lnTo>
                  <a:lnTo>
                    <a:pt x="1537145" y="143351"/>
                  </a:lnTo>
                  <a:lnTo>
                    <a:pt x="1559147" y="142399"/>
                  </a:lnTo>
                  <a:lnTo>
                    <a:pt x="1573054" y="137446"/>
                  </a:lnTo>
                  <a:lnTo>
                    <a:pt x="1584293" y="130302"/>
                  </a:lnTo>
                  <a:lnTo>
                    <a:pt x="1597819" y="119063"/>
                  </a:lnTo>
                  <a:lnTo>
                    <a:pt x="1611725" y="105537"/>
                  </a:lnTo>
                  <a:lnTo>
                    <a:pt x="1628775" y="88487"/>
                  </a:lnTo>
                  <a:lnTo>
                    <a:pt x="1636014" y="75438"/>
                  </a:lnTo>
                  <a:lnTo>
                    <a:pt x="1643634" y="59722"/>
                  </a:lnTo>
                  <a:lnTo>
                    <a:pt x="1652588" y="45339"/>
                  </a:lnTo>
                  <a:lnTo>
                    <a:pt x="1663446" y="36767"/>
                  </a:lnTo>
                  <a:lnTo>
                    <a:pt x="1666113" y="25622"/>
                  </a:lnTo>
                  <a:lnTo>
                    <a:pt x="1679162" y="17526"/>
                  </a:lnTo>
                  <a:lnTo>
                    <a:pt x="1692592" y="11240"/>
                  </a:lnTo>
                  <a:lnTo>
                    <a:pt x="1705165" y="4477"/>
                  </a:lnTo>
                  <a:lnTo>
                    <a:pt x="1712881" y="0"/>
                  </a:lnTo>
                  <a:lnTo>
                    <a:pt x="1723644" y="1715"/>
                  </a:lnTo>
                  <a:lnTo>
                    <a:pt x="1739360" y="11621"/>
                  </a:lnTo>
                  <a:lnTo>
                    <a:pt x="1753267" y="22479"/>
                  </a:lnTo>
                  <a:lnTo>
                    <a:pt x="1778032" y="44482"/>
                  </a:lnTo>
                  <a:lnTo>
                    <a:pt x="1795081" y="58388"/>
                  </a:lnTo>
                  <a:lnTo>
                    <a:pt x="1808988" y="75914"/>
                  </a:lnTo>
                  <a:lnTo>
                    <a:pt x="1823371" y="86678"/>
                  </a:lnTo>
                  <a:lnTo>
                    <a:pt x="1833277" y="101060"/>
                  </a:lnTo>
                  <a:lnTo>
                    <a:pt x="1841373" y="110490"/>
                  </a:lnTo>
                  <a:lnTo>
                    <a:pt x="1850327" y="124016"/>
                  </a:lnTo>
                  <a:lnTo>
                    <a:pt x="1852613" y="131636"/>
                  </a:lnTo>
                  <a:lnTo>
                    <a:pt x="1867472" y="145542"/>
                  </a:lnTo>
                  <a:lnTo>
                    <a:pt x="1884521" y="162592"/>
                  </a:lnTo>
                  <a:lnTo>
                    <a:pt x="1904714" y="181546"/>
                  </a:lnTo>
                  <a:lnTo>
                    <a:pt x="1916811" y="191357"/>
                  </a:lnTo>
                  <a:lnTo>
                    <a:pt x="1927193" y="195929"/>
                  </a:lnTo>
                  <a:lnTo>
                    <a:pt x="1941100" y="190500"/>
                  </a:lnTo>
                  <a:lnTo>
                    <a:pt x="1952339" y="185071"/>
                  </a:lnTo>
                  <a:lnTo>
                    <a:pt x="1965865" y="182404"/>
                  </a:lnTo>
                  <a:lnTo>
                    <a:pt x="1990535" y="181546"/>
                  </a:lnTo>
                  <a:lnTo>
                    <a:pt x="2008061" y="189548"/>
                  </a:lnTo>
                  <a:lnTo>
                    <a:pt x="2018633" y="194120"/>
                  </a:lnTo>
                </a:path>
              </a:pathLst>
            </a:custGeom>
            <a:noFill/>
            <a:ln w="15875" cap="rnd">
              <a:solidFill>
                <a:schemeClr val="bg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390" name="Forma libre 389">
              <a:extLst>
                <a:ext uri="{FF2B5EF4-FFF2-40B4-BE49-F238E27FC236}">
                  <a16:creationId xmlns:a16="http://schemas.microsoft.com/office/drawing/2014/main" id="{723E275F-DF38-92E0-CBA6-11C22EF346F6}"/>
                </a:ext>
              </a:extLst>
            </p:cNvPr>
            <p:cNvSpPr/>
            <p:nvPr/>
          </p:nvSpPr>
          <p:spPr>
            <a:xfrm>
              <a:off x="6925535" y="2925475"/>
              <a:ext cx="2018633" cy="0"/>
            </a:xfrm>
            <a:custGeom>
              <a:avLst/>
              <a:gdLst>
                <a:gd name="connsiteX0" fmla="*/ 0 w 2018633"/>
                <a:gd name="connsiteY0" fmla="*/ 0 h 9525"/>
                <a:gd name="connsiteX1" fmla="*/ 2018633 w 201863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18633" h="9525">
                  <a:moveTo>
                    <a:pt x="0" y="0"/>
                  </a:moveTo>
                  <a:lnTo>
                    <a:pt x="2018633" y="0"/>
                  </a:lnTo>
                </a:path>
              </a:pathLst>
            </a:custGeom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graphicFrame>
        <p:nvGraphicFramePr>
          <p:cNvPr id="400" name="Tabla 399">
            <a:extLst>
              <a:ext uri="{FF2B5EF4-FFF2-40B4-BE49-F238E27FC236}">
                <a16:creationId xmlns:a16="http://schemas.microsoft.com/office/drawing/2014/main" id="{30224268-FD45-AF6E-466D-D8E1C457AC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6025604"/>
              </p:ext>
            </p:extLst>
          </p:nvPr>
        </p:nvGraphicFramePr>
        <p:xfrm>
          <a:off x="682667" y="2071379"/>
          <a:ext cx="230152" cy="9978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0152">
                  <a:extLst>
                    <a:ext uri="{9D8B030D-6E8A-4147-A177-3AD203B41FA5}">
                      <a16:colId xmlns:a16="http://schemas.microsoft.com/office/drawing/2014/main" val="2384922268"/>
                    </a:ext>
                  </a:extLst>
                </a:gridCol>
              </a:tblGrid>
              <a:tr h="124732">
                <a:tc>
                  <a:txBody>
                    <a:bodyPr/>
                    <a:lstStyle/>
                    <a:p>
                      <a:pPr algn="r"/>
                      <a:r>
                        <a:rPr lang="es-ES_tradnl" sz="400" b="0" i="0">
                          <a:latin typeface="Pulso" pitchFamily="2" charset="0"/>
                        </a:rPr>
                        <a:t>700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620748"/>
                  </a:ext>
                </a:extLst>
              </a:tr>
              <a:tr h="124732">
                <a:tc>
                  <a:txBody>
                    <a:bodyPr/>
                    <a:lstStyle/>
                    <a:p>
                      <a:pPr algn="r"/>
                      <a:r>
                        <a:rPr lang="es-ES_tradnl" sz="400" b="0" i="0">
                          <a:latin typeface="Pulso" pitchFamily="2" charset="0"/>
                        </a:rPr>
                        <a:t>600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1336146"/>
                  </a:ext>
                </a:extLst>
              </a:tr>
              <a:tr h="124732">
                <a:tc>
                  <a:txBody>
                    <a:bodyPr/>
                    <a:lstStyle/>
                    <a:p>
                      <a:pPr algn="r"/>
                      <a:r>
                        <a:rPr lang="es-ES_tradnl" sz="400" b="0" i="0">
                          <a:latin typeface="Pulso" pitchFamily="2" charset="0"/>
                        </a:rPr>
                        <a:t>500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8398012"/>
                  </a:ext>
                </a:extLst>
              </a:tr>
              <a:tr h="124732">
                <a:tc>
                  <a:txBody>
                    <a:bodyPr/>
                    <a:lstStyle/>
                    <a:p>
                      <a:pPr algn="r"/>
                      <a:r>
                        <a:rPr lang="es-ES_tradnl" sz="400" b="0" i="0">
                          <a:latin typeface="Pulso" pitchFamily="2" charset="0"/>
                        </a:rPr>
                        <a:t>400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9018554"/>
                  </a:ext>
                </a:extLst>
              </a:tr>
              <a:tr h="124732">
                <a:tc>
                  <a:txBody>
                    <a:bodyPr/>
                    <a:lstStyle/>
                    <a:p>
                      <a:pPr algn="r"/>
                      <a:r>
                        <a:rPr lang="es-ES_tradnl" sz="400" b="0" i="0">
                          <a:latin typeface="Pulso" pitchFamily="2" charset="0"/>
                        </a:rPr>
                        <a:t>300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6192454"/>
                  </a:ext>
                </a:extLst>
              </a:tr>
              <a:tr h="124732">
                <a:tc>
                  <a:txBody>
                    <a:bodyPr/>
                    <a:lstStyle/>
                    <a:p>
                      <a:pPr algn="r"/>
                      <a:r>
                        <a:rPr lang="es-ES_tradnl" sz="400" b="0" i="0">
                          <a:latin typeface="Pulso" pitchFamily="2" charset="0"/>
                        </a:rPr>
                        <a:t>200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9844042"/>
                  </a:ext>
                </a:extLst>
              </a:tr>
              <a:tr h="124732">
                <a:tc>
                  <a:txBody>
                    <a:bodyPr/>
                    <a:lstStyle/>
                    <a:p>
                      <a:pPr algn="r"/>
                      <a:r>
                        <a:rPr lang="es-ES_tradnl" sz="400" b="0" i="0">
                          <a:latin typeface="Pulso" pitchFamily="2" charset="0"/>
                        </a:rPr>
                        <a:t>100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8508929"/>
                  </a:ext>
                </a:extLst>
              </a:tr>
              <a:tr h="124732">
                <a:tc>
                  <a:txBody>
                    <a:bodyPr/>
                    <a:lstStyle/>
                    <a:p>
                      <a:pPr algn="r"/>
                      <a:r>
                        <a:rPr lang="es-ES_tradnl" sz="400" b="0" i="0">
                          <a:latin typeface="Pulso" pitchFamily="2" charset="0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1467497"/>
                  </a:ext>
                </a:extLst>
              </a:tr>
            </a:tbl>
          </a:graphicData>
        </a:graphic>
      </p:graphicFrame>
      <p:graphicFrame>
        <p:nvGraphicFramePr>
          <p:cNvPr id="401" name="Tabla 400">
            <a:extLst>
              <a:ext uri="{FF2B5EF4-FFF2-40B4-BE49-F238E27FC236}">
                <a16:creationId xmlns:a16="http://schemas.microsoft.com/office/drawing/2014/main" id="{13DC4645-0AD8-A290-F038-71B5130648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6104975"/>
              </p:ext>
            </p:extLst>
          </p:nvPr>
        </p:nvGraphicFramePr>
        <p:xfrm>
          <a:off x="944017" y="3049457"/>
          <a:ext cx="1821985" cy="6872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5635">
                  <a:extLst>
                    <a:ext uri="{9D8B030D-6E8A-4147-A177-3AD203B41FA5}">
                      <a16:colId xmlns:a16="http://schemas.microsoft.com/office/drawing/2014/main" val="2202786408"/>
                    </a:ext>
                  </a:extLst>
                </a:gridCol>
                <a:gridCol w="165635">
                  <a:extLst>
                    <a:ext uri="{9D8B030D-6E8A-4147-A177-3AD203B41FA5}">
                      <a16:colId xmlns:a16="http://schemas.microsoft.com/office/drawing/2014/main" val="3403546533"/>
                    </a:ext>
                  </a:extLst>
                </a:gridCol>
                <a:gridCol w="165635">
                  <a:extLst>
                    <a:ext uri="{9D8B030D-6E8A-4147-A177-3AD203B41FA5}">
                      <a16:colId xmlns:a16="http://schemas.microsoft.com/office/drawing/2014/main" val="3140031670"/>
                    </a:ext>
                  </a:extLst>
                </a:gridCol>
                <a:gridCol w="165635">
                  <a:extLst>
                    <a:ext uri="{9D8B030D-6E8A-4147-A177-3AD203B41FA5}">
                      <a16:colId xmlns:a16="http://schemas.microsoft.com/office/drawing/2014/main" val="1213002827"/>
                    </a:ext>
                  </a:extLst>
                </a:gridCol>
                <a:gridCol w="165635">
                  <a:extLst>
                    <a:ext uri="{9D8B030D-6E8A-4147-A177-3AD203B41FA5}">
                      <a16:colId xmlns:a16="http://schemas.microsoft.com/office/drawing/2014/main" val="1357182624"/>
                    </a:ext>
                  </a:extLst>
                </a:gridCol>
                <a:gridCol w="165635">
                  <a:extLst>
                    <a:ext uri="{9D8B030D-6E8A-4147-A177-3AD203B41FA5}">
                      <a16:colId xmlns:a16="http://schemas.microsoft.com/office/drawing/2014/main" val="2003882556"/>
                    </a:ext>
                  </a:extLst>
                </a:gridCol>
                <a:gridCol w="165635">
                  <a:extLst>
                    <a:ext uri="{9D8B030D-6E8A-4147-A177-3AD203B41FA5}">
                      <a16:colId xmlns:a16="http://schemas.microsoft.com/office/drawing/2014/main" val="681817260"/>
                    </a:ext>
                  </a:extLst>
                </a:gridCol>
                <a:gridCol w="165635">
                  <a:extLst>
                    <a:ext uri="{9D8B030D-6E8A-4147-A177-3AD203B41FA5}">
                      <a16:colId xmlns:a16="http://schemas.microsoft.com/office/drawing/2014/main" val="2614677528"/>
                    </a:ext>
                  </a:extLst>
                </a:gridCol>
                <a:gridCol w="165635">
                  <a:extLst>
                    <a:ext uri="{9D8B030D-6E8A-4147-A177-3AD203B41FA5}">
                      <a16:colId xmlns:a16="http://schemas.microsoft.com/office/drawing/2014/main" val="2301455659"/>
                    </a:ext>
                  </a:extLst>
                </a:gridCol>
                <a:gridCol w="165635">
                  <a:extLst>
                    <a:ext uri="{9D8B030D-6E8A-4147-A177-3AD203B41FA5}">
                      <a16:colId xmlns:a16="http://schemas.microsoft.com/office/drawing/2014/main" val="366670210"/>
                    </a:ext>
                  </a:extLst>
                </a:gridCol>
                <a:gridCol w="165635">
                  <a:extLst>
                    <a:ext uri="{9D8B030D-6E8A-4147-A177-3AD203B41FA5}">
                      <a16:colId xmlns:a16="http://schemas.microsoft.com/office/drawing/2014/main" val="2917835845"/>
                    </a:ext>
                  </a:extLst>
                </a:gridCol>
              </a:tblGrid>
              <a:tr h="68727"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3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4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5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6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7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8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9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30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31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32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33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7901969"/>
                  </a:ext>
                </a:extLst>
              </a:tr>
            </a:tbl>
          </a:graphicData>
        </a:graphic>
      </p:graphicFrame>
      <p:sp>
        <p:nvSpPr>
          <p:cNvPr id="402" name="CuadroTexto 401">
            <a:extLst>
              <a:ext uri="{FF2B5EF4-FFF2-40B4-BE49-F238E27FC236}">
                <a16:creationId xmlns:a16="http://schemas.microsoft.com/office/drawing/2014/main" id="{A7E72AD1-6EA9-CA55-2F33-ED9B5E445AA5}"/>
              </a:ext>
            </a:extLst>
          </p:cNvPr>
          <p:cNvSpPr txBox="1"/>
          <p:nvPr/>
        </p:nvSpPr>
        <p:spPr>
          <a:xfrm>
            <a:off x="976076" y="3399256"/>
            <a:ext cx="1703575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450">
                <a:solidFill>
                  <a:prstClr val="black"/>
                </a:solidFill>
                <a:latin typeface="Pulso Light" pitchFamily="2" charset="0"/>
                <a:cs typeface="+mn-cs"/>
              </a:rPr>
              <a:t>Note: </a:t>
            </a:r>
            <a:r>
              <a:rPr lang="es-ES" sz="450" err="1">
                <a:solidFill>
                  <a:prstClr val="black"/>
                </a:solidFill>
                <a:latin typeface="Pulso Light" pitchFamily="2" charset="0"/>
                <a:cs typeface="+mn-cs"/>
              </a:rPr>
              <a:t>Scale</a:t>
            </a:r>
            <a:r>
              <a:rPr lang="es-ES" sz="450">
                <a:solidFill>
                  <a:prstClr val="black"/>
                </a:solidFill>
                <a:latin typeface="Pulso Light" pitchFamily="2" charset="0"/>
                <a:cs typeface="+mn-cs"/>
              </a:rPr>
              <a:t> </a:t>
            </a:r>
            <a:r>
              <a:rPr lang="es-ES" sz="450" err="1">
                <a:solidFill>
                  <a:prstClr val="black"/>
                </a:solidFill>
                <a:latin typeface="Pulso Light" pitchFamily="2" charset="0"/>
                <a:cs typeface="+mn-cs"/>
              </a:rPr>
              <a:t>of</a:t>
            </a:r>
            <a:r>
              <a:rPr lang="es-ES" sz="450">
                <a:solidFill>
                  <a:prstClr val="black"/>
                </a:solidFill>
                <a:latin typeface="Pulso Light" pitchFamily="2" charset="0"/>
                <a:cs typeface="+mn-cs"/>
              </a:rPr>
              <a:t> </a:t>
            </a:r>
            <a:r>
              <a:rPr lang="es-ES" sz="450" err="1">
                <a:solidFill>
                  <a:prstClr val="black"/>
                </a:solidFill>
                <a:latin typeface="Pulso Light" pitchFamily="2" charset="0"/>
                <a:cs typeface="+mn-cs"/>
              </a:rPr>
              <a:t>the</a:t>
            </a:r>
            <a:r>
              <a:rPr lang="es-ES" sz="450">
                <a:solidFill>
                  <a:prstClr val="black"/>
                </a:solidFill>
                <a:latin typeface="Pulso Light" pitchFamily="2" charset="0"/>
                <a:cs typeface="+mn-cs"/>
              </a:rPr>
              <a:t> </a:t>
            </a:r>
            <a:r>
              <a:rPr lang="es-ES" sz="450" err="1">
                <a:solidFill>
                  <a:prstClr val="black"/>
                </a:solidFill>
                <a:latin typeface="Pulso Light" pitchFamily="2" charset="0"/>
                <a:cs typeface="+mn-cs"/>
              </a:rPr>
              <a:t>graph</a:t>
            </a:r>
            <a:r>
              <a:rPr lang="es-ES" sz="450">
                <a:solidFill>
                  <a:prstClr val="black"/>
                </a:solidFill>
                <a:latin typeface="Pulso Light" pitchFamily="2" charset="0"/>
                <a:cs typeface="+mn-cs"/>
              </a:rPr>
              <a:t> </a:t>
            </a:r>
            <a:r>
              <a:rPr lang="es-ES" sz="450" err="1">
                <a:solidFill>
                  <a:prstClr val="black"/>
                </a:solidFill>
                <a:latin typeface="Pulso Light" pitchFamily="2" charset="0"/>
                <a:cs typeface="+mn-cs"/>
              </a:rPr>
              <a:t>is</a:t>
            </a:r>
            <a:r>
              <a:rPr lang="es-ES" sz="450">
                <a:solidFill>
                  <a:prstClr val="black"/>
                </a:solidFill>
                <a:latin typeface="Pulso Light" pitchFamily="2" charset="0"/>
                <a:cs typeface="+mn-cs"/>
              </a:rPr>
              <a:t> </a:t>
            </a:r>
            <a:r>
              <a:rPr lang="es-ES" sz="450" err="1">
                <a:solidFill>
                  <a:prstClr val="black"/>
                </a:solidFill>
                <a:latin typeface="Pulso Light" pitchFamily="2" charset="0"/>
                <a:cs typeface="+mn-cs"/>
              </a:rPr>
              <a:t>expressed</a:t>
            </a:r>
            <a:r>
              <a:rPr lang="es-ES" sz="450">
                <a:solidFill>
                  <a:prstClr val="black"/>
                </a:solidFill>
                <a:latin typeface="Pulso Light" pitchFamily="2" charset="0"/>
                <a:cs typeface="+mn-cs"/>
              </a:rPr>
              <a:t> in EB/</a:t>
            </a:r>
            <a:r>
              <a:rPr lang="es-ES" sz="450" err="1">
                <a:solidFill>
                  <a:prstClr val="black"/>
                </a:solidFill>
                <a:latin typeface="Pulso Light" pitchFamily="2" charset="0"/>
                <a:cs typeface="+mn-cs"/>
              </a:rPr>
              <a:t>month</a:t>
            </a:r>
            <a:r>
              <a:rPr lang="es-ES" sz="450">
                <a:solidFill>
                  <a:prstClr val="black"/>
                </a:solidFill>
                <a:latin typeface="Pulso Light" pitchFamily="2" charset="0"/>
                <a:cs typeface="+mn-cs"/>
              </a:rPr>
              <a:t> to be </a:t>
            </a:r>
            <a:r>
              <a:rPr lang="es-ES" sz="450" err="1">
                <a:solidFill>
                  <a:prstClr val="black"/>
                </a:solidFill>
                <a:latin typeface="Pulso Light" pitchFamily="2" charset="0"/>
                <a:cs typeface="+mn-cs"/>
              </a:rPr>
              <a:t>consistent</a:t>
            </a:r>
            <a:r>
              <a:rPr lang="es-ES" sz="450">
                <a:solidFill>
                  <a:prstClr val="black"/>
                </a:solidFill>
                <a:latin typeface="Pulso Light" pitchFamily="2" charset="0"/>
                <a:cs typeface="+mn-cs"/>
              </a:rPr>
              <a:t> </a:t>
            </a:r>
            <a:r>
              <a:rPr lang="es-ES" sz="450" err="1">
                <a:solidFill>
                  <a:prstClr val="black"/>
                </a:solidFill>
                <a:latin typeface="Pulso Light" pitchFamily="2" charset="0"/>
                <a:cs typeface="+mn-cs"/>
              </a:rPr>
              <a:t>with</a:t>
            </a:r>
            <a:r>
              <a:rPr lang="es-ES" sz="450">
                <a:solidFill>
                  <a:prstClr val="black"/>
                </a:solidFill>
                <a:latin typeface="Pulso Light" pitchFamily="2" charset="0"/>
                <a:cs typeface="+mn-cs"/>
              </a:rPr>
              <a:t> </a:t>
            </a:r>
            <a:r>
              <a:rPr lang="es-ES" sz="450" err="1">
                <a:solidFill>
                  <a:prstClr val="black"/>
                </a:solidFill>
                <a:latin typeface="Pulso Light" pitchFamily="2" charset="0"/>
                <a:cs typeface="+mn-cs"/>
              </a:rPr>
              <a:t>the</a:t>
            </a:r>
            <a:r>
              <a:rPr lang="es-ES" sz="450">
                <a:solidFill>
                  <a:prstClr val="black"/>
                </a:solidFill>
                <a:latin typeface="Pulso Light" pitchFamily="2" charset="0"/>
                <a:cs typeface="+mn-cs"/>
              </a:rPr>
              <a:t> </a:t>
            </a:r>
            <a:r>
              <a:rPr lang="es-ES" sz="450" err="1">
                <a:solidFill>
                  <a:prstClr val="black"/>
                </a:solidFill>
                <a:latin typeface="Pulso Light" pitchFamily="2" charset="0"/>
                <a:cs typeface="+mn-cs"/>
              </a:rPr>
              <a:t>rest</a:t>
            </a:r>
            <a:r>
              <a:rPr lang="es-ES" sz="450">
                <a:solidFill>
                  <a:prstClr val="black"/>
                </a:solidFill>
                <a:latin typeface="Pulso Light" pitchFamily="2" charset="0"/>
                <a:cs typeface="+mn-cs"/>
              </a:rPr>
              <a:t> </a:t>
            </a:r>
            <a:r>
              <a:rPr lang="es-ES" sz="450" err="1">
                <a:solidFill>
                  <a:prstClr val="black"/>
                </a:solidFill>
                <a:latin typeface="Pulso Light" pitchFamily="2" charset="0"/>
                <a:cs typeface="+mn-cs"/>
              </a:rPr>
              <a:t>of</a:t>
            </a:r>
            <a:r>
              <a:rPr lang="es-ES" sz="450">
                <a:solidFill>
                  <a:prstClr val="black"/>
                </a:solidFill>
                <a:latin typeface="Pulso Light" pitchFamily="2" charset="0"/>
                <a:cs typeface="+mn-cs"/>
              </a:rPr>
              <a:t> </a:t>
            </a:r>
            <a:r>
              <a:rPr lang="es-ES" sz="450" err="1">
                <a:solidFill>
                  <a:prstClr val="black"/>
                </a:solidFill>
                <a:latin typeface="Pulso Light" pitchFamily="2" charset="0"/>
                <a:cs typeface="+mn-cs"/>
              </a:rPr>
              <a:t>the</a:t>
            </a:r>
            <a:r>
              <a:rPr lang="es-ES" sz="450">
                <a:solidFill>
                  <a:prstClr val="black"/>
                </a:solidFill>
                <a:latin typeface="Pulso Light" pitchFamily="2" charset="0"/>
                <a:cs typeface="+mn-cs"/>
              </a:rPr>
              <a:t> </a:t>
            </a:r>
            <a:r>
              <a:rPr lang="es-ES" sz="450" err="1">
                <a:solidFill>
                  <a:prstClr val="black"/>
                </a:solidFill>
                <a:latin typeface="Pulso Light" pitchFamily="2" charset="0"/>
                <a:cs typeface="+mn-cs"/>
              </a:rPr>
              <a:t>traffic</a:t>
            </a:r>
            <a:r>
              <a:rPr lang="es-ES" sz="450">
                <a:solidFill>
                  <a:prstClr val="black"/>
                </a:solidFill>
                <a:latin typeface="Pulso Light" pitchFamily="2" charset="0"/>
                <a:cs typeface="+mn-cs"/>
              </a:rPr>
              <a:t> </a:t>
            </a:r>
            <a:r>
              <a:rPr lang="es-ES" sz="450" err="1">
                <a:solidFill>
                  <a:prstClr val="black"/>
                </a:solidFill>
                <a:latin typeface="Pulso Light" pitchFamily="2" charset="0"/>
                <a:cs typeface="+mn-cs"/>
              </a:rPr>
              <a:t>report</a:t>
            </a:r>
            <a:endParaRPr lang="es-AR" sz="525">
              <a:solidFill>
                <a:prstClr val="black"/>
              </a:solidFill>
              <a:latin typeface="Pulso Light" pitchFamily="2" charset="0"/>
              <a:cs typeface="+mn-cs"/>
            </a:endParaRPr>
          </a:p>
        </p:txBody>
      </p:sp>
      <p:sp>
        <p:nvSpPr>
          <p:cNvPr id="403" name="CuadroTexto 402">
            <a:extLst>
              <a:ext uri="{FF2B5EF4-FFF2-40B4-BE49-F238E27FC236}">
                <a16:creationId xmlns:a16="http://schemas.microsoft.com/office/drawing/2014/main" id="{528FC3F4-D557-D9A6-C653-920F1B9CDBF0}"/>
              </a:ext>
            </a:extLst>
          </p:cNvPr>
          <p:cNvSpPr txBox="1"/>
          <p:nvPr/>
        </p:nvSpPr>
        <p:spPr>
          <a:xfrm>
            <a:off x="7092401" y="3403461"/>
            <a:ext cx="383118" cy="69250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just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450">
                <a:solidFill>
                  <a:prstClr val="black"/>
                </a:solidFill>
                <a:latin typeface="Pulso Light" pitchFamily="2" charset="0"/>
                <a:cs typeface="+mn-cs"/>
              </a:rPr>
              <a:t>Fuente: Omdia</a:t>
            </a:r>
            <a:endParaRPr lang="es-AR" sz="525">
              <a:solidFill>
                <a:prstClr val="black"/>
              </a:solidFill>
              <a:latin typeface="Pulso Light" pitchFamily="2" charset="0"/>
              <a:cs typeface="+mn-cs"/>
            </a:endParaRPr>
          </a:p>
        </p:txBody>
      </p:sp>
      <p:grpSp>
        <p:nvGrpSpPr>
          <p:cNvPr id="449" name="Grupo 448">
            <a:extLst>
              <a:ext uri="{FF2B5EF4-FFF2-40B4-BE49-F238E27FC236}">
                <a16:creationId xmlns:a16="http://schemas.microsoft.com/office/drawing/2014/main" id="{2A90D5D5-064A-CD88-A32A-A159E037D51F}"/>
              </a:ext>
            </a:extLst>
          </p:cNvPr>
          <p:cNvGrpSpPr/>
          <p:nvPr/>
        </p:nvGrpSpPr>
        <p:grpSpPr>
          <a:xfrm>
            <a:off x="941465" y="3238944"/>
            <a:ext cx="1821118" cy="76944"/>
            <a:chOff x="1006832" y="3577084"/>
            <a:chExt cx="1821118" cy="76944"/>
          </a:xfrm>
        </p:grpSpPr>
        <p:grpSp>
          <p:nvGrpSpPr>
            <p:cNvPr id="404" name="Grupo 403">
              <a:extLst>
                <a:ext uri="{FF2B5EF4-FFF2-40B4-BE49-F238E27FC236}">
                  <a16:creationId xmlns:a16="http://schemas.microsoft.com/office/drawing/2014/main" id="{FC16711D-5C2A-C201-7A79-2BD20B3EFB80}"/>
                </a:ext>
              </a:extLst>
            </p:cNvPr>
            <p:cNvGrpSpPr/>
            <p:nvPr/>
          </p:nvGrpSpPr>
          <p:grpSpPr>
            <a:xfrm>
              <a:off x="1006832" y="3577084"/>
              <a:ext cx="469635" cy="76944"/>
              <a:chOff x="682171" y="3127830"/>
              <a:chExt cx="469635" cy="76944"/>
            </a:xfrm>
          </p:grpSpPr>
          <p:sp>
            <p:nvSpPr>
              <p:cNvPr id="405" name="CuadroTexto 404">
                <a:extLst>
                  <a:ext uri="{FF2B5EF4-FFF2-40B4-BE49-F238E27FC236}">
                    <a16:creationId xmlns:a16="http://schemas.microsoft.com/office/drawing/2014/main" id="{E1A404CB-E241-C313-C646-CF51AB023D8A}"/>
                  </a:ext>
                </a:extLst>
              </p:cNvPr>
              <p:cNvSpPr txBox="1"/>
              <p:nvPr/>
            </p:nvSpPr>
            <p:spPr>
              <a:xfrm>
                <a:off x="874486" y="3127830"/>
                <a:ext cx="277320" cy="769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s-ES_tradnl" sz="500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</a:rPr>
                  <a:t>Moderate</a:t>
                </a:r>
              </a:p>
            </p:txBody>
          </p:sp>
          <p:cxnSp>
            <p:nvCxnSpPr>
              <p:cNvPr id="406" name="Conector recto 405">
                <a:extLst>
                  <a:ext uri="{FF2B5EF4-FFF2-40B4-BE49-F238E27FC236}">
                    <a16:creationId xmlns:a16="http://schemas.microsoft.com/office/drawing/2014/main" id="{071A000E-2834-467D-B1BC-EEA33EFBDAF7}"/>
                  </a:ext>
                </a:extLst>
              </p:cNvPr>
              <p:cNvCxnSpPr/>
              <p:nvPr/>
            </p:nvCxnSpPr>
            <p:spPr>
              <a:xfrm>
                <a:off x="682171" y="3176675"/>
                <a:ext cx="148772" cy="0"/>
              </a:xfrm>
              <a:prstGeom prst="line">
                <a:avLst/>
              </a:prstGeom>
              <a:ln w="15875" cap="rnd">
                <a:solidFill>
                  <a:schemeClr val="tx2">
                    <a:lumMod val="75000"/>
                    <a:lumOff val="2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7" name="Grupo 406">
              <a:extLst>
                <a:ext uri="{FF2B5EF4-FFF2-40B4-BE49-F238E27FC236}">
                  <a16:creationId xmlns:a16="http://schemas.microsoft.com/office/drawing/2014/main" id="{76FD5AB1-7E30-2820-D03B-A43FFC70E22E}"/>
                </a:ext>
              </a:extLst>
            </p:cNvPr>
            <p:cNvGrpSpPr/>
            <p:nvPr/>
          </p:nvGrpSpPr>
          <p:grpSpPr>
            <a:xfrm>
              <a:off x="1654266" y="3577084"/>
              <a:ext cx="504901" cy="76944"/>
              <a:chOff x="682171" y="3127830"/>
              <a:chExt cx="504901" cy="76944"/>
            </a:xfrm>
          </p:grpSpPr>
          <p:sp>
            <p:nvSpPr>
              <p:cNvPr id="408" name="CuadroTexto 407">
                <a:extLst>
                  <a:ext uri="{FF2B5EF4-FFF2-40B4-BE49-F238E27FC236}">
                    <a16:creationId xmlns:a16="http://schemas.microsoft.com/office/drawing/2014/main" id="{A3512C59-00B3-6D85-5938-48082D55B7D4}"/>
                  </a:ext>
                </a:extLst>
              </p:cNvPr>
              <p:cNvSpPr txBox="1"/>
              <p:nvPr/>
            </p:nvSpPr>
            <p:spPr>
              <a:xfrm>
                <a:off x="874486" y="3127830"/>
                <a:ext cx="312586" cy="769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s-ES_tradnl" sz="500" err="1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</a:rPr>
                  <a:t>Aggressive</a:t>
                </a:r>
                <a:endParaRPr lang="es-ES_tradnl" sz="5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endParaRPr>
              </a:p>
            </p:txBody>
          </p:sp>
          <p:cxnSp>
            <p:nvCxnSpPr>
              <p:cNvPr id="409" name="Conector recto 408">
                <a:extLst>
                  <a:ext uri="{FF2B5EF4-FFF2-40B4-BE49-F238E27FC236}">
                    <a16:creationId xmlns:a16="http://schemas.microsoft.com/office/drawing/2014/main" id="{D7E08B92-B991-80E7-1836-4D49D3010C25}"/>
                  </a:ext>
                </a:extLst>
              </p:cNvPr>
              <p:cNvCxnSpPr/>
              <p:nvPr/>
            </p:nvCxnSpPr>
            <p:spPr>
              <a:xfrm>
                <a:off x="682171" y="3176675"/>
                <a:ext cx="148772" cy="0"/>
              </a:xfrm>
              <a:prstGeom prst="line">
                <a:avLst/>
              </a:prstGeom>
              <a:ln w="15875" cap="rnd">
                <a:solidFill>
                  <a:schemeClr val="bg2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o 409">
              <a:extLst>
                <a:ext uri="{FF2B5EF4-FFF2-40B4-BE49-F238E27FC236}">
                  <a16:creationId xmlns:a16="http://schemas.microsoft.com/office/drawing/2014/main" id="{B54CA38D-152C-2857-D66E-A004360D170C}"/>
                </a:ext>
              </a:extLst>
            </p:cNvPr>
            <p:cNvGrpSpPr/>
            <p:nvPr/>
          </p:nvGrpSpPr>
          <p:grpSpPr>
            <a:xfrm>
              <a:off x="2347094" y="3577084"/>
              <a:ext cx="480856" cy="76944"/>
              <a:chOff x="682171" y="3127830"/>
              <a:chExt cx="480856" cy="76944"/>
            </a:xfrm>
          </p:grpSpPr>
          <p:sp>
            <p:nvSpPr>
              <p:cNvPr id="411" name="CuadroTexto 410">
                <a:extLst>
                  <a:ext uri="{FF2B5EF4-FFF2-40B4-BE49-F238E27FC236}">
                    <a16:creationId xmlns:a16="http://schemas.microsoft.com/office/drawing/2014/main" id="{CD82E4E3-EBD5-B749-0E1E-01A5111D81A3}"/>
                  </a:ext>
                </a:extLst>
              </p:cNvPr>
              <p:cNvSpPr txBox="1"/>
              <p:nvPr/>
            </p:nvSpPr>
            <p:spPr>
              <a:xfrm>
                <a:off x="874486" y="3127830"/>
                <a:ext cx="288541" cy="769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s-ES_tradnl" sz="500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</a:rPr>
                  <a:t>Disruptive</a:t>
                </a:r>
              </a:p>
            </p:txBody>
          </p:sp>
          <p:cxnSp>
            <p:nvCxnSpPr>
              <p:cNvPr id="412" name="Conector recto 411">
                <a:extLst>
                  <a:ext uri="{FF2B5EF4-FFF2-40B4-BE49-F238E27FC236}">
                    <a16:creationId xmlns:a16="http://schemas.microsoft.com/office/drawing/2014/main" id="{3E568DC7-CE58-357C-9CB9-0A7724422B79}"/>
                  </a:ext>
                </a:extLst>
              </p:cNvPr>
              <p:cNvCxnSpPr/>
              <p:nvPr/>
            </p:nvCxnSpPr>
            <p:spPr>
              <a:xfrm>
                <a:off x="682171" y="3176675"/>
                <a:ext cx="148772" cy="0"/>
              </a:xfrm>
              <a:prstGeom prst="line">
                <a:avLst/>
              </a:prstGeom>
              <a:ln w="15875" cap="rnd"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50" name="Grupo 449">
            <a:extLst>
              <a:ext uri="{FF2B5EF4-FFF2-40B4-BE49-F238E27FC236}">
                <a16:creationId xmlns:a16="http://schemas.microsoft.com/office/drawing/2014/main" id="{FC82F86B-11FB-A039-1906-0C0AB710E100}"/>
              </a:ext>
            </a:extLst>
          </p:cNvPr>
          <p:cNvGrpSpPr/>
          <p:nvPr/>
        </p:nvGrpSpPr>
        <p:grpSpPr>
          <a:xfrm>
            <a:off x="3701289" y="3238944"/>
            <a:ext cx="1741424" cy="76944"/>
            <a:chOff x="3900123" y="3577084"/>
            <a:chExt cx="1741424" cy="76944"/>
          </a:xfrm>
        </p:grpSpPr>
        <p:grpSp>
          <p:nvGrpSpPr>
            <p:cNvPr id="413" name="Grupo 412">
              <a:extLst>
                <a:ext uri="{FF2B5EF4-FFF2-40B4-BE49-F238E27FC236}">
                  <a16:creationId xmlns:a16="http://schemas.microsoft.com/office/drawing/2014/main" id="{048FA7B5-0652-66C6-EDDE-DBACD47A991B}"/>
                </a:ext>
              </a:extLst>
            </p:cNvPr>
            <p:cNvGrpSpPr/>
            <p:nvPr/>
          </p:nvGrpSpPr>
          <p:grpSpPr>
            <a:xfrm>
              <a:off x="3900123" y="3577084"/>
              <a:ext cx="884812" cy="76944"/>
              <a:chOff x="682171" y="3127830"/>
              <a:chExt cx="884812" cy="76944"/>
            </a:xfrm>
          </p:grpSpPr>
          <p:sp>
            <p:nvSpPr>
              <p:cNvPr id="414" name="CuadroTexto 413">
                <a:extLst>
                  <a:ext uri="{FF2B5EF4-FFF2-40B4-BE49-F238E27FC236}">
                    <a16:creationId xmlns:a16="http://schemas.microsoft.com/office/drawing/2014/main" id="{31338A8A-ECE6-B3E5-35D7-C9ED49A16309}"/>
                  </a:ext>
                </a:extLst>
              </p:cNvPr>
              <p:cNvSpPr txBox="1"/>
              <p:nvPr/>
            </p:nvSpPr>
            <p:spPr>
              <a:xfrm>
                <a:off x="874486" y="3127830"/>
                <a:ext cx="692497" cy="769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s-ES_tradnl" sz="500" err="1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</a:rPr>
                  <a:t>Movile</a:t>
                </a:r>
                <a:r>
                  <a:rPr lang="es-ES_tradnl" sz="500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</a:rPr>
                  <a:t> </a:t>
                </a:r>
                <a:r>
                  <a:rPr lang="es-ES_tradnl" sz="500" err="1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</a:rPr>
                  <a:t>Rev</a:t>
                </a:r>
                <a:r>
                  <a:rPr lang="es-ES_tradnl" sz="500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</a:rPr>
                  <a:t> </a:t>
                </a:r>
                <a:r>
                  <a:rPr lang="es-ES_tradnl" sz="500" err="1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</a:rPr>
                  <a:t>Growth</a:t>
                </a:r>
                <a:r>
                  <a:rPr lang="es-ES_tradnl" sz="500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</a:rPr>
                  <a:t> (</a:t>
                </a:r>
                <a:r>
                  <a:rPr lang="es-ES_tradnl" sz="500" err="1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</a:rPr>
                  <a:t>yoy</a:t>
                </a:r>
                <a:r>
                  <a:rPr lang="es-ES_tradnl" sz="500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</a:rPr>
                  <a:t>)</a:t>
                </a:r>
              </a:p>
            </p:txBody>
          </p:sp>
          <p:cxnSp>
            <p:nvCxnSpPr>
              <p:cNvPr id="415" name="Conector recto 414">
                <a:extLst>
                  <a:ext uri="{FF2B5EF4-FFF2-40B4-BE49-F238E27FC236}">
                    <a16:creationId xmlns:a16="http://schemas.microsoft.com/office/drawing/2014/main" id="{F7166494-B0D8-07DC-E5CA-F72AB7B3B7EC}"/>
                  </a:ext>
                </a:extLst>
              </p:cNvPr>
              <p:cNvCxnSpPr/>
              <p:nvPr/>
            </p:nvCxnSpPr>
            <p:spPr>
              <a:xfrm>
                <a:off x="682171" y="3176675"/>
                <a:ext cx="148772" cy="0"/>
              </a:xfrm>
              <a:prstGeom prst="line">
                <a:avLst/>
              </a:prstGeom>
              <a:ln w="15875" cap="rnd"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6" name="Grupo 415">
              <a:extLst>
                <a:ext uri="{FF2B5EF4-FFF2-40B4-BE49-F238E27FC236}">
                  <a16:creationId xmlns:a16="http://schemas.microsoft.com/office/drawing/2014/main" id="{6E9A1FD9-0A34-53FC-807D-7933ADB5E3EA}"/>
                </a:ext>
              </a:extLst>
            </p:cNvPr>
            <p:cNvGrpSpPr/>
            <p:nvPr/>
          </p:nvGrpSpPr>
          <p:grpSpPr>
            <a:xfrm>
              <a:off x="5067717" y="3577084"/>
              <a:ext cx="573830" cy="76944"/>
              <a:chOff x="682171" y="3127830"/>
              <a:chExt cx="573830" cy="76944"/>
            </a:xfrm>
          </p:grpSpPr>
          <p:sp>
            <p:nvSpPr>
              <p:cNvPr id="417" name="CuadroTexto 416">
                <a:extLst>
                  <a:ext uri="{FF2B5EF4-FFF2-40B4-BE49-F238E27FC236}">
                    <a16:creationId xmlns:a16="http://schemas.microsoft.com/office/drawing/2014/main" id="{6C3EB504-3DBD-18F1-16C4-C8AC83B18659}"/>
                  </a:ext>
                </a:extLst>
              </p:cNvPr>
              <p:cNvSpPr txBox="1"/>
              <p:nvPr/>
            </p:nvSpPr>
            <p:spPr>
              <a:xfrm>
                <a:off x="874486" y="3127830"/>
                <a:ext cx="381515" cy="769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s-ES_tradnl" sz="500" err="1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</a:rPr>
                  <a:t>Capex</a:t>
                </a:r>
                <a:r>
                  <a:rPr lang="es-ES_tradnl" sz="500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</a:rPr>
                  <a:t> ($</a:t>
                </a:r>
                <a:r>
                  <a:rPr lang="es-ES_tradnl" sz="500" err="1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</a:rPr>
                  <a:t>bn</a:t>
                </a:r>
                <a:r>
                  <a:rPr lang="es-ES_tradnl" sz="500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</a:rPr>
                  <a:t>)</a:t>
                </a:r>
              </a:p>
            </p:txBody>
          </p:sp>
          <p:cxnSp>
            <p:nvCxnSpPr>
              <p:cNvPr id="418" name="Conector recto 417">
                <a:extLst>
                  <a:ext uri="{FF2B5EF4-FFF2-40B4-BE49-F238E27FC236}">
                    <a16:creationId xmlns:a16="http://schemas.microsoft.com/office/drawing/2014/main" id="{7A390F48-5A93-1C6D-A756-96326FD5D304}"/>
                  </a:ext>
                </a:extLst>
              </p:cNvPr>
              <p:cNvCxnSpPr/>
              <p:nvPr/>
            </p:nvCxnSpPr>
            <p:spPr>
              <a:xfrm>
                <a:off x="682171" y="3176675"/>
                <a:ext cx="148772" cy="0"/>
              </a:xfrm>
              <a:prstGeom prst="line">
                <a:avLst/>
              </a:prstGeom>
              <a:ln w="15875" cap="rnd">
                <a:solidFill>
                  <a:schemeClr val="bg2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51" name="Grupo 450">
            <a:extLst>
              <a:ext uri="{FF2B5EF4-FFF2-40B4-BE49-F238E27FC236}">
                <a16:creationId xmlns:a16="http://schemas.microsoft.com/office/drawing/2014/main" id="{0A175751-C284-EAC3-E212-C808CE0C9891}"/>
              </a:ext>
            </a:extLst>
          </p:cNvPr>
          <p:cNvGrpSpPr/>
          <p:nvPr/>
        </p:nvGrpSpPr>
        <p:grpSpPr>
          <a:xfrm>
            <a:off x="6529511" y="3238944"/>
            <a:ext cx="1508898" cy="76944"/>
            <a:chOff x="7114232" y="3577084"/>
            <a:chExt cx="1508898" cy="76944"/>
          </a:xfrm>
        </p:grpSpPr>
        <p:grpSp>
          <p:nvGrpSpPr>
            <p:cNvPr id="419" name="Grupo 418">
              <a:extLst>
                <a:ext uri="{FF2B5EF4-FFF2-40B4-BE49-F238E27FC236}">
                  <a16:creationId xmlns:a16="http://schemas.microsoft.com/office/drawing/2014/main" id="{A0F6429E-7F65-9984-F794-4CF94D3B4AC7}"/>
                </a:ext>
              </a:extLst>
            </p:cNvPr>
            <p:cNvGrpSpPr/>
            <p:nvPr/>
          </p:nvGrpSpPr>
          <p:grpSpPr>
            <a:xfrm>
              <a:off x="7114232" y="3577084"/>
              <a:ext cx="544976" cy="76944"/>
              <a:chOff x="682171" y="3127830"/>
              <a:chExt cx="544976" cy="76944"/>
            </a:xfrm>
          </p:grpSpPr>
          <p:sp>
            <p:nvSpPr>
              <p:cNvPr id="420" name="CuadroTexto 419">
                <a:extLst>
                  <a:ext uri="{FF2B5EF4-FFF2-40B4-BE49-F238E27FC236}">
                    <a16:creationId xmlns:a16="http://schemas.microsoft.com/office/drawing/2014/main" id="{BB9E56FA-F7E4-8D19-9E88-C8D6BA238A0E}"/>
                  </a:ext>
                </a:extLst>
              </p:cNvPr>
              <p:cNvSpPr txBox="1"/>
              <p:nvPr/>
            </p:nvSpPr>
            <p:spPr>
              <a:xfrm>
                <a:off x="874486" y="3127830"/>
                <a:ext cx="352661" cy="769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s-ES_tradnl" sz="500" err="1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</a:rPr>
                  <a:t>Webscalred</a:t>
                </a:r>
                <a:endParaRPr lang="es-ES_tradnl" sz="5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endParaRPr>
              </a:p>
            </p:txBody>
          </p:sp>
          <p:cxnSp>
            <p:nvCxnSpPr>
              <p:cNvPr id="421" name="Conector recto 420">
                <a:extLst>
                  <a:ext uri="{FF2B5EF4-FFF2-40B4-BE49-F238E27FC236}">
                    <a16:creationId xmlns:a16="http://schemas.microsoft.com/office/drawing/2014/main" id="{A599B511-F675-3B53-F195-4CF0D8AB7FF8}"/>
                  </a:ext>
                </a:extLst>
              </p:cNvPr>
              <p:cNvCxnSpPr/>
              <p:nvPr/>
            </p:nvCxnSpPr>
            <p:spPr>
              <a:xfrm>
                <a:off x="682171" y="3176675"/>
                <a:ext cx="148772" cy="0"/>
              </a:xfrm>
              <a:prstGeom prst="line">
                <a:avLst/>
              </a:prstGeom>
              <a:ln w="15875" cap="rnd">
                <a:solidFill>
                  <a:schemeClr val="accent1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2" name="Grupo 421">
              <a:extLst>
                <a:ext uri="{FF2B5EF4-FFF2-40B4-BE49-F238E27FC236}">
                  <a16:creationId xmlns:a16="http://schemas.microsoft.com/office/drawing/2014/main" id="{51C0182F-B42C-D2D7-BA5C-530E49760F9C}"/>
                </a:ext>
              </a:extLst>
            </p:cNvPr>
            <p:cNvGrpSpPr/>
            <p:nvPr/>
          </p:nvGrpSpPr>
          <p:grpSpPr>
            <a:xfrm>
              <a:off x="7850528" y="3577084"/>
              <a:ext cx="772602" cy="76944"/>
              <a:chOff x="682171" y="3127830"/>
              <a:chExt cx="772602" cy="76944"/>
            </a:xfrm>
          </p:grpSpPr>
          <p:sp>
            <p:nvSpPr>
              <p:cNvPr id="423" name="CuadroTexto 422">
                <a:extLst>
                  <a:ext uri="{FF2B5EF4-FFF2-40B4-BE49-F238E27FC236}">
                    <a16:creationId xmlns:a16="http://schemas.microsoft.com/office/drawing/2014/main" id="{6F002291-DE39-55B6-53FA-C34DF46E96E4}"/>
                  </a:ext>
                </a:extLst>
              </p:cNvPr>
              <p:cNvSpPr txBox="1"/>
              <p:nvPr/>
            </p:nvSpPr>
            <p:spPr>
              <a:xfrm>
                <a:off x="874486" y="3127830"/>
                <a:ext cx="580287" cy="769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s-ES_tradnl" sz="500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</a:rPr>
                  <a:t>Telecom </a:t>
                </a:r>
                <a:r>
                  <a:rPr lang="es-ES_tradnl" sz="500" err="1">
                    <a:solidFill>
                      <a:schemeClr val="bg1">
                        <a:lumMod val="25000"/>
                      </a:schemeClr>
                    </a:solidFill>
                    <a:latin typeface="Pulso Light" pitchFamily="2" charset="0"/>
                  </a:rPr>
                  <a:t>Operators</a:t>
                </a:r>
                <a:endParaRPr lang="es-ES_tradnl" sz="5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endParaRPr>
              </a:p>
            </p:txBody>
          </p:sp>
          <p:cxnSp>
            <p:nvCxnSpPr>
              <p:cNvPr id="424" name="Conector recto 423">
                <a:extLst>
                  <a:ext uri="{FF2B5EF4-FFF2-40B4-BE49-F238E27FC236}">
                    <a16:creationId xmlns:a16="http://schemas.microsoft.com/office/drawing/2014/main" id="{BA3B6130-3EC9-465F-D7EA-70348363AAD0}"/>
                  </a:ext>
                </a:extLst>
              </p:cNvPr>
              <p:cNvCxnSpPr/>
              <p:nvPr/>
            </p:nvCxnSpPr>
            <p:spPr>
              <a:xfrm>
                <a:off x="682171" y="3176675"/>
                <a:ext cx="148772" cy="0"/>
              </a:xfrm>
              <a:prstGeom prst="line">
                <a:avLst/>
              </a:prstGeom>
              <a:ln w="15875" cap="rnd">
                <a:solidFill>
                  <a:schemeClr val="bg2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aphicFrame>
        <p:nvGraphicFramePr>
          <p:cNvPr id="426" name="Tabla 425">
            <a:extLst>
              <a:ext uri="{FF2B5EF4-FFF2-40B4-BE49-F238E27FC236}">
                <a16:creationId xmlns:a16="http://schemas.microsoft.com/office/drawing/2014/main" id="{0950516B-4D44-2970-63BD-3C13E87667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9107633"/>
              </p:ext>
            </p:extLst>
          </p:nvPr>
        </p:nvGraphicFramePr>
        <p:xfrm>
          <a:off x="3614898" y="3004464"/>
          <a:ext cx="1947374" cy="1701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517">
                  <a:extLst>
                    <a:ext uri="{9D8B030D-6E8A-4147-A177-3AD203B41FA5}">
                      <a16:colId xmlns:a16="http://schemas.microsoft.com/office/drawing/2014/main" val="2202786408"/>
                    </a:ext>
                  </a:extLst>
                </a:gridCol>
                <a:gridCol w="88517">
                  <a:extLst>
                    <a:ext uri="{9D8B030D-6E8A-4147-A177-3AD203B41FA5}">
                      <a16:colId xmlns:a16="http://schemas.microsoft.com/office/drawing/2014/main" val="3403546533"/>
                    </a:ext>
                  </a:extLst>
                </a:gridCol>
                <a:gridCol w="88517">
                  <a:extLst>
                    <a:ext uri="{9D8B030D-6E8A-4147-A177-3AD203B41FA5}">
                      <a16:colId xmlns:a16="http://schemas.microsoft.com/office/drawing/2014/main" val="3140031670"/>
                    </a:ext>
                  </a:extLst>
                </a:gridCol>
                <a:gridCol w="88517">
                  <a:extLst>
                    <a:ext uri="{9D8B030D-6E8A-4147-A177-3AD203B41FA5}">
                      <a16:colId xmlns:a16="http://schemas.microsoft.com/office/drawing/2014/main" val="1213002827"/>
                    </a:ext>
                  </a:extLst>
                </a:gridCol>
                <a:gridCol w="88517">
                  <a:extLst>
                    <a:ext uri="{9D8B030D-6E8A-4147-A177-3AD203B41FA5}">
                      <a16:colId xmlns:a16="http://schemas.microsoft.com/office/drawing/2014/main" val="1357182624"/>
                    </a:ext>
                  </a:extLst>
                </a:gridCol>
                <a:gridCol w="88517">
                  <a:extLst>
                    <a:ext uri="{9D8B030D-6E8A-4147-A177-3AD203B41FA5}">
                      <a16:colId xmlns:a16="http://schemas.microsoft.com/office/drawing/2014/main" val="2003882556"/>
                    </a:ext>
                  </a:extLst>
                </a:gridCol>
                <a:gridCol w="88517">
                  <a:extLst>
                    <a:ext uri="{9D8B030D-6E8A-4147-A177-3AD203B41FA5}">
                      <a16:colId xmlns:a16="http://schemas.microsoft.com/office/drawing/2014/main" val="681817260"/>
                    </a:ext>
                  </a:extLst>
                </a:gridCol>
                <a:gridCol w="88517">
                  <a:extLst>
                    <a:ext uri="{9D8B030D-6E8A-4147-A177-3AD203B41FA5}">
                      <a16:colId xmlns:a16="http://schemas.microsoft.com/office/drawing/2014/main" val="2614677528"/>
                    </a:ext>
                  </a:extLst>
                </a:gridCol>
                <a:gridCol w="88517">
                  <a:extLst>
                    <a:ext uri="{9D8B030D-6E8A-4147-A177-3AD203B41FA5}">
                      <a16:colId xmlns:a16="http://schemas.microsoft.com/office/drawing/2014/main" val="2301455659"/>
                    </a:ext>
                  </a:extLst>
                </a:gridCol>
                <a:gridCol w="88517">
                  <a:extLst>
                    <a:ext uri="{9D8B030D-6E8A-4147-A177-3AD203B41FA5}">
                      <a16:colId xmlns:a16="http://schemas.microsoft.com/office/drawing/2014/main" val="366670210"/>
                    </a:ext>
                  </a:extLst>
                </a:gridCol>
                <a:gridCol w="88517">
                  <a:extLst>
                    <a:ext uri="{9D8B030D-6E8A-4147-A177-3AD203B41FA5}">
                      <a16:colId xmlns:a16="http://schemas.microsoft.com/office/drawing/2014/main" val="2917835845"/>
                    </a:ext>
                  </a:extLst>
                </a:gridCol>
                <a:gridCol w="88517">
                  <a:extLst>
                    <a:ext uri="{9D8B030D-6E8A-4147-A177-3AD203B41FA5}">
                      <a16:colId xmlns:a16="http://schemas.microsoft.com/office/drawing/2014/main" val="944740296"/>
                    </a:ext>
                  </a:extLst>
                </a:gridCol>
                <a:gridCol w="88517">
                  <a:extLst>
                    <a:ext uri="{9D8B030D-6E8A-4147-A177-3AD203B41FA5}">
                      <a16:colId xmlns:a16="http://schemas.microsoft.com/office/drawing/2014/main" val="448098321"/>
                    </a:ext>
                  </a:extLst>
                </a:gridCol>
                <a:gridCol w="88517">
                  <a:extLst>
                    <a:ext uri="{9D8B030D-6E8A-4147-A177-3AD203B41FA5}">
                      <a16:colId xmlns:a16="http://schemas.microsoft.com/office/drawing/2014/main" val="2399374149"/>
                    </a:ext>
                  </a:extLst>
                </a:gridCol>
                <a:gridCol w="88517">
                  <a:extLst>
                    <a:ext uri="{9D8B030D-6E8A-4147-A177-3AD203B41FA5}">
                      <a16:colId xmlns:a16="http://schemas.microsoft.com/office/drawing/2014/main" val="2889060008"/>
                    </a:ext>
                  </a:extLst>
                </a:gridCol>
                <a:gridCol w="88517">
                  <a:extLst>
                    <a:ext uri="{9D8B030D-6E8A-4147-A177-3AD203B41FA5}">
                      <a16:colId xmlns:a16="http://schemas.microsoft.com/office/drawing/2014/main" val="1619638909"/>
                    </a:ext>
                  </a:extLst>
                </a:gridCol>
                <a:gridCol w="88517">
                  <a:extLst>
                    <a:ext uri="{9D8B030D-6E8A-4147-A177-3AD203B41FA5}">
                      <a16:colId xmlns:a16="http://schemas.microsoft.com/office/drawing/2014/main" val="494160219"/>
                    </a:ext>
                  </a:extLst>
                </a:gridCol>
                <a:gridCol w="88517">
                  <a:extLst>
                    <a:ext uri="{9D8B030D-6E8A-4147-A177-3AD203B41FA5}">
                      <a16:colId xmlns:a16="http://schemas.microsoft.com/office/drawing/2014/main" val="1167778682"/>
                    </a:ext>
                  </a:extLst>
                </a:gridCol>
                <a:gridCol w="88517">
                  <a:extLst>
                    <a:ext uri="{9D8B030D-6E8A-4147-A177-3AD203B41FA5}">
                      <a16:colId xmlns:a16="http://schemas.microsoft.com/office/drawing/2014/main" val="1928721330"/>
                    </a:ext>
                  </a:extLst>
                </a:gridCol>
                <a:gridCol w="88517">
                  <a:extLst>
                    <a:ext uri="{9D8B030D-6E8A-4147-A177-3AD203B41FA5}">
                      <a16:colId xmlns:a16="http://schemas.microsoft.com/office/drawing/2014/main" val="3102681506"/>
                    </a:ext>
                  </a:extLst>
                </a:gridCol>
                <a:gridCol w="88517">
                  <a:extLst>
                    <a:ext uri="{9D8B030D-6E8A-4147-A177-3AD203B41FA5}">
                      <a16:colId xmlns:a16="http://schemas.microsoft.com/office/drawing/2014/main" val="3574345178"/>
                    </a:ext>
                  </a:extLst>
                </a:gridCol>
                <a:gridCol w="88517">
                  <a:extLst>
                    <a:ext uri="{9D8B030D-6E8A-4147-A177-3AD203B41FA5}">
                      <a16:colId xmlns:a16="http://schemas.microsoft.com/office/drawing/2014/main" val="714964847"/>
                    </a:ext>
                  </a:extLst>
                </a:gridCol>
              </a:tblGrid>
              <a:tr h="170137"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02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03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04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05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06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07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08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09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0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1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2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3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4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5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6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7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8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2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4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3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7901969"/>
                  </a:ext>
                </a:extLst>
              </a:tr>
            </a:tbl>
          </a:graphicData>
        </a:graphic>
      </p:graphicFrame>
      <p:sp>
        <p:nvSpPr>
          <p:cNvPr id="427" name="Forma libre 426">
            <a:extLst>
              <a:ext uri="{FF2B5EF4-FFF2-40B4-BE49-F238E27FC236}">
                <a16:creationId xmlns:a16="http://schemas.microsoft.com/office/drawing/2014/main" id="{57D3A6D2-6C7B-BB9E-B86C-2360BB547834}"/>
              </a:ext>
            </a:extLst>
          </p:cNvPr>
          <p:cNvSpPr/>
          <p:nvPr/>
        </p:nvSpPr>
        <p:spPr>
          <a:xfrm>
            <a:off x="968084" y="2988092"/>
            <a:ext cx="1836000" cy="0"/>
          </a:xfrm>
          <a:custGeom>
            <a:avLst/>
            <a:gdLst>
              <a:gd name="connsiteX0" fmla="*/ 0 w 2018633"/>
              <a:gd name="connsiteY0" fmla="*/ 0 h 9525"/>
              <a:gd name="connsiteX1" fmla="*/ 2018633 w 2018633"/>
              <a:gd name="connsiteY1" fmla="*/ 0 h 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018633" h="9525">
                <a:moveTo>
                  <a:pt x="0" y="0"/>
                </a:moveTo>
                <a:lnTo>
                  <a:pt x="2018633" y="0"/>
                </a:lnTo>
              </a:path>
            </a:pathLst>
          </a:custGeom>
          <a:ln w="6350" cap="flat">
            <a:solidFill>
              <a:schemeClr val="bg1">
                <a:lumMod val="7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428" name="CuadroTexto 427">
            <a:extLst>
              <a:ext uri="{FF2B5EF4-FFF2-40B4-BE49-F238E27FC236}">
                <a16:creationId xmlns:a16="http://schemas.microsoft.com/office/drawing/2014/main" id="{D1043FCA-2846-54B6-A459-0E70CE9FB673}"/>
              </a:ext>
            </a:extLst>
          </p:cNvPr>
          <p:cNvSpPr txBox="1"/>
          <p:nvPr/>
        </p:nvSpPr>
        <p:spPr>
          <a:xfrm>
            <a:off x="2751938" y="2122248"/>
            <a:ext cx="192360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>
              <a:spcBef>
                <a:spcPts val="0"/>
              </a:spcBef>
            </a:pPr>
            <a:r>
              <a:rPr lang="es-ES_tradnl" sz="60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</a:rPr>
              <a:t>6641</a:t>
            </a:r>
          </a:p>
        </p:txBody>
      </p:sp>
      <p:sp>
        <p:nvSpPr>
          <p:cNvPr id="429" name="CuadroTexto 428">
            <a:extLst>
              <a:ext uri="{FF2B5EF4-FFF2-40B4-BE49-F238E27FC236}">
                <a16:creationId xmlns:a16="http://schemas.microsoft.com/office/drawing/2014/main" id="{E13C3BB8-5AC9-6BA6-2DC7-EE24EF01B585}"/>
              </a:ext>
            </a:extLst>
          </p:cNvPr>
          <p:cNvSpPr txBox="1"/>
          <p:nvPr/>
        </p:nvSpPr>
        <p:spPr>
          <a:xfrm>
            <a:off x="2750334" y="2381772"/>
            <a:ext cx="193964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>
              <a:spcBef>
                <a:spcPts val="0"/>
              </a:spcBef>
            </a:pPr>
            <a:r>
              <a:rPr lang="es-ES_tradnl" sz="60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</a:rPr>
              <a:t>4525</a:t>
            </a:r>
          </a:p>
        </p:txBody>
      </p:sp>
      <p:sp>
        <p:nvSpPr>
          <p:cNvPr id="430" name="CuadroTexto 429">
            <a:extLst>
              <a:ext uri="{FF2B5EF4-FFF2-40B4-BE49-F238E27FC236}">
                <a16:creationId xmlns:a16="http://schemas.microsoft.com/office/drawing/2014/main" id="{F5B91759-B3AE-7FDF-F064-4E051A584365}"/>
              </a:ext>
            </a:extLst>
          </p:cNvPr>
          <p:cNvSpPr txBox="1"/>
          <p:nvPr/>
        </p:nvSpPr>
        <p:spPr>
          <a:xfrm>
            <a:off x="2750334" y="2541762"/>
            <a:ext cx="193964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>
              <a:spcBef>
                <a:spcPts val="0"/>
              </a:spcBef>
            </a:pPr>
            <a:r>
              <a:rPr lang="es-ES_tradnl" sz="60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</a:rPr>
              <a:t>3280</a:t>
            </a:r>
          </a:p>
        </p:txBody>
      </p:sp>
      <p:sp>
        <p:nvSpPr>
          <p:cNvPr id="431" name="CuadroTexto 430">
            <a:extLst>
              <a:ext uri="{FF2B5EF4-FFF2-40B4-BE49-F238E27FC236}">
                <a16:creationId xmlns:a16="http://schemas.microsoft.com/office/drawing/2014/main" id="{969AA138-1D39-5172-4BC0-E5F8C7E8980E}"/>
              </a:ext>
            </a:extLst>
          </p:cNvPr>
          <p:cNvSpPr txBox="1"/>
          <p:nvPr/>
        </p:nvSpPr>
        <p:spPr>
          <a:xfrm>
            <a:off x="1391162" y="1970526"/>
            <a:ext cx="937757" cy="9233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just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600">
                <a:solidFill>
                  <a:schemeClr val="bg2"/>
                </a:solidFill>
                <a:latin typeface="Pulso" pitchFamily="2" charset="0"/>
                <a:cs typeface="+mn-cs"/>
              </a:rPr>
              <a:t>Global </a:t>
            </a:r>
            <a:r>
              <a:rPr lang="es-ES" sz="600" err="1">
                <a:solidFill>
                  <a:schemeClr val="bg2"/>
                </a:solidFill>
                <a:latin typeface="Pulso" pitchFamily="2" charset="0"/>
                <a:cs typeface="+mn-cs"/>
              </a:rPr>
              <a:t>Traffic</a:t>
            </a:r>
            <a:r>
              <a:rPr lang="es-ES" sz="600">
                <a:solidFill>
                  <a:schemeClr val="bg2"/>
                </a:solidFill>
                <a:latin typeface="Pulso" pitchFamily="2" charset="0"/>
                <a:cs typeface="+mn-cs"/>
              </a:rPr>
              <a:t> (EB/</a:t>
            </a:r>
            <a:r>
              <a:rPr lang="es-ES" sz="600" err="1">
                <a:solidFill>
                  <a:schemeClr val="bg2"/>
                </a:solidFill>
                <a:latin typeface="Pulso" pitchFamily="2" charset="0"/>
                <a:cs typeface="+mn-cs"/>
              </a:rPr>
              <a:t>month</a:t>
            </a:r>
            <a:r>
              <a:rPr lang="es-ES" sz="600">
                <a:solidFill>
                  <a:schemeClr val="bg2"/>
                </a:solidFill>
                <a:latin typeface="Pulso" pitchFamily="2" charset="0"/>
                <a:cs typeface="+mn-cs"/>
              </a:rPr>
              <a:t>)</a:t>
            </a:r>
            <a:endParaRPr lang="es-AR" sz="600">
              <a:solidFill>
                <a:schemeClr val="bg2"/>
              </a:solidFill>
              <a:latin typeface="Pulso" pitchFamily="2" charset="0"/>
              <a:cs typeface="+mn-cs"/>
            </a:endParaRPr>
          </a:p>
        </p:txBody>
      </p:sp>
      <p:sp>
        <p:nvSpPr>
          <p:cNvPr id="432" name="CuadroTexto 431">
            <a:extLst>
              <a:ext uri="{FF2B5EF4-FFF2-40B4-BE49-F238E27FC236}">
                <a16:creationId xmlns:a16="http://schemas.microsoft.com/office/drawing/2014/main" id="{624EB26E-71C4-61CA-D783-F0B445B0E143}"/>
              </a:ext>
            </a:extLst>
          </p:cNvPr>
          <p:cNvSpPr txBox="1"/>
          <p:nvPr/>
        </p:nvSpPr>
        <p:spPr>
          <a:xfrm>
            <a:off x="3468333" y="1970526"/>
            <a:ext cx="2207336" cy="9233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just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600">
                <a:solidFill>
                  <a:schemeClr val="bg2"/>
                </a:solidFill>
                <a:latin typeface="Pulso" pitchFamily="2" charset="0"/>
                <a:cs typeface="+mn-cs"/>
              </a:rPr>
              <a:t>Global </a:t>
            </a:r>
            <a:r>
              <a:rPr lang="es-ES" sz="600" err="1">
                <a:solidFill>
                  <a:schemeClr val="bg2"/>
                </a:solidFill>
                <a:latin typeface="Pulso" pitchFamily="2" charset="0"/>
                <a:cs typeface="+mn-cs"/>
              </a:rPr>
              <a:t>mobile</a:t>
            </a:r>
            <a:r>
              <a:rPr lang="es-ES" sz="600">
                <a:solidFill>
                  <a:schemeClr val="bg2"/>
                </a:solidFill>
                <a:latin typeface="Pulso" pitchFamily="2" charset="0"/>
                <a:cs typeface="+mn-cs"/>
              </a:rPr>
              <a:t> revenue </a:t>
            </a:r>
            <a:r>
              <a:rPr lang="es-ES" sz="600" err="1">
                <a:solidFill>
                  <a:schemeClr val="bg2"/>
                </a:solidFill>
                <a:latin typeface="Pulso" pitchFamily="2" charset="0"/>
                <a:cs typeface="+mn-cs"/>
              </a:rPr>
              <a:t>growth</a:t>
            </a:r>
            <a:r>
              <a:rPr lang="es-ES" sz="600">
                <a:solidFill>
                  <a:schemeClr val="bg2"/>
                </a:solidFill>
                <a:latin typeface="Pulso" pitchFamily="2" charset="0"/>
                <a:cs typeface="+mn-cs"/>
              </a:rPr>
              <a:t> vs </a:t>
            </a:r>
            <a:r>
              <a:rPr lang="es-ES" sz="600" err="1">
                <a:solidFill>
                  <a:schemeClr val="bg2"/>
                </a:solidFill>
                <a:latin typeface="Pulso" pitchFamily="2" charset="0"/>
                <a:cs typeface="+mn-cs"/>
              </a:rPr>
              <a:t>mobile</a:t>
            </a:r>
            <a:r>
              <a:rPr lang="es-ES" sz="600">
                <a:solidFill>
                  <a:schemeClr val="bg2"/>
                </a:solidFill>
                <a:latin typeface="Pulso" pitchFamily="2" charset="0"/>
                <a:cs typeface="+mn-cs"/>
              </a:rPr>
              <a:t> </a:t>
            </a:r>
            <a:r>
              <a:rPr lang="es-ES" sz="600" err="1">
                <a:solidFill>
                  <a:schemeClr val="bg2"/>
                </a:solidFill>
                <a:latin typeface="Pulso" pitchFamily="2" charset="0"/>
                <a:cs typeface="+mn-cs"/>
              </a:rPr>
              <a:t>capex</a:t>
            </a:r>
            <a:r>
              <a:rPr lang="es-ES" sz="600">
                <a:solidFill>
                  <a:schemeClr val="bg2"/>
                </a:solidFill>
                <a:latin typeface="Pulso" pitchFamily="2" charset="0"/>
                <a:cs typeface="+mn-cs"/>
              </a:rPr>
              <a:t>  –  2002-2023</a:t>
            </a:r>
            <a:endParaRPr lang="es-AR" sz="600">
              <a:solidFill>
                <a:schemeClr val="bg2"/>
              </a:solidFill>
              <a:latin typeface="Pulso" pitchFamily="2" charset="0"/>
              <a:cs typeface="+mn-cs"/>
            </a:endParaRPr>
          </a:p>
        </p:txBody>
      </p:sp>
      <p:sp>
        <p:nvSpPr>
          <p:cNvPr id="433" name="CuadroTexto 432">
            <a:extLst>
              <a:ext uri="{FF2B5EF4-FFF2-40B4-BE49-F238E27FC236}">
                <a16:creationId xmlns:a16="http://schemas.microsoft.com/office/drawing/2014/main" id="{9717B779-2CA8-5E62-B3D2-F283CE2D5F65}"/>
              </a:ext>
            </a:extLst>
          </p:cNvPr>
          <p:cNvSpPr txBox="1"/>
          <p:nvPr/>
        </p:nvSpPr>
        <p:spPr>
          <a:xfrm>
            <a:off x="6280588" y="1970526"/>
            <a:ext cx="2005357" cy="9233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600">
                <a:solidFill>
                  <a:schemeClr val="bg2"/>
                </a:solidFill>
                <a:latin typeface="Pulso" pitchFamily="2" charset="0"/>
              </a:rPr>
              <a:t>Crecimiento de los ingresos Globales (%)  –  2013-2023</a:t>
            </a:r>
          </a:p>
        </p:txBody>
      </p:sp>
      <p:sp>
        <p:nvSpPr>
          <p:cNvPr id="434" name="CuadroTexto 433">
            <a:extLst>
              <a:ext uri="{FF2B5EF4-FFF2-40B4-BE49-F238E27FC236}">
                <a16:creationId xmlns:a16="http://schemas.microsoft.com/office/drawing/2014/main" id="{8ABCA742-8811-C71B-69DB-61E8CA0F1F45}"/>
              </a:ext>
            </a:extLst>
          </p:cNvPr>
          <p:cNvSpPr txBox="1"/>
          <p:nvPr/>
        </p:nvSpPr>
        <p:spPr>
          <a:xfrm>
            <a:off x="4156022" y="3403461"/>
            <a:ext cx="831959" cy="69250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just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450">
                <a:solidFill>
                  <a:prstClr val="black"/>
                </a:solidFill>
                <a:latin typeface="Pulso Light" pitchFamily="2" charset="0"/>
                <a:cs typeface="+mn-cs"/>
              </a:rPr>
              <a:t>Fuente: GMSA </a:t>
            </a:r>
            <a:r>
              <a:rPr lang="es-ES" sz="450" err="1">
                <a:solidFill>
                  <a:prstClr val="black"/>
                </a:solidFill>
                <a:latin typeface="Pulso Light" pitchFamily="2" charset="0"/>
                <a:cs typeface="+mn-cs"/>
              </a:rPr>
              <a:t>Intelligence</a:t>
            </a:r>
            <a:r>
              <a:rPr lang="es-ES" sz="450">
                <a:solidFill>
                  <a:prstClr val="black"/>
                </a:solidFill>
                <a:latin typeface="Pulso Light" pitchFamily="2" charset="0"/>
                <a:cs typeface="+mn-cs"/>
              </a:rPr>
              <a:t> 2024</a:t>
            </a:r>
            <a:endParaRPr lang="es-AR" sz="525">
              <a:solidFill>
                <a:prstClr val="black"/>
              </a:solidFill>
              <a:latin typeface="Pulso Light" pitchFamily="2" charset="0"/>
              <a:cs typeface="+mn-cs"/>
            </a:endParaRPr>
          </a:p>
        </p:txBody>
      </p:sp>
      <p:sp>
        <p:nvSpPr>
          <p:cNvPr id="435" name="Forma libre 434">
            <a:extLst>
              <a:ext uri="{FF2B5EF4-FFF2-40B4-BE49-F238E27FC236}">
                <a16:creationId xmlns:a16="http://schemas.microsoft.com/office/drawing/2014/main" id="{867919F1-5089-EEEC-A548-F0B5BF29CA85}"/>
              </a:ext>
            </a:extLst>
          </p:cNvPr>
          <p:cNvSpPr/>
          <p:nvPr/>
        </p:nvSpPr>
        <p:spPr>
          <a:xfrm>
            <a:off x="3632192" y="2719557"/>
            <a:ext cx="1882800" cy="0"/>
          </a:xfrm>
          <a:custGeom>
            <a:avLst/>
            <a:gdLst>
              <a:gd name="connsiteX0" fmla="*/ 0 w 2018633"/>
              <a:gd name="connsiteY0" fmla="*/ 0 h 9525"/>
              <a:gd name="connsiteX1" fmla="*/ 2018633 w 2018633"/>
              <a:gd name="connsiteY1" fmla="*/ 0 h 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018633" h="9525">
                <a:moveTo>
                  <a:pt x="0" y="0"/>
                </a:moveTo>
                <a:lnTo>
                  <a:pt x="2018633" y="0"/>
                </a:lnTo>
              </a:path>
            </a:pathLst>
          </a:custGeom>
          <a:ln w="6350" cap="rnd">
            <a:solidFill>
              <a:schemeClr val="bg1">
                <a:lumMod val="90000"/>
              </a:schemeClr>
            </a:solidFill>
            <a:prstDash val="sysDot"/>
            <a:round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437" name="Forma libre 436">
            <a:extLst>
              <a:ext uri="{FF2B5EF4-FFF2-40B4-BE49-F238E27FC236}">
                <a16:creationId xmlns:a16="http://schemas.microsoft.com/office/drawing/2014/main" id="{8C2D12F3-A9A6-2380-07E1-03A26CFA744E}"/>
              </a:ext>
            </a:extLst>
          </p:cNvPr>
          <p:cNvSpPr/>
          <p:nvPr/>
        </p:nvSpPr>
        <p:spPr>
          <a:xfrm>
            <a:off x="3632192" y="2185217"/>
            <a:ext cx="1882800" cy="0"/>
          </a:xfrm>
          <a:custGeom>
            <a:avLst/>
            <a:gdLst>
              <a:gd name="connsiteX0" fmla="*/ 0 w 2018633"/>
              <a:gd name="connsiteY0" fmla="*/ 0 h 9525"/>
              <a:gd name="connsiteX1" fmla="*/ 2018633 w 2018633"/>
              <a:gd name="connsiteY1" fmla="*/ 0 h 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018633" h="9525">
                <a:moveTo>
                  <a:pt x="0" y="0"/>
                </a:moveTo>
                <a:lnTo>
                  <a:pt x="2018633" y="0"/>
                </a:lnTo>
              </a:path>
            </a:pathLst>
          </a:custGeom>
          <a:ln w="6350" cap="rnd">
            <a:solidFill>
              <a:schemeClr val="bg1">
                <a:lumMod val="90000"/>
              </a:schemeClr>
            </a:solidFill>
            <a:prstDash val="sysDot"/>
            <a:round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438" name="Forma libre 437">
            <a:extLst>
              <a:ext uri="{FF2B5EF4-FFF2-40B4-BE49-F238E27FC236}">
                <a16:creationId xmlns:a16="http://schemas.microsoft.com/office/drawing/2014/main" id="{EFFC0496-3314-E63B-9669-E2AC01006859}"/>
              </a:ext>
            </a:extLst>
          </p:cNvPr>
          <p:cNvSpPr/>
          <p:nvPr/>
        </p:nvSpPr>
        <p:spPr>
          <a:xfrm>
            <a:off x="3632192" y="2292085"/>
            <a:ext cx="1882800" cy="0"/>
          </a:xfrm>
          <a:custGeom>
            <a:avLst/>
            <a:gdLst>
              <a:gd name="connsiteX0" fmla="*/ 0 w 2018633"/>
              <a:gd name="connsiteY0" fmla="*/ 0 h 9525"/>
              <a:gd name="connsiteX1" fmla="*/ 2018633 w 2018633"/>
              <a:gd name="connsiteY1" fmla="*/ 0 h 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018633" h="9525">
                <a:moveTo>
                  <a:pt x="0" y="0"/>
                </a:moveTo>
                <a:lnTo>
                  <a:pt x="2018633" y="0"/>
                </a:lnTo>
              </a:path>
            </a:pathLst>
          </a:custGeom>
          <a:ln w="6350" cap="rnd">
            <a:solidFill>
              <a:schemeClr val="bg1">
                <a:lumMod val="90000"/>
              </a:schemeClr>
            </a:solidFill>
            <a:prstDash val="sysDot"/>
            <a:round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439" name="Forma libre 438">
            <a:extLst>
              <a:ext uri="{FF2B5EF4-FFF2-40B4-BE49-F238E27FC236}">
                <a16:creationId xmlns:a16="http://schemas.microsoft.com/office/drawing/2014/main" id="{E7305A18-9643-060A-9C6A-E9904BBEE4AA}"/>
              </a:ext>
            </a:extLst>
          </p:cNvPr>
          <p:cNvSpPr/>
          <p:nvPr/>
        </p:nvSpPr>
        <p:spPr>
          <a:xfrm>
            <a:off x="3632192" y="2398953"/>
            <a:ext cx="1882800" cy="0"/>
          </a:xfrm>
          <a:custGeom>
            <a:avLst/>
            <a:gdLst>
              <a:gd name="connsiteX0" fmla="*/ 0 w 2018633"/>
              <a:gd name="connsiteY0" fmla="*/ 0 h 9525"/>
              <a:gd name="connsiteX1" fmla="*/ 2018633 w 2018633"/>
              <a:gd name="connsiteY1" fmla="*/ 0 h 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018633" h="9525">
                <a:moveTo>
                  <a:pt x="0" y="0"/>
                </a:moveTo>
                <a:lnTo>
                  <a:pt x="2018633" y="0"/>
                </a:lnTo>
              </a:path>
            </a:pathLst>
          </a:custGeom>
          <a:ln w="6350" cap="rnd">
            <a:solidFill>
              <a:schemeClr val="bg1">
                <a:lumMod val="90000"/>
              </a:schemeClr>
            </a:solidFill>
            <a:prstDash val="sysDot"/>
            <a:round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440" name="Forma libre 439">
            <a:extLst>
              <a:ext uri="{FF2B5EF4-FFF2-40B4-BE49-F238E27FC236}">
                <a16:creationId xmlns:a16="http://schemas.microsoft.com/office/drawing/2014/main" id="{EF14A147-F75F-01B3-4DE7-2795A6DD310F}"/>
              </a:ext>
            </a:extLst>
          </p:cNvPr>
          <p:cNvSpPr/>
          <p:nvPr/>
        </p:nvSpPr>
        <p:spPr>
          <a:xfrm>
            <a:off x="3632192" y="2505821"/>
            <a:ext cx="1882800" cy="0"/>
          </a:xfrm>
          <a:custGeom>
            <a:avLst/>
            <a:gdLst>
              <a:gd name="connsiteX0" fmla="*/ 0 w 2018633"/>
              <a:gd name="connsiteY0" fmla="*/ 0 h 9525"/>
              <a:gd name="connsiteX1" fmla="*/ 2018633 w 2018633"/>
              <a:gd name="connsiteY1" fmla="*/ 0 h 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018633" h="9525">
                <a:moveTo>
                  <a:pt x="0" y="0"/>
                </a:moveTo>
                <a:lnTo>
                  <a:pt x="2018633" y="0"/>
                </a:lnTo>
              </a:path>
            </a:pathLst>
          </a:custGeom>
          <a:ln w="6350" cap="rnd">
            <a:solidFill>
              <a:schemeClr val="bg1">
                <a:lumMod val="90000"/>
              </a:schemeClr>
            </a:solidFill>
            <a:prstDash val="sysDot"/>
            <a:round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441" name="Forma libre 440">
            <a:extLst>
              <a:ext uri="{FF2B5EF4-FFF2-40B4-BE49-F238E27FC236}">
                <a16:creationId xmlns:a16="http://schemas.microsoft.com/office/drawing/2014/main" id="{E57922ED-C77E-797F-94BA-0BDBF58D085B}"/>
              </a:ext>
            </a:extLst>
          </p:cNvPr>
          <p:cNvSpPr/>
          <p:nvPr/>
        </p:nvSpPr>
        <p:spPr>
          <a:xfrm>
            <a:off x="3632192" y="2612689"/>
            <a:ext cx="1882800" cy="0"/>
          </a:xfrm>
          <a:custGeom>
            <a:avLst/>
            <a:gdLst>
              <a:gd name="connsiteX0" fmla="*/ 0 w 2018633"/>
              <a:gd name="connsiteY0" fmla="*/ 0 h 9525"/>
              <a:gd name="connsiteX1" fmla="*/ 2018633 w 2018633"/>
              <a:gd name="connsiteY1" fmla="*/ 0 h 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018633" h="9525">
                <a:moveTo>
                  <a:pt x="0" y="0"/>
                </a:moveTo>
                <a:lnTo>
                  <a:pt x="2018633" y="0"/>
                </a:lnTo>
              </a:path>
            </a:pathLst>
          </a:custGeom>
          <a:ln w="6350" cap="rnd">
            <a:solidFill>
              <a:schemeClr val="bg1">
                <a:lumMod val="90000"/>
              </a:schemeClr>
            </a:solidFill>
            <a:prstDash val="sysDot"/>
            <a:round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442" name="Forma libre 441">
            <a:extLst>
              <a:ext uri="{FF2B5EF4-FFF2-40B4-BE49-F238E27FC236}">
                <a16:creationId xmlns:a16="http://schemas.microsoft.com/office/drawing/2014/main" id="{8BBACEA8-DB25-1C56-3674-A42AD8236946}"/>
              </a:ext>
            </a:extLst>
          </p:cNvPr>
          <p:cNvSpPr/>
          <p:nvPr/>
        </p:nvSpPr>
        <p:spPr>
          <a:xfrm>
            <a:off x="3632192" y="2826425"/>
            <a:ext cx="1882800" cy="0"/>
          </a:xfrm>
          <a:custGeom>
            <a:avLst/>
            <a:gdLst>
              <a:gd name="connsiteX0" fmla="*/ 0 w 2018633"/>
              <a:gd name="connsiteY0" fmla="*/ 0 h 9525"/>
              <a:gd name="connsiteX1" fmla="*/ 2018633 w 2018633"/>
              <a:gd name="connsiteY1" fmla="*/ 0 h 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018633" h="9525">
                <a:moveTo>
                  <a:pt x="0" y="0"/>
                </a:moveTo>
                <a:lnTo>
                  <a:pt x="2018633" y="0"/>
                </a:lnTo>
              </a:path>
            </a:pathLst>
          </a:custGeom>
          <a:ln w="6350" cap="rnd">
            <a:solidFill>
              <a:schemeClr val="bg1">
                <a:lumMod val="90000"/>
              </a:schemeClr>
            </a:solidFill>
            <a:prstDash val="sysDot"/>
            <a:round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443" name="Forma libre 442">
            <a:extLst>
              <a:ext uri="{FF2B5EF4-FFF2-40B4-BE49-F238E27FC236}">
                <a16:creationId xmlns:a16="http://schemas.microsoft.com/office/drawing/2014/main" id="{761EC06F-DBFD-CB3F-E7B5-C046237B1BCD}"/>
              </a:ext>
            </a:extLst>
          </p:cNvPr>
          <p:cNvSpPr/>
          <p:nvPr/>
        </p:nvSpPr>
        <p:spPr>
          <a:xfrm>
            <a:off x="3632192" y="2933293"/>
            <a:ext cx="1882800" cy="0"/>
          </a:xfrm>
          <a:custGeom>
            <a:avLst/>
            <a:gdLst>
              <a:gd name="connsiteX0" fmla="*/ 0 w 2018633"/>
              <a:gd name="connsiteY0" fmla="*/ 0 h 9525"/>
              <a:gd name="connsiteX1" fmla="*/ 2018633 w 2018633"/>
              <a:gd name="connsiteY1" fmla="*/ 0 h 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018633" h="9525">
                <a:moveTo>
                  <a:pt x="0" y="0"/>
                </a:moveTo>
                <a:lnTo>
                  <a:pt x="2018633" y="0"/>
                </a:lnTo>
              </a:path>
            </a:pathLst>
          </a:custGeom>
          <a:ln w="6350" cap="rnd">
            <a:solidFill>
              <a:schemeClr val="bg1">
                <a:lumMod val="90000"/>
              </a:schemeClr>
            </a:solidFill>
            <a:prstDash val="sysDot"/>
            <a:round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444" name="Forma libre 443">
            <a:extLst>
              <a:ext uri="{FF2B5EF4-FFF2-40B4-BE49-F238E27FC236}">
                <a16:creationId xmlns:a16="http://schemas.microsoft.com/office/drawing/2014/main" id="{BC1D6534-FE40-7FC1-D7A3-B1C05F286BD5}"/>
              </a:ext>
            </a:extLst>
          </p:cNvPr>
          <p:cNvSpPr/>
          <p:nvPr/>
        </p:nvSpPr>
        <p:spPr>
          <a:xfrm>
            <a:off x="3632221" y="2258644"/>
            <a:ext cx="1882800" cy="544163"/>
          </a:xfrm>
          <a:custGeom>
            <a:avLst/>
            <a:gdLst>
              <a:gd name="connsiteX0" fmla="*/ 0 w 1884425"/>
              <a:gd name="connsiteY0" fmla="*/ 544163 h 544163"/>
              <a:gd name="connsiteX1" fmla="*/ 109823 w 1884425"/>
              <a:gd name="connsiteY1" fmla="*/ 537401 h 544163"/>
              <a:gd name="connsiteX2" fmla="*/ 635508 w 1884425"/>
              <a:gd name="connsiteY2" fmla="*/ 278892 h 544163"/>
              <a:gd name="connsiteX3" fmla="*/ 721614 w 1884425"/>
              <a:gd name="connsiteY3" fmla="*/ 319373 h 544163"/>
              <a:gd name="connsiteX4" fmla="*/ 973455 w 1884425"/>
              <a:gd name="connsiteY4" fmla="*/ 189262 h 544163"/>
              <a:gd name="connsiteX5" fmla="*/ 1135761 w 1884425"/>
              <a:gd name="connsiteY5" fmla="*/ 152114 h 544163"/>
              <a:gd name="connsiteX6" fmla="*/ 1343597 w 1884425"/>
              <a:gd name="connsiteY6" fmla="*/ 184214 h 544163"/>
              <a:gd name="connsiteX7" fmla="*/ 1789843 w 1884425"/>
              <a:gd name="connsiteY7" fmla="*/ 0 h 544163"/>
              <a:gd name="connsiteX8" fmla="*/ 1884426 w 1884425"/>
              <a:gd name="connsiteY8" fmla="*/ 47339 h 544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84425" h="544163">
                <a:moveTo>
                  <a:pt x="0" y="544163"/>
                </a:moveTo>
                <a:lnTo>
                  <a:pt x="109823" y="537401"/>
                </a:lnTo>
                <a:lnTo>
                  <a:pt x="635508" y="278892"/>
                </a:lnTo>
                <a:lnTo>
                  <a:pt x="721614" y="319373"/>
                </a:lnTo>
                <a:lnTo>
                  <a:pt x="973455" y="189262"/>
                </a:lnTo>
                <a:lnTo>
                  <a:pt x="1135761" y="152114"/>
                </a:lnTo>
                <a:lnTo>
                  <a:pt x="1343597" y="184214"/>
                </a:lnTo>
                <a:lnTo>
                  <a:pt x="1789843" y="0"/>
                </a:lnTo>
                <a:lnTo>
                  <a:pt x="1884426" y="47339"/>
                </a:lnTo>
              </a:path>
            </a:pathLst>
          </a:custGeom>
          <a:noFill/>
          <a:ln w="158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445" name="Forma libre 444">
            <a:extLst>
              <a:ext uri="{FF2B5EF4-FFF2-40B4-BE49-F238E27FC236}">
                <a16:creationId xmlns:a16="http://schemas.microsoft.com/office/drawing/2014/main" id="{B48F879C-1D85-D99D-C373-1B203359DE74}"/>
              </a:ext>
            </a:extLst>
          </p:cNvPr>
          <p:cNvSpPr/>
          <p:nvPr/>
        </p:nvSpPr>
        <p:spPr>
          <a:xfrm>
            <a:off x="3631380" y="2140344"/>
            <a:ext cx="1884425" cy="784193"/>
          </a:xfrm>
          <a:custGeom>
            <a:avLst/>
            <a:gdLst>
              <a:gd name="connsiteX0" fmla="*/ 0 w 1884425"/>
              <a:gd name="connsiteY0" fmla="*/ 0 h 784193"/>
              <a:gd name="connsiteX1" fmla="*/ 158877 w 1884425"/>
              <a:gd name="connsiteY1" fmla="*/ 170688 h 784193"/>
              <a:gd name="connsiteX2" fmla="*/ 368427 w 1884425"/>
              <a:gd name="connsiteY2" fmla="*/ 287274 h 784193"/>
              <a:gd name="connsiteX3" fmla="*/ 461391 w 1884425"/>
              <a:gd name="connsiteY3" fmla="*/ 197739 h 784193"/>
              <a:gd name="connsiteX4" fmla="*/ 544163 w 1884425"/>
              <a:gd name="connsiteY4" fmla="*/ 444437 h 784193"/>
              <a:gd name="connsiteX5" fmla="*/ 633794 w 1884425"/>
              <a:gd name="connsiteY5" fmla="*/ 608457 h 784193"/>
              <a:gd name="connsiteX6" fmla="*/ 716566 w 1884425"/>
              <a:gd name="connsiteY6" fmla="*/ 576263 h 784193"/>
              <a:gd name="connsiteX7" fmla="*/ 807815 w 1884425"/>
              <a:gd name="connsiteY7" fmla="*/ 437674 h 784193"/>
              <a:gd name="connsiteX8" fmla="*/ 1061371 w 1884425"/>
              <a:gd name="connsiteY8" fmla="*/ 730091 h 784193"/>
              <a:gd name="connsiteX9" fmla="*/ 1177957 w 1884425"/>
              <a:gd name="connsiteY9" fmla="*/ 719995 h 784193"/>
              <a:gd name="connsiteX10" fmla="*/ 1243870 w 1884425"/>
              <a:gd name="connsiteY10" fmla="*/ 730091 h 784193"/>
              <a:gd name="connsiteX11" fmla="*/ 1341882 w 1884425"/>
              <a:gd name="connsiteY11" fmla="*/ 697992 h 784193"/>
              <a:gd name="connsiteX12" fmla="*/ 1612297 w 1884425"/>
              <a:gd name="connsiteY12" fmla="*/ 784193 h 784193"/>
              <a:gd name="connsiteX13" fmla="*/ 1708690 w 1884425"/>
              <a:gd name="connsiteY13" fmla="*/ 479965 h 784193"/>
              <a:gd name="connsiteX14" fmla="*/ 1772888 w 1884425"/>
              <a:gd name="connsiteY14" fmla="*/ 439388 h 784193"/>
              <a:gd name="connsiteX15" fmla="*/ 1884426 w 1884425"/>
              <a:gd name="connsiteY15" fmla="*/ 616839 h 784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884425" h="784193">
                <a:moveTo>
                  <a:pt x="0" y="0"/>
                </a:moveTo>
                <a:lnTo>
                  <a:pt x="158877" y="170688"/>
                </a:lnTo>
                <a:lnTo>
                  <a:pt x="368427" y="287274"/>
                </a:lnTo>
                <a:lnTo>
                  <a:pt x="461391" y="197739"/>
                </a:lnTo>
                <a:lnTo>
                  <a:pt x="544163" y="444437"/>
                </a:lnTo>
                <a:lnTo>
                  <a:pt x="633794" y="608457"/>
                </a:lnTo>
                <a:lnTo>
                  <a:pt x="716566" y="576263"/>
                </a:lnTo>
                <a:lnTo>
                  <a:pt x="807815" y="437674"/>
                </a:lnTo>
                <a:lnTo>
                  <a:pt x="1061371" y="730091"/>
                </a:lnTo>
                <a:lnTo>
                  <a:pt x="1177957" y="719995"/>
                </a:lnTo>
                <a:lnTo>
                  <a:pt x="1243870" y="730091"/>
                </a:lnTo>
                <a:lnTo>
                  <a:pt x="1341882" y="697992"/>
                </a:lnTo>
                <a:lnTo>
                  <a:pt x="1612297" y="784193"/>
                </a:lnTo>
                <a:lnTo>
                  <a:pt x="1708690" y="479965"/>
                </a:lnTo>
                <a:lnTo>
                  <a:pt x="1772888" y="439388"/>
                </a:lnTo>
                <a:lnTo>
                  <a:pt x="1884426" y="616839"/>
                </a:lnTo>
              </a:path>
            </a:pathLst>
          </a:custGeom>
          <a:noFill/>
          <a:ln w="15875" cap="rnd">
            <a:solidFill>
              <a:schemeClr val="accent1"/>
            </a:solidFill>
            <a:prstDash val="solid"/>
            <a:round/>
          </a:ln>
        </p:spPr>
        <p:txBody>
          <a:bodyPr rtlCol="0" anchor="ctr"/>
          <a:lstStyle/>
          <a:p>
            <a:endParaRPr lang="es-ES_tradnl"/>
          </a:p>
        </p:txBody>
      </p:sp>
      <p:graphicFrame>
        <p:nvGraphicFramePr>
          <p:cNvPr id="446" name="Tabla 445">
            <a:extLst>
              <a:ext uri="{FF2B5EF4-FFF2-40B4-BE49-F238E27FC236}">
                <a16:creationId xmlns:a16="http://schemas.microsoft.com/office/drawing/2014/main" id="{A359A4D3-4BD5-A04E-4A8C-81D9313035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4771423"/>
              </p:ext>
            </p:extLst>
          </p:nvPr>
        </p:nvGraphicFramePr>
        <p:xfrm>
          <a:off x="6308374" y="3005457"/>
          <a:ext cx="2068290" cy="1146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9245">
                  <a:extLst>
                    <a:ext uri="{9D8B030D-6E8A-4147-A177-3AD203B41FA5}">
                      <a16:colId xmlns:a16="http://schemas.microsoft.com/office/drawing/2014/main" val="2202786408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3403546533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3140031670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1213002827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1357182624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2003882556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681817260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2614677528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2301455659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366670210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2917835845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944740296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448098321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2399374149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2889060008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1619638909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494160219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1167778682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1928721330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3102681506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3574345178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714964847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704400084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3860602275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2369864440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493221582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1647483660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1401497376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4006760666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2261235043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3990411515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2814669008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1190401641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1073521462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283357379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2088230085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2516971572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2884474394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3543113646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3345780272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1572157629"/>
                    </a:ext>
                  </a:extLst>
                </a:gridCol>
                <a:gridCol w="49245">
                  <a:extLst>
                    <a:ext uri="{9D8B030D-6E8A-4147-A177-3AD203B41FA5}">
                      <a16:colId xmlns:a16="http://schemas.microsoft.com/office/drawing/2014/main" val="3464036262"/>
                    </a:ext>
                  </a:extLst>
                </a:gridCol>
              </a:tblGrid>
              <a:tr h="114690"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2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3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3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429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3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3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4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4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4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4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5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5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5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5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6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6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6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6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7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7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7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7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8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8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8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8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2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2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2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2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42909" rtl="0" eaLnBrk="1" latinLnBrk="0" hangingPunct="1"/>
                      <a:r>
                        <a:rPr lang="es-ES_tradnl" sz="300" b="0" i="0" kern="1200">
                          <a:solidFill>
                            <a:schemeClr val="dk1"/>
                          </a:solidFill>
                          <a:latin typeface="Pulso" pitchFamily="2" charset="0"/>
                          <a:ea typeface="+mn-ea"/>
                          <a:cs typeface="+mn-cs"/>
                        </a:rPr>
                        <a:t>2023</a:t>
                      </a:r>
                    </a:p>
                  </a:txBody>
                  <a:tcPr marL="0" marR="0" marT="0" marB="0"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7901969"/>
                  </a:ext>
                </a:extLst>
              </a:tr>
            </a:tbl>
          </a:graphicData>
        </a:graphic>
      </p:graphicFrame>
      <p:graphicFrame>
        <p:nvGraphicFramePr>
          <p:cNvPr id="447" name="Tabla 446">
            <a:extLst>
              <a:ext uri="{FF2B5EF4-FFF2-40B4-BE49-F238E27FC236}">
                <a16:creationId xmlns:a16="http://schemas.microsoft.com/office/drawing/2014/main" id="{946FA51A-F759-3F8B-2FAE-648905A35A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3909494"/>
              </p:ext>
            </p:extLst>
          </p:nvPr>
        </p:nvGraphicFramePr>
        <p:xfrm>
          <a:off x="6181231" y="2126648"/>
          <a:ext cx="113614" cy="90606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614">
                  <a:extLst>
                    <a:ext uri="{9D8B030D-6E8A-4147-A177-3AD203B41FA5}">
                      <a16:colId xmlns:a16="http://schemas.microsoft.com/office/drawing/2014/main" val="2384922268"/>
                    </a:ext>
                  </a:extLst>
                </a:gridCol>
              </a:tblGrid>
              <a:tr h="100674">
                <a:tc>
                  <a:txBody>
                    <a:bodyPr/>
                    <a:lstStyle/>
                    <a:p>
                      <a:pPr algn="r"/>
                      <a:r>
                        <a:rPr lang="es-ES_tradnl" sz="500" b="0" i="0">
                          <a:latin typeface="Pulso" pitchFamily="2" charset="0"/>
                        </a:rPr>
                        <a:t>3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8398012"/>
                  </a:ext>
                </a:extLst>
              </a:tr>
              <a:tr h="100674">
                <a:tc>
                  <a:txBody>
                    <a:bodyPr/>
                    <a:lstStyle/>
                    <a:p>
                      <a:pPr algn="r"/>
                      <a:r>
                        <a:rPr lang="es-ES_tradnl" sz="500" b="0" i="0">
                          <a:latin typeface="Pulso" pitchFamily="2" charset="0"/>
                        </a:rPr>
                        <a:t>25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9018554"/>
                  </a:ext>
                </a:extLst>
              </a:tr>
              <a:tr h="100674">
                <a:tc>
                  <a:txBody>
                    <a:bodyPr/>
                    <a:lstStyle/>
                    <a:p>
                      <a:pPr algn="r"/>
                      <a:r>
                        <a:rPr lang="es-ES_tradnl" sz="500" b="0" i="0">
                          <a:latin typeface="Pulso" pitchFamily="2" charset="0"/>
                        </a:rPr>
                        <a:t>2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6192454"/>
                  </a:ext>
                </a:extLst>
              </a:tr>
              <a:tr h="100674">
                <a:tc>
                  <a:txBody>
                    <a:bodyPr/>
                    <a:lstStyle/>
                    <a:p>
                      <a:pPr algn="r"/>
                      <a:r>
                        <a:rPr lang="es-ES_tradnl" sz="500" b="0" i="0">
                          <a:latin typeface="Pulso" pitchFamily="2" charset="0"/>
                        </a:rPr>
                        <a:t>15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9844042"/>
                  </a:ext>
                </a:extLst>
              </a:tr>
              <a:tr h="100674">
                <a:tc>
                  <a:txBody>
                    <a:bodyPr/>
                    <a:lstStyle/>
                    <a:p>
                      <a:pPr algn="r"/>
                      <a:r>
                        <a:rPr lang="es-ES_tradnl" sz="500" b="0" i="0">
                          <a:latin typeface="Pulso" pitchFamily="2" charset="0"/>
                        </a:rPr>
                        <a:t>1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978978"/>
                  </a:ext>
                </a:extLst>
              </a:tr>
              <a:tr h="100674">
                <a:tc>
                  <a:txBody>
                    <a:bodyPr/>
                    <a:lstStyle/>
                    <a:p>
                      <a:pPr algn="r"/>
                      <a:r>
                        <a:rPr lang="es-ES_tradnl" sz="500" b="0" i="0">
                          <a:latin typeface="Pulso" pitchFamily="2" charset="0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8508929"/>
                  </a:ext>
                </a:extLst>
              </a:tr>
              <a:tr h="100674">
                <a:tc>
                  <a:txBody>
                    <a:bodyPr/>
                    <a:lstStyle/>
                    <a:p>
                      <a:pPr algn="r"/>
                      <a:r>
                        <a:rPr lang="es-ES_tradnl" sz="500" b="0" i="0">
                          <a:latin typeface="Pulso" pitchFamily="2" charset="0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1467497"/>
                  </a:ext>
                </a:extLst>
              </a:tr>
              <a:tr h="100674">
                <a:tc>
                  <a:txBody>
                    <a:bodyPr/>
                    <a:lstStyle/>
                    <a:p>
                      <a:pPr algn="r"/>
                      <a:r>
                        <a:rPr lang="es-ES_tradnl" sz="500" b="0" i="0">
                          <a:latin typeface="Pulso" pitchFamily="2" charset="0"/>
                        </a:rPr>
                        <a:t>-5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6392502"/>
                  </a:ext>
                </a:extLst>
              </a:tr>
              <a:tr h="100674">
                <a:tc>
                  <a:txBody>
                    <a:bodyPr/>
                    <a:lstStyle/>
                    <a:p>
                      <a:pPr algn="r"/>
                      <a:r>
                        <a:rPr lang="es-ES_tradnl" sz="500" b="0" i="0">
                          <a:latin typeface="Pulso" pitchFamily="2" charset="0"/>
                        </a:rPr>
                        <a:t>-1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1399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345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3CBC22-A6BC-FA58-FC3A-E8E7945CBB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upo 20">
            <a:extLst>
              <a:ext uri="{FF2B5EF4-FFF2-40B4-BE49-F238E27FC236}">
                <a16:creationId xmlns:a16="http://schemas.microsoft.com/office/drawing/2014/main" id="{C11170AB-8CFD-8A6A-A382-7B3B00025570}"/>
              </a:ext>
            </a:extLst>
          </p:cNvPr>
          <p:cNvGrpSpPr/>
          <p:nvPr/>
        </p:nvGrpSpPr>
        <p:grpSpPr>
          <a:xfrm>
            <a:off x="4798182" y="1971023"/>
            <a:ext cx="1440000" cy="2012288"/>
            <a:chOff x="3357349" y="2090196"/>
            <a:chExt cx="1440000" cy="913820"/>
          </a:xfrm>
        </p:grpSpPr>
        <p:sp>
          <p:nvSpPr>
            <p:cNvPr id="22" name="Redondear rectángulo de esquina del mismo lado 21">
              <a:extLst>
                <a:ext uri="{FF2B5EF4-FFF2-40B4-BE49-F238E27FC236}">
                  <a16:creationId xmlns:a16="http://schemas.microsoft.com/office/drawing/2014/main" id="{797118AE-8542-7846-4BE9-016C7955BFAC}"/>
                </a:ext>
              </a:extLst>
            </p:cNvPr>
            <p:cNvSpPr/>
            <p:nvPr/>
          </p:nvSpPr>
          <p:spPr>
            <a:xfrm>
              <a:off x="3357349" y="2090196"/>
              <a:ext cx="1440000" cy="305714"/>
            </a:xfrm>
            <a:prstGeom prst="round2SameRect">
              <a:avLst>
                <a:gd name="adj1" fmla="val 17931"/>
                <a:gd name="adj2" fmla="val 0"/>
              </a:avLst>
            </a:prstGeom>
            <a:solidFill>
              <a:srgbClr val="0066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AR" sz="1050">
                  <a:solidFill>
                    <a:schemeClr val="bg1"/>
                  </a:solidFill>
                  <a:latin typeface="Pulso" pitchFamily="2" charset="0"/>
                </a:rPr>
                <a:t>9.200</a:t>
              </a:r>
            </a:p>
          </p:txBody>
        </p:sp>
        <p:sp>
          <p:nvSpPr>
            <p:cNvPr id="23" name="Redondear rectángulo de esquina del mismo lado 22">
              <a:extLst>
                <a:ext uri="{FF2B5EF4-FFF2-40B4-BE49-F238E27FC236}">
                  <a16:creationId xmlns:a16="http://schemas.microsoft.com/office/drawing/2014/main" id="{386ABB33-3F51-24FC-1583-20920CB3C752}"/>
                </a:ext>
              </a:extLst>
            </p:cNvPr>
            <p:cNvSpPr/>
            <p:nvPr/>
          </p:nvSpPr>
          <p:spPr>
            <a:xfrm>
              <a:off x="3357349" y="2395859"/>
              <a:ext cx="1440000" cy="608157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2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AR" sz="1050">
                  <a:solidFill>
                    <a:schemeClr val="bg1"/>
                  </a:solidFill>
                  <a:latin typeface="Pulso" pitchFamily="2" charset="0"/>
                </a:rPr>
                <a:t>18.000</a:t>
              </a:r>
            </a:p>
          </p:txBody>
        </p:sp>
      </p:grpSp>
      <p:sp>
        <p:nvSpPr>
          <p:cNvPr id="29" name="Gráfico 16">
            <a:extLst>
              <a:ext uri="{FF2B5EF4-FFF2-40B4-BE49-F238E27FC236}">
                <a16:creationId xmlns:a16="http://schemas.microsoft.com/office/drawing/2014/main" id="{BF5C027E-34B8-B21F-5ED3-6519C98578C4}"/>
              </a:ext>
            </a:extLst>
          </p:cNvPr>
          <p:cNvSpPr/>
          <p:nvPr/>
        </p:nvSpPr>
        <p:spPr>
          <a:xfrm>
            <a:off x="6842488" y="1747737"/>
            <a:ext cx="1263163" cy="982460"/>
          </a:xfrm>
          <a:custGeom>
            <a:avLst/>
            <a:gdLst>
              <a:gd name="connsiteX0" fmla="*/ 0 w 4629150"/>
              <a:gd name="connsiteY0" fmla="*/ 2443163 h 3600450"/>
              <a:gd name="connsiteX1" fmla="*/ 1157288 w 4629150"/>
              <a:gd name="connsiteY1" fmla="*/ 3600450 h 3600450"/>
              <a:gd name="connsiteX2" fmla="*/ 3600450 w 4629150"/>
              <a:gd name="connsiteY2" fmla="*/ 3600450 h 3600450"/>
              <a:gd name="connsiteX3" fmla="*/ 4629150 w 4629150"/>
              <a:gd name="connsiteY3" fmla="*/ 2571750 h 3600450"/>
              <a:gd name="connsiteX4" fmla="*/ 4030415 w 4629150"/>
              <a:gd name="connsiteY4" fmla="*/ 1637080 h 3600450"/>
              <a:gd name="connsiteX5" fmla="*/ 4114800 w 4629150"/>
              <a:gd name="connsiteY5" fmla="*/ 1285875 h 3600450"/>
              <a:gd name="connsiteX6" fmla="*/ 3343275 w 4629150"/>
              <a:gd name="connsiteY6" fmla="*/ 514350 h 3600450"/>
              <a:gd name="connsiteX7" fmla="*/ 2954298 w 4629150"/>
              <a:gd name="connsiteY7" fmla="*/ 619631 h 3600450"/>
              <a:gd name="connsiteX8" fmla="*/ 1928813 w 4629150"/>
              <a:gd name="connsiteY8" fmla="*/ 0 h 3600450"/>
              <a:gd name="connsiteX9" fmla="*/ 771525 w 4629150"/>
              <a:gd name="connsiteY9" fmla="*/ 1157288 h 3600450"/>
              <a:gd name="connsiteX10" fmla="*/ 786795 w 4629150"/>
              <a:gd name="connsiteY10" fmla="*/ 1346150 h 3600450"/>
              <a:gd name="connsiteX11" fmla="*/ 0 w 4629150"/>
              <a:gd name="connsiteY11" fmla="*/ 2443163 h 3600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629150" h="3600450">
                <a:moveTo>
                  <a:pt x="0" y="2443163"/>
                </a:moveTo>
                <a:cubicBezTo>
                  <a:pt x="0" y="3082082"/>
                  <a:pt x="518368" y="3600450"/>
                  <a:pt x="1157288" y="3600450"/>
                </a:cubicBezTo>
                <a:lnTo>
                  <a:pt x="3600450" y="3600450"/>
                </a:lnTo>
                <a:cubicBezTo>
                  <a:pt x="4168646" y="3600450"/>
                  <a:pt x="4629150" y="3139946"/>
                  <a:pt x="4629150" y="2571750"/>
                </a:cubicBezTo>
                <a:cubicBezTo>
                  <a:pt x="4629150" y="2157055"/>
                  <a:pt x="4384030" y="1799421"/>
                  <a:pt x="4030415" y="1637080"/>
                </a:cubicBezTo>
                <a:cubicBezTo>
                  <a:pt x="4084261" y="1531799"/>
                  <a:pt x="4114800" y="1412052"/>
                  <a:pt x="4114800" y="1285875"/>
                </a:cubicBezTo>
                <a:cubicBezTo>
                  <a:pt x="4114800" y="859929"/>
                  <a:pt x="3769221" y="514350"/>
                  <a:pt x="3343275" y="514350"/>
                </a:cubicBezTo>
                <a:cubicBezTo>
                  <a:pt x="3201025" y="514350"/>
                  <a:pt x="3068419" y="552926"/>
                  <a:pt x="2954298" y="619631"/>
                </a:cubicBezTo>
                <a:cubicBezTo>
                  <a:pt x="2760613" y="251549"/>
                  <a:pt x="2374047" y="0"/>
                  <a:pt x="1928813" y="0"/>
                </a:cubicBezTo>
                <a:cubicBezTo>
                  <a:pt x="1289893" y="0"/>
                  <a:pt x="771525" y="518368"/>
                  <a:pt x="771525" y="1157288"/>
                </a:cubicBezTo>
                <a:cubicBezTo>
                  <a:pt x="771525" y="1221581"/>
                  <a:pt x="777151" y="1285071"/>
                  <a:pt x="786795" y="1346150"/>
                </a:cubicBezTo>
                <a:cubicBezTo>
                  <a:pt x="329505" y="1500456"/>
                  <a:pt x="0" y="1933635"/>
                  <a:pt x="0" y="2443163"/>
                </a:cubicBezTo>
                <a:close/>
              </a:path>
            </a:pathLst>
          </a:cu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3" name="Rectángulo redondeado 2">
            <a:extLst>
              <a:ext uri="{FF2B5EF4-FFF2-40B4-BE49-F238E27FC236}">
                <a16:creationId xmlns:a16="http://schemas.microsoft.com/office/drawing/2014/main" id="{EBF26E32-DF25-E522-1884-19DAD61114F0}"/>
              </a:ext>
            </a:extLst>
          </p:cNvPr>
          <p:cNvSpPr/>
          <p:nvPr/>
        </p:nvSpPr>
        <p:spPr>
          <a:xfrm>
            <a:off x="117446" y="4735746"/>
            <a:ext cx="8906400" cy="26868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lvl="0"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  <a:latin typeface="Pulso" pitchFamily="2" charset="0"/>
            </a:endParaRPr>
          </a:p>
        </p:txBody>
      </p:sp>
      <p:grpSp>
        <p:nvGrpSpPr>
          <p:cNvPr id="4" name="Gráfico 3">
            <a:extLst>
              <a:ext uri="{FF2B5EF4-FFF2-40B4-BE49-F238E27FC236}">
                <a16:creationId xmlns:a16="http://schemas.microsoft.com/office/drawing/2014/main" id="{948E953C-C406-FF6A-DEC7-1B5E823D34E0}"/>
              </a:ext>
            </a:extLst>
          </p:cNvPr>
          <p:cNvGrpSpPr/>
          <p:nvPr/>
        </p:nvGrpSpPr>
        <p:grpSpPr>
          <a:xfrm>
            <a:off x="8243851" y="4808412"/>
            <a:ext cx="549475" cy="126054"/>
            <a:chOff x="3835717" y="2907982"/>
            <a:chExt cx="4521517" cy="1037272"/>
          </a:xfrm>
          <a:solidFill>
            <a:schemeClr val="accent2"/>
          </a:solidFill>
        </p:grpSpPr>
        <p:sp>
          <p:nvSpPr>
            <p:cNvPr id="5" name="Forma libre 4">
              <a:extLst>
                <a:ext uri="{FF2B5EF4-FFF2-40B4-BE49-F238E27FC236}">
                  <a16:creationId xmlns:a16="http://schemas.microsoft.com/office/drawing/2014/main" id="{71BEF2AD-D7E1-E39E-148E-E3CDFEB685F6}"/>
                </a:ext>
              </a:extLst>
            </p:cNvPr>
            <p:cNvSpPr/>
            <p:nvPr/>
          </p:nvSpPr>
          <p:spPr>
            <a:xfrm>
              <a:off x="4500562" y="3111817"/>
              <a:ext cx="577215" cy="634365"/>
            </a:xfrm>
            <a:custGeom>
              <a:avLst/>
              <a:gdLst>
                <a:gd name="connsiteX0" fmla="*/ 299085 w 577215"/>
                <a:gd name="connsiteY0" fmla="*/ 0 h 634365"/>
                <a:gd name="connsiteX1" fmla="*/ 86678 w 577215"/>
                <a:gd name="connsiteY1" fmla="*/ 90488 h 634365"/>
                <a:gd name="connsiteX2" fmla="*/ 0 w 577215"/>
                <a:gd name="connsiteY2" fmla="*/ 318135 h 634365"/>
                <a:gd name="connsiteX3" fmla="*/ 83820 w 577215"/>
                <a:gd name="connsiteY3" fmla="*/ 544830 h 634365"/>
                <a:gd name="connsiteX4" fmla="*/ 311467 w 577215"/>
                <a:gd name="connsiteY4" fmla="*/ 634365 h 634365"/>
                <a:gd name="connsiteX5" fmla="*/ 452438 w 577215"/>
                <a:gd name="connsiteY5" fmla="*/ 603885 h 634365"/>
                <a:gd name="connsiteX6" fmla="*/ 565785 w 577215"/>
                <a:gd name="connsiteY6" fmla="*/ 515303 h 634365"/>
                <a:gd name="connsiteX7" fmla="*/ 568643 w 577215"/>
                <a:gd name="connsiteY7" fmla="*/ 511493 h 634365"/>
                <a:gd name="connsiteX8" fmla="*/ 493395 w 577215"/>
                <a:gd name="connsiteY8" fmla="*/ 435293 h 634365"/>
                <a:gd name="connsiteX9" fmla="*/ 489585 w 577215"/>
                <a:gd name="connsiteY9" fmla="*/ 440055 h 634365"/>
                <a:gd name="connsiteX10" fmla="*/ 324803 w 577215"/>
                <a:gd name="connsiteY10" fmla="*/ 514350 h 634365"/>
                <a:gd name="connsiteX11" fmla="*/ 139065 w 577215"/>
                <a:gd name="connsiteY11" fmla="*/ 371475 h 634365"/>
                <a:gd name="connsiteX12" fmla="*/ 576263 w 577215"/>
                <a:gd name="connsiteY12" fmla="*/ 371475 h 634365"/>
                <a:gd name="connsiteX13" fmla="*/ 576263 w 577215"/>
                <a:gd name="connsiteY13" fmla="*/ 366713 h 634365"/>
                <a:gd name="connsiteX14" fmla="*/ 577215 w 577215"/>
                <a:gd name="connsiteY14" fmla="*/ 287655 h 634365"/>
                <a:gd name="connsiteX15" fmla="*/ 503872 w 577215"/>
                <a:gd name="connsiteY15" fmla="*/ 85725 h 634365"/>
                <a:gd name="connsiteX16" fmla="*/ 299085 w 577215"/>
                <a:gd name="connsiteY16" fmla="*/ 0 h 634365"/>
                <a:gd name="connsiteX17" fmla="*/ 137160 w 577215"/>
                <a:gd name="connsiteY17" fmla="*/ 268605 h 634365"/>
                <a:gd name="connsiteX18" fmla="*/ 300990 w 577215"/>
                <a:gd name="connsiteY18" fmla="*/ 125730 h 634365"/>
                <a:gd name="connsiteX19" fmla="*/ 446722 w 577215"/>
                <a:gd name="connsiteY19" fmla="*/ 268605 h 634365"/>
                <a:gd name="connsiteX20" fmla="*/ 137160 w 577215"/>
                <a:gd name="connsiteY20" fmla="*/ 26860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7215" h="634365">
                  <a:moveTo>
                    <a:pt x="299085" y="0"/>
                  </a:moveTo>
                  <a:cubicBezTo>
                    <a:pt x="218122" y="0"/>
                    <a:pt x="142875" y="32385"/>
                    <a:pt x="86678" y="90488"/>
                  </a:cubicBezTo>
                  <a:cubicBezTo>
                    <a:pt x="30480" y="149543"/>
                    <a:pt x="0" y="230505"/>
                    <a:pt x="0" y="318135"/>
                  </a:cubicBezTo>
                  <a:cubicBezTo>
                    <a:pt x="0" y="408623"/>
                    <a:pt x="28575" y="487680"/>
                    <a:pt x="83820" y="544830"/>
                  </a:cubicBezTo>
                  <a:cubicBezTo>
                    <a:pt x="140017" y="603885"/>
                    <a:pt x="219075" y="634365"/>
                    <a:pt x="311467" y="634365"/>
                  </a:cubicBezTo>
                  <a:cubicBezTo>
                    <a:pt x="360045" y="634365"/>
                    <a:pt x="408622" y="623888"/>
                    <a:pt x="452438" y="603885"/>
                  </a:cubicBezTo>
                  <a:cubicBezTo>
                    <a:pt x="497205" y="582930"/>
                    <a:pt x="535305" y="553403"/>
                    <a:pt x="565785" y="515303"/>
                  </a:cubicBezTo>
                  <a:lnTo>
                    <a:pt x="568643" y="511493"/>
                  </a:lnTo>
                  <a:lnTo>
                    <a:pt x="493395" y="435293"/>
                  </a:lnTo>
                  <a:lnTo>
                    <a:pt x="489585" y="440055"/>
                  </a:lnTo>
                  <a:cubicBezTo>
                    <a:pt x="448628" y="487680"/>
                    <a:pt x="388620" y="514350"/>
                    <a:pt x="324803" y="514350"/>
                  </a:cubicBezTo>
                  <a:cubicBezTo>
                    <a:pt x="214313" y="514350"/>
                    <a:pt x="153353" y="467678"/>
                    <a:pt x="139065" y="371475"/>
                  </a:cubicBezTo>
                  <a:lnTo>
                    <a:pt x="576263" y="371475"/>
                  </a:lnTo>
                  <a:lnTo>
                    <a:pt x="576263" y="366713"/>
                  </a:lnTo>
                  <a:cubicBezTo>
                    <a:pt x="577215" y="324803"/>
                    <a:pt x="577215" y="309563"/>
                    <a:pt x="577215" y="287655"/>
                  </a:cubicBezTo>
                  <a:cubicBezTo>
                    <a:pt x="577215" y="210503"/>
                    <a:pt x="551497" y="139065"/>
                    <a:pt x="503872" y="85725"/>
                  </a:cubicBezTo>
                  <a:cubicBezTo>
                    <a:pt x="452438" y="29528"/>
                    <a:pt x="381953" y="0"/>
                    <a:pt x="299085" y="0"/>
                  </a:cubicBezTo>
                  <a:close/>
                  <a:moveTo>
                    <a:pt x="137160" y="268605"/>
                  </a:moveTo>
                  <a:cubicBezTo>
                    <a:pt x="150495" y="172403"/>
                    <a:pt x="204788" y="125730"/>
                    <a:pt x="300990" y="125730"/>
                  </a:cubicBezTo>
                  <a:cubicBezTo>
                    <a:pt x="383858" y="125730"/>
                    <a:pt x="441960" y="182880"/>
                    <a:pt x="446722" y="268605"/>
                  </a:cubicBezTo>
                  <a:lnTo>
                    <a:pt x="137160" y="268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6" name="Forma libre 5">
              <a:extLst>
                <a:ext uri="{FF2B5EF4-FFF2-40B4-BE49-F238E27FC236}">
                  <a16:creationId xmlns:a16="http://schemas.microsoft.com/office/drawing/2014/main" id="{1B0CD26E-0A06-10BC-A3F8-1CAADBDF2214}"/>
                </a:ext>
              </a:extLst>
            </p:cNvPr>
            <p:cNvSpPr/>
            <p:nvPr/>
          </p:nvSpPr>
          <p:spPr>
            <a:xfrm>
              <a:off x="6112192" y="3111817"/>
              <a:ext cx="634364" cy="634365"/>
            </a:xfrm>
            <a:custGeom>
              <a:avLst/>
              <a:gdLst>
                <a:gd name="connsiteX0" fmla="*/ 317182 w 634364"/>
                <a:gd name="connsiteY0" fmla="*/ 0 h 634365"/>
                <a:gd name="connsiteX1" fmla="*/ 0 w 634364"/>
                <a:gd name="connsiteY1" fmla="*/ 317183 h 634365"/>
                <a:gd name="connsiteX2" fmla="*/ 317182 w 634364"/>
                <a:gd name="connsiteY2" fmla="*/ 634365 h 634365"/>
                <a:gd name="connsiteX3" fmla="*/ 634365 w 634364"/>
                <a:gd name="connsiteY3" fmla="*/ 317183 h 634365"/>
                <a:gd name="connsiteX4" fmla="*/ 317182 w 634364"/>
                <a:gd name="connsiteY4" fmla="*/ 0 h 634365"/>
                <a:gd name="connsiteX5" fmla="*/ 317182 w 634364"/>
                <a:gd name="connsiteY5" fmla="*/ 508635 h 634365"/>
                <a:gd name="connsiteX6" fmla="*/ 125730 w 634364"/>
                <a:gd name="connsiteY6" fmla="*/ 317183 h 634365"/>
                <a:gd name="connsiteX7" fmla="*/ 317182 w 634364"/>
                <a:gd name="connsiteY7" fmla="*/ 125730 h 634365"/>
                <a:gd name="connsiteX8" fmla="*/ 508635 w 634364"/>
                <a:gd name="connsiteY8" fmla="*/ 317183 h 634365"/>
                <a:gd name="connsiteX9" fmla="*/ 317182 w 634364"/>
                <a:gd name="connsiteY9" fmla="*/ 508635 h 63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4364" h="634365">
                  <a:moveTo>
                    <a:pt x="317182" y="0"/>
                  </a:moveTo>
                  <a:cubicBezTo>
                    <a:pt x="141922" y="0"/>
                    <a:pt x="0" y="142875"/>
                    <a:pt x="0" y="317183"/>
                  </a:cubicBezTo>
                  <a:cubicBezTo>
                    <a:pt x="0" y="492443"/>
                    <a:pt x="142875" y="634365"/>
                    <a:pt x="317182" y="634365"/>
                  </a:cubicBezTo>
                  <a:cubicBezTo>
                    <a:pt x="492442" y="634365"/>
                    <a:pt x="634365" y="491490"/>
                    <a:pt x="634365" y="317183"/>
                  </a:cubicBezTo>
                  <a:cubicBezTo>
                    <a:pt x="634365" y="141923"/>
                    <a:pt x="492442" y="0"/>
                    <a:pt x="317182" y="0"/>
                  </a:cubicBezTo>
                  <a:close/>
                  <a:moveTo>
                    <a:pt x="317182" y="508635"/>
                  </a:moveTo>
                  <a:cubicBezTo>
                    <a:pt x="211455" y="508635"/>
                    <a:pt x="125730" y="422910"/>
                    <a:pt x="125730" y="317183"/>
                  </a:cubicBezTo>
                  <a:cubicBezTo>
                    <a:pt x="125730" y="211455"/>
                    <a:pt x="211455" y="125730"/>
                    <a:pt x="317182" y="125730"/>
                  </a:cubicBezTo>
                  <a:cubicBezTo>
                    <a:pt x="422910" y="125730"/>
                    <a:pt x="508635" y="211455"/>
                    <a:pt x="508635" y="317183"/>
                  </a:cubicBezTo>
                  <a:cubicBezTo>
                    <a:pt x="508635" y="422910"/>
                    <a:pt x="422910" y="508635"/>
                    <a:pt x="317182" y="5086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E17CDB81-5D3D-6ED1-9B30-41CA287830C1}"/>
                </a:ext>
              </a:extLst>
            </p:cNvPr>
            <p:cNvSpPr/>
            <p:nvPr/>
          </p:nvSpPr>
          <p:spPr>
            <a:xfrm>
              <a:off x="3835717" y="3109912"/>
              <a:ext cx="584835" cy="835342"/>
            </a:xfrm>
            <a:custGeom>
              <a:avLst/>
              <a:gdLst>
                <a:gd name="connsiteX0" fmla="*/ 314325 w 584835"/>
                <a:gd name="connsiteY0" fmla="*/ 0 h 835342"/>
                <a:gd name="connsiteX1" fmla="*/ 114300 w 584835"/>
                <a:gd name="connsiteY1" fmla="*/ 130492 h 835342"/>
                <a:gd name="connsiteX2" fmla="*/ 109538 w 584835"/>
                <a:gd name="connsiteY2" fmla="*/ 130492 h 835342"/>
                <a:gd name="connsiteX3" fmla="*/ 106680 w 584835"/>
                <a:gd name="connsiteY3" fmla="*/ 16192 h 835342"/>
                <a:gd name="connsiteX4" fmla="*/ 0 w 584835"/>
                <a:gd name="connsiteY4" fmla="*/ 16192 h 835342"/>
                <a:gd name="connsiteX5" fmla="*/ 0 w 584835"/>
                <a:gd name="connsiteY5" fmla="*/ 835343 h 835342"/>
                <a:gd name="connsiteX6" fmla="*/ 127635 w 584835"/>
                <a:gd name="connsiteY6" fmla="*/ 835343 h 835342"/>
                <a:gd name="connsiteX7" fmla="*/ 127635 w 584835"/>
                <a:gd name="connsiteY7" fmla="*/ 509588 h 835342"/>
                <a:gd name="connsiteX8" fmla="*/ 131445 w 584835"/>
                <a:gd name="connsiteY8" fmla="*/ 509588 h 835342"/>
                <a:gd name="connsiteX9" fmla="*/ 196215 w 584835"/>
                <a:gd name="connsiteY9" fmla="*/ 596265 h 835342"/>
                <a:gd name="connsiteX10" fmla="*/ 320040 w 584835"/>
                <a:gd name="connsiteY10" fmla="*/ 636270 h 835342"/>
                <a:gd name="connsiteX11" fmla="*/ 508635 w 584835"/>
                <a:gd name="connsiteY11" fmla="*/ 547688 h 835342"/>
                <a:gd name="connsiteX12" fmla="*/ 584835 w 584835"/>
                <a:gd name="connsiteY12" fmla="*/ 317183 h 835342"/>
                <a:gd name="connsiteX13" fmla="*/ 508635 w 584835"/>
                <a:gd name="connsiteY13" fmla="*/ 88583 h 835342"/>
                <a:gd name="connsiteX14" fmla="*/ 314325 w 584835"/>
                <a:gd name="connsiteY14" fmla="*/ 0 h 835342"/>
                <a:gd name="connsiteX15" fmla="*/ 291465 w 584835"/>
                <a:gd name="connsiteY15" fmla="*/ 515303 h 835342"/>
                <a:gd name="connsiteX16" fmla="*/ 172403 w 584835"/>
                <a:gd name="connsiteY16" fmla="*/ 457200 h 835342"/>
                <a:gd name="connsiteX17" fmla="*/ 130493 w 584835"/>
                <a:gd name="connsiteY17" fmla="*/ 320040 h 835342"/>
                <a:gd name="connsiteX18" fmla="*/ 174308 w 584835"/>
                <a:gd name="connsiteY18" fmla="*/ 180023 h 835342"/>
                <a:gd name="connsiteX19" fmla="*/ 295275 w 584835"/>
                <a:gd name="connsiteY19" fmla="*/ 121920 h 835342"/>
                <a:gd name="connsiteX20" fmla="*/ 409575 w 584835"/>
                <a:gd name="connsiteY20" fmla="*/ 177165 h 835342"/>
                <a:gd name="connsiteX21" fmla="*/ 453390 w 584835"/>
                <a:gd name="connsiteY21" fmla="*/ 320992 h 835342"/>
                <a:gd name="connsiteX22" fmla="*/ 291465 w 584835"/>
                <a:gd name="connsiteY22" fmla="*/ 515303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835" h="835342">
                  <a:moveTo>
                    <a:pt x="314325" y="0"/>
                  </a:moveTo>
                  <a:cubicBezTo>
                    <a:pt x="222885" y="0"/>
                    <a:pt x="155258" y="43815"/>
                    <a:pt x="114300" y="130492"/>
                  </a:cubicBezTo>
                  <a:lnTo>
                    <a:pt x="109538" y="130492"/>
                  </a:lnTo>
                  <a:lnTo>
                    <a:pt x="106680" y="16192"/>
                  </a:lnTo>
                  <a:lnTo>
                    <a:pt x="0" y="16192"/>
                  </a:lnTo>
                  <a:lnTo>
                    <a:pt x="0" y="835343"/>
                  </a:lnTo>
                  <a:lnTo>
                    <a:pt x="127635" y="835343"/>
                  </a:lnTo>
                  <a:lnTo>
                    <a:pt x="127635" y="509588"/>
                  </a:lnTo>
                  <a:lnTo>
                    <a:pt x="131445" y="509588"/>
                  </a:lnTo>
                  <a:cubicBezTo>
                    <a:pt x="147638" y="545783"/>
                    <a:pt x="169545" y="575310"/>
                    <a:pt x="196215" y="596265"/>
                  </a:cubicBezTo>
                  <a:cubicBezTo>
                    <a:pt x="230505" y="622935"/>
                    <a:pt x="272415" y="636270"/>
                    <a:pt x="320040" y="636270"/>
                  </a:cubicBezTo>
                  <a:cubicBezTo>
                    <a:pt x="393383" y="636270"/>
                    <a:pt x="460058" y="604838"/>
                    <a:pt x="508635" y="547688"/>
                  </a:cubicBezTo>
                  <a:cubicBezTo>
                    <a:pt x="558165" y="489585"/>
                    <a:pt x="584835" y="407670"/>
                    <a:pt x="584835" y="317183"/>
                  </a:cubicBezTo>
                  <a:cubicBezTo>
                    <a:pt x="584835" y="227648"/>
                    <a:pt x="557213" y="145733"/>
                    <a:pt x="508635" y="88583"/>
                  </a:cubicBezTo>
                  <a:cubicBezTo>
                    <a:pt x="460058" y="32385"/>
                    <a:pt x="390525" y="0"/>
                    <a:pt x="314325" y="0"/>
                  </a:cubicBezTo>
                  <a:close/>
                  <a:moveTo>
                    <a:pt x="291465" y="515303"/>
                  </a:moveTo>
                  <a:cubicBezTo>
                    <a:pt x="242888" y="515303"/>
                    <a:pt x="200978" y="495300"/>
                    <a:pt x="172403" y="457200"/>
                  </a:cubicBezTo>
                  <a:cubicBezTo>
                    <a:pt x="145733" y="421958"/>
                    <a:pt x="130493" y="373380"/>
                    <a:pt x="130493" y="320040"/>
                  </a:cubicBezTo>
                  <a:cubicBezTo>
                    <a:pt x="130493" y="265748"/>
                    <a:pt x="145733" y="216217"/>
                    <a:pt x="174308" y="180023"/>
                  </a:cubicBezTo>
                  <a:cubicBezTo>
                    <a:pt x="203835" y="141923"/>
                    <a:pt x="245745" y="121920"/>
                    <a:pt x="295275" y="121920"/>
                  </a:cubicBezTo>
                  <a:cubicBezTo>
                    <a:pt x="340995" y="121920"/>
                    <a:pt x="381000" y="140970"/>
                    <a:pt x="409575" y="177165"/>
                  </a:cubicBezTo>
                  <a:cubicBezTo>
                    <a:pt x="438150" y="213360"/>
                    <a:pt x="453390" y="262890"/>
                    <a:pt x="453390" y="320992"/>
                  </a:cubicBezTo>
                  <a:cubicBezTo>
                    <a:pt x="452438" y="437198"/>
                    <a:pt x="387668" y="515303"/>
                    <a:pt x="291465" y="5153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844957FD-80A0-42E3-4847-7335DBE8C5D9}"/>
                </a:ext>
              </a:extLst>
            </p:cNvPr>
            <p:cNvSpPr/>
            <p:nvPr/>
          </p:nvSpPr>
          <p:spPr>
            <a:xfrm>
              <a:off x="5178742" y="3127057"/>
              <a:ext cx="320992" cy="603884"/>
            </a:xfrm>
            <a:custGeom>
              <a:avLst/>
              <a:gdLst>
                <a:gd name="connsiteX0" fmla="*/ 120967 w 320992"/>
                <a:gd name="connsiteY0" fmla="*/ 109538 h 603884"/>
                <a:gd name="connsiteX1" fmla="*/ 117158 w 320992"/>
                <a:gd name="connsiteY1" fmla="*/ 109538 h 603884"/>
                <a:gd name="connsiteX2" fmla="*/ 109538 w 320992"/>
                <a:gd name="connsiteY2" fmla="*/ 952 h 603884"/>
                <a:gd name="connsiteX3" fmla="*/ 0 w 320992"/>
                <a:gd name="connsiteY3" fmla="*/ 952 h 603884"/>
                <a:gd name="connsiteX4" fmla="*/ 0 w 320992"/>
                <a:gd name="connsiteY4" fmla="*/ 603885 h 603884"/>
                <a:gd name="connsiteX5" fmla="*/ 130492 w 320992"/>
                <a:gd name="connsiteY5" fmla="*/ 603885 h 603884"/>
                <a:gd name="connsiteX6" fmla="*/ 130492 w 320992"/>
                <a:gd name="connsiteY6" fmla="*/ 255270 h 603884"/>
                <a:gd name="connsiteX7" fmla="*/ 237173 w 320992"/>
                <a:gd name="connsiteY7" fmla="*/ 141922 h 603884"/>
                <a:gd name="connsiteX8" fmla="*/ 320992 w 320992"/>
                <a:gd name="connsiteY8" fmla="*/ 141922 h 603884"/>
                <a:gd name="connsiteX9" fmla="*/ 320992 w 320992"/>
                <a:gd name="connsiteY9" fmla="*/ 0 h 603884"/>
                <a:gd name="connsiteX10" fmla="*/ 279083 w 320992"/>
                <a:gd name="connsiteY10" fmla="*/ 0 h 603884"/>
                <a:gd name="connsiteX11" fmla="*/ 120967 w 320992"/>
                <a:gd name="connsiteY11" fmla="*/ 109538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92" h="603884">
                  <a:moveTo>
                    <a:pt x="120967" y="109538"/>
                  </a:moveTo>
                  <a:lnTo>
                    <a:pt x="117158" y="109538"/>
                  </a:lnTo>
                  <a:lnTo>
                    <a:pt x="109538" y="952"/>
                  </a:lnTo>
                  <a:lnTo>
                    <a:pt x="0" y="952"/>
                  </a:lnTo>
                  <a:lnTo>
                    <a:pt x="0" y="603885"/>
                  </a:lnTo>
                  <a:lnTo>
                    <a:pt x="130492" y="603885"/>
                  </a:lnTo>
                  <a:lnTo>
                    <a:pt x="130492" y="255270"/>
                  </a:lnTo>
                  <a:cubicBezTo>
                    <a:pt x="130492" y="176213"/>
                    <a:pt x="162878" y="141922"/>
                    <a:pt x="237173" y="141922"/>
                  </a:cubicBezTo>
                  <a:lnTo>
                    <a:pt x="320992" y="141922"/>
                  </a:lnTo>
                  <a:lnTo>
                    <a:pt x="320992" y="0"/>
                  </a:lnTo>
                  <a:lnTo>
                    <a:pt x="279083" y="0"/>
                  </a:lnTo>
                  <a:cubicBezTo>
                    <a:pt x="195263" y="0"/>
                    <a:pt x="142875" y="36195"/>
                    <a:pt x="120967" y="109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D93FB8D3-0439-3D5B-D032-735B32DBE1D5}"/>
                </a:ext>
              </a:extLst>
            </p:cNvPr>
            <p:cNvSpPr/>
            <p:nvPr/>
          </p:nvSpPr>
          <p:spPr>
            <a:xfrm>
              <a:off x="5528309" y="3108960"/>
              <a:ext cx="519112" cy="635317"/>
            </a:xfrm>
            <a:custGeom>
              <a:avLst/>
              <a:gdLst>
                <a:gd name="connsiteX0" fmla="*/ 263843 w 519112"/>
                <a:gd name="connsiteY0" fmla="*/ 102870 h 635317"/>
                <a:gd name="connsiteX1" fmla="*/ 415290 w 519112"/>
                <a:gd name="connsiteY1" fmla="*/ 206692 h 635317"/>
                <a:gd name="connsiteX2" fmla="*/ 417195 w 519112"/>
                <a:gd name="connsiteY2" fmla="*/ 211455 h 635317"/>
                <a:gd name="connsiteX3" fmla="*/ 519113 w 519112"/>
                <a:gd name="connsiteY3" fmla="*/ 173355 h 635317"/>
                <a:gd name="connsiteX4" fmla="*/ 517208 w 519112"/>
                <a:gd name="connsiteY4" fmla="*/ 168592 h 635317"/>
                <a:gd name="connsiteX5" fmla="*/ 421005 w 519112"/>
                <a:gd name="connsiteY5" fmla="*/ 43815 h 635317"/>
                <a:gd name="connsiteX6" fmla="*/ 266700 w 519112"/>
                <a:gd name="connsiteY6" fmla="*/ 0 h 635317"/>
                <a:gd name="connsiteX7" fmla="*/ 118110 w 519112"/>
                <a:gd name="connsiteY7" fmla="*/ 49530 h 635317"/>
                <a:gd name="connsiteX8" fmla="*/ 49530 w 519112"/>
                <a:gd name="connsiteY8" fmla="*/ 186690 h 635317"/>
                <a:gd name="connsiteX9" fmla="*/ 104775 w 519112"/>
                <a:gd name="connsiteY9" fmla="*/ 313373 h 635317"/>
                <a:gd name="connsiteX10" fmla="*/ 239078 w 519112"/>
                <a:gd name="connsiteY10" fmla="*/ 377190 h 635317"/>
                <a:gd name="connsiteX11" fmla="*/ 252413 w 519112"/>
                <a:gd name="connsiteY11" fmla="*/ 380048 h 635317"/>
                <a:gd name="connsiteX12" fmla="*/ 347663 w 519112"/>
                <a:gd name="connsiteY12" fmla="*/ 407670 h 635317"/>
                <a:gd name="connsiteX13" fmla="*/ 385763 w 519112"/>
                <a:gd name="connsiteY13" fmla="*/ 461010 h 635317"/>
                <a:gd name="connsiteX14" fmla="*/ 274320 w 519112"/>
                <a:gd name="connsiteY14" fmla="*/ 528638 h 635317"/>
                <a:gd name="connsiteX15" fmla="*/ 97155 w 519112"/>
                <a:gd name="connsiteY15" fmla="*/ 426720 h 635317"/>
                <a:gd name="connsiteX16" fmla="*/ 94298 w 519112"/>
                <a:gd name="connsiteY16" fmla="*/ 421957 h 635317"/>
                <a:gd name="connsiteX17" fmla="*/ 0 w 519112"/>
                <a:gd name="connsiteY17" fmla="*/ 473392 h 635317"/>
                <a:gd name="connsiteX18" fmla="*/ 1905 w 519112"/>
                <a:gd name="connsiteY18" fmla="*/ 478155 h 635317"/>
                <a:gd name="connsiteX19" fmla="*/ 107633 w 519112"/>
                <a:gd name="connsiteY19" fmla="*/ 593407 h 635317"/>
                <a:gd name="connsiteX20" fmla="*/ 273368 w 519112"/>
                <a:gd name="connsiteY20" fmla="*/ 635318 h 635317"/>
                <a:gd name="connsiteX21" fmla="*/ 441960 w 519112"/>
                <a:gd name="connsiteY21" fmla="*/ 589598 h 635317"/>
                <a:gd name="connsiteX22" fmla="*/ 515303 w 519112"/>
                <a:gd name="connsiteY22" fmla="*/ 457200 h 635317"/>
                <a:gd name="connsiteX23" fmla="*/ 450533 w 519112"/>
                <a:gd name="connsiteY23" fmla="*/ 334328 h 635317"/>
                <a:gd name="connsiteX24" fmla="*/ 310515 w 519112"/>
                <a:gd name="connsiteY24" fmla="*/ 278130 h 635317"/>
                <a:gd name="connsiteX25" fmla="*/ 166688 w 519112"/>
                <a:gd name="connsiteY25" fmla="*/ 179070 h 635317"/>
                <a:gd name="connsiteX26" fmla="*/ 263843 w 519112"/>
                <a:gd name="connsiteY26" fmla="*/ 102870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112" h="635317">
                  <a:moveTo>
                    <a:pt x="263843" y="102870"/>
                  </a:moveTo>
                  <a:cubicBezTo>
                    <a:pt x="335280" y="102870"/>
                    <a:pt x="390525" y="140970"/>
                    <a:pt x="415290" y="206692"/>
                  </a:cubicBezTo>
                  <a:lnTo>
                    <a:pt x="417195" y="211455"/>
                  </a:lnTo>
                  <a:lnTo>
                    <a:pt x="519113" y="173355"/>
                  </a:lnTo>
                  <a:lnTo>
                    <a:pt x="517208" y="168592"/>
                  </a:lnTo>
                  <a:cubicBezTo>
                    <a:pt x="495300" y="115252"/>
                    <a:pt x="462915" y="73342"/>
                    <a:pt x="421005" y="43815"/>
                  </a:cubicBezTo>
                  <a:cubicBezTo>
                    <a:pt x="378143" y="14288"/>
                    <a:pt x="325755" y="0"/>
                    <a:pt x="266700" y="0"/>
                  </a:cubicBezTo>
                  <a:cubicBezTo>
                    <a:pt x="212408" y="0"/>
                    <a:pt x="158115" y="18098"/>
                    <a:pt x="118110" y="49530"/>
                  </a:cubicBezTo>
                  <a:cubicBezTo>
                    <a:pt x="74295" y="83820"/>
                    <a:pt x="49530" y="133350"/>
                    <a:pt x="49530" y="186690"/>
                  </a:cubicBezTo>
                  <a:cubicBezTo>
                    <a:pt x="49530" y="238125"/>
                    <a:pt x="68580" y="280988"/>
                    <a:pt x="104775" y="313373"/>
                  </a:cubicBezTo>
                  <a:cubicBezTo>
                    <a:pt x="136208" y="340995"/>
                    <a:pt x="180022" y="361950"/>
                    <a:pt x="239078" y="377190"/>
                  </a:cubicBezTo>
                  <a:cubicBezTo>
                    <a:pt x="243840" y="378142"/>
                    <a:pt x="247650" y="379095"/>
                    <a:pt x="252413" y="380048"/>
                  </a:cubicBezTo>
                  <a:cubicBezTo>
                    <a:pt x="288608" y="387667"/>
                    <a:pt x="322897" y="395288"/>
                    <a:pt x="347663" y="407670"/>
                  </a:cubicBezTo>
                  <a:cubicBezTo>
                    <a:pt x="373380" y="421005"/>
                    <a:pt x="385763" y="437198"/>
                    <a:pt x="385763" y="461010"/>
                  </a:cubicBezTo>
                  <a:cubicBezTo>
                    <a:pt x="385763" y="507682"/>
                    <a:pt x="329565" y="528638"/>
                    <a:pt x="274320" y="528638"/>
                  </a:cubicBezTo>
                  <a:cubicBezTo>
                    <a:pt x="200978" y="528638"/>
                    <a:pt x="133350" y="489585"/>
                    <a:pt x="97155" y="426720"/>
                  </a:cubicBezTo>
                  <a:lnTo>
                    <a:pt x="94298" y="421957"/>
                  </a:lnTo>
                  <a:lnTo>
                    <a:pt x="0" y="473392"/>
                  </a:lnTo>
                  <a:lnTo>
                    <a:pt x="1905" y="478155"/>
                  </a:lnTo>
                  <a:cubicBezTo>
                    <a:pt x="23813" y="525780"/>
                    <a:pt x="60960" y="565785"/>
                    <a:pt x="107633" y="593407"/>
                  </a:cubicBezTo>
                  <a:cubicBezTo>
                    <a:pt x="155258" y="621030"/>
                    <a:pt x="212408" y="635318"/>
                    <a:pt x="273368" y="635318"/>
                  </a:cubicBezTo>
                  <a:cubicBezTo>
                    <a:pt x="339090" y="635318"/>
                    <a:pt x="398145" y="619125"/>
                    <a:pt x="441960" y="589598"/>
                  </a:cubicBezTo>
                  <a:cubicBezTo>
                    <a:pt x="489585" y="557213"/>
                    <a:pt x="515303" y="511492"/>
                    <a:pt x="515303" y="457200"/>
                  </a:cubicBezTo>
                  <a:cubicBezTo>
                    <a:pt x="516255" y="405765"/>
                    <a:pt x="494347" y="364807"/>
                    <a:pt x="450533" y="334328"/>
                  </a:cubicBezTo>
                  <a:cubicBezTo>
                    <a:pt x="409575" y="305753"/>
                    <a:pt x="354330" y="288607"/>
                    <a:pt x="310515" y="278130"/>
                  </a:cubicBezTo>
                  <a:cubicBezTo>
                    <a:pt x="242888" y="259080"/>
                    <a:pt x="166688" y="238125"/>
                    <a:pt x="166688" y="179070"/>
                  </a:cubicBezTo>
                  <a:cubicBezTo>
                    <a:pt x="168593" y="141923"/>
                    <a:pt x="203835" y="102870"/>
                    <a:pt x="263843" y="102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B81BA795-0F9C-6257-2B7F-4BD5D1BD9642}"/>
                </a:ext>
              </a:extLst>
            </p:cNvPr>
            <p:cNvSpPr/>
            <p:nvPr/>
          </p:nvSpPr>
          <p:spPr>
            <a:xfrm>
              <a:off x="6831330" y="3111817"/>
              <a:ext cx="528637" cy="620077"/>
            </a:xfrm>
            <a:custGeom>
              <a:avLst/>
              <a:gdLst>
                <a:gd name="connsiteX0" fmla="*/ 325755 w 528637"/>
                <a:gd name="connsiteY0" fmla="*/ 0 h 620077"/>
                <a:gd name="connsiteX1" fmla="*/ 201930 w 528637"/>
                <a:gd name="connsiteY1" fmla="*/ 39053 h 620077"/>
                <a:gd name="connsiteX2" fmla="*/ 126682 w 528637"/>
                <a:gd name="connsiteY2" fmla="*/ 130493 h 620077"/>
                <a:gd name="connsiteX3" fmla="*/ 120967 w 528637"/>
                <a:gd name="connsiteY3" fmla="*/ 130493 h 620077"/>
                <a:gd name="connsiteX4" fmla="*/ 120967 w 528637"/>
                <a:gd name="connsiteY4" fmla="*/ 16193 h 620077"/>
                <a:gd name="connsiteX5" fmla="*/ 0 w 528637"/>
                <a:gd name="connsiteY5" fmla="*/ 16193 h 620077"/>
                <a:gd name="connsiteX6" fmla="*/ 0 w 528637"/>
                <a:gd name="connsiteY6" fmla="*/ 619125 h 620077"/>
                <a:gd name="connsiteX7" fmla="*/ 131445 w 528637"/>
                <a:gd name="connsiteY7" fmla="*/ 619125 h 620077"/>
                <a:gd name="connsiteX8" fmla="*/ 131445 w 528637"/>
                <a:gd name="connsiteY8" fmla="*/ 282893 h 620077"/>
                <a:gd name="connsiteX9" fmla="*/ 166688 w 528637"/>
                <a:gd name="connsiteY9" fmla="*/ 179070 h 620077"/>
                <a:gd name="connsiteX10" fmla="*/ 282892 w 528637"/>
                <a:gd name="connsiteY10" fmla="*/ 114300 h 620077"/>
                <a:gd name="connsiteX11" fmla="*/ 371475 w 528637"/>
                <a:gd name="connsiteY11" fmla="*/ 150495 h 620077"/>
                <a:gd name="connsiteX12" fmla="*/ 398145 w 528637"/>
                <a:gd name="connsiteY12" fmla="*/ 258128 h 620077"/>
                <a:gd name="connsiteX13" fmla="*/ 398145 w 528637"/>
                <a:gd name="connsiteY13" fmla="*/ 620078 h 620077"/>
                <a:gd name="connsiteX14" fmla="*/ 528638 w 528637"/>
                <a:gd name="connsiteY14" fmla="*/ 620078 h 620077"/>
                <a:gd name="connsiteX15" fmla="*/ 528638 w 528637"/>
                <a:gd name="connsiteY15" fmla="*/ 240983 h 620077"/>
                <a:gd name="connsiteX16" fmla="*/ 477202 w 528637"/>
                <a:gd name="connsiteY16" fmla="*/ 64770 h 620077"/>
                <a:gd name="connsiteX17" fmla="*/ 325755 w 528637"/>
                <a:gd name="connsiteY17" fmla="*/ 0 h 62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637" h="620077">
                  <a:moveTo>
                    <a:pt x="325755" y="0"/>
                  </a:moveTo>
                  <a:cubicBezTo>
                    <a:pt x="280035" y="0"/>
                    <a:pt x="237172" y="13335"/>
                    <a:pt x="201930" y="39053"/>
                  </a:cubicBezTo>
                  <a:cubicBezTo>
                    <a:pt x="169545" y="61913"/>
                    <a:pt x="143827" y="93345"/>
                    <a:pt x="126682" y="130493"/>
                  </a:cubicBezTo>
                  <a:lnTo>
                    <a:pt x="120967" y="130493"/>
                  </a:lnTo>
                  <a:lnTo>
                    <a:pt x="120967" y="16193"/>
                  </a:lnTo>
                  <a:lnTo>
                    <a:pt x="0" y="16193"/>
                  </a:lnTo>
                  <a:lnTo>
                    <a:pt x="0" y="619125"/>
                  </a:lnTo>
                  <a:lnTo>
                    <a:pt x="131445" y="619125"/>
                  </a:lnTo>
                  <a:lnTo>
                    <a:pt x="131445" y="282893"/>
                  </a:lnTo>
                  <a:cubicBezTo>
                    <a:pt x="131445" y="257175"/>
                    <a:pt x="141922" y="215265"/>
                    <a:pt x="166688" y="179070"/>
                  </a:cubicBezTo>
                  <a:cubicBezTo>
                    <a:pt x="186690" y="149543"/>
                    <a:pt x="222885" y="114300"/>
                    <a:pt x="282892" y="114300"/>
                  </a:cubicBezTo>
                  <a:cubicBezTo>
                    <a:pt x="323850" y="114300"/>
                    <a:pt x="352425" y="125730"/>
                    <a:pt x="371475" y="150495"/>
                  </a:cubicBezTo>
                  <a:cubicBezTo>
                    <a:pt x="389572" y="174308"/>
                    <a:pt x="398145" y="208598"/>
                    <a:pt x="398145" y="258128"/>
                  </a:cubicBezTo>
                  <a:lnTo>
                    <a:pt x="398145" y="620078"/>
                  </a:lnTo>
                  <a:lnTo>
                    <a:pt x="528638" y="620078"/>
                  </a:lnTo>
                  <a:lnTo>
                    <a:pt x="528638" y="240983"/>
                  </a:lnTo>
                  <a:cubicBezTo>
                    <a:pt x="528638" y="165735"/>
                    <a:pt x="511492" y="106680"/>
                    <a:pt x="477202" y="64770"/>
                  </a:cubicBezTo>
                  <a:cubicBezTo>
                    <a:pt x="442913" y="21908"/>
                    <a:pt x="391477" y="0"/>
                    <a:pt x="32575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1" name="Forma libre 10">
              <a:extLst>
                <a:ext uri="{FF2B5EF4-FFF2-40B4-BE49-F238E27FC236}">
                  <a16:creationId xmlns:a16="http://schemas.microsoft.com/office/drawing/2014/main" id="{0481FC7C-24DD-35B4-E832-1256F773461A}"/>
                </a:ext>
              </a:extLst>
            </p:cNvPr>
            <p:cNvSpPr/>
            <p:nvPr/>
          </p:nvSpPr>
          <p:spPr>
            <a:xfrm>
              <a:off x="7456169" y="3110864"/>
              <a:ext cx="580072" cy="634364"/>
            </a:xfrm>
            <a:custGeom>
              <a:avLst/>
              <a:gdLst>
                <a:gd name="connsiteX0" fmla="*/ 519113 w 580072"/>
                <a:gd name="connsiteY0" fmla="*/ 501015 h 634364"/>
                <a:gd name="connsiteX1" fmla="*/ 519113 w 580072"/>
                <a:gd name="connsiteY1" fmla="*/ 229552 h 634364"/>
                <a:gd name="connsiteX2" fmla="*/ 457200 w 580072"/>
                <a:gd name="connsiteY2" fmla="*/ 64770 h 634364"/>
                <a:gd name="connsiteX3" fmla="*/ 281940 w 580072"/>
                <a:gd name="connsiteY3" fmla="*/ 0 h 634364"/>
                <a:gd name="connsiteX4" fmla="*/ 5715 w 580072"/>
                <a:gd name="connsiteY4" fmla="*/ 180975 h 634364"/>
                <a:gd name="connsiteX5" fmla="*/ 3810 w 580072"/>
                <a:gd name="connsiteY5" fmla="*/ 185738 h 634364"/>
                <a:gd name="connsiteX6" fmla="*/ 117158 w 580072"/>
                <a:gd name="connsiteY6" fmla="*/ 239077 h 634364"/>
                <a:gd name="connsiteX7" fmla="*/ 119063 w 580072"/>
                <a:gd name="connsiteY7" fmla="*/ 234315 h 634364"/>
                <a:gd name="connsiteX8" fmla="*/ 270510 w 580072"/>
                <a:gd name="connsiteY8" fmla="*/ 121920 h 634364"/>
                <a:gd name="connsiteX9" fmla="*/ 387668 w 580072"/>
                <a:gd name="connsiteY9" fmla="*/ 225743 h 634364"/>
                <a:gd name="connsiteX10" fmla="*/ 387668 w 580072"/>
                <a:gd name="connsiteY10" fmla="*/ 268605 h 634364"/>
                <a:gd name="connsiteX11" fmla="*/ 249555 w 580072"/>
                <a:gd name="connsiteY11" fmla="*/ 268605 h 634364"/>
                <a:gd name="connsiteX12" fmla="*/ 0 w 580072"/>
                <a:gd name="connsiteY12" fmla="*/ 461963 h 634364"/>
                <a:gd name="connsiteX13" fmla="*/ 56198 w 580072"/>
                <a:gd name="connsiteY13" fmla="*/ 588645 h 634364"/>
                <a:gd name="connsiteX14" fmla="*/ 191453 w 580072"/>
                <a:gd name="connsiteY14" fmla="*/ 634365 h 634364"/>
                <a:gd name="connsiteX15" fmla="*/ 324803 w 580072"/>
                <a:gd name="connsiteY15" fmla="*/ 593407 h 634364"/>
                <a:gd name="connsiteX16" fmla="*/ 406718 w 580072"/>
                <a:gd name="connsiteY16" fmla="*/ 495300 h 634364"/>
                <a:gd name="connsiteX17" fmla="*/ 411480 w 580072"/>
                <a:gd name="connsiteY17" fmla="*/ 495300 h 634364"/>
                <a:gd name="connsiteX18" fmla="*/ 410528 w 580072"/>
                <a:gd name="connsiteY18" fmla="*/ 527685 h 634364"/>
                <a:gd name="connsiteX19" fmla="*/ 495300 w 580072"/>
                <a:gd name="connsiteY19" fmla="*/ 619125 h 634364"/>
                <a:gd name="connsiteX20" fmla="*/ 580073 w 580072"/>
                <a:gd name="connsiteY20" fmla="*/ 619125 h 634364"/>
                <a:gd name="connsiteX21" fmla="*/ 580073 w 580072"/>
                <a:gd name="connsiteY21" fmla="*/ 516255 h 634364"/>
                <a:gd name="connsiteX22" fmla="*/ 529590 w 580072"/>
                <a:gd name="connsiteY22" fmla="*/ 516255 h 634364"/>
                <a:gd name="connsiteX23" fmla="*/ 519113 w 580072"/>
                <a:gd name="connsiteY23" fmla="*/ 501015 h 634364"/>
                <a:gd name="connsiteX24" fmla="*/ 325755 w 580072"/>
                <a:gd name="connsiteY24" fmla="*/ 476250 h 634364"/>
                <a:gd name="connsiteX25" fmla="*/ 227648 w 580072"/>
                <a:gd name="connsiteY25" fmla="*/ 517208 h 634364"/>
                <a:gd name="connsiteX26" fmla="*/ 160973 w 580072"/>
                <a:gd name="connsiteY26" fmla="*/ 500063 h 634364"/>
                <a:gd name="connsiteX27" fmla="*/ 134303 w 580072"/>
                <a:gd name="connsiteY27" fmla="*/ 453390 h 634364"/>
                <a:gd name="connsiteX28" fmla="*/ 180023 w 580072"/>
                <a:gd name="connsiteY28" fmla="*/ 395288 h 634364"/>
                <a:gd name="connsiteX29" fmla="*/ 292418 w 580072"/>
                <a:gd name="connsiteY29" fmla="*/ 377190 h 634364"/>
                <a:gd name="connsiteX30" fmla="*/ 388620 w 580072"/>
                <a:gd name="connsiteY30" fmla="*/ 377190 h 634364"/>
                <a:gd name="connsiteX31" fmla="*/ 325755 w 580072"/>
                <a:gd name="connsiteY31" fmla="*/ 476250 h 6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80072" h="634364">
                  <a:moveTo>
                    <a:pt x="519113" y="501015"/>
                  </a:moveTo>
                  <a:lnTo>
                    <a:pt x="519113" y="229552"/>
                  </a:lnTo>
                  <a:cubicBezTo>
                    <a:pt x="519113" y="162877"/>
                    <a:pt x="498158" y="105727"/>
                    <a:pt x="457200" y="64770"/>
                  </a:cubicBezTo>
                  <a:cubicBezTo>
                    <a:pt x="415290" y="22860"/>
                    <a:pt x="355283" y="0"/>
                    <a:pt x="281940" y="0"/>
                  </a:cubicBezTo>
                  <a:cubicBezTo>
                    <a:pt x="151448" y="0"/>
                    <a:pt x="60960" y="59055"/>
                    <a:pt x="5715" y="180975"/>
                  </a:cubicBezTo>
                  <a:lnTo>
                    <a:pt x="3810" y="185738"/>
                  </a:lnTo>
                  <a:lnTo>
                    <a:pt x="117158" y="239077"/>
                  </a:lnTo>
                  <a:lnTo>
                    <a:pt x="119063" y="234315"/>
                  </a:lnTo>
                  <a:cubicBezTo>
                    <a:pt x="150495" y="167640"/>
                    <a:pt x="211455" y="121920"/>
                    <a:pt x="270510" y="121920"/>
                  </a:cubicBezTo>
                  <a:cubicBezTo>
                    <a:pt x="337185" y="121920"/>
                    <a:pt x="387668" y="166688"/>
                    <a:pt x="387668" y="225743"/>
                  </a:cubicBezTo>
                  <a:lnTo>
                    <a:pt x="387668" y="268605"/>
                  </a:lnTo>
                  <a:lnTo>
                    <a:pt x="249555" y="268605"/>
                  </a:lnTo>
                  <a:cubicBezTo>
                    <a:pt x="95250" y="268605"/>
                    <a:pt x="0" y="342900"/>
                    <a:pt x="0" y="461963"/>
                  </a:cubicBezTo>
                  <a:cubicBezTo>
                    <a:pt x="0" y="513398"/>
                    <a:pt x="19050" y="558165"/>
                    <a:pt x="56198" y="588645"/>
                  </a:cubicBezTo>
                  <a:cubicBezTo>
                    <a:pt x="90488" y="618173"/>
                    <a:pt x="138113" y="634365"/>
                    <a:pt x="191453" y="634365"/>
                  </a:cubicBezTo>
                  <a:cubicBezTo>
                    <a:pt x="240030" y="634365"/>
                    <a:pt x="286703" y="620078"/>
                    <a:pt x="324803" y="593407"/>
                  </a:cubicBezTo>
                  <a:cubicBezTo>
                    <a:pt x="360045" y="569595"/>
                    <a:pt x="387668" y="535305"/>
                    <a:pt x="406718" y="495300"/>
                  </a:cubicBezTo>
                  <a:lnTo>
                    <a:pt x="411480" y="495300"/>
                  </a:lnTo>
                  <a:lnTo>
                    <a:pt x="410528" y="527685"/>
                  </a:lnTo>
                  <a:cubicBezTo>
                    <a:pt x="410528" y="587693"/>
                    <a:pt x="440055" y="619125"/>
                    <a:pt x="495300" y="619125"/>
                  </a:cubicBezTo>
                  <a:lnTo>
                    <a:pt x="580073" y="619125"/>
                  </a:lnTo>
                  <a:lnTo>
                    <a:pt x="580073" y="516255"/>
                  </a:lnTo>
                  <a:lnTo>
                    <a:pt x="529590" y="516255"/>
                  </a:lnTo>
                  <a:cubicBezTo>
                    <a:pt x="521018" y="517208"/>
                    <a:pt x="519113" y="508635"/>
                    <a:pt x="519113" y="501015"/>
                  </a:cubicBezTo>
                  <a:close/>
                  <a:moveTo>
                    <a:pt x="325755" y="476250"/>
                  </a:moveTo>
                  <a:cubicBezTo>
                    <a:pt x="294323" y="501015"/>
                    <a:pt x="255270" y="517208"/>
                    <a:pt x="227648" y="517208"/>
                  </a:cubicBezTo>
                  <a:cubicBezTo>
                    <a:pt x="201930" y="517208"/>
                    <a:pt x="178118" y="511493"/>
                    <a:pt x="160973" y="500063"/>
                  </a:cubicBezTo>
                  <a:cubicBezTo>
                    <a:pt x="142875" y="488633"/>
                    <a:pt x="134303" y="472440"/>
                    <a:pt x="134303" y="453390"/>
                  </a:cubicBezTo>
                  <a:cubicBezTo>
                    <a:pt x="134303" y="427673"/>
                    <a:pt x="149543" y="408623"/>
                    <a:pt x="180023" y="395288"/>
                  </a:cubicBezTo>
                  <a:cubicBezTo>
                    <a:pt x="207645" y="382905"/>
                    <a:pt x="246698" y="377190"/>
                    <a:pt x="292418" y="377190"/>
                  </a:cubicBezTo>
                  <a:lnTo>
                    <a:pt x="388620" y="377190"/>
                  </a:lnTo>
                  <a:cubicBezTo>
                    <a:pt x="382905" y="413385"/>
                    <a:pt x="360998" y="448628"/>
                    <a:pt x="325755" y="476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2" name="Forma libre 11">
              <a:extLst>
                <a:ext uri="{FF2B5EF4-FFF2-40B4-BE49-F238E27FC236}">
                  <a16:creationId xmlns:a16="http://schemas.microsoft.com/office/drawing/2014/main" id="{A923AB22-AFCA-4E7E-D0F4-28D3883FB172}"/>
                </a:ext>
              </a:extLst>
            </p:cNvPr>
            <p:cNvSpPr/>
            <p:nvPr/>
          </p:nvSpPr>
          <p:spPr>
            <a:xfrm>
              <a:off x="8123872" y="2907982"/>
              <a:ext cx="233362" cy="823912"/>
            </a:xfrm>
            <a:custGeom>
              <a:avLst/>
              <a:gdLst>
                <a:gd name="connsiteX0" fmla="*/ 147638 w 233362"/>
                <a:gd name="connsiteY0" fmla="*/ 705803 h 823912"/>
                <a:gd name="connsiteX1" fmla="*/ 134302 w 233362"/>
                <a:gd name="connsiteY1" fmla="*/ 701993 h 823912"/>
                <a:gd name="connsiteX2" fmla="*/ 130492 w 233362"/>
                <a:gd name="connsiteY2" fmla="*/ 681990 h 823912"/>
                <a:gd name="connsiteX3" fmla="*/ 130492 w 233362"/>
                <a:gd name="connsiteY3" fmla="*/ 0 h 823912"/>
                <a:gd name="connsiteX4" fmla="*/ 0 w 233362"/>
                <a:gd name="connsiteY4" fmla="*/ 0 h 823912"/>
                <a:gd name="connsiteX5" fmla="*/ 0 w 233362"/>
                <a:gd name="connsiteY5" fmla="*/ 688658 h 823912"/>
                <a:gd name="connsiteX6" fmla="*/ 27622 w 233362"/>
                <a:gd name="connsiteY6" fmla="*/ 789623 h 823912"/>
                <a:gd name="connsiteX7" fmla="*/ 107632 w 233362"/>
                <a:gd name="connsiteY7" fmla="*/ 823913 h 823912"/>
                <a:gd name="connsiteX8" fmla="*/ 233363 w 233362"/>
                <a:gd name="connsiteY8" fmla="*/ 823913 h 823912"/>
                <a:gd name="connsiteX9" fmla="*/ 233363 w 233362"/>
                <a:gd name="connsiteY9" fmla="*/ 705803 h 823912"/>
                <a:gd name="connsiteX10" fmla="*/ 147638 w 233362"/>
                <a:gd name="connsiteY10" fmla="*/ 705803 h 82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362" h="823912">
                  <a:moveTo>
                    <a:pt x="147638" y="705803"/>
                  </a:moveTo>
                  <a:cubicBezTo>
                    <a:pt x="138113" y="705803"/>
                    <a:pt x="135255" y="703898"/>
                    <a:pt x="134302" y="701993"/>
                  </a:cubicBezTo>
                  <a:cubicBezTo>
                    <a:pt x="132397" y="699135"/>
                    <a:pt x="130492" y="692468"/>
                    <a:pt x="130492" y="681990"/>
                  </a:cubicBezTo>
                  <a:lnTo>
                    <a:pt x="130492" y="0"/>
                  </a:lnTo>
                  <a:lnTo>
                    <a:pt x="0" y="0"/>
                  </a:lnTo>
                  <a:lnTo>
                    <a:pt x="0" y="688658"/>
                  </a:lnTo>
                  <a:cubicBezTo>
                    <a:pt x="0" y="733425"/>
                    <a:pt x="9525" y="766763"/>
                    <a:pt x="27622" y="789623"/>
                  </a:cubicBezTo>
                  <a:cubicBezTo>
                    <a:pt x="45720" y="812483"/>
                    <a:pt x="72390" y="823913"/>
                    <a:pt x="107632" y="823913"/>
                  </a:cubicBezTo>
                  <a:lnTo>
                    <a:pt x="233363" y="823913"/>
                  </a:lnTo>
                  <a:lnTo>
                    <a:pt x="233363" y="705803"/>
                  </a:lnTo>
                  <a:lnTo>
                    <a:pt x="147638" y="705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13" name="Rectángulo 12">
            <a:extLst>
              <a:ext uri="{FF2B5EF4-FFF2-40B4-BE49-F238E27FC236}">
                <a16:creationId xmlns:a16="http://schemas.microsoft.com/office/drawing/2014/main" id="{A8AF57A8-14A0-6E7F-B4A1-9D6862BE843F}"/>
              </a:ext>
            </a:extLst>
          </p:cNvPr>
          <p:cNvSpPr/>
          <p:nvPr/>
        </p:nvSpPr>
        <p:spPr>
          <a:xfrm>
            <a:off x="257485" y="4831799"/>
            <a:ext cx="1163588" cy="1046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s-ES_tradnl" sz="800" b="0" i="0" spc="-7" noProof="0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Estrategia</a:t>
            </a:r>
            <a:r>
              <a:rPr lang="es-ES_tradnl" sz="800" b="0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  </a:t>
            </a:r>
            <a:r>
              <a: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2026  ·  2030</a:t>
            </a:r>
            <a:endParaRPr lang="es-ES_tradnl" sz="800" b="1" i="0" spc="-7" noProof="0">
              <a:solidFill>
                <a:schemeClr val="tx2"/>
              </a:solidFill>
              <a:latin typeface="Pulso" pitchFamily="2" charset="0"/>
              <a:ea typeface="Inter Extra Bold" panose="020B050203000000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EE022F-C72D-0100-1107-D2783F62BBA2}"/>
              </a:ext>
            </a:extLst>
          </p:cNvPr>
          <p:cNvSpPr txBox="1">
            <a:spLocks/>
          </p:cNvSpPr>
          <p:nvPr/>
        </p:nvSpPr>
        <p:spPr>
          <a:xfrm>
            <a:off x="3300180" y="736723"/>
            <a:ext cx="2543645" cy="361446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ts val="2800"/>
              </a:lnSpc>
            </a:pPr>
            <a:r>
              <a:rPr lang="es-ES_tradnl" sz="2800" b="0">
                <a:solidFill>
                  <a:schemeClr val="bg2"/>
                </a:solidFill>
                <a:latin typeface="Pulso Light"/>
              </a:rPr>
              <a:t>Desafío de </a:t>
            </a:r>
            <a:r>
              <a:rPr lang="es-ES_tradnl" sz="2800" b="0" err="1">
                <a:solidFill>
                  <a:schemeClr val="bg2"/>
                </a:solidFill>
                <a:latin typeface="Pulso Light"/>
              </a:rPr>
              <a:t>Sizing</a:t>
            </a:r>
            <a:endParaRPr lang="es-ES_tradnl" sz="2800" b="0" noProof="0" err="1">
              <a:solidFill>
                <a:schemeClr val="bg2"/>
              </a:solidFill>
              <a:latin typeface="Pulso Light"/>
            </a:endParaRPr>
          </a:p>
        </p:txBody>
      </p:sp>
      <p:sp>
        <p:nvSpPr>
          <p:cNvPr id="15" name="Redondear rectángulo de esquina del mismo lado 14">
            <a:extLst>
              <a:ext uri="{FF2B5EF4-FFF2-40B4-BE49-F238E27FC236}">
                <a16:creationId xmlns:a16="http://schemas.microsoft.com/office/drawing/2014/main" id="{D3D30B5E-9FEC-6406-FF9A-BF8CF05742CA}"/>
              </a:ext>
            </a:extLst>
          </p:cNvPr>
          <p:cNvSpPr/>
          <p:nvPr/>
        </p:nvSpPr>
        <p:spPr>
          <a:xfrm>
            <a:off x="886404" y="2053710"/>
            <a:ext cx="1440000" cy="1929600"/>
          </a:xfrm>
          <a:prstGeom prst="round2SameRect">
            <a:avLst>
              <a:gd name="adj1" fmla="val 6829"/>
              <a:gd name="adj2" fmla="val 0"/>
            </a:avLst>
          </a:prstGeom>
          <a:solidFill>
            <a:schemeClr val="bg2"/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1000"/>
              </a:spcBef>
            </a:pPr>
            <a:endParaRPr lang="es-AR" sz="1400">
              <a:solidFill>
                <a:schemeClr val="bg1"/>
              </a:solidFill>
              <a:latin typeface="Pulso" pitchFamily="2" charset="0"/>
            </a:endParaRP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C210E62D-285C-211A-F33E-C518B51324D4}"/>
              </a:ext>
            </a:extLst>
          </p:cNvPr>
          <p:cNvSpPr txBox="1">
            <a:spLocks/>
          </p:cNvSpPr>
          <p:nvPr/>
        </p:nvSpPr>
        <p:spPr>
          <a:xfrm>
            <a:off x="1409234" y="3998991"/>
            <a:ext cx="394339" cy="315408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ts val="2800"/>
              </a:lnSpc>
            </a:pPr>
            <a:r>
              <a:rPr lang="es-ES_tradnl" sz="1400" b="0" spc="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2017</a:t>
            </a: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A132B428-254A-C905-059D-E2B44157AD07}"/>
              </a:ext>
            </a:extLst>
          </p:cNvPr>
          <p:cNvSpPr txBox="1">
            <a:spLocks/>
          </p:cNvSpPr>
          <p:nvPr/>
        </p:nvSpPr>
        <p:spPr>
          <a:xfrm>
            <a:off x="3340220" y="4012189"/>
            <a:ext cx="436017" cy="315406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ts val="2800"/>
              </a:lnSpc>
            </a:pPr>
            <a:r>
              <a:rPr lang="es-ES_tradnl" sz="1400" b="0" spc="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2024</a:t>
            </a: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6B4061A2-2B60-FF4F-332D-90C61CDE6034}"/>
              </a:ext>
            </a:extLst>
          </p:cNvPr>
          <p:cNvSpPr txBox="1">
            <a:spLocks/>
          </p:cNvSpPr>
          <p:nvPr/>
        </p:nvSpPr>
        <p:spPr>
          <a:xfrm>
            <a:off x="7259268" y="4012189"/>
            <a:ext cx="429605" cy="315408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ts val="2800"/>
              </a:lnSpc>
            </a:pPr>
            <a:r>
              <a:rPr lang="es-ES_tradnl" sz="1400" b="0" spc="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2030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50BBF79-B587-C119-2FB8-71A2B5D8400A}"/>
              </a:ext>
            </a:extLst>
          </p:cNvPr>
          <p:cNvSpPr txBox="1">
            <a:spLocks/>
          </p:cNvSpPr>
          <p:nvPr/>
        </p:nvSpPr>
        <p:spPr>
          <a:xfrm>
            <a:off x="5321851" y="4012189"/>
            <a:ext cx="429605" cy="315406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ts val="2800"/>
              </a:lnSpc>
            </a:pPr>
            <a:r>
              <a:rPr lang="es-ES_tradnl" sz="1400" b="0" spc="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2025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62A5FDA7-12B0-8719-6783-2885D73FB63A}"/>
              </a:ext>
            </a:extLst>
          </p:cNvPr>
          <p:cNvSpPr txBox="1"/>
          <p:nvPr/>
        </p:nvSpPr>
        <p:spPr>
          <a:xfrm>
            <a:off x="7036451" y="2420042"/>
            <a:ext cx="875240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s-AR" sz="110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</a:rPr>
              <a:t>Desafío 2030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77F2BEFC-F330-5E94-4E18-42F1122D0F5D}"/>
              </a:ext>
            </a:extLst>
          </p:cNvPr>
          <p:cNvSpPr txBox="1"/>
          <p:nvPr/>
        </p:nvSpPr>
        <p:spPr>
          <a:xfrm>
            <a:off x="1274020" y="1713921"/>
            <a:ext cx="61875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s-AR" sz="140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</a:rPr>
              <a:t>26.400</a:t>
            </a:r>
            <a:endParaRPr lang="es-AR" sz="900">
              <a:solidFill>
                <a:schemeClr val="tx2">
                  <a:lumMod val="75000"/>
                  <a:lumOff val="25000"/>
                </a:schemeClr>
              </a:solidFill>
              <a:latin typeface="Pulso" pitchFamily="2" charset="0"/>
            </a:endParaRPr>
          </a:p>
        </p:txBody>
      </p: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id="{29A83EF3-1431-2125-9755-3D756F9722CB}"/>
              </a:ext>
            </a:extLst>
          </p:cNvPr>
          <p:cNvCxnSpPr>
            <a:cxnSpLocks/>
            <a:endCxn id="22" idx="3"/>
          </p:cNvCxnSpPr>
          <p:nvPr/>
        </p:nvCxnSpPr>
        <p:spPr>
          <a:xfrm flipH="1" flipV="1">
            <a:off x="5518182" y="1971023"/>
            <a:ext cx="1955889" cy="225494"/>
          </a:xfrm>
          <a:prstGeom prst="line">
            <a:avLst/>
          </a:prstGeom>
          <a:ln w="22225" cap="rnd">
            <a:gradFill>
              <a:gsLst>
                <a:gs pos="100000">
                  <a:schemeClr val="tx2"/>
                </a:gs>
                <a:gs pos="0">
                  <a:schemeClr val="accent1"/>
                </a:gs>
              </a:gsLst>
              <a:lin ang="5400000" scaled="1"/>
            </a:gradFill>
            <a:prstDash val="dash"/>
            <a:headEnd type="triangle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CuadroTexto 53">
            <a:extLst>
              <a:ext uri="{FF2B5EF4-FFF2-40B4-BE49-F238E27FC236}">
                <a16:creationId xmlns:a16="http://schemas.microsoft.com/office/drawing/2014/main" id="{B98681B1-CA38-CA51-FB43-12C40CBE879C}"/>
              </a:ext>
            </a:extLst>
          </p:cNvPr>
          <p:cNvSpPr txBox="1"/>
          <p:nvPr/>
        </p:nvSpPr>
        <p:spPr>
          <a:xfrm>
            <a:off x="3259805" y="1458749"/>
            <a:ext cx="60433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s-AR" sz="140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</a:rPr>
              <a:t>29.700</a:t>
            </a:r>
            <a:endParaRPr lang="es-AR" sz="900">
              <a:solidFill>
                <a:schemeClr val="tx2">
                  <a:lumMod val="75000"/>
                  <a:lumOff val="25000"/>
                </a:schemeClr>
              </a:solidFill>
              <a:latin typeface="Pulso" pitchFamily="2" charset="0"/>
            </a:endParaRPr>
          </a:p>
        </p:txBody>
      </p:sp>
      <p:sp>
        <p:nvSpPr>
          <p:cNvPr id="55" name="CuadroTexto 54">
            <a:extLst>
              <a:ext uri="{FF2B5EF4-FFF2-40B4-BE49-F238E27FC236}">
                <a16:creationId xmlns:a16="http://schemas.microsoft.com/office/drawing/2014/main" id="{062891E4-7388-52CC-A27E-9ABBCA658BC9}"/>
              </a:ext>
            </a:extLst>
          </p:cNvPr>
          <p:cNvSpPr txBox="1"/>
          <p:nvPr/>
        </p:nvSpPr>
        <p:spPr>
          <a:xfrm>
            <a:off x="5230121" y="1624072"/>
            <a:ext cx="57612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s-AR" sz="140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</a:rPr>
              <a:t>27.200</a:t>
            </a:r>
            <a:endParaRPr lang="es-AR" sz="900">
              <a:solidFill>
                <a:schemeClr val="tx2">
                  <a:lumMod val="75000"/>
                  <a:lumOff val="25000"/>
                </a:schemeClr>
              </a:solidFill>
              <a:latin typeface="Pulso" pitchFamily="2" charset="0"/>
            </a:endParaRPr>
          </a:p>
        </p:txBody>
      </p:sp>
      <p:grpSp>
        <p:nvGrpSpPr>
          <p:cNvPr id="19" name="Grupo 18">
            <a:extLst>
              <a:ext uri="{FF2B5EF4-FFF2-40B4-BE49-F238E27FC236}">
                <a16:creationId xmlns:a16="http://schemas.microsoft.com/office/drawing/2014/main" id="{5B5C6F6A-3CA0-5D00-6C3D-5CB81EC29167}"/>
              </a:ext>
            </a:extLst>
          </p:cNvPr>
          <p:cNvGrpSpPr/>
          <p:nvPr/>
        </p:nvGrpSpPr>
        <p:grpSpPr>
          <a:xfrm>
            <a:off x="2842382" y="1812508"/>
            <a:ext cx="1440000" cy="2170802"/>
            <a:chOff x="3357349" y="2081409"/>
            <a:chExt cx="1440000" cy="985804"/>
          </a:xfrm>
        </p:grpSpPr>
        <p:sp>
          <p:nvSpPr>
            <p:cNvPr id="24" name="Redondear rectángulo de esquina del mismo lado 23">
              <a:extLst>
                <a:ext uri="{FF2B5EF4-FFF2-40B4-BE49-F238E27FC236}">
                  <a16:creationId xmlns:a16="http://schemas.microsoft.com/office/drawing/2014/main" id="{731D8EC4-2347-B625-BCEA-264D884BB537}"/>
                </a:ext>
              </a:extLst>
            </p:cNvPr>
            <p:cNvSpPr/>
            <p:nvPr/>
          </p:nvSpPr>
          <p:spPr>
            <a:xfrm>
              <a:off x="3357349" y="2081409"/>
              <a:ext cx="1440000" cy="341680"/>
            </a:xfrm>
            <a:prstGeom prst="round2SameRect">
              <a:avLst>
                <a:gd name="adj1" fmla="val 17931"/>
                <a:gd name="adj2" fmla="val 0"/>
              </a:avLst>
            </a:prstGeom>
            <a:solidFill>
              <a:srgbClr val="0066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AR" sz="1050">
                  <a:solidFill>
                    <a:schemeClr val="bg1"/>
                  </a:solidFill>
                  <a:latin typeface="Pulso" pitchFamily="2" charset="0"/>
                </a:rPr>
                <a:t>10.300</a:t>
              </a:r>
            </a:p>
          </p:txBody>
        </p:sp>
        <p:sp>
          <p:nvSpPr>
            <p:cNvPr id="26" name="Redondear rectángulo de esquina del mismo lado 25">
              <a:extLst>
                <a:ext uri="{FF2B5EF4-FFF2-40B4-BE49-F238E27FC236}">
                  <a16:creationId xmlns:a16="http://schemas.microsoft.com/office/drawing/2014/main" id="{7D66EFCD-9590-F0FA-BC44-E62E04D42FC5}"/>
                </a:ext>
              </a:extLst>
            </p:cNvPr>
            <p:cNvSpPr/>
            <p:nvPr/>
          </p:nvSpPr>
          <p:spPr>
            <a:xfrm>
              <a:off x="3357349" y="2423089"/>
              <a:ext cx="1440000" cy="644124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2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s-AR" sz="1050">
                  <a:solidFill>
                    <a:schemeClr val="bg1"/>
                  </a:solidFill>
                  <a:latin typeface="Pulso" pitchFamily="2" charset="0"/>
                </a:rPr>
                <a:t>19.400</a:t>
              </a:r>
            </a:p>
          </p:txBody>
        </p:sp>
      </p:grp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7BC683D0-E6E1-CAEB-22B8-138DF4E5A2D2}"/>
              </a:ext>
            </a:extLst>
          </p:cNvPr>
          <p:cNvCxnSpPr>
            <a:cxnSpLocks/>
          </p:cNvCxnSpPr>
          <p:nvPr/>
        </p:nvCxnSpPr>
        <p:spPr>
          <a:xfrm>
            <a:off x="641122" y="3991150"/>
            <a:ext cx="7861756" cy="0"/>
          </a:xfrm>
          <a:prstGeom prst="line">
            <a:avLst/>
          </a:prstGeom>
          <a:ln w="19050" cap="rnd">
            <a:solidFill>
              <a:schemeClr val="bg1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upo 52">
            <a:extLst>
              <a:ext uri="{FF2B5EF4-FFF2-40B4-BE49-F238E27FC236}">
                <a16:creationId xmlns:a16="http://schemas.microsoft.com/office/drawing/2014/main" id="{C07B9B82-D9B7-463F-818B-BA5390B3C9A8}"/>
              </a:ext>
            </a:extLst>
          </p:cNvPr>
          <p:cNvGrpSpPr/>
          <p:nvPr/>
        </p:nvGrpSpPr>
        <p:grpSpPr>
          <a:xfrm>
            <a:off x="6416297" y="4482012"/>
            <a:ext cx="2241926" cy="123111"/>
            <a:chOff x="6416297" y="4482012"/>
            <a:chExt cx="2241926" cy="123111"/>
          </a:xfrm>
        </p:grpSpPr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1946E6FF-EBE8-6FAF-14AD-F9BB6203B475}"/>
                </a:ext>
              </a:extLst>
            </p:cNvPr>
            <p:cNvSpPr/>
            <p:nvPr/>
          </p:nvSpPr>
          <p:spPr>
            <a:xfrm>
              <a:off x="6416297" y="4488640"/>
              <a:ext cx="94032" cy="94033"/>
            </a:xfrm>
            <a:prstGeom prst="ellipse">
              <a:avLst/>
            </a:prstGeom>
            <a:solidFill>
              <a:schemeClr val="accent2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AR" sz="1200" b="1">
                <a:solidFill>
                  <a:schemeClr val="tx1"/>
                </a:solidFill>
              </a:endParaRPr>
            </a:p>
          </p:txBody>
        </p:sp>
        <p:sp>
          <p:nvSpPr>
            <p:cNvPr id="33" name="Elipse 32">
              <a:extLst>
                <a:ext uri="{FF2B5EF4-FFF2-40B4-BE49-F238E27FC236}">
                  <a16:creationId xmlns:a16="http://schemas.microsoft.com/office/drawing/2014/main" id="{2BA431E2-36B1-BB8A-2910-D787C2717070}"/>
                </a:ext>
              </a:extLst>
            </p:cNvPr>
            <p:cNvSpPr/>
            <p:nvPr/>
          </p:nvSpPr>
          <p:spPr>
            <a:xfrm>
              <a:off x="7599480" y="4490614"/>
              <a:ext cx="94032" cy="94033"/>
            </a:xfrm>
            <a:prstGeom prst="ellipse">
              <a:avLst/>
            </a:prstGeom>
            <a:solidFill>
              <a:srgbClr val="0066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AR" sz="1200" b="1">
                <a:solidFill>
                  <a:schemeClr val="tx1"/>
                </a:solidFill>
              </a:endParaRPr>
            </a:p>
          </p:txBody>
        </p:sp>
        <p:sp>
          <p:nvSpPr>
            <p:cNvPr id="34" name="CuadroTexto 33">
              <a:extLst>
                <a:ext uri="{FF2B5EF4-FFF2-40B4-BE49-F238E27FC236}">
                  <a16:creationId xmlns:a16="http://schemas.microsoft.com/office/drawing/2014/main" id="{60422211-3C8C-ADB1-6CB1-B2906806FF4F}"/>
                </a:ext>
              </a:extLst>
            </p:cNvPr>
            <p:cNvSpPr txBox="1"/>
            <p:nvPr/>
          </p:nvSpPr>
          <p:spPr>
            <a:xfrm>
              <a:off x="6505691" y="4482012"/>
              <a:ext cx="980571" cy="123111"/>
            </a:xfrm>
            <a:prstGeom prst="rect">
              <a:avLst/>
            </a:prstGeom>
            <a:noFill/>
          </p:spPr>
          <p:txBody>
            <a:bodyPr wrap="none" lIns="72000" tIns="0" rIns="72000" bIns="0" rtlCol="0">
              <a:spAutoFit/>
            </a:bodyPr>
            <a:lstStyle/>
            <a:p>
              <a:r>
                <a:rPr lang="es-AR" sz="800">
                  <a:solidFill>
                    <a:schemeClr val="tx2"/>
                  </a:solidFill>
                  <a:latin typeface="Pulso Light" pitchFamily="2" charset="0"/>
                </a:rPr>
                <a:t>Dotación Personal</a:t>
              </a:r>
            </a:p>
          </p:txBody>
        </p:sp>
        <p:sp>
          <p:nvSpPr>
            <p:cNvPr id="35" name="CuadroTexto 34">
              <a:extLst>
                <a:ext uri="{FF2B5EF4-FFF2-40B4-BE49-F238E27FC236}">
                  <a16:creationId xmlns:a16="http://schemas.microsoft.com/office/drawing/2014/main" id="{4F6D1CE5-7A0F-D078-25B9-4734F22CDB6A}"/>
                </a:ext>
              </a:extLst>
            </p:cNvPr>
            <p:cNvSpPr txBox="1"/>
            <p:nvPr/>
          </p:nvSpPr>
          <p:spPr>
            <a:xfrm>
              <a:off x="7688873" y="4482012"/>
              <a:ext cx="969350" cy="123111"/>
            </a:xfrm>
            <a:prstGeom prst="rect">
              <a:avLst/>
            </a:prstGeom>
            <a:noFill/>
          </p:spPr>
          <p:txBody>
            <a:bodyPr wrap="none" lIns="72000" tIns="0" rIns="72000" bIns="0" rtlCol="0">
              <a:spAutoFit/>
            </a:bodyPr>
            <a:lstStyle/>
            <a:p>
              <a:r>
                <a:rPr lang="es-AR" sz="800">
                  <a:solidFill>
                    <a:schemeClr val="tx2"/>
                  </a:solidFill>
                  <a:latin typeface="Pulso Light" pitchFamily="2" charset="0"/>
                </a:rPr>
                <a:t>Dotación Movistar</a:t>
              </a:r>
            </a:p>
          </p:txBody>
        </p:sp>
      </p:grp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0BFF6DA8-66EA-C86B-8185-20B7DC12C271}"/>
              </a:ext>
            </a:extLst>
          </p:cNvPr>
          <p:cNvCxnSpPr>
            <a:cxnSpLocks/>
            <a:stCxn id="24" idx="3"/>
            <a:endCxn id="15" idx="3"/>
          </p:cNvCxnSpPr>
          <p:nvPr/>
        </p:nvCxnSpPr>
        <p:spPr>
          <a:xfrm flipH="1">
            <a:off x="1606404" y="1812508"/>
            <a:ext cx="1955978" cy="241202"/>
          </a:xfrm>
          <a:prstGeom prst="line">
            <a:avLst/>
          </a:prstGeom>
          <a:ln w="22225" cap="rnd">
            <a:solidFill>
              <a:schemeClr val="tx2"/>
            </a:solidFill>
            <a:prstDash val="solid"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 recto 45">
            <a:extLst>
              <a:ext uri="{FF2B5EF4-FFF2-40B4-BE49-F238E27FC236}">
                <a16:creationId xmlns:a16="http://schemas.microsoft.com/office/drawing/2014/main" id="{B98F7832-DB3A-5870-7FC8-7B13189E7C00}"/>
              </a:ext>
            </a:extLst>
          </p:cNvPr>
          <p:cNvCxnSpPr>
            <a:cxnSpLocks/>
            <a:stCxn id="24" idx="3"/>
          </p:cNvCxnSpPr>
          <p:nvPr/>
        </p:nvCxnSpPr>
        <p:spPr>
          <a:xfrm>
            <a:off x="3562382" y="1812508"/>
            <a:ext cx="1955800" cy="158515"/>
          </a:xfrm>
          <a:prstGeom prst="line">
            <a:avLst/>
          </a:prstGeom>
          <a:ln w="22225" cap="rnd">
            <a:solidFill>
              <a:schemeClr val="tx2"/>
            </a:solidFill>
            <a:prstDash val="solid"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9606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hink-cell data - do not delete" hidden="1">
            <a:extLst>
              <a:ext uri="{FF2B5EF4-FFF2-40B4-BE49-F238E27FC236}">
                <a16:creationId xmlns:a16="http://schemas.microsoft.com/office/drawing/2014/main" id="{73AE307B-FF02-6D3B-D44D-682BA127C2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9705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9" progId="TCLayout.ActiveDocument.1">
                  <p:embed/>
                </p:oleObj>
              </mc:Choice>
              <mc:Fallback>
                <p:oleObj name="Diapositiva de think-cell" r:id="rId4" imgW="378" imgH="379" progId="TCLayout.ActiveDocument.1">
                  <p:embed/>
                  <p:pic>
                    <p:nvPicPr>
                      <p:cNvPr id="2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AE307B-FF02-6D3B-D44D-682BA127C2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uadroTexto 1">
            <a:extLst>
              <a:ext uri="{FF2B5EF4-FFF2-40B4-BE49-F238E27FC236}">
                <a16:creationId xmlns:a16="http://schemas.microsoft.com/office/drawing/2014/main" id="{767B0550-540A-062A-2981-5205E60A93A8}"/>
              </a:ext>
            </a:extLst>
          </p:cNvPr>
          <p:cNvSpPr txBox="1"/>
          <p:nvPr/>
        </p:nvSpPr>
        <p:spPr>
          <a:xfrm>
            <a:off x="635888" y="1459676"/>
            <a:ext cx="168914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42951">
              <a:defRPr/>
            </a:pPr>
            <a:r>
              <a:rPr lang="es-AR" sz="1000" b="1" kern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 Medium" panose="02000000000000000000" pitchFamily="2" charset="0"/>
              </a:rPr>
              <a:t>Plataformas</a:t>
            </a:r>
            <a:endParaRPr lang="es-AR" sz="800" b="1" kern="0">
              <a:solidFill>
                <a:schemeClr val="tx2">
                  <a:lumMod val="75000"/>
                  <a:lumOff val="25000"/>
                </a:schemeClr>
              </a:solidFill>
              <a:latin typeface="Pulso" pitchFamily="2" charset="0"/>
              <a:ea typeface="Roboto Medium" panose="02000000000000000000" pitchFamily="2" charset="0"/>
            </a:endParaRPr>
          </a:p>
          <a:p>
            <a:pPr algn="ctr" defTabSz="642951">
              <a:defRPr/>
            </a:pPr>
            <a:r>
              <a:rPr lang="es-AR" sz="800" spc="-8">
                <a:solidFill>
                  <a:schemeClr val="tx2"/>
                </a:solidFill>
                <a:latin typeface="Pulso" pitchFamily="2" charset="0"/>
                <a:ea typeface="Inter Extra Bold" panose="020B0502030000000004" pitchFamily="34" charset="0"/>
              </a:rPr>
              <a:t>2026 | 2030</a:t>
            </a:r>
            <a:endParaRPr lang="es-AR" sz="800" kern="0">
              <a:solidFill>
                <a:schemeClr val="tx2"/>
              </a:solidFill>
              <a:latin typeface="Pulso" pitchFamily="2" charset="0"/>
              <a:ea typeface="Roboto Medium" panose="02000000000000000000" pitchFamily="2" charset="0"/>
              <a:cs typeface="+mn-cs"/>
            </a:endParaRPr>
          </a:p>
        </p:txBody>
      </p:sp>
      <p:sp>
        <p:nvSpPr>
          <p:cNvPr id="3" name="Rectángulo: esquinas redondeadas 1">
            <a:extLst>
              <a:ext uri="{FF2B5EF4-FFF2-40B4-BE49-F238E27FC236}">
                <a16:creationId xmlns:a16="http://schemas.microsoft.com/office/drawing/2014/main" id="{8B883590-065F-363E-3121-69F31DB34960}"/>
              </a:ext>
            </a:extLst>
          </p:cNvPr>
          <p:cNvSpPr/>
          <p:nvPr/>
        </p:nvSpPr>
        <p:spPr>
          <a:xfrm>
            <a:off x="635889" y="3450983"/>
            <a:ext cx="555588" cy="773192"/>
          </a:xfrm>
          <a:prstGeom prst="roundRect">
            <a:avLst>
              <a:gd name="adj" fmla="val 4986"/>
            </a:avLst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050" b="1">
                <a:solidFill>
                  <a:prstClr val="white"/>
                </a:solidFill>
                <a:latin typeface="Pulso" pitchFamily="2" charset="0"/>
                <a:ea typeface="Roboto" panose="02000000000000000000" pitchFamily="2" charset="0"/>
              </a:rPr>
              <a:t>Back END</a:t>
            </a:r>
          </a:p>
        </p:txBody>
      </p:sp>
      <p:sp>
        <p:nvSpPr>
          <p:cNvPr id="4" name="Rectángulo: esquinas redondeadas 43">
            <a:extLst>
              <a:ext uri="{FF2B5EF4-FFF2-40B4-BE49-F238E27FC236}">
                <a16:creationId xmlns:a16="http://schemas.microsoft.com/office/drawing/2014/main" id="{4A47E42D-C96C-7259-E050-60213E978492}"/>
              </a:ext>
            </a:extLst>
          </p:cNvPr>
          <p:cNvSpPr/>
          <p:nvPr/>
        </p:nvSpPr>
        <p:spPr>
          <a:xfrm>
            <a:off x="635889" y="1865782"/>
            <a:ext cx="555588" cy="1567308"/>
          </a:xfrm>
          <a:prstGeom prst="roundRect">
            <a:avLst>
              <a:gd name="adj" fmla="val 5099"/>
            </a:avLst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050" b="1">
                <a:solidFill>
                  <a:prstClr val="white"/>
                </a:solidFill>
                <a:latin typeface="Pulso" pitchFamily="2" charset="0"/>
                <a:ea typeface="Roboto" panose="02000000000000000000" pitchFamily="2" charset="0"/>
              </a:rPr>
              <a:t>Front END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032AC4DA-1D41-3E69-4E17-851ED90A27F5}"/>
              </a:ext>
            </a:extLst>
          </p:cNvPr>
          <p:cNvSpPr txBox="1"/>
          <p:nvPr/>
        </p:nvSpPr>
        <p:spPr>
          <a:xfrm>
            <a:off x="2892516" y="1658242"/>
            <a:ext cx="451688" cy="12087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6429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0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 Medium" panose="02000000000000000000" pitchFamily="2" charset="0"/>
                <a:cs typeface="Roboto" panose="02000000000000000000" pitchFamily="2" charset="0"/>
              </a:rPr>
              <a:t>Argentina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E8CC51DC-F010-1316-8FEB-92DF6D0AE611}"/>
              </a:ext>
            </a:extLst>
          </p:cNvPr>
          <p:cNvSpPr txBox="1"/>
          <p:nvPr/>
        </p:nvSpPr>
        <p:spPr>
          <a:xfrm>
            <a:off x="3527121" y="1658242"/>
            <a:ext cx="429653" cy="12087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6429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0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 Medium" panose="02000000000000000000" pitchFamily="2" charset="0"/>
                <a:cs typeface="Roboto" panose="02000000000000000000" pitchFamily="2" charset="0"/>
              </a:rPr>
              <a:t>Paraguay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528BDDF-5B31-B7A3-68D1-21C30CA4D6BC}"/>
              </a:ext>
            </a:extLst>
          </p:cNvPr>
          <p:cNvSpPr txBox="1"/>
          <p:nvPr/>
        </p:nvSpPr>
        <p:spPr>
          <a:xfrm>
            <a:off x="4172173" y="1658242"/>
            <a:ext cx="388735" cy="12087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6429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0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 Medium" panose="02000000000000000000" pitchFamily="2" charset="0"/>
                <a:cs typeface="Roboto" panose="02000000000000000000" pitchFamily="2" charset="0"/>
              </a:rPr>
              <a:t>Uruguay</a:t>
            </a:r>
          </a:p>
        </p:txBody>
      </p:sp>
      <p:sp>
        <p:nvSpPr>
          <p:cNvPr id="9" name="Rectángulo: esquinas redondeadas 10">
            <a:extLst>
              <a:ext uri="{FF2B5EF4-FFF2-40B4-BE49-F238E27FC236}">
                <a16:creationId xmlns:a16="http://schemas.microsoft.com/office/drawing/2014/main" id="{616598D7-42DE-38B1-2DC4-8DF4D2FD6216}"/>
              </a:ext>
            </a:extLst>
          </p:cNvPr>
          <p:cNvSpPr/>
          <p:nvPr/>
        </p:nvSpPr>
        <p:spPr>
          <a:xfrm>
            <a:off x="1211245" y="1865782"/>
            <a:ext cx="1330522" cy="18025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51" fontAlgn="auto">
              <a:spcBef>
                <a:spcPts val="0"/>
              </a:spcBef>
              <a:spcAft>
                <a:spcPts val="0"/>
              </a:spcAft>
              <a:defRPr/>
            </a:pPr>
            <a:endParaRPr lang="es-AR" sz="703">
              <a:solidFill>
                <a:prstClr val="white"/>
              </a:solidFill>
              <a:latin typeface="Pulso" pitchFamily="2" charset="0"/>
            </a:endParaRPr>
          </a:p>
        </p:txBody>
      </p:sp>
      <p:grpSp>
        <p:nvGrpSpPr>
          <p:cNvPr id="10" name="Gráfico 8">
            <a:extLst>
              <a:ext uri="{FF2B5EF4-FFF2-40B4-BE49-F238E27FC236}">
                <a16:creationId xmlns:a16="http://schemas.microsoft.com/office/drawing/2014/main" id="{38D04952-75DA-F7E3-53C1-81E18CD965F3}"/>
              </a:ext>
            </a:extLst>
          </p:cNvPr>
          <p:cNvGrpSpPr/>
          <p:nvPr/>
        </p:nvGrpSpPr>
        <p:grpSpPr>
          <a:xfrm>
            <a:off x="1519616" y="1905378"/>
            <a:ext cx="713791" cy="123886"/>
            <a:chOff x="1384935" y="2029473"/>
            <a:chExt cx="6367462" cy="1086455"/>
          </a:xfrm>
          <a:solidFill>
            <a:srgbClr val="FFFFFF"/>
          </a:solidFill>
        </p:grpSpPr>
        <p:sp>
          <p:nvSpPr>
            <p:cNvPr id="11" name="Forma libre 79">
              <a:extLst>
                <a:ext uri="{FF2B5EF4-FFF2-40B4-BE49-F238E27FC236}">
                  <a16:creationId xmlns:a16="http://schemas.microsoft.com/office/drawing/2014/main" id="{6FEC9062-C4D4-2648-3A55-63593736307A}"/>
                </a:ext>
              </a:extLst>
            </p:cNvPr>
            <p:cNvSpPr/>
            <p:nvPr/>
          </p:nvSpPr>
          <p:spPr>
            <a:xfrm>
              <a:off x="6443662" y="2244481"/>
              <a:ext cx="561153" cy="643120"/>
            </a:xfrm>
            <a:custGeom>
              <a:avLst/>
              <a:gdLst>
                <a:gd name="connsiteX0" fmla="*/ 353377 w 561153"/>
                <a:gd name="connsiteY0" fmla="*/ 0 h 643120"/>
                <a:gd name="connsiteX1" fmla="*/ 198120 w 561153"/>
                <a:gd name="connsiteY1" fmla="*/ 42811 h 643120"/>
                <a:gd name="connsiteX2" fmla="*/ 129540 w 561153"/>
                <a:gd name="connsiteY2" fmla="*/ 135093 h 643120"/>
                <a:gd name="connsiteX3" fmla="*/ 124777 w 561153"/>
                <a:gd name="connsiteY3" fmla="*/ 135093 h 643120"/>
                <a:gd name="connsiteX4" fmla="*/ 116205 w 561153"/>
                <a:gd name="connsiteY4" fmla="*/ 16173 h 643120"/>
                <a:gd name="connsiteX5" fmla="*/ 0 w 561153"/>
                <a:gd name="connsiteY5" fmla="*/ 16173 h 643120"/>
                <a:gd name="connsiteX6" fmla="*/ 0 w 561153"/>
                <a:gd name="connsiteY6" fmla="*/ 642169 h 643120"/>
                <a:gd name="connsiteX7" fmla="*/ 135255 w 561153"/>
                <a:gd name="connsiteY7" fmla="*/ 642169 h 643120"/>
                <a:gd name="connsiteX8" fmla="*/ 135255 w 561153"/>
                <a:gd name="connsiteY8" fmla="*/ 293019 h 643120"/>
                <a:gd name="connsiteX9" fmla="*/ 169545 w 561153"/>
                <a:gd name="connsiteY9" fmla="*/ 178856 h 643120"/>
                <a:gd name="connsiteX10" fmla="*/ 311468 w 561153"/>
                <a:gd name="connsiteY10" fmla="*/ 116066 h 643120"/>
                <a:gd name="connsiteX11" fmla="*/ 395288 w 561153"/>
                <a:gd name="connsiteY11" fmla="*/ 151267 h 643120"/>
                <a:gd name="connsiteX12" fmla="*/ 425768 w 561153"/>
                <a:gd name="connsiteY12" fmla="*/ 267333 h 643120"/>
                <a:gd name="connsiteX13" fmla="*/ 425768 w 561153"/>
                <a:gd name="connsiteY13" fmla="*/ 643121 h 643120"/>
                <a:gd name="connsiteX14" fmla="*/ 561023 w 561153"/>
                <a:gd name="connsiteY14" fmla="*/ 643121 h 643120"/>
                <a:gd name="connsiteX15" fmla="*/ 561023 w 561153"/>
                <a:gd name="connsiteY15" fmla="*/ 251160 h 643120"/>
                <a:gd name="connsiteX16" fmla="*/ 508635 w 561153"/>
                <a:gd name="connsiteY16" fmla="*/ 68498 h 643120"/>
                <a:gd name="connsiteX17" fmla="*/ 352425 w 561153"/>
                <a:gd name="connsiteY17" fmla="*/ 951 h 643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61153" h="643120">
                  <a:moveTo>
                    <a:pt x="353377" y="0"/>
                  </a:moveTo>
                  <a:cubicBezTo>
                    <a:pt x="301943" y="0"/>
                    <a:pt x="234315" y="14270"/>
                    <a:pt x="198120" y="42811"/>
                  </a:cubicBezTo>
                  <a:cubicBezTo>
                    <a:pt x="170498" y="64693"/>
                    <a:pt x="148590" y="90379"/>
                    <a:pt x="129540" y="135093"/>
                  </a:cubicBezTo>
                  <a:lnTo>
                    <a:pt x="124777" y="135093"/>
                  </a:lnTo>
                  <a:lnTo>
                    <a:pt x="116205" y="16173"/>
                  </a:lnTo>
                  <a:lnTo>
                    <a:pt x="0" y="16173"/>
                  </a:lnTo>
                  <a:lnTo>
                    <a:pt x="0" y="642169"/>
                  </a:lnTo>
                  <a:cubicBezTo>
                    <a:pt x="0" y="642169"/>
                    <a:pt x="135255" y="642169"/>
                    <a:pt x="135255" y="642169"/>
                  </a:cubicBezTo>
                  <a:lnTo>
                    <a:pt x="135255" y="293019"/>
                  </a:lnTo>
                  <a:cubicBezTo>
                    <a:pt x="135255" y="253062"/>
                    <a:pt x="148590" y="210251"/>
                    <a:pt x="169545" y="178856"/>
                  </a:cubicBezTo>
                  <a:cubicBezTo>
                    <a:pt x="189548" y="150315"/>
                    <a:pt x="249555" y="116066"/>
                    <a:pt x="311468" y="116066"/>
                  </a:cubicBezTo>
                  <a:cubicBezTo>
                    <a:pt x="373380" y="116066"/>
                    <a:pt x="377190" y="127483"/>
                    <a:pt x="395288" y="151267"/>
                  </a:cubicBezTo>
                  <a:cubicBezTo>
                    <a:pt x="416243" y="176002"/>
                    <a:pt x="425768" y="215959"/>
                    <a:pt x="425768" y="267333"/>
                  </a:cubicBezTo>
                  <a:lnTo>
                    <a:pt x="425768" y="643121"/>
                  </a:lnTo>
                  <a:lnTo>
                    <a:pt x="561023" y="643121"/>
                  </a:lnTo>
                  <a:lnTo>
                    <a:pt x="561023" y="251160"/>
                  </a:lnTo>
                  <a:cubicBezTo>
                    <a:pt x="562927" y="174099"/>
                    <a:pt x="543877" y="112261"/>
                    <a:pt x="508635" y="68498"/>
                  </a:cubicBezTo>
                  <a:cubicBezTo>
                    <a:pt x="472440" y="23784"/>
                    <a:pt x="418148" y="951"/>
                    <a:pt x="352425" y="9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24272A"/>
                </a:solidFill>
                <a:latin typeface="Pulso" pitchFamily="2" charset="0"/>
                <a:cs typeface="+mn-cs"/>
              </a:endParaRPr>
            </a:p>
          </p:txBody>
        </p:sp>
        <p:sp>
          <p:nvSpPr>
            <p:cNvPr id="12" name="Forma libre 81">
              <a:extLst>
                <a:ext uri="{FF2B5EF4-FFF2-40B4-BE49-F238E27FC236}">
                  <a16:creationId xmlns:a16="http://schemas.microsoft.com/office/drawing/2014/main" id="{BFBAB858-E608-5974-D7AC-53E49BD3F801}"/>
                </a:ext>
              </a:extLst>
            </p:cNvPr>
            <p:cNvSpPr/>
            <p:nvPr/>
          </p:nvSpPr>
          <p:spPr>
            <a:xfrm>
              <a:off x="3646169" y="2244481"/>
              <a:ext cx="561153" cy="643120"/>
            </a:xfrm>
            <a:custGeom>
              <a:avLst/>
              <a:gdLst>
                <a:gd name="connsiteX0" fmla="*/ 353378 w 561153"/>
                <a:gd name="connsiteY0" fmla="*/ 0 h 643120"/>
                <a:gd name="connsiteX1" fmla="*/ 198120 w 561153"/>
                <a:gd name="connsiteY1" fmla="*/ 42811 h 643120"/>
                <a:gd name="connsiteX2" fmla="*/ 129540 w 561153"/>
                <a:gd name="connsiteY2" fmla="*/ 135093 h 643120"/>
                <a:gd name="connsiteX3" fmla="*/ 124778 w 561153"/>
                <a:gd name="connsiteY3" fmla="*/ 135093 h 643120"/>
                <a:gd name="connsiteX4" fmla="*/ 116205 w 561153"/>
                <a:gd name="connsiteY4" fmla="*/ 16173 h 643120"/>
                <a:gd name="connsiteX5" fmla="*/ 0 w 561153"/>
                <a:gd name="connsiteY5" fmla="*/ 16173 h 643120"/>
                <a:gd name="connsiteX6" fmla="*/ 0 w 561153"/>
                <a:gd name="connsiteY6" fmla="*/ 642169 h 643120"/>
                <a:gd name="connsiteX7" fmla="*/ 135255 w 561153"/>
                <a:gd name="connsiteY7" fmla="*/ 642169 h 643120"/>
                <a:gd name="connsiteX8" fmla="*/ 135255 w 561153"/>
                <a:gd name="connsiteY8" fmla="*/ 293019 h 643120"/>
                <a:gd name="connsiteX9" fmla="*/ 169545 w 561153"/>
                <a:gd name="connsiteY9" fmla="*/ 178856 h 643120"/>
                <a:gd name="connsiteX10" fmla="*/ 311468 w 561153"/>
                <a:gd name="connsiteY10" fmla="*/ 116066 h 643120"/>
                <a:gd name="connsiteX11" fmla="*/ 395288 w 561153"/>
                <a:gd name="connsiteY11" fmla="*/ 151267 h 643120"/>
                <a:gd name="connsiteX12" fmla="*/ 425768 w 561153"/>
                <a:gd name="connsiteY12" fmla="*/ 267333 h 643120"/>
                <a:gd name="connsiteX13" fmla="*/ 425768 w 561153"/>
                <a:gd name="connsiteY13" fmla="*/ 643121 h 643120"/>
                <a:gd name="connsiteX14" fmla="*/ 561023 w 561153"/>
                <a:gd name="connsiteY14" fmla="*/ 643121 h 643120"/>
                <a:gd name="connsiteX15" fmla="*/ 561023 w 561153"/>
                <a:gd name="connsiteY15" fmla="*/ 251160 h 643120"/>
                <a:gd name="connsiteX16" fmla="*/ 508635 w 561153"/>
                <a:gd name="connsiteY16" fmla="*/ 68498 h 643120"/>
                <a:gd name="connsiteX17" fmla="*/ 352425 w 561153"/>
                <a:gd name="connsiteY17" fmla="*/ 951 h 643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61153" h="643120">
                  <a:moveTo>
                    <a:pt x="353378" y="0"/>
                  </a:moveTo>
                  <a:cubicBezTo>
                    <a:pt x="301943" y="0"/>
                    <a:pt x="234315" y="14270"/>
                    <a:pt x="198120" y="42811"/>
                  </a:cubicBezTo>
                  <a:cubicBezTo>
                    <a:pt x="170498" y="64693"/>
                    <a:pt x="148590" y="90379"/>
                    <a:pt x="129540" y="135093"/>
                  </a:cubicBezTo>
                  <a:lnTo>
                    <a:pt x="124778" y="135093"/>
                  </a:lnTo>
                  <a:lnTo>
                    <a:pt x="116205" y="16173"/>
                  </a:lnTo>
                  <a:lnTo>
                    <a:pt x="0" y="16173"/>
                  </a:lnTo>
                  <a:lnTo>
                    <a:pt x="0" y="642169"/>
                  </a:lnTo>
                  <a:lnTo>
                    <a:pt x="135255" y="642169"/>
                  </a:lnTo>
                  <a:lnTo>
                    <a:pt x="135255" y="293019"/>
                  </a:lnTo>
                  <a:cubicBezTo>
                    <a:pt x="135255" y="253062"/>
                    <a:pt x="148590" y="210251"/>
                    <a:pt x="169545" y="178856"/>
                  </a:cubicBezTo>
                  <a:cubicBezTo>
                    <a:pt x="189548" y="150315"/>
                    <a:pt x="249555" y="116066"/>
                    <a:pt x="311468" y="116066"/>
                  </a:cubicBezTo>
                  <a:cubicBezTo>
                    <a:pt x="373380" y="116066"/>
                    <a:pt x="377190" y="127483"/>
                    <a:pt x="395288" y="151267"/>
                  </a:cubicBezTo>
                  <a:cubicBezTo>
                    <a:pt x="416243" y="176002"/>
                    <a:pt x="425768" y="215959"/>
                    <a:pt x="425768" y="267333"/>
                  </a:cubicBezTo>
                  <a:lnTo>
                    <a:pt x="425768" y="643121"/>
                  </a:lnTo>
                  <a:lnTo>
                    <a:pt x="561023" y="643121"/>
                  </a:lnTo>
                  <a:lnTo>
                    <a:pt x="561023" y="251160"/>
                  </a:lnTo>
                  <a:cubicBezTo>
                    <a:pt x="562928" y="174099"/>
                    <a:pt x="543878" y="112261"/>
                    <a:pt x="508635" y="68498"/>
                  </a:cubicBezTo>
                  <a:cubicBezTo>
                    <a:pt x="472440" y="23784"/>
                    <a:pt x="418148" y="951"/>
                    <a:pt x="352425" y="9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24272A"/>
                </a:solidFill>
                <a:latin typeface="Pulso" pitchFamily="2" charset="0"/>
                <a:cs typeface="+mn-cs"/>
              </a:endParaRPr>
            </a:p>
          </p:txBody>
        </p:sp>
        <p:sp>
          <p:nvSpPr>
            <p:cNvPr id="13" name="Forma libre 83">
              <a:extLst>
                <a:ext uri="{FF2B5EF4-FFF2-40B4-BE49-F238E27FC236}">
                  <a16:creationId xmlns:a16="http://schemas.microsoft.com/office/drawing/2014/main" id="{1CB83B28-9A9F-B001-B9BB-48F03C756793}"/>
                </a:ext>
              </a:extLst>
            </p:cNvPr>
            <p:cNvSpPr/>
            <p:nvPr/>
          </p:nvSpPr>
          <p:spPr>
            <a:xfrm>
              <a:off x="2921317" y="2238773"/>
              <a:ext cx="599122" cy="663099"/>
            </a:xfrm>
            <a:custGeom>
              <a:avLst/>
              <a:gdLst>
                <a:gd name="connsiteX0" fmla="*/ 311467 w 599122"/>
                <a:gd name="connsiteY0" fmla="*/ 951 h 663099"/>
                <a:gd name="connsiteX1" fmla="*/ 90488 w 599122"/>
                <a:gd name="connsiteY1" fmla="*/ 95136 h 663099"/>
                <a:gd name="connsiteX2" fmla="*/ 0 w 599122"/>
                <a:gd name="connsiteY2" fmla="*/ 332977 h 663099"/>
                <a:gd name="connsiteX3" fmla="*/ 86678 w 599122"/>
                <a:gd name="connsiteY3" fmla="*/ 569866 h 663099"/>
                <a:gd name="connsiteX4" fmla="*/ 323850 w 599122"/>
                <a:gd name="connsiteY4" fmla="*/ 663099 h 663099"/>
                <a:gd name="connsiteX5" fmla="*/ 470535 w 599122"/>
                <a:gd name="connsiteY5" fmla="*/ 630753 h 663099"/>
                <a:gd name="connsiteX6" fmla="*/ 588645 w 599122"/>
                <a:gd name="connsiteY6" fmla="*/ 538471 h 663099"/>
                <a:gd name="connsiteX7" fmla="*/ 591502 w 599122"/>
                <a:gd name="connsiteY7" fmla="*/ 534665 h 663099"/>
                <a:gd name="connsiteX8" fmla="*/ 512445 w 599122"/>
                <a:gd name="connsiteY8" fmla="*/ 454751 h 663099"/>
                <a:gd name="connsiteX9" fmla="*/ 508635 w 599122"/>
                <a:gd name="connsiteY9" fmla="*/ 459508 h 663099"/>
                <a:gd name="connsiteX10" fmla="*/ 336233 w 599122"/>
                <a:gd name="connsiteY10" fmla="*/ 537520 h 663099"/>
                <a:gd name="connsiteX11" fmla="*/ 142875 w 599122"/>
                <a:gd name="connsiteY11" fmla="*/ 388156 h 663099"/>
                <a:gd name="connsiteX12" fmla="*/ 598170 w 599122"/>
                <a:gd name="connsiteY12" fmla="*/ 388156 h 663099"/>
                <a:gd name="connsiteX13" fmla="*/ 598170 w 599122"/>
                <a:gd name="connsiteY13" fmla="*/ 383399 h 663099"/>
                <a:gd name="connsiteX14" fmla="*/ 599123 w 599122"/>
                <a:gd name="connsiteY14" fmla="*/ 300630 h 663099"/>
                <a:gd name="connsiteX15" fmla="*/ 521970 w 599122"/>
                <a:gd name="connsiteY15" fmla="*/ 89428 h 663099"/>
                <a:gd name="connsiteX16" fmla="*/ 311467 w 599122"/>
                <a:gd name="connsiteY16" fmla="*/ 0 h 663099"/>
                <a:gd name="connsiteX17" fmla="*/ 142875 w 599122"/>
                <a:gd name="connsiteY17" fmla="*/ 281603 h 663099"/>
                <a:gd name="connsiteX18" fmla="*/ 314325 w 599122"/>
                <a:gd name="connsiteY18" fmla="*/ 132239 h 663099"/>
                <a:gd name="connsiteX19" fmla="*/ 465773 w 599122"/>
                <a:gd name="connsiteY19" fmla="*/ 281603 h 663099"/>
                <a:gd name="connsiteX20" fmla="*/ 142875 w 599122"/>
                <a:gd name="connsiteY20" fmla="*/ 281603 h 663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99122" h="663099">
                  <a:moveTo>
                    <a:pt x="311467" y="951"/>
                  </a:moveTo>
                  <a:cubicBezTo>
                    <a:pt x="226695" y="951"/>
                    <a:pt x="147638" y="35200"/>
                    <a:pt x="90488" y="95136"/>
                  </a:cubicBezTo>
                  <a:cubicBezTo>
                    <a:pt x="31433" y="156975"/>
                    <a:pt x="0" y="241646"/>
                    <a:pt x="0" y="332977"/>
                  </a:cubicBezTo>
                  <a:cubicBezTo>
                    <a:pt x="0" y="424308"/>
                    <a:pt x="29528" y="509930"/>
                    <a:pt x="86678" y="569866"/>
                  </a:cubicBezTo>
                  <a:cubicBezTo>
                    <a:pt x="145733" y="631704"/>
                    <a:pt x="227648" y="663099"/>
                    <a:pt x="323850" y="663099"/>
                  </a:cubicBezTo>
                  <a:cubicBezTo>
                    <a:pt x="420052" y="663099"/>
                    <a:pt x="425767" y="651683"/>
                    <a:pt x="470535" y="630753"/>
                  </a:cubicBezTo>
                  <a:cubicBezTo>
                    <a:pt x="517208" y="608872"/>
                    <a:pt x="557213" y="578428"/>
                    <a:pt x="588645" y="538471"/>
                  </a:cubicBezTo>
                  <a:lnTo>
                    <a:pt x="591502" y="534665"/>
                  </a:lnTo>
                  <a:lnTo>
                    <a:pt x="512445" y="454751"/>
                  </a:lnTo>
                  <a:lnTo>
                    <a:pt x="508635" y="459508"/>
                  </a:lnTo>
                  <a:cubicBezTo>
                    <a:pt x="465773" y="508979"/>
                    <a:pt x="402908" y="537520"/>
                    <a:pt x="336233" y="537520"/>
                  </a:cubicBezTo>
                  <a:cubicBezTo>
                    <a:pt x="221933" y="537520"/>
                    <a:pt x="158115" y="489000"/>
                    <a:pt x="142875" y="388156"/>
                  </a:cubicBezTo>
                  <a:lnTo>
                    <a:pt x="598170" y="388156"/>
                  </a:lnTo>
                  <a:lnTo>
                    <a:pt x="598170" y="383399"/>
                  </a:lnTo>
                  <a:cubicBezTo>
                    <a:pt x="599123" y="339636"/>
                    <a:pt x="599123" y="323463"/>
                    <a:pt x="599123" y="300630"/>
                  </a:cubicBezTo>
                  <a:cubicBezTo>
                    <a:pt x="599123" y="219765"/>
                    <a:pt x="572452" y="145558"/>
                    <a:pt x="521970" y="89428"/>
                  </a:cubicBezTo>
                  <a:cubicBezTo>
                    <a:pt x="471488" y="30444"/>
                    <a:pt x="398145" y="0"/>
                    <a:pt x="311467" y="0"/>
                  </a:cubicBezTo>
                  <a:close/>
                  <a:moveTo>
                    <a:pt x="142875" y="281603"/>
                  </a:moveTo>
                  <a:cubicBezTo>
                    <a:pt x="157163" y="180759"/>
                    <a:pt x="212408" y="132239"/>
                    <a:pt x="314325" y="132239"/>
                  </a:cubicBezTo>
                  <a:cubicBezTo>
                    <a:pt x="416242" y="132239"/>
                    <a:pt x="461963" y="192175"/>
                    <a:pt x="465773" y="281603"/>
                  </a:cubicBezTo>
                  <a:lnTo>
                    <a:pt x="142875" y="2816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24272A"/>
                </a:solidFill>
                <a:latin typeface="Pulso" pitchFamily="2" charset="0"/>
                <a:cs typeface="+mn-cs"/>
              </a:endParaRPr>
            </a:p>
          </p:txBody>
        </p:sp>
        <p:sp>
          <p:nvSpPr>
            <p:cNvPr id="14" name="Forma libre 93">
              <a:extLst>
                <a:ext uri="{FF2B5EF4-FFF2-40B4-BE49-F238E27FC236}">
                  <a16:creationId xmlns:a16="http://schemas.microsoft.com/office/drawing/2014/main" id="{4A37CC9C-D5DC-6489-66A1-5B0F8C9A0D0B}"/>
                </a:ext>
              </a:extLst>
            </p:cNvPr>
            <p:cNvSpPr/>
            <p:nvPr/>
          </p:nvSpPr>
          <p:spPr>
            <a:xfrm>
              <a:off x="1400175" y="2243530"/>
              <a:ext cx="666750" cy="249256"/>
            </a:xfrm>
            <a:custGeom>
              <a:avLst/>
              <a:gdLst>
                <a:gd name="connsiteX0" fmla="*/ 333375 w 666750"/>
                <a:gd name="connsiteY0" fmla="*/ 137947 h 249256"/>
                <a:gd name="connsiteX1" fmla="*/ 519113 w 666750"/>
                <a:gd name="connsiteY1" fmla="*/ 249257 h 249256"/>
                <a:gd name="connsiteX2" fmla="*/ 666750 w 666750"/>
                <a:gd name="connsiteY2" fmla="*/ 249257 h 249256"/>
                <a:gd name="connsiteX3" fmla="*/ 333375 w 666750"/>
                <a:gd name="connsiteY3" fmla="*/ 0 h 249256"/>
                <a:gd name="connsiteX4" fmla="*/ 0 w 666750"/>
                <a:gd name="connsiteY4" fmla="*/ 249257 h 249256"/>
                <a:gd name="connsiteX5" fmla="*/ 148590 w 666750"/>
                <a:gd name="connsiteY5" fmla="*/ 249257 h 249256"/>
                <a:gd name="connsiteX6" fmla="*/ 333375 w 666750"/>
                <a:gd name="connsiteY6" fmla="*/ 137947 h 249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750" h="249256">
                  <a:moveTo>
                    <a:pt x="333375" y="137947"/>
                  </a:moveTo>
                  <a:cubicBezTo>
                    <a:pt x="413385" y="137947"/>
                    <a:pt x="482917" y="182661"/>
                    <a:pt x="519113" y="249257"/>
                  </a:cubicBezTo>
                  <a:lnTo>
                    <a:pt x="666750" y="249257"/>
                  </a:lnTo>
                  <a:cubicBezTo>
                    <a:pt x="623888" y="104650"/>
                    <a:pt x="490538" y="0"/>
                    <a:pt x="333375" y="0"/>
                  </a:cubicBezTo>
                  <a:cubicBezTo>
                    <a:pt x="176213" y="0"/>
                    <a:pt x="42863" y="105601"/>
                    <a:pt x="0" y="249257"/>
                  </a:cubicBezTo>
                  <a:lnTo>
                    <a:pt x="148590" y="249257"/>
                  </a:lnTo>
                  <a:cubicBezTo>
                    <a:pt x="182880" y="183613"/>
                    <a:pt x="253365" y="137947"/>
                    <a:pt x="333375" y="1379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24272A"/>
                </a:solidFill>
                <a:latin typeface="Pulso" pitchFamily="2" charset="0"/>
                <a:cs typeface="+mn-cs"/>
              </a:endParaRPr>
            </a:p>
          </p:txBody>
        </p:sp>
        <p:sp>
          <p:nvSpPr>
            <p:cNvPr id="15" name="Forma libre 94">
              <a:extLst>
                <a:ext uri="{FF2B5EF4-FFF2-40B4-BE49-F238E27FC236}">
                  <a16:creationId xmlns:a16="http://schemas.microsoft.com/office/drawing/2014/main" id="{A4BA12E0-83C0-3197-1907-878E113206C3}"/>
                </a:ext>
              </a:extLst>
            </p:cNvPr>
            <p:cNvSpPr/>
            <p:nvPr/>
          </p:nvSpPr>
          <p:spPr>
            <a:xfrm>
              <a:off x="1384935" y="2500457"/>
              <a:ext cx="695324" cy="439469"/>
            </a:xfrm>
            <a:custGeom>
              <a:avLst/>
              <a:gdLst>
                <a:gd name="connsiteX0" fmla="*/ 556260 w 695324"/>
                <a:gd name="connsiteY0" fmla="*/ 59876 h 439469"/>
                <a:gd name="connsiteX1" fmla="*/ 558165 w 695324"/>
                <a:gd name="connsiteY1" fmla="*/ 91271 h 439469"/>
                <a:gd name="connsiteX2" fmla="*/ 347663 w 695324"/>
                <a:gd name="connsiteY2" fmla="*/ 301522 h 439469"/>
                <a:gd name="connsiteX3" fmla="*/ 137160 w 695324"/>
                <a:gd name="connsiteY3" fmla="*/ 91271 h 439469"/>
                <a:gd name="connsiteX4" fmla="*/ 139065 w 695324"/>
                <a:gd name="connsiteY4" fmla="*/ 59876 h 439469"/>
                <a:gd name="connsiteX5" fmla="*/ 952 w 695324"/>
                <a:gd name="connsiteY5" fmla="*/ 59876 h 439469"/>
                <a:gd name="connsiteX6" fmla="*/ 0 w 695324"/>
                <a:gd name="connsiteY6" fmla="*/ 91271 h 439469"/>
                <a:gd name="connsiteX7" fmla="*/ 347663 w 695324"/>
                <a:gd name="connsiteY7" fmla="*/ 439469 h 439469"/>
                <a:gd name="connsiteX8" fmla="*/ 695325 w 695324"/>
                <a:gd name="connsiteY8" fmla="*/ 91271 h 439469"/>
                <a:gd name="connsiteX9" fmla="*/ 694373 w 695324"/>
                <a:gd name="connsiteY9" fmla="*/ 59876 h 439469"/>
                <a:gd name="connsiteX10" fmla="*/ 556260 w 695324"/>
                <a:gd name="connsiteY10" fmla="*/ 59876 h 43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95324" h="439469">
                  <a:moveTo>
                    <a:pt x="556260" y="59876"/>
                  </a:moveTo>
                  <a:cubicBezTo>
                    <a:pt x="557213" y="70341"/>
                    <a:pt x="558165" y="80806"/>
                    <a:pt x="558165" y="91271"/>
                  </a:cubicBezTo>
                  <a:cubicBezTo>
                    <a:pt x="558165" y="207337"/>
                    <a:pt x="463867" y="301522"/>
                    <a:pt x="347663" y="301522"/>
                  </a:cubicBezTo>
                  <a:cubicBezTo>
                    <a:pt x="231457" y="301522"/>
                    <a:pt x="137160" y="207337"/>
                    <a:pt x="137160" y="91271"/>
                  </a:cubicBezTo>
                  <a:cubicBezTo>
                    <a:pt x="137160" y="-24796"/>
                    <a:pt x="138113" y="70341"/>
                    <a:pt x="139065" y="59876"/>
                  </a:cubicBezTo>
                  <a:lnTo>
                    <a:pt x="952" y="59876"/>
                  </a:lnTo>
                  <a:cubicBezTo>
                    <a:pt x="0" y="70341"/>
                    <a:pt x="0" y="80806"/>
                    <a:pt x="0" y="91271"/>
                  </a:cubicBezTo>
                  <a:cubicBezTo>
                    <a:pt x="0" y="283446"/>
                    <a:pt x="156210" y="439469"/>
                    <a:pt x="347663" y="439469"/>
                  </a:cubicBezTo>
                  <a:cubicBezTo>
                    <a:pt x="539115" y="439469"/>
                    <a:pt x="695325" y="282494"/>
                    <a:pt x="695325" y="91271"/>
                  </a:cubicBezTo>
                  <a:cubicBezTo>
                    <a:pt x="695325" y="-99953"/>
                    <a:pt x="695325" y="70341"/>
                    <a:pt x="694373" y="59876"/>
                  </a:cubicBezTo>
                  <a:lnTo>
                    <a:pt x="556260" y="5987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24272A"/>
                </a:solidFill>
                <a:latin typeface="Pulso" pitchFamily="2" charset="0"/>
                <a:cs typeface="+mn-cs"/>
              </a:endParaRPr>
            </a:p>
          </p:txBody>
        </p:sp>
        <p:sp>
          <p:nvSpPr>
            <p:cNvPr id="110" name="Forma libre 95">
              <a:extLst>
                <a:ext uri="{FF2B5EF4-FFF2-40B4-BE49-F238E27FC236}">
                  <a16:creationId xmlns:a16="http://schemas.microsoft.com/office/drawing/2014/main" id="{75151005-F83B-EA02-6758-D74420633A22}"/>
                </a:ext>
              </a:extLst>
            </p:cNvPr>
            <p:cNvSpPr/>
            <p:nvPr/>
          </p:nvSpPr>
          <p:spPr>
            <a:xfrm>
              <a:off x="7127557" y="2029473"/>
              <a:ext cx="624840" cy="874301"/>
            </a:xfrm>
            <a:custGeom>
              <a:avLst/>
              <a:gdLst>
                <a:gd name="connsiteX0" fmla="*/ 494348 w 624840"/>
                <a:gd name="connsiteY0" fmla="*/ 951 h 874301"/>
                <a:gd name="connsiteX1" fmla="*/ 490538 w 624840"/>
                <a:gd name="connsiteY1" fmla="*/ 350101 h 874301"/>
                <a:gd name="connsiteX2" fmla="*/ 275273 w 624840"/>
                <a:gd name="connsiteY2" fmla="*/ 215959 h 874301"/>
                <a:gd name="connsiteX3" fmla="*/ 0 w 624840"/>
                <a:gd name="connsiteY3" fmla="*/ 544179 h 874301"/>
                <a:gd name="connsiteX4" fmla="*/ 279082 w 624840"/>
                <a:gd name="connsiteY4" fmla="*/ 874302 h 874301"/>
                <a:gd name="connsiteX5" fmla="*/ 508635 w 624840"/>
                <a:gd name="connsiteY5" fmla="*/ 736354 h 874301"/>
                <a:gd name="connsiteX6" fmla="*/ 510540 w 624840"/>
                <a:gd name="connsiteY6" fmla="*/ 856226 h 874301"/>
                <a:gd name="connsiteX7" fmla="*/ 624840 w 624840"/>
                <a:gd name="connsiteY7" fmla="*/ 856226 h 874301"/>
                <a:gd name="connsiteX8" fmla="*/ 624840 w 624840"/>
                <a:gd name="connsiteY8" fmla="*/ 0 h 874301"/>
                <a:gd name="connsiteX9" fmla="*/ 493395 w 624840"/>
                <a:gd name="connsiteY9" fmla="*/ 0 h 874301"/>
                <a:gd name="connsiteX10" fmla="*/ 315278 w 624840"/>
                <a:gd name="connsiteY10" fmla="*/ 753479 h 874301"/>
                <a:gd name="connsiteX11" fmla="*/ 135255 w 624840"/>
                <a:gd name="connsiteY11" fmla="*/ 544179 h 874301"/>
                <a:gd name="connsiteX12" fmla="*/ 316230 w 624840"/>
                <a:gd name="connsiteY12" fmla="*/ 334879 h 874301"/>
                <a:gd name="connsiteX13" fmla="*/ 490538 w 624840"/>
                <a:gd name="connsiteY13" fmla="*/ 544179 h 874301"/>
                <a:gd name="connsiteX14" fmla="*/ 314325 w 624840"/>
                <a:gd name="connsiteY14" fmla="*/ 753479 h 87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4840" h="874301">
                  <a:moveTo>
                    <a:pt x="494348" y="951"/>
                  </a:moveTo>
                  <a:lnTo>
                    <a:pt x="490538" y="350101"/>
                  </a:lnTo>
                  <a:cubicBezTo>
                    <a:pt x="453390" y="254014"/>
                    <a:pt x="378143" y="215959"/>
                    <a:pt x="275273" y="215959"/>
                  </a:cubicBezTo>
                  <a:cubicBezTo>
                    <a:pt x="113348" y="215959"/>
                    <a:pt x="0" y="353907"/>
                    <a:pt x="0" y="544179"/>
                  </a:cubicBezTo>
                  <a:cubicBezTo>
                    <a:pt x="0" y="734451"/>
                    <a:pt x="117157" y="874302"/>
                    <a:pt x="279082" y="874302"/>
                  </a:cubicBezTo>
                  <a:cubicBezTo>
                    <a:pt x="441007" y="874302"/>
                    <a:pt x="472440" y="827685"/>
                    <a:pt x="508635" y="736354"/>
                  </a:cubicBezTo>
                  <a:lnTo>
                    <a:pt x="510540" y="856226"/>
                  </a:lnTo>
                  <a:lnTo>
                    <a:pt x="624840" y="856226"/>
                  </a:lnTo>
                  <a:lnTo>
                    <a:pt x="624840" y="0"/>
                  </a:lnTo>
                  <a:lnTo>
                    <a:pt x="493395" y="0"/>
                  </a:lnTo>
                  <a:close/>
                  <a:moveTo>
                    <a:pt x="315278" y="753479"/>
                  </a:moveTo>
                  <a:cubicBezTo>
                    <a:pt x="209550" y="753479"/>
                    <a:pt x="135255" y="669759"/>
                    <a:pt x="135255" y="544179"/>
                  </a:cubicBezTo>
                  <a:cubicBezTo>
                    <a:pt x="135255" y="418599"/>
                    <a:pt x="214313" y="334879"/>
                    <a:pt x="316230" y="334879"/>
                  </a:cubicBezTo>
                  <a:cubicBezTo>
                    <a:pt x="418148" y="334879"/>
                    <a:pt x="490538" y="430967"/>
                    <a:pt x="490538" y="544179"/>
                  </a:cubicBezTo>
                  <a:cubicBezTo>
                    <a:pt x="490538" y="657391"/>
                    <a:pt x="423863" y="753479"/>
                    <a:pt x="314325" y="75347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24272A"/>
                </a:solidFill>
                <a:latin typeface="Pulso" pitchFamily="2" charset="0"/>
                <a:cs typeface="+mn-cs"/>
              </a:endParaRPr>
            </a:p>
          </p:txBody>
        </p:sp>
        <p:sp>
          <p:nvSpPr>
            <p:cNvPr id="114" name="Forma libre 96">
              <a:extLst>
                <a:ext uri="{FF2B5EF4-FFF2-40B4-BE49-F238E27FC236}">
                  <a16:creationId xmlns:a16="http://schemas.microsoft.com/office/drawing/2014/main" id="{BDA1DF90-952F-4E85-66AE-CDEF6EF02B38}"/>
                </a:ext>
              </a:extLst>
            </p:cNvPr>
            <p:cNvSpPr/>
            <p:nvPr/>
          </p:nvSpPr>
          <p:spPr>
            <a:xfrm>
              <a:off x="2202179" y="2241627"/>
              <a:ext cx="625792" cy="874301"/>
            </a:xfrm>
            <a:custGeom>
              <a:avLst/>
              <a:gdLst>
                <a:gd name="connsiteX0" fmla="*/ 345758 w 625792"/>
                <a:gd name="connsiteY0" fmla="*/ 0 h 874301"/>
                <a:gd name="connsiteX1" fmla="*/ 116205 w 625792"/>
                <a:gd name="connsiteY1" fmla="*/ 137947 h 874301"/>
                <a:gd name="connsiteX2" fmla="*/ 114300 w 625792"/>
                <a:gd name="connsiteY2" fmla="*/ 18076 h 874301"/>
                <a:gd name="connsiteX3" fmla="*/ 0 w 625792"/>
                <a:gd name="connsiteY3" fmla="*/ 18076 h 874301"/>
                <a:gd name="connsiteX4" fmla="*/ 0 w 625792"/>
                <a:gd name="connsiteY4" fmla="*/ 874302 h 874301"/>
                <a:gd name="connsiteX5" fmla="*/ 131445 w 625792"/>
                <a:gd name="connsiteY5" fmla="*/ 874302 h 874301"/>
                <a:gd name="connsiteX6" fmla="*/ 135255 w 625792"/>
                <a:gd name="connsiteY6" fmla="*/ 525152 h 874301"/>
                <a:gd name="connsiteX7" fmla="*/ 350520 w 625792"/>
                <a:gd name="connsiteY7" fmla="*/ 659294 h 874301"/>
                <a:gd name="connsiteX8" fmla="*/ 625793 w 625792"/>
                <a:gd name="connsiteY8" fmla="*/ 331074 h 874301"/>
                <a:gd name="connsiteX9" fmla="*/ 346710 w 625792"/>
                <a:gd name="connsiteY9" fmla="*/ 951 h 874301"/>
                <a:gd name="connsiteX10" fmla="*/ 309563 w 625792"/>
                <a:gd name="connsiteY10" fmla="*/ 539422 h 874301"/>
                <a:gd name="connsiteX11" fmla="*/ 135255 w 625792"/>
                <a:gd name="connsiteY11" fmla="*/ 330123 h 874301"/>
                <a:gd name="connsiteX12" fmla="*/ 311467 w 625792"/>
                <a:gd name="connsiteY12" fmla="*/ 120823 h 874301"/>
                <a:gd name="connsiteX13" fmla="*/ 491490 w 625792"/>
                <a:gd name="connsiteY13" fmla="*/ 330123 h 874301"/>
                <a:gd name="connsiteX14" fmla="*/ 310515 w 625792"/>
                <a:gd name="connsiteY14" fmla="*/ 539422 h 87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5792" h="874301">
                  <a:moveTo>
                    <a:pt x="345758" y="0"/>
                  </a:moveTo>
                  <a:cubicBezTo>
                    <a:pt x="240030" y="0"/>
                    <a:pt x="152400" y="46617"/>
                    <a:pt x="116205" y="137947"/>
                  </a:cubicBezTo>
                  <a:lnTo>
                    <a:pt x="114300" y="18076"/>
                  </a:lnTo>
                  <a:lnTo>
                    <a:pt x="0" y="18076"/>
                  </a:lnTo>
                  <a:lnTo>
                    <a:pt x="0" y="874302"/>
                  </a:lnTo>
                  <a:lnTo>
                    <a:pt x="131445" y="874302"/>
                  </a:lnTo>
                  <a:lnTo>
                    <a:pt x="135255" y="525152"/>
                  </a:lnTo>
                  <a:cubicBezTo>
                    <a:pt x="172403" y="621239"/>
                    <a:pt x="247650" y="659294"/>
                    <a:pt x="350520" y="659294"/>
                  </a:cubicBezTo>
                  <a:cubicBezTo>
                    <a:pt x="512445" y="659294"/>
                    <a:pt x="625793" y="521346"/>
                    <a:pt x="625793" y="331074"/>
                  </a:cubicBezTo>
                  <a:cubicBezTo>
                    <a:pt x="625793" y="140802"/>
                    <a:pt x="508635" y="951"/>
                    <a:pt x="346710" y="951"/>
                  </a:cubicBezTo>
                  <a:close/>
                  <a:moveTo>
                    <a:pt x="309563" y="539422"/>
                  </a:moveTo>
                  <a:cubicBezTo>
                    <a:pt x="196215" y="539422"/>
                    <a:pt x="135255" y="443335"/>
                    <a:pt x="135255" y="330123"/>
                  </a:cubicBezTo>
                  <a:cubicBezTo>
                    <a:pt x="135255" y="216911"/>
                    <a:pt x="201930" y="120823"/>
                    <a:pt x="311467" y="120823"/>
                  </a:cubicBezTo>
                  <a:cubicBezTo>
                    <a:pt x="421005" y="120823"/>
                    <a:pt x="491490" y="204543"/>
                    <a:pt x="491490" y="330123"/>
                  </a:cubicBezTo>
                  <a:cubicBezTo>
                    <a:pt x="491490" y="455702"/>
                    <a:pt x="412433" y="539422"/>
                    <a:pt x="310515" y="53942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24272A"/>
                </a:solidFill>
                <a:latin typeface="Pulso" pitchFamily="2" charset="0"/>
                <a:cs typeface="+mn-cs"/>
              </a:endParaRPr>
            </a:p>
          </p:txBody>
        </p:sp>
        <p:sp>
          <p:nvSpPr>
            <p:cNvPr id="146" name="Forma libre 98">
              <a:extLst>
                <a:ext uri="{FF2B5EF4-FFF2-40B4-BE49-F238E27FC236}">
                  <a16:creationId xmlns:a16="http://schemas.microsoft.com/office/drawing/2014/main" id="{B7C02581-5751-50CB-F1B3-CE28B01AC7C0}"/>
                </a:ext>
              </a:extLst>
            </p:cNvPr>
            <p:cNvSpPr/>
            <p:nvPr/>
          </p:nvSpPr>
          <p:spPr>
            <a:xfrm>
              <a:off x="5015865" y="2241627"/>
              <a:ext cx="625792" cy="874301"/>
            </a:xfrm>
            <a:custGeom>
              <a:avLst/>
              <a:gdLst>
                <a:gd name="connsiteX0" fmla="*/ 345757 w 625792"/>
                <a:gd name="connsiteY0" fmla="*/ 0 h 874301"/>
                <a:gd name="connsiteX1" fmla="*/ 116205 w 625792"/>
                <a:gd name="connsiteY1" fmla="*/ 137947 h 874301"/>
                <a:gd name="connsiteX2" fmla="*/ 114300 w 625792"/>
                <a:gd name="connsiteY2" fmla="*/ 18076 h 874301"/>
                <a:gd name="connsiteX3" fmla="*/ 0 w 625792"/>
                <a:gd name="connsiteY3" fmla="*/ 18076 h 874301"/>
                <a:gd name="connsiteX4" fmla="*/ 0 w 625792"/>
                <a:gd name="connsiteY4" fmla="*/ 874302 h 874301"/>
                <a:gd name="connsiteX5" fmla="*/ 131445 w 625792"/>
                <a:gd name="connsiteY5" fmla="*/ 874302 h 874301"/>
                <a:gd name="connsiteX6" fmla="*/ 135255 w 625792"/>
                <a:gd name="connsiteY6" fmla="*/ 525152 h 874301"/>
                <a:gd name="connsiteX7" fmla="*/ 350520 w 625792"/>
                <a:gd name="connsiteY7" fmla="*/ 659294 h 874301"/>
                <a:gd name="connsiteX8" fmla="*/ 625792 w 625792"/>
                <a:gd name="connsiteY8" fmla="*/ 331074 h 874301"/>
                <a:gd name="connsiteX9" fmla="*/ 346710 w 625792"/>
                <a:gd name="connsiteY9" fmla="*/ 951 h 874301"/>
                <a:gd name="connsiteX10" fmla="*/ 309563 w 625792"/>
                <a:gd name="connsiteY10" fmla="*/ 539422 h 874301"/>
                <a:gd name="connsiteX11" fmla="*/ 135255 w 625792"/>
                <a:gd name="connsiteY11" fmla="*/ 330123 h 874301"/>
                <a:gd name="connsiteX12" fmla="*/ 311467 w 625792"/>
                <a:gd name="connsiteY12" fmla="*/ 120823 h 874301"/>
                <a:gd name="connsiteX13" fmla="*/ 491490 w 625792"/>
                <a:gd name="connsiteY13" fmla="*/ 330123 h 874301"/>
                <a:gd name="connsiteX14" fmla="*/ 310515 w 625792"/>
                <a:gd name="connsiteY14" fmla="*/ 539422 h 87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5792" h="874301">
                  <a:moveTo>
                    <a:pt x="345757" y="0"/>
                  </a:moveTo>
                  <a:cubicBezTo>
                    <a:pt x="240030" y="0"/>
                    <a:pt x="152400" y="46617"/>
                    <a:pt x="116205" y="137947"/>
                  </a:cubicBezTo>
                  <a:lnTo>
                    <a:pt x="114300" y="18076"/>
                  </a:lnTo>
                  <a:lnTo>
                    <a:pt x="0" y="18076"/>
                  </a:lnTo>
                  <a:lnTo>
                    <a:pt x="0" y="874302"/>
                  </a:lnTo>
                  <a:lnTo>
                    <a:pt x="131445" y="874302"/>
                  </a:lnTo>
                  <a:lnTo>
                    <a:pt x="135255" y="525152"/>
                  </a:lnTo>
                  <a:cubicBezTo>
                    <a:pt x="172403" y="621239"/>
                    <a:pt x="247650" y="659294"/>
                    <a:pt x="350520" y="659294"/>
                  </a:cubicBezTo>
                  <a:cubicBezTo>
                    <a:pt x="512445" y="659294"/>
                    <a:pt x="625792" y="521346"/>
                    <a:pt x="625792" y="331074"/>
                  </a:cubicBezTo>
                  <a:cubicBezTo>
                    <a:pt x="625792" y="140802"/>
                    <a:pt x="508635" y="951"/>
                    <a:pt x="346710" y="951"/>
                  </a:cubicBezTo>
                  <a:close/>
                  <a:moveTo>
                    <a:pt x="309563" y="539422"/>
                  </a:moveTo>
                  <a:cubicBezTo>
                    <a:pt x="196215" y="539422"/>
                    <a:pt x="135255" y="443335"/>
                    <a:pt x="135255" y="330123"/>
                  </a:cubicBezTo>
                  <a:cubicBezTo>
                    <a:pt x="135255" y="216911"/>
                    <a:pt x="201930" y="120823"/>
                    <a:pt x="311467" y="120823"/>
                  </a:cubicBezTo>
                  <a:cubicBezTo>
                    <a:pt x="421005" y="120823"/>
                    <a:pt x="491490" y="204543"/>
                    <a:pt x="491490" y="330123"/>
                  </a:cubicBezTo>
                  <a:cubicBezTo>
                    <a:pt x="491490" y="455702"/>
                    <a:pt x="412432" y="539422"/>
                    <a:pt x="310515" y="53942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24272A"/>
                </a:solidFill>
                <a:latin typeface="Pulso" pitchFamily="2" charset="0"/>
                <a:cs typeface="+mn-cs"/>
              </a:endParaRPr>
            </a:p>
          </p:txBody>
        </p:sp>
        <p:sp>
          <p:nvSpPr>
            <p:cNvPr id="147" name="Forma libre 100">
              <a:extLst>
                <a:ext uri="{FF2B5EF4-FFF2-40B4-BE49-F238E27FC236}">
                  <a16:creationId xmlns:a16="http://schemas.microsoft.com/office/drawing/2014/main" id="{33BBC0F8-EAB7-09F6-56BB-22271281321E}"/>
                </a:ext>
              </a:extLst>
            </p:cNvPr>
            <p:cNvSpPr/>
            <p:nvPr/>
          </p:nvSpPr>
          <p:spPr>
            <a:xfrm>
              <a:off x="4304347" y="2263508"/>
              <a:ext cx="609600" cy="623142"/>
            </a:xfrm>
            <a:custGeom>
              <a:avLst/>
              <a:gdLst>
                <a:gd name="connsiteX0" fmla="*/ 597218 w 609600"/>
                <a:gd name="connsiteY0" fmla="*/ 0 h 623142"/>
                <a:gd name="connsiteX1" fmla="*/ 454343 w 609600"/>
                <a:gd name="connsiteY1" fmla="*/ 0 h 623142"/>
                <a:gd name="connsiteX2" fmla="*/ 311468 w 609600"/>
                <a:gd name="connsiteY2" fmla="*/ 217862 h 623142"/>
                <a:gd name="connsiteX3" fmla="*/ 304800 w 609600"/>
                <a:gd name="connsiteY3" fmla="*/ 217862 h 623142"/>
                <a:gd name="connsiteX4" fmla="*/ 150495 w 609600"/>
                <a:gd name="connsiteY4" fmla="*/ 0 h 623142"/>
                <a:gd name="connsiteX5" fmla="*/ 0 w 609600"/>
                <a:gd name="connsiteY5" fmla="*/ 0 h 623142"/>
                <a:gd name="connsiteX6" fmla="*/ 220028 w 609600"/>
                <a:gd name="connsiteY6" fmla="*/ 307290 h 623142"/>
                <a:gd name="connsiteX7" fmla="*/ 0 w 609600"/>
                <a:gd name="connsiteY7" fmla="*/ 623142 h 623142"/>
                <a:gd name="connsiteX8" fmla="*/ 142875 w 609600"/>
                <a:gd name="connsiteY8" fmla="*/ 623142 h 623142"/>
                <a:gd name="connsiteX9" fmla="*/ 291465 w 609600"/>
                <a:gd name="connsiteY9" fmla="*/ 395767 h 623142"/>
                <a:gd name="connsiteX10" fmla="*/ 299085 w 609600"/>
                <a:gd name="connsiteY10" fmla="*/ 395767 h 623142"/>
                <a:gd name="connsiteX11" fmla="*/ 458153 w 609600"/>
                <a:gd name="connsiteY11" fmla="*/ 623142 h 623142"/>
                <a:gd name="connsiteX12" fmla="*/ 609600 w 609600"/>
                <a:gd name="connsiteY12" fmla="*/ 623142 h 623142"/>
                <a:gd name="connsiteX13" fmla="*/ 385763 w 609600"/>
                <a:gd name="connsiteY13" fmla="*/ 307290 h 623142"/>
                <a:gd name="connsiteX14" fmla="*/ 597218 w 609600"/>
                <a:gd name="connsiteY14" fmla="*/ 0 h 623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09600" h="623142">
                  <a:moveTo>
                    <a:pt x="597218" y="0"/>
                  </a:moveTo>
                  <a:lnTo>
                    <a:pt x="454343" y="0"/>
                  </a:lnTo>
                  <a:lnTo>
                    <a:pt x="311468" y="217862"/>
                  </a:lnTo>
                  <a:lnTo>
                    <a:pt x="304800" y="217862"/>
                  </a:lnTo>
                  <a:lnTo>
                    <a:pt x="150495" y="0"/>
                  </a:lnTo>
                  <a:lnTo>
                    <a:pt x="0" y="0"/>
                  </a:lnTo>
                  <a:lnTo>
                    <a:pt x="220028" y="307290"/>
                  </a:lnTo>
                  <a:lnTo>
                    <a:pt x="0" y="623142"/>
                  </a:lnTo>
                  <a:lnTo>
                    <a:pt x="142875" y="623142"/>
                  </a:lnTo>
                  <a:lnTo>
                    <a:pt x="291465" y="395767"/>
                  </a:lnTo>
                  <a:lnTo>
                    <a:pt x="299085" y="395767"/>
                  </a:lnTo>
                  <a:lnTo>
                    <a:pt x="458153" y="623142"/>
                  </a:lnTo>
                  <a:lnTo>
                    <a:pt x="609600" y="623142"/>
                  </a:lnTo>
                  <a:lnTo>
                    <a:pt x="385763" y="307290"/>
                  </a:lnTo>
                  <a:lnTo>
                    <a:pt x="59721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24272A"/>
                </a:solidFill>
                <a:latin typeface="Pulso" pitchFamily="2" charset="0"/>
                <a:cs typeface="+mn-cs"/>
              </a:endParaRPr>
            </a:p>
          </p:txBody>
        </p:sp>
        <p:sp>
          <p:nvSpPr>
            <p:cNvPr id="148" name="Forma libre 103">
              <a:extLst>
                <a:ext uri="{FF2B5EF4-FFF2-40B4-BE49-F238E27FC236}">
                  <a16:creationId xmlns:a16="http://schemas.microsoft.com/office/drawing/2014/main" id="{A8302BC5-68A5-5AF1-CD56-361B50B728A3}"/>
                </a:ext>
              </a:extLst>
            </p:cNvPr>
            <p:cNvSpPr/>
            <p:nvPr/>
          </p:nvSpPr>
          <p:spPr>
            <a:xfrm>
              <a:off x="5723572" y="2245432"/>
              <a:ext cx="607694" cy="656439"/>
            </a:xfrm>
            <a:custGeom>
              <a:avLst/>
              <a:gdLst>
                <a:gd name="connsiteX0" fmla="*/ 541972 w 607694"/>
                <a:gd name="connsiteY0" fmla="*/ 514687 h 656439"/>
                <a:gd name="connsiteX1" fmla="*/ 541972 w 607694"/>
                <a:gd name="connsiteY1" fmla="*/ 234986 h 656439"/>
                <a:gd name="connsiteX2" fmla="*/ 298132 w 607694"/>
                <a:gd name="connsiteY2" fmla="*/ 0 h 656439"/>
                <a:gd name="connsiteX3" fmla="*/ 18097 w 607694"/>
                <a:gd name="connsiteY3" fmla="*/ 195981 h 656439"/>
                <a:gd name="connsiteX4" fmla="*/ 122872 w 607694"/>
                <a:gd name="connsiteY4" fmla="*/ 240695 h 656439"/>
                <a:gd name="connsiteX5" fmla="*/ 298132 w 607694"/>
                <a:gd name="connsiteY5" fmla="*/ 110358 h 656439"/>
                <a:gd name="connsiteX6" fmla="*/ 415290 w 607694"/>
                <a:gd name="connsiteY6" fmla="*/ 250208 h 656439"/>
                <a:gd name="connsiteX7" fmla="*/ 415290 w 607694"/>
                <a:gd name="connsiteY7" fmla="*/ 288263 h 656439"/>
                <a:gd name="connsiteX8" fmla="*/ 247650 w 607694"/>
                <a:gd name="connsiteY8" fmla="*/ 288263 h 656439"/>
                <a:gd name="connsiteX9" fmla="*/ 0 w 607694"/>
                <a:gd name="connsiteY9" fmla="*/ 483292 h 656439"/>
                <a:gd name="connsiteX10" fmla="*/ 199072 w 607694"/>
                <a:gd name="connsiteY10" fmla="*/ 656440 h 656439"/>
                <a:gd name="connsiteX11" fmla="*/ 438150 w 607694"/>
                <a:gd name="connsiteY11" fmla="*/ 510881 h 656439"/>
                <a:gd name="connsiteX12" fmla="*/ 443865 w 607694"/>
                <a:gd name="connsiteY12" fmla="*/ 510881 h 656439"/>
                <a:gd name="connsiteX13" fmla="*/ 443865 w 607694"/>
                <a:gd name="connsiteY13" fmla="*/ 550839 h 656439"/>
                <a:gd name="connsiteX14" fmla="*/ 526732 w 607694"/>
                <a:gd name="connsiteY14" fmla="*/ 642169 h 656439"/>
                <a:gd name="connsiteX15" fmla="*/ 607695 w 607694"/>
                <a:gd name="connsiteY15" fmla="*/ 642169 h 656439"/>
                <a:gd name="connsiteX16" fmla="*/ 607695 w 607694"/>
                <a:gd name="connsiteY16" fmla="*/ 538471 h 656439"/>
                <a:gd name="connsiteX17" fmla="*/ 560070 w 607694"/>
                <a:gd name="connsiteY17" fmla="*/ 538471 h 656439"/>
                <a:gd name="connsiteX18" fmla="*/ 543877 w 607694"/>
                <a:gd name="connsiteY18" fmla="*/ 516590 h 656439"/>
                <a:gd name="connsiteX19" fmla="*/ 228600 w 607694"/>
                <a:gd name="connsiteY19" fmla="*/ 542276 h 656439"/>
                <a:gd name="connsiteX20" fmla="*/ 135255 w 607694"/>
                <a:gd name="connsiteY20" fmla="*/ 471876 h 656439"/>
                <a:gd name="connsiteX21" fmla="*/ 315277 w 607694"/>
                <a:gd name="connsiteY21" fmla="*/ 379594 h 656439"/>
                <a:gd name="connsiteX22" fmla="*/ 410527 w 607694"/>
                <a:gd name="connsiteY22" fmla="*/ 379594 h 656439"/>
                <a:gd name="connsiteX23" fmla="*/ 229552 w 607694"/>
                <a:gd name="connsiteY23" fmla="*/ 541325 h 656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07694" h="656439">
                  <a:moveTo>
                    <a:pt x="541972" y="514687"/>
                  </a:moveTo>
                  <a:lnTo>
                    <a:pt x="541972" y="234986"/>
                  </a:lnTo>
                  <a:cubicBezTo>
                    <a:pt x="541972" y="85623"/>
                    <a:pt x="448627" y="0"/>
                    <a:pt x="298132" y="0"/>
                  </a:cubicBezTo>
                  <a:cubicBezTo>
                    <a:pt x="147638" y="0"/>
                    <a:pt x="59055" y="72304"/>
                    <a:pt x="18097" y="195981"/>
                  </a:cubicBezTo>
                  <a:lnTo>
                    <a:pt x="122872" y="240695"/>
                  </a:lnTo>
                  <a:cubicBezTo>
                    <a:pt x="160020" y="149364"/>
                    <a:pt x="217170" y="110358"/>
                    <a:pt x="298132" y="110358"/>
                  </a:cubicBezTo>
                  <a:cubicBezTo>
                    <a:pt x="379095" y="110358"/>
                    <a:pt x="415290" y="158878"/>
                    <a:pt x="415290" y="250208"/>
                  </a:cubicBezTo>
                  <a:lnTo>
                    <a:pt x="415290" y="288263"/>
                  </a:lnTo>
                  <a:lnTo>
                    <a:pt x="247650" y="288263"/>
                  </a:lnTo>
                  <a:cubicBezTo>
                    <a:pt x="112395" y="288263"/>
                    <a:pt x="0" y="355809"/>
                    <a:pt x="0" y="483292"/>
                  </a:cubicBezTo>
                  <a:cubicBezTo>
                    <a:pt x="0" y="610774"/>
                    <a:pt x="89535" y="656440"/>
                    <a:pt x="199072" y="656440"/>
                  </a:cubicBezTo>
                  <a:cubicBezTo>
                    <a:pt x="308610" y="656440"/>
                    <a:pt x="400050" y="593650"/>
                    <a:pt x="438150" y="510881"/>
                  </a:cubicBezTo>
                  <a:lnTo>
                    <a:pt x="443865" y="510881"/>
                  </a:lnTo>
                  <a:lnTo>
                    <a:pt x="443865" y="550839"/>
                  </a:lnTo>
                  <a:cubicBezTo>
                    <a:pt x="442913" y="609823"/>
                    <a:pt x="470535" y="642169"/>
                    <a:pt x="526732" y="642169"/>
                  </a:cubicBezTo>
                  <a:lnTo>
                    <a:pt x="607695" y="642169"/>
                  </a:lnTo>
                  <a:lnTo>
                    <a:pt x="607695" y="538471"/>
                  </a:lnTo>
                  <a:lnTo>
                    <a:pt x="560070" y="538471"/>
                  </a:lnTo>
                  <a:cubicBezTo>
                    <a:pt x="549592" y="538471"/>
                    <a:pt x="543877" y="529909"/>
                    <a:pt x="543877" y="516590"/>
                  </a:cubicBezTo>
                  <a:close/>
                  <a:moveTo>
                    <a:pt x="228600" y="542276"/>
                  </a:moveTo>
                  <a:cubicBezTo>
                    <a:pt x="180022" y="542276"/>
                    <a:pt x="135255" y="521346"/>
                    <a:pt x="135255" y="471876"/>
                  </a:cubicBezTo>
                  <a:cubicBezTo>
                    <a:pt x="135255" y="422405"/>
                    <a:pt x="214313" y="379594"/>
                    <a:pt x="315277" y="379594"/>
                  </a:cubicBezTo>
                  <a:lnTo>
                    <a:pt x="410527" y="379594"/>
                  </a:lnTo>
                  <a:cubicBezTo>
                    <a:pt x="401002" y="461411"/>
                    <a:pt x="318135" y="541325"/>
                    <a:pt x="229552" y="5413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4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rgbClr val="24272A"/>
                </a:solidFill>
                <a:latin typeface="Pulso" pitchFamily="2" charset="0"/>
                <a:cs typeface="+mn-cs"/>
              </a:endParaRPr>
            </a:p>
          </p:txBody>
        </p:sp>
      </p:grpSp>
      <p:sp>
        <p:nvSpPr>
          <p:cNvPr id="150" name="Rectángulo: esquinas redondeadas 10">
            <a:extLst>
              <a:ext uri="{FF2B5EF4-FFF2-40B4-BE49-F238E27FC236}">
                <a16:creationId xmlns:a16="http://schemas.microsoft.com/office/drawing/2014/main" id="{7FBA351B-B96B-D199-4885-647478AD32C5}"/>
              </a:ext>
            </a:extLst>
          </p:cNvPr>
          <p:cNvSpPr/>
          <p:nvPr/>
        </p:nvSpPr>
        <p:spPr>
          <a:xfrm>
            <a:off x="1211245" y="2063933"/>
            <a:ext cx="1330522" cy="180258"/>
          </a:xfrm>
          <a:prstGeom prst="roundRect">
            <a:avLst/>
          </a:prstGeom>
          <a:solidFill>
            <a:srgbClr val="5950F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51" fontAlgn="auto">
              <a:spcBef>
                <a:spcPts val="0"/>
              </a:spcBef>
              <a:spcAft>
                <a:spcPts val="0"/>
              </a:spcAft>
              <a:defRPr/>
            </a:pPr>
            <a:endParaRPr lang="es-AR" sz="703">
              <a:solidFill>
                <a:prstClr val="white"/>
              </a:solidFill>
              <a:latin typeface="Pulso" pitchFamily="2" charset="0"/>
            </a:endParaRPr>
          </a:p>
        </p:txBody>
      </p:sp>
      <p:pic>
        <p:nvPicPr>
          <p:cNvPr id="151" name="Imagen 150">
            <a:extLst>
              <a:ext uri="{FF2B5EF4-FFF2-40B4-BE49-F238E27FC236}">
                <a16:creationId xmlns:a16="http://schemas.microsoft.com/office/drawing/2014/main" id="{3FD95AFB-7083-E9B7-28B1-AAAFE63F56E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583" t="17759" r="3386" b="4644"/>
          <a:stretch/>
        </p:blipFill>
        <p:spPr>
          <a:xfrm>
            <a:off x="1452949" y="2087712"/>
            <a:ext cx="847113" cy="142806"/>
          </a:xfrm>
          <a:prstGeom prst="rect">
            <a:avLst/>
          </a:prstGeom>
        </p:spPr>
      </p:pic>
      <p:sp>
        <p:nvSpPr>
          <p:cNvPr id="155" name="Rectángulo: esquinas redondeadas 10">
            <a:extLst>
              <a:ext uri="{FF2B5EF4-FFF2-40B4-BE49-F238E27FC236}">
                <a16:creationId xmlns:a16="http://schemas.microsoft.com/office/drawing/2014/main" id="{77F41575-92E8-DDCA-219A-34517D95FE9A}"/>
              </a:ext>
            </a:extLst>
          </p:cNvPr>
          <p:cNvSpPr/>
          <p:nvPr/>
        </p:nvSpPr>
        <p:spPr>
          <a:xfrm>
            <a:off x="1211245" y="2262085"/>
            <a:ext cx="1330522" cy="180258"/>
          </a:xfrm>
          <a:prstGeom prst="roundRect">
            <a:avLst/>
          </a:prstGeom>
          <a:solidFill>
            <a:srgbClr val="052C4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51" fontAlgn="auto">
              <a:spcBef>
                <a:spcPts val="0"/>
              </a:spcBef>
              <a:spcAft>
                <a:spcPts val="0"/>
              </a:spcAft>
              <a:defRPr/>
            </a:pPr>
            <a:endParaRPr lang="es-AR" sz="703">
              <a:solidFill>
                <a:prstClr val="white"/>
              </a:solidFill>
              <a:latin typeface="Pulso" pitchFamily="2" charset="0"/>
            </a:endParaRPr>
          </a:p>
        </p:txBody>
      </p:sp>
      <p:pic>
        <p:nvPicPr>
          <p:cNvPr id="156" name="Picture 2">
            <a:extLst>
              <a:ext uri="{FF2B5EF4-FFF2-40B4-BE49-F238E27FC236}">
                <a16:creationId xmlns:a16="http://schemas.microsoft.com/office/drawing/2014/main" id="{5254AC54-0C6D-B735-96A2-A30CB83905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3" t="16572" r="5708" b="11289"/>
          <a:stretch/>
        </p:blipFill>
        <p:spPr bwMode="auto">
          <a:xfrm>
            <a:off x="1449029" y="2296468"/>
            <a:ext cx="854953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9" name="Rectángulo: esquinas redondeadas 9">
            <a:extLst>
              <a:ext uri="{FF2B5EF4-FFF2-40B4-BE49-F238E27FC236}">
                <a16:creationId xmlns:a16="http://schemas.microsoft.com/office/drawing/2014/main" id="{96486DC4-A102-F3F4-655B-D06BBCA37619}"/>
              </a:ext>
            </a:extLst>
          </p:cNvPr>
          <p:cNvSpPr/>
          <p:nvPr/>
        </p:nvSpPr>
        <p:spPr>
          <a:xfrm>
            <a:off x="1211245" y="2460237"/>
            <a:ext cx="1330522" cy="180258"/>
          </a:xfrm>
          <a:prstGeom prst="roundRect">
            <a:avLst/>
          </a:prstGeom>
          <a:solidFill>
            <a:schemeClr val="bg1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51" fontAlgn="auto">
              <a:spcBef>
                <a:spcPts val="0"/>
              </a:spcBef>
              <a:spcAft>
                <a:spcPts val="0"/>
              </a:spcAft>
              <a:defRPr/>
            </a:pPr>
            <a:endParaRPr lang="es-AR" sz="703">
              <a:solidFill>
                <a:prstClr val="white"/>
              </a:solidFill>
              <a:latin typeface="Pulso" pitchFamily="2" charset="0"/>
            </a:endParaRPr>
          </a:p>
        </p:txBody>
      </p:sp>
      <p:pic>
        <p:nvPicPr>
          <p:cNvPr id="160" name="Gráfico 159">
            <a:extLst>
              <a:ext uri="{FF2B5EF4-FFF2-40B4-BE49-F238E27FC236}">
                <a16:creationId xmlns:a16="http://schemas.microsoft.com/office/drawing/2014/main" id="{B0F66741-5256-1E8B-D755-5FB3EF40B25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4566" t="12806" r="-4566" b="23571"/>
          <a:stretch/>
        </p:blipFill>
        <p:spPr>
          <a:xfrm>
            <a:off x="1626607" y="2460594"/>
            <a:ext cx="499799" cy="170649"/>
          </a:xfrm>
          <a:prstGeom prst="rect">
            <a:avLst/>
          </a:prstGeom>
        </p:spPr>
      </p:pic>
      <p:sp>
        <p:nvSpPr>
          <p:cNvPr id="164" name="Rectángulo: esquinas redondeadas 10">
            <a:extLst>
              <a:ext uri="{FF2B5EF4-FFF2-40B4-BE49-F238E27FC236}">
                <a16:creationId xmlns:a16="http://schemas.microsoft.com/office/drawing/2014/main" id="{E131C8CD-57F5-51D1-490D-794EB2458C9E}"/>
              </a:ext>
            </a:extLst>
          </p:cNvPr>
          <p:cNvSpPr/>
          <p:nvPr/>
        </p:nvSpPr>
        <p:spPr>
          <a:xfrm>
            <a:off x="1211245" y="2658389"/>
            <a:ext cx="1330522" cy="180258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6000" rtlCol="0" anchor="ctr"/>
          <a:lstStyle/>
          <a:p>
            <a:pPr algn="ctr" defTabSz="6429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750">
                <a:solidFill>
                  <a:prstClr val="white"/>
                </a:solidFill>
                <a:latin typeface="Pulso" pitchFamily="2" charset="0"/>
                <a:ea typeface="Roboto Medium" panose="02000000000000000000" pitchFamily="2" charset="0"/>
              </a:rPr>
              <a:t>ECOMMERCE</a:t>
            </a:r>
          </a:p>
        </p:txBody>
      </p:sp>
      <p:sp>
        <p:nvSpPr>
          <p:cNvPr id="166" name="Rectángulo: esquinas redondeadas 9">
            <a:extLst>
              <a:ext uri="{FF2B5EF4-FFF2-40B4-BE49-F238E27FC236}">
                <a16:creationId xmlns:a16="http://schemas.microsoft.com/office/drawing/2014/main" id="{3F248A9B-DEC9-3544-0A3C-F4AA77729E3A}"/>
              </a:ext>
            </a:extLst>
          </p:cNvPr>
          <p:cNvSpPr/>
          <p:nvPr/>
        </p:nvSpPr>
        <p:spPr>
          <a:xfrm>
            <a:off x="1211245" y="3450996"/>
            <a:ext cx="1330522" cy="180258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6000" rtlCol="0" anchor="ctr"/>
          <a:lstStyle/>
          <a:p>
            <a:pPr algn="ctr" defTabSz="6429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750">
                <a:solidFill>
                  <a:prstClr val="white"/>
                </a:solidFill>
                <a:latin typeface="Pulso" pitchFamily="2" charset="0"/>
                <a:ea typeface="Roboto Medium" panose="02000000000000000000" pitchFamily="2" charset="0"/>
              </a:rPr>
              <a:t>BSS B2B2C</a:t>
            </a:r>
          </a:p>
        </p:txBody>
      </p:sp>
      <p:sp>
        <p:nvSpPr>
          <p:cNvPr id="168" name="Rectángulo: esquinas redondeadas 13">
            <a:extLst>
              <a:ext uri="{FF2B5EF4-FFF2-40B4-BE49-F238E27FC236}">
                <a16:creationId xmlns:a16="http://schemas.microsoft.com/office/drawing/2014/main" id="{AFB81FCC-B956-0F00-924A-A5F46D85B29E}"/>
              </a:ext>
            </a:extLst>
          </p:cNvPr>
          <p:cNvSpPr/>
          <p:nvPr/>
        </p:nvSpPr>
        <p:spPr>
          <a:xfrm>
            <a:off x="1211245" y="3652265"/>
            <a:ext cx="1330522" cy="179751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6000" rtlCol="0" anchor="ctr"/>
          <a:lstStyle/>
          <a:p>
            <a:pPr algn="ctr" defTabSz="6429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750" err="1">
                <a:solidFill>
                  <a:prstClr val="white"/>
                </a:solidFill>
                <a:latin typeface="Pulso" pitchFamily="2" charset="0"/>
                <a:ea typeface="Roboto Medium" panose="02000000000000000000" pitchFamily="2" charset="0"/>
              </a:rPr>
              <a:t>Workplace</a:t>
            </a:r>
            <a:endParaRPr lang="es-AR" sz="750">
              <a:solidFill>
                <a:prstClr val="white"/>
              </a:solidFill>
              <a:latin typeface="Pulso" pitchFamily="2" charset="0"/>
              <a:ea typeface="Roboto Medium" panose="02000000000000000000" pitchFamily="2" charset="0"/>
            </a:endParaRPr>
          </a:p>
        </p:txBody>
      </p:sp>
      <p:sp>
        <p:nvSpPr>
          <p:cNvPr id="170" name="Rectángulo: esquinas redondeadas 15">
            <a:extLst>
              <a:ext uri="{FF2B5EF4-FFF2-40B4-BE49-F238E27FC236}">
                <a16:creationId xmlns:a16="http://schemas.microsoft.com/office/drawing/2014/main" id="{113C45BB-C4A2-54FF-1FFD-2A93D479EFBE}"/>
              </a:ext>
            </a:extLst>
          </p:cNvPr>
          <p:cNvSpPr/>
          <p:nvPr/>
        </p:nvSpPr>
        <p:spPr>
          <a:xfrm>
            <a:off x="1211245" y="4044436"/>
            <a:ext cx="1330522" cy="179751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6000" rtlCol="0" anchor="ctr"/>
          <a:lstStyle/>
          <a:p>
            <a:pPr algn="ctr" defTabSz="6429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750">
                <a:solidFill>
                  <a:prstClr val="white"/>
                </a:solidFill>
                <a:latin typeface="Pulso" pitchFamily="2" charset="0"/>
                <a:ea typeface="Roboto Medium" panose="02000000000000000000" pitchFamily="2" charset="0"/>
              </a:rPr>
              <a:t>OSS</a:t>
            </a:r>
          </a:p>
        </p:txBody>
      </p:sp>
      <p:sp>
        <p:nvSpPr>
          <p:cNvPr id="174" name="Rectángulo: esquinas redondeadas 12">
            <a:extLst>
              <a:ext uri="{FF2B5EF4-FFF2-40B4-BE49-F238E27FC236}">
                <a16:creationId xmlns:a16="http://schemas.microsoft.com/office/drawing/2014/main" id="{2DC8010A-1E04-ECA8-2563-85DEAE7E4135}"/>
              </a:ext>
            </a:extLst>
          </p:cNvPr>
          <p:cNvSpPr/>
          <p:nvPr/>
        </p:nvSpPr>
        <p:spPr>
          <a:xfrm>
            <a:off x="635888" y="4242080"/>
            <a:ext cx="1905877" cy="180258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750">
                <a:solidFill>
                  <a:prstClr val="white"/>
                </a:solidFill>
                <a:latin typeface="Pulso" pitchFamily="2" charset="0"/>
                <a:ea typeface="Roboto Medium" panose="02000000000000000000" pitchFamily="2" charset="0"/>
              </a:rPr>
              <a:t>Data Office</a:t>
            </a:r>
          </a:p>
        </p:txBody>
      </p:sp>
      <p:sp>
        <p:nvSpPr>
          <p:cNvPr id="177" name="Rectángulo: esquinas redondeadas 10">
            <a:extLst>
              <a:ext uri="{FF2B5EF4-FFF2-40B4-BE49-F238E27FC236}">
                <a16:creationId xmlns:a16="http://schemas.microsoft.com/office/drawing/2014/main" id="{DFB729FC-E0CE-DAF4-D255-05920EA49788}"/>
              </a:ext>
            </a:extLst>
          </p:cNvPr>
          <p:cNvSpPr/>
          <p:nvPr/>
        </p:nvSpPr>
        <p:spPr>
          <a:xfrm>
            <a:off x="1211245" y="2856540"/>
            <a:ext cx="1330522" cy="180258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6000" rtlCol="0" anchor="ctr"/>
          <a:lstStyle/>
          <a:p>
            <a:pPr algn="ctr" defTabSz="6429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750">
                <a:solidFill>
                  <a:prstClr val="white"/>
                </a:solidFill>
                <a:latin typeface="Pulso" pitchFamily="2" charset="0"/>
                <a:ea typeface="Roboto Medium" panose="02000000000000000000" pitchFamily="2" charset="0"/>
              </a:rPr>
              <a:t>MARTECH</a:t>
            </a:r>
          </a:p>
        </p:txBody>
      </p:sp>
      <p:sp>
        <p:nvSpPr>
          <p:cNvPr id="184" name="CuadroTexto 183">
            <a:extLst>
              <a:ext uri="{FF2B5EF4-FFF2-40B4-BE49-F238E27FC236}">
                <a16:creationId xmlns:a16="http://schemas.microsoft.com/office/drawing/2014/main" id="{7A3903E3-B6B9-44CD-C5EC-F9CF91C2C2D4}"/>
              </a:ext>
            </a:extLst>
          </p:cNvPr>
          <p:cNvSpPr txBox="1"/>
          <p:nvPr/>
        </p:nvSpPr>
        <p:spPr>
          <a:xfrm>
            <a:off x="4880179" y="1658242"/>
            <a:ext cx="221909" cy="12087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6429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0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 Medium" panose="02000000000000000000" pitchFamily="2" charset="0"/>
                <a:cs typeface="Roboto" panose="02000000000000000000" pitchFamily="2" charset="0"/>
              </a:rPr>
              <a:t>TMA</a:t>
            </a:r>
          </a:p>
        </p:txBody>
      </p:sp>
      <p:sp>
        <p:nvSpPr>
          <p:cNvPr id="185" name="Rectángulo: esquinas redondeadas 10">
            <a:extLst>
              <a:ext uri="{FF2B5EF4-FFF2-40B4-BE49-F238E27FC236}">
                <a16:creationId xmlns:a16="http://schemas.microsoft.com/office/drawing/2014/main" id="{FC7FE289-9C5C-F507-D20A-C460EDFD80B6}"/>
              </a:ext>
            </a:extLst>
          </p:cNvPr>
          <p:cNvSpPr/>
          <p:nvPr/>
        </p:nvSpPr>
        <p:spPr>
          <a:xfrm>
            <a:off x="1211245" y="3054692"/>
            <a:ext cx="1330522" cy="180258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6000" rtlCol="0" anchor="ctr"/>
          <a:lstStyle/>
          <a:p>
            <a:pPr algn="ctr" defTabSz="642951">
              <a:defRPr/>
            </a:pPr>
            <a:r>
              <a:rPr lang="es-AR" sz="750">
                <a:solidFill>
                  <a:prstClr val="white"/>
                </a:solidFill>
                <a:latin typeface="Pulso" pitchFamily="2" charset="0"/>
                <a:ea typeface="Roboto Medium" panose="02000000000000000000" pitchFamily="2" charset="0"/>
              </a:rPr>
              <a:t>Autogestión B2B2C</a:t>
            </a:r>
          </a:p>
        </p:txBody>
      </p:sp>
      <p:sp>
        <p:nvSpPr>
          <p:cNvPr id="186" name="Rectángulo: esquinas redondeadas 10">
            <a:extLst>
              <a:ext uri="{FF2B5EF4-FFF2-40B4-BE49-F238E27FC236}">
                <a16:creationId xmlns:a16="http://schemas.microsoft.com/office/drawing/2014/main" id="{3208B747-2148-15A4-D73F-3433AD1A8836}"/>
              </a:ext>
            </a:extLst>
          </p:cNvPr>
          <p:cNvSpPr/>
          <p:nvPr/>
        </p:nvSpPr>
        <p:spPr>
          <a:xfrm>
            <a:off x="1211245" y="3252844"/>
            <a:ext cx="1330522" cy="180258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6000" rtlCol="0" anchor="ctr"/>
          <a:lstStyle/>
          <a:p>
            <a:pPr algn="ctr" defTabSz="6429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750" err="1">
                <a:solidFill>
                  <a:prstClr val="white"/>
                </a:solidFill>
                <a:latin typeface="Pulso" pitchFamily="2" charset="0"/>
                <a:ea typeface="Roboto Medium" panose="02000000000000000000" pitchFamily="2" charset="0"/>
              </a:rPr>
              <a:t>Plat</a:t>
            </a:r>
            <a:r>
              <a:rPr lang="es-AR" sz="750">
                <a:solidFill>
                  <a:prstClr val="white"/>
                </a:solidFill>
                <a:latin typeface="Pulso" pitchFamily="2" charset="0"/>
                <a:ea typeface="Roboto Medium" panose="02000000000000000000" pitchFamily="2" charset="0"/>
              </a:rPr>
              <a:t>. de Contacto</a:t>
            </a:r>
          </a:p>
        </p:txBody>
      </p:sp>
      <p:pic>
        <p:nvPicPr>
          <p:cNvPr id="203" name="Imagen 202">
            <a:extLst>
              <a:ext uri="{FF2B5EF4-FFF2-40B4-BE49-F238E27FC236}">
                <a16:creationId xmlns:a16="http://schemas.microsoft.com/office/drawing/2014/main" id="{0A48F243-11CF-EA8B-6AA3-07F7F4E352A3}"/>
              </a:ext>
            </a:extLst>
          </p:cNvPr>
          <p:cNvPicPr preferRelativeResize="0"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3002612" y="1416076"/>
            <a:ext cx="231495" cy="231496"/>
          </a:xfrm>
          <a:prstGeom prst="rect">
            <a:avLst/>
          </a:prstGeom>
        </p:spPr>
      </p:pic>
      <p:pic>
        <p:nvPicPr>
          <p:cNvPr id="204" name="Imagen 203">
            <a:extLst>
              <a:ext uri="{FF2B5EF4-FFF2-40B4-BE49-F238E27FC236}">
                <a16:creationId xmlns:a16="http://schemas.microsoft.com/office/drawing/2014/main" id="{4A8E33E5-3CC0-33A4-C8F6-BBE24D1C1D56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250793" y="1416076"/>
            <a:ext cx="231495" cy="231496"/>
          </a:xfrm>
          <a:prstGeom prst="rect">
            <a:avLst/>
          </a:prstGeom>
        </p:spPr>
      </p:pic>
      <p:pic>
        <p:nvPicPr>
          <p:cNvPr id="205" name="Imagen 204">
            <a:extLst>
              <a:ext uri="{FF2B5EF4-FFF2-40B4-BE49-F238E27FC236}">
                <a16:creationId xmlns:a16="http://schemas.microsoft.com/office/drawing/2014/main" id="{BCEDF81C-0249-FC4D-C832-5341D8EF4237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26200" y="1416076"/>
            <a:ext cx="231495" cy="231496"/>
          </a:xfrm>
          <a:prstGeom prst="rect">
            <a:avLst/>
          </a:prstGeom>
        </p:spPr>
      </p:pic>
      <p:sp>
        <p:nvSpPr>
          <p:cNvPr id="206" name="Rectángulo: esquinas redondeadas 12">
            <a:extLst>
              <a:ext uri="{FF2B5EF4-FFF2-40B4-BE49-F238E27FC236}">
                <a16:creationId xmlns:a16="http://schemas.microsoft.com/office/drawing/2014/main" id="{027B9271-3EF4-3A1E-E95B-89AE1225A53F}"/>
              </a:ext>
            </a:extLst>
          </p:cNvPr>
          <p:cNvSpPr/>
          <p:nvPr/>
        </p:nvSpPr>
        <p:spPr>
          <a:xfrm>
            <a:off x="635888" y="4440234"/>
            <a:ext cx="1905877" cy="180258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750" err="1">
                <a:solidFill>
                  <a:prstClr val="white"/>
                </a:solidFill>
                <a:latin typeface="Pulso" pitchFamily="2" charset="0"/>
                <a:ea typeface="Roboto Medium" panose="02000000000000000000" pitchFamily="2" charset="0"/>
              </a:rPr>
              <a:t>Plat</a:t>
            </a:r>
            <a:r>
              <a:rPr lang="es-AR" sz="750">
                <a:solidFill>
                  <a:prstClr val="white"/>
                </a:solidFill>
                <a:latin typeface="Pulso" pitchFamily="2" charset="0"/>
                <a:ea typeface="Roboto Medium" panose="02000000000000000000" pitchFamily="2" charset="0"/>
              </a:rPr>
              <a:t> </a:t>
            </a:r>
            <a:r>
              <a:rPr lang="es-AR" sz="750" err="1">
                <a:solidFill>
                  <a:prstClr val="white"/>
                </a:solidFill>
                <a:latin typeface="Pulso" pitchFamily="2" charset="0"/>
                <a:ea typeface="Roboto Medium" panose="02000000000000000000" pitchFamily="2" charset="0"/>
              </a:rPr>
              <a:t>Gobernance</a:t>
            </a:r>
            <a:r>
              <a:rPr lang="es-AR" sz="750">
                <a:solidFill>
                  <a:prstClr val="white"/>
                </a:solidFill>
                <a:latin typeface="Pulso" pitchFamily="2" charset="0"/>
                <a:ea typeface="Roboto Medium" panose="02000000000000000000" pitchFamily="2" charset="0"/>
              </a:rPr>
              <a:t> GEN AI</a:t>
            </a:r>
          </a:p>
        </p:txBody>
      </p:sp>
      <p:sp>
        <p:nvSpPr>
          <p:cNvPr id="235" name="Rectángulo: esquinas redondeadas 13">
            <a:extLst>
              <a:ext uri="{FF2B5EF4-FFF2-40B4-BE49-F238E27FC236}">
                <a16:creationId xmlns:a16="http://schemas.microsoft.com/office/drawing/2014/main" id="{76BEA516-E307-E88F-F439-2DB38661DF85}"/>
              </a:ext>
            </a:extLst>
          </p:cNvPr>
          <p:cNvSpPr/>
          <p:nvPr/>
        </p:nvSpPr>
        <p:spPr>
          <a:xfrm>
            <a:off x="1211245" y="3846792"/>
            <a:ext cx="1330522" cy="179751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6000" rtlCol="0" anchor="ctr"/>
          <a:lstStyle/>
          <a:p>
            <a:pPr algn="ctr" defTabSz="6429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750">
                <a:solidFill>
                  <a:prstClr val="white"/>
                </a:solidFill>
                <a:latin typeface="Pulso" pitchFamily="2" charset="0"/>
                <a:ea typeface="Roboto Medium" panose="02000000000000000000" pitchFamily="2" charset="0"/>
              </a:rPr>
              <a:t>ESS</a:t>
            </a:r>
          </a:p>
        </p:txBody>
      </p:sp>
      <p:sp>
        <p:nvSpPr>
          <p:cNvPr id="202" name="Rectángulo 201">
            <a:extLst>
              <a:ext uri="{FF2B5EF4-FFF2-40B4-BE49-F238E27FC236}">
                <a16:creationId xmlns:a16="http://schemas.microsoft.com/office/drawing/2014/main" id="{FC81816C-399D-E8DA-5110-0713DEACC5F6}"/>
              </a:ext>
            </a:extLst>
          </p:cNvPr>
          <p:cNvSpPr/>
          <p:nvPr/>
        </p:nvSpPr>
        <p:spPr>
          <a:xfrm>
            <a:off x="4758207" y="2482454"/>
            <a:ext cx="465852" cy="1208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rtlCol="0" anchor="ctr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00" kern="0">
                <a:solidFill>
                  <a:srgbClr val="24272A">
                    <a:lumMod val="75000"/>
                    <a:lumOff val="25000"/>
                  </a:srgbClr>
                </a:solidFill>
                <a:latin typeface="Pulso Light" pitchFamily="2" charset="0"/>
                <a:cs typeface="+mn-cs"/>
              </a:rPr>
              <a:t>2da etapa</a:t>
            </a:r>
          </a:p>
        </p:txBody>
      </p:sp>
      <p:sp>
        <p:nvSpPr>
          <p:cNvPr id="224" name="Forma libre 172">
            <a:extLst>
              <a:ext uri="{FF2B5EF4-FFF2-40B4-BE49-F238E27FC236}">
                <a16:creationId xmlns:a16="http://schemas.microsoft.com/office/drawing/2014/main" id="{405C6C40-6E85-B0A8-31A3-BBEEE934064C}"/>
              </a:ext>
            </a:extLst>
          </p:cNvPr>
          <p:cNvSpPr>
            <a:spLocks/>
          </p:cNvSpPr>
          <p:nvPr/>
        </p:nvSpPr>
        <p:spPr>
          <a:xfrm>
            <a:off x="5812474" y="2468908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234" name="Forma libre 195">
            <a:extLst>
              <a:ext uri="{FF2B5EF4-FFF2-40B4-BE49-F238E27FC236}">
                <a16:creationId xmlns:a16="http://schemas.microsoft.com/office/drawing/2014/main" id="{AFBAF91C-0149-97C6-4BC0-C16267978C2F}"/>
              </a:ext>
            </a:extLst>
          </p:cNvPr>
          <p:cNvSpPr>
            <a:spLocks/>
          </p:cNvSpPr>
          <p:nvPr/>
        </p:nvSpPr>
        <p:spPr>
          <a:xfrm>
            <a:off x="5812474" y="4449340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201" name="Rectángulo 200">
            <a:extLst>
              <a:ext uri="{FF2B5EF4-FFF2-40B4-BE49-F238E27FC236}">
                <a16:creationId xmlns:a16="http://schemas.microsoft.com/office/drawing/2014/main" id="{02B4E6A7-4FC8-87CC-7C33-F2562A569E29}"/>
              </a:ext>
            </a:extLst>
          </p:cNvPr>
          <p:cNvSpPr/>
          <p:nvPr/>
        </p:nvSpPr>
        <p:spPr>
          <a:xfrm>
            <a:off x="4897491" y="2298442"/>
            <a:ext cx="187285" cy="1208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rtlCol="0" anchor="ctr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00" kern="0">
                <a:solidFill>
                  <a:srgbClr val="24272A">
                    <a:lumMod val="75000"/>
                    <a:lumOff val="25000"/>
                  </a:srgbClr>
                </a:solidFill>
                <a:latin typeface="Pulso Light" pitchFamily="2" charset="0"/>
                <a:cs typeface="+mn-cs"/>
              </a:rPr>
              <a:t>TBD</a:t>
            </a:r>
          </a:p>
        </p:txBody>
      </p:sp>
      <p:cxnSp>
        <p:nvCxnSpPr>
          <p:cNvPr id="246" name="Conector recto 245">
            <a:extLst>
              <a:ext uri="{FF2B5EF4-FFF2-40B4-BE49-F238E27FC236}">
                <a16:creationId xmlns:a16="http://schemas.microsoft.com/office/drawing/2014/main" id="{008F82EC-BC18-BC33-5CD4-806EE479C716}"/>
              </a:ext>
            </a:extLst>
          </p:cNvPr>
          <p:cNvCxnSpPr>
            <a:cxnSpLocks/>
          </p:cNvCxnSpPr>
          <p:nvPr/>
        </p:nvCxnSpPr>
        <p:spPr>
          <a:xfrm>
            <a:off x="2763516" y="1825677"/>
            <a:ext cx="3405639" cy="0"/>
          </a:xfrm>
          <a:prstGeom prst="line">
            <a:avLst/>
          </a:prstGeom>
          <a:ln w="0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CuadroTexto 254">
            <a:extLst>
              <a:ext uri="{FF2B5EF4-FFF2-40B4-BE49-F238E27FC236}">
                <a16:creationId xmlns:a16="http://schemas.microsoft.com/office/drawing/2014/main" id="{8A794BAD-05E9-228E-8394-67AA1AC3043E}"/>
              </a:ext>
            </a:extLst>
          </p:cNvPr>
          <p:cNvSpPr txBox="1"/>
          <p:nvPr/>
        </p:nvSpPr>
        <p:spPr>
          <a:xfrm>
            <a:off x="5767591" y="1665796"/>
            <a:ext cx="251811" cy="12087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6429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800">
                <a:solidFill>
                  <a:schemeClr val="bg1">
                    <a:lumMod val="25000"/>
                  </a:schemeClr>
                </a:solidFill>
                <a:latin typeface="Pulso" pitchFamily="2" charset="0"/>
                <a:ea typeface="Roboto Medium" panose="02000000000000000000" pitchFamily="2" charset="0"/>
                <a:cs typeface="Roboto" panose="02000000000000000000" pitchFamily="2" charset="0"/>
              </a:rPr>
              <a:t>2030</a:t>
            </a:r>
          </a:p>
        </p:txBody>
      </p:sp>
      <p:sp>
        <p:nvSpPr>
          <p:cNvPr id="32" name="Flecha: a la derecha 220">
            <a:extLst>
              <a:ext uri="{FF2B5EF4-FFF2-40B4-BE49-F238E27FC236}">
                <a16:creationId xmlns:a16="http://schemas.microsoft.com/office/drawing/2014/main" id="{68F97E01-8CA7-44FB-E4BE-DB72B8DF1C7A}"/>
              </a:ext>
            </a:extLst>
          </p:cNvPr>
          <p:cNvSpPr/>
          <p:nvPr/>
        </p:nvSpPr>
        <p:spPr>
          <a:xfrm>
            <a:off x="5296848" y="2687694"/>
            <a:ext cx="357633" cy="857323"/>
          </a:xfrm>
          <a:prstGeom prst="rightArrow">
            <a:avLst/>
          </a:prstGeom>
          <a:solidFill>
            <a:schemeClr val="tx2">
              <a:lumMod val="75000"/>
              <a:lumOff val="25000"/>
            </a:schemeClr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 b="1">
              <a:solidFill>
                <a:schemeClr val="tx1"/>
              </a:solidFill>
              <a:latin typeface="Pulso" pitchFamily="2" charset="0"/>
            </a:endParaRPr>
          </a:p>
        </p:txBody>
      </p:sp>
      <p:sp>
        <p:nvSpPr>
          <p:cNvPr id="225" name="Forma libre 181">
            <a:extLst>
              <a:ext uri="{FF2B5EF4-FFF2-40B4-BE49-F238E27FC236}">
                <a16:creationId xmlns:a16="http://schemas.microsoft.com/office/drawing/2014/main" id="{322FA000-2E59-249C-0970-96DAD1D953A6}"/>
              </a:ext>
            </a:extLst>
          </p:cNvPr>
          <p:cNvSpPr>
            <a:spLocks/>
          </p:cNvSpPr>
          <p:nvPr/>
        </p:nvSpPr>
        <p:spPr>
          <a:xfrm>
            <a:off x="5812474" y="2666736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231" name="Forma libre 172">
            <a:extLst>
              <a:ext uri="{FF2B5EF4-FFF2-40B4-BE49-F238E27FC236}">
                <a16:creationId xmlns:a16="http://schemas.microsoft.com/office/drawing/2014/main" id="{C836225C-F931-DA5C-9A86-5631213D9186}"/>
              </a:ext>
            </a:extLst>
          </p:cNvPr>
          <p:cNvSpPr>
            <a:spLocks/>
          </p:cNvSpPr>
          <p:nvPr/>
        </p:nvSpPr>
        <p:spPr>
          <a:xfrm>
            <a:off x="5812474" y="2864833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230" name="Forma libre 163">
            <a:extLst>
              <a:ext uri="{FF2B5EF4-FFF2-40B4-BE49-F238E27FC236}">
                <a16:creationId xmlns:a16="http://schemas.microsoft.com/office/drawing/2014/main" id="{9ACE303D-FE47-749C-3809-6AD874CE792A}"/>
              </a:ext>
            </a:extLst>
          </p:cNvPr>
          <p:cNvSpPr>
            <a:spLocks/>
          </p:cNvSpPr>
          <p:nvPr/>
        </p:nvSpPr>
        <p:spPr>
          <a:xfrm>
            <a:off x="5812474" y="1874888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222" name="Forma libre 163">
            <a:extLst>
              <a:ext uri="{FF2B5EF4-FFF2-40B4-BE49-F238E27FC236}">
                <a16:creationId xmlns:a16="http://schemas.microsoft.com/office/drawing/2014/main" id="{1505C50A-3990-D340-896A-907587D7EF3B}"/>
              </a:ext>
            </a:extLst>
          </p:cNvPr>
          <p:cNvSpPr>
            <a:spLocks/>
          </p:cNvSpPr>
          <p:nvPr/>
        </p:nvSpPr>
        <p:spPr>
          <a:xfrm>
            <a:off x="5812474" y="2072985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223" name="Forma libre 167">
            <a:extLst>
              <a:ext uri="{FF2B5EF4-FFF2-40B4-BE49-F238E27FC236}">
                <a16:creationId xmlns:a16="http://schemas.microsoft.com/office/drawing/2014/main" id="{C8EF2B9C-E13A-91BE-9401-479896AC532C}"/>
              </a:ext>
            </a:extLst>
          </p:cNvPr>
          <p:cNvSpPr>
            <a:spLocks/>
          </p:cNvSpPr>
          <p:nvPr/>
        </p:nvSpPr>
        <p:spPr>
          <a:xfrm>
            <a:off x="5812474" y="2271081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233" name="Forma libre 172">
            <a:extLst>
              <a:ext uri="{FF2B5EF4-FFF2-40B4-BE49-F238E27FC236}">
                <a16:creationId xmlns:a16="http://schemas.microsoft.com/office/drawing/2014/main" id="{4EEFF208-9E8B-CAA4-FBD1-71F668040BA0}"/>
              </a:ext>
            </a:extLst>
          </p:cNvPr>
          <p:cNvSpPr>
            <a:spLocks/>
          </p:cNvSpPr>
          <p:nvPr/>
        </p:nvSpPr>
        <p:spPr>
          <a:xfrm>
            <a:off x="5812474" y="3261026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232" name="Forma libre 172">
            <a:extLst>
              <a:ext uri="{FF2B5EF4-FFF2-40B4-BE49-F238E27FC236}">
                <a16:creationId xmlns:a16="http://schemas.microsoft.com/office/drawing/2014/main" id="{74D0C44B-A80A-A90B-775F-30E0138CC1A5}"/>
              </a:ext>
            </a:extLst>
          </p:cNvPr>
          <p:cNvSpPr>
            <a:spLocks/>
          </p:cNvSpPr>
          <p:nvPr/>
        </p:nvSpPr>
        <p:spPr>
          <a:xfrm>
            <a:off x="5812474" y="3062929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226" name="Forma libre 182">
            <a:extLst>
              <a:ext uri="{FF2B5EF4-FFF2-40B4-BE49-F238E27FC236}">
                <a16:creationId xmlns:a16="http://schemas.microsoft.com/office/drawing/2014/main" id="{ED5BDF75-41B8-2C1E-5D79-37EC9DEA3603}"/>
              </a:ext>
            </a:extLst>
          </p:cNvPr>
          <p:cNvSpPr>
            <a:spLocks/>
          </p:cNvSpPr>
          <p:nvPr/>
        </p:nvSpPr>
        <p:spPr>
          <a:xfrm>
            <a:off x="5812474" y="3459123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239" name="Forma libre 186">
            <a:extLst>
              <a:ext uri="{FF2B5EF4-FFF2-40B4-BE49-F238E27FC236}">
                <a16:creationId xmlns:a16="http://schemas.microsoft.com/office/drawing/2014/main" id="{C888390A-C47D-EDE0-589A-BF97AA740625}"/>
              </a:ext>
            </a:extLst>
          </p:cNvPr>
          <p:cNvSpPr>
            <a:spLocks/>
          </p:cNvSpPr>
          <p:nvPr/>
        </p:nvSpPr>
        <p:spPr>
          <a:xfrm>
            <a:off x="5812474" y="3855316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229" name="Forma libre 195">
            <a:extLst>
              <a:ext uri="{FF2B5EF4-FFF2-40B4-BE49-F238E27FC236}">
                <a16:creationId xmlns:a16="http://schemas.microsoft.com/office/drawing/2014/main" id="{07781F9C-3AEC-27FF-4F0E-8F3D5ABE63E9}"/>
              </a:ext>
            </a:extLst>
          </p:cNvPr>
          <p:cNvSpPr>
            <a:spLocks/>
          </p:cNvSpPr>
          <p:nvPr/>
        </p:nvSpPr>
        <p:spPr>
          <a:xfrm>
            <a:off x="5812474" y="4251510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227" name="Forma libre 186">
            <a:extLst>
              <a:ext uri="{FF2B5EF4-FFF2-40B4-BE49-F238E27FC236}">
                <a16:creationId xmlns:a16="http://schemas.microsoft.com/office/drawing/2014/main" id="{9454A98A-E47C-072D-3651-FC6CF564E472}"/>
              </a:ext>
            </a:extLst>
          </p:cNvPr>
          <p:cNvSpPr>
            <a:spLocks/>
          </p:cNvSpPr>
          <p:nvPr/>
        </p:nvSpPr>
        <p:spPr>
          <a:xfrm>
            <a:off x="5812474" y="3657220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63" name="Forma libre 172">
            <a:extLst>
              <a:ext uri="{FF2B5EF4-FFF2-40B4-BE49-F238E27FC236}">
                <a16:creationId xmlns:a16="http://schemas.microsoft.com/office/drawing/2014/main" id="{3929411A-3FE0-A8AF-97F3-84397B60953A}"/>
              </a:ext>
            </a:extLst>
          </p:cNvPr>
          <p:cNvSpPr>
            <a:spLocks/>
          </p:cNvSpPr>
          <p:nvPr/>
        </p:nvSpPr>
        <p:spPr>
          <a:xfrm>
            <a:off x="3036331" y="2468908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211" name="Forma libre 195">
            <a:extLst>
              <a:ext uri="{FF2B5EF4-FFF2-40B4-BE49-F238E27FC236}">
                <a16:creationId xmlns:a16="http://schemas.microsoft.com/office/drawing/2014/main" id="{9D532E13-ED45-83E8-3325-D589F7264707}"/>
              </a:ext>
            </a:extLst>
          </p:cNvPr>
          <p:cNvSpPr>
            <a:spLocks/>
          </p:cNvSpPr>
          <p:nvPr/>
        </p:nvSpPr>
        <p:spPr>
          <a:xfrm>
            <a:off x="3036331" y="4449340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65" name="Forma libre 181">
            <a:extLst>
              <a:ext uri="{FF2B5EF4-FFF2-40B4-BE49-F238E27FC236}">
                <a16:creationId xmlns:a16="http://schemas.microsoft.com/office/drawing/2014/main" id="{1B53E4D5-4198-F03C-1679-A9D9A3993E5C}"/>
              </a:ext>
            </a:extLst>
          </p:cNvPr>
          <p:cNvSpPr>
            <a:spLocks/>
          </p:cNvSpPr>
          <p:nvPr/>
        </p:nvSpPr>
        <p:spPr>
          <a:xfrm>
            <a:off x="3036331" y="2666736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81" name="Forma libre 172">
            <a:extLst>
              <a:ext uri="{FF2B5EF4-FFF2-40B4-BE49-F238E27FC236}">
                <a16:creationId xmlns:a16="http://schemas.microsoft.com/office/drawing/2014/main" id="{846D231A-8078-7B2D-DDDC-413F280541A5}"/>
              </a:ext>
            </a:extLst>
          </p:cNvPr>
          <p:cNvSpPr>
            <a:spLocks/>
          </p:cNvSpPr>
          <p:nvPr/>
        </p:nvSpPr>
        <p:spPr>
          <a:xfrm>
            <a:off x="3036331" y="2864833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78" name="Forma libre 163">
            <a:extLst>
              <a:ext uri="{FF2B5EF4-FFF2-40B4-BE49-F238E27FC236}">
                <a16:creationId xmlns:a16="http://schemas.microsoft.com/office/drawing/2014/main" id="{BD66B742-0AEB-D822-4BE5-4F3753034C8E}"/>
              </a:ext>
            </a:extLst>
          </p:cNvPr>
          <p:cNvSpPr>
            <a:spLocks/>
          </p:cNvSpPr>
          <p:nvPr/>
        </p:nvSpPr>
        <p:spPr>
          <a:xfrm>
            <a:off x="3036331" y="1874888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52" name="Forma libre 163">
            <a:extLst>
              <a:ext uri="{FF2B5EF4-FFF2-40B4-BE49-F238E27FC236}">
                <a16:creationId xmlns:a16="http://schemas.microsoft.com/office/drawing/2014/main" id="{94ADA52E-73E0-780C-E62A-D3324B341261}"/>
              </a:ext>
            </a:extLst>
          </p:cNvPr>
          <p:cNvSpPr>
            <a:spLocks/>
          </p:cNvSpPr>
          <p:nvPr/>
        </p:nvSpPr>
        <p:spPr>
          <a:xfrm>
            <a:off x="3036331" y="2072985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57" name="Forma libre 167">
            <a:extLst>
              <a:ext uri="{FF2B5EF4-FFF2-40B4-BE49-F238E27FC236}">
                <a16:creationId xmlns:a16="http://schemas.microsoft.com/office/drawing/2014/main" id="{A12B0F52-3B06-7259-DBC1-E02768AF3E7E}"/>
              </a:ext>
            </a:extLst>
          </p:cNvPr>
          <p:cNvSpPr>
            <a:spLocks/>
          </p:cNvSpPr>
          <p:nvPr/>
        </p:nvSpPr>
        <p:spPr>
          <a:xfrm>
            <a:off x="3036331" y="2271081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88" name="Forma libre 172">
            <a:extLst>
              <a:ext uri="{FF2B5EF4-FFF2-40B4-BE49-F238E27FC236}">
                <a16:creationId xmlns:a16="http://schemas.microsoft.com/office/drawing/2014/main" id="{8450CE3C-87B2-0B6E-201C-2DCFED5C2E0F}"/>
              </a:ext>
            </a:extLst>
          </p:cNvPr>
          <p:cNvSpPr>
            <a:spLocks/>
          </p:cNvSpPr>
          <p:nvPr/>
        </p:nvSpPr>
        <p:spPr>
          <a:xfrm>
            <a:off x="3036331" y="3261026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87" name="Forma libre 172">
            <a:extLst>
              <a:ext uri="{FF2B5EF4-FFF2-40B4-BE49-F238E27FC236}">
                <a16:creationId xmlns:a16="http://schemas.microsoft.com/office/drawing/2014/main" id="{9D271458-EE39-0E4C-9B05-BEE17C8EB188}"/>
              </a:ext>
            </a:extLst>
          </p:cNvPr>
          <p:cNvSpPr>
            <a:spLocks/>
          </p:cNvSpPr>
          <p:nvPr/>
        </p:nvSpPr>
        <p:spPr>
          <a:xfrm>
            <a:off x="3036331" y="3062929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67" name="Forma libre 182">
            <a:extLst>
              <a:ext uri="{FF2B5EF4-FFF2-40B4-BE49-F238E27FC236}">
                <a16:creationId xmlns:a16="http://schemas.microsoft.com/office/drawing/2014/main" id="{6B0C4C72-26A6-A699-08EB-ED9EDC8CD364}"/>
              </a:ext>
            </a:extLst>
          </p:cNvPr>
          <p:cNvSpPr>
            <a:spLocks/>
          </p:cNvSpPr>
          <p:nvPr/>
        </p:nvSpPr>
        <p:spPr>
          <a:xfrm>
            <a:off x="3036331" y="3459123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236" name="Forma libre 186">
            <a:extLst>
              <a:ext uri="{FF2B5EF4-FFF2-40B4-BE49-F238E27FC236}">
                <a16:creationId xmlns:a16="http://schemas.microsoft.com/office/drawing/2014/main" id="{E9C81612-CCBE-5FB5-48DD-476346E7E646}"/>
              </a:ext>
            </a:extLst>
          </p:cNvPr>
          <p:cNvSpPr>
            <a:spLocks/>
          </p:cNvSpPr>
          <p:nvPr/>
        </p:nvSpPr>
        <p:spPr>
          <a:xfrm>
            <a:off x="3036331" y="3855316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75" name="Forma libre 195">
            <a:extLst>
              <a:ext uri="{FF2B5EF4-FFF2-40B4-BE49-F238E27FC236}">
                <a16:creationId xmlns:a16="http://schemas.microsoft.com/office/drawing/2014/main" id="{63B9E89C-F128-B7E0-BE5F-30DFEF461B9F}"/>
              </a:ext>
            </a:extLst>
          </p:cNvPr>
          <p:cNvSpPr>
            <a:spLocks/>
          </p:cNvSpPr>
          <p:nvPr/>
        </p:nvSpPr>
        <p:spPr>
          <a:xfrm>
            <a:off x="3036331" y="4251510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69" name="Forma libre 186">
            <a:extLst>
              <a:ext uri="{FF2B5EF4-FFF2-40B4-BE49-F238E27FC236}">
                <a16:creationId xmlns:a16="http://schemas.microsoft.com/office/drawing/2014/main" id="{4D08D872-C4BD-B158-9EFB-1E021BB9E1E5}"/>
              </a:ext>
            </a:extLst>
          </p:cNvPr>
          <p:cNvSpPr>
            <a:spLocks/>
          </p:cNvSpPr>
          <p:nvPr/>
        </p:nvSpPr>
        <p:spPr>
          <a:xfrm>
            <a:off x="3036331" y="3657220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73" name="Forma libre 190">
            <a:extLst>
              <a:ext uri="{FF2B5EF4-FFF2-40B4-BE49-F238E27FC236}">
                <a16:creationId xmlns:a16="http://schemas.microsoft.com/office/drawing/2014/main" id="{0D58A602-637A-9D1D-1106-B20ACBB9921D}"/>
              </a:ext>
            </a:extLst>
          </p:cNvPr>
          <p:cNvSpPr>
            <a:spLocks/>
          </p:cNvSpPr>
          <p:nvPr/>
        </p:nvSpPr>
        <p:spPr>
          <a:xfrm>
            <a:off x="3036331" y="4053413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61" name="Forma libre 170">
            <a:extLst>
              <a:ext uri="{FF2B5EF4-FFF2-40B4-BE49-F238E27FC236}">
                <a16:creationId xmlns:a16="http://schemas.microsoft.com/office/drawing/2014/main" id="{0515BB4F-D0DE-EF56-2519-BE83C3E95C59}"/>
              </a:ext>
            </a:extLst>
          </p:cNvPr>
          <p:cNvSpPr>
            <a:spLocks/>
          </p:cNvSpPr>
          <p:nvPr/>
        </p:nvSpPr>
        <p:spPr>
          <a:xfrm>
            <a:off x="3657226" y="2468908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80" name="Forma libre 170">
            <a:extLst>
              <a:ext uri="{FF2B5EF4-FFF2-40B4-BE49-F238E27FC236}">
                <a16:creationId xmlns:a16="http://schemas.microsoft.com/office/drawing/2014/main" id="{532CC393-88C3-AF67-6995-CD4C0C3D5F88}"/>
              </a:ext>
            </a:extLst>
          </p:cNvPr>
          <p:cNvSpPr>
            <a:spLocks/>
          </p:cNvSpPr>
          <p:nvPr/>
        </p:nvSpPr>
        <p:spPr>
          <a:xfrm>
            <a:off x="3657226" y="2864833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79" name="Forma libre 164">
            <a:extLst>
              <a:ext uri="{FF2B5EF4-FFF2-40B4-BE49-F238E27FC236}">
                <a16:creationId xmlns:a16="http://schemas.microsoft.com/office/drawing/2014/main" id="{A1E342BC-02A0-210D-F2C2-FBA0C647D643}"/>
              </a:ext>
            </a:extLst>
          </p:cNvPr>
          <p:cNvSpPr>
            <a:spLocks/>
          </p:cNvSpPr>
          <p:nvPr/>
        </p:nvSpPr>
        <p:spPr>
          <a:xfrm>
            <a:off x="3657226" y="1874888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53" name="Forma libre 164">
            <a:extLst>
              <a:ext uri="{FF2B5EF4-FFF2-40B4-BE49-F238E27FC236}">
                <a16:creationId xmlns:a16="http://schemas.microsoft.com/office/drawing/2014/main" id="{D57AE7EA-B3E9-4EA2-A119-6FEE38D6301A}"/>
              </a:ext>
            </a:extLst>
          </p:cNvPr>
          <p:cNvSpPr>
            <a:spLocks/>
          </p:cNvSpPr>
          <p:nvPr/>
        </p:nvSpPr>
        <p:spPr>
          <a:xfrm>
            <a:off x="3657226" y="2072985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210" name="Forma libre 164">
            <a:extLst>
              <a:ext uri="{FF2B5EF4-FFF2-40B4-BE49-F238E27FC236}">
                <a16:creationId xmlns:a16="http://schemas.microsoft.com/office/drawing/2014/main" id="{16FC9F55-F81D-4EAC-80AF-526E64A952FA}"/>
              </a:ext>
            </a:extLst>
          </p:cNvPr>
          <p:cNvSpPr>
            <a:spLocks/>
          </p:cNvSpPr>
          <p:nvPr/>
        </p:nvSpPr>
        <p:spPr>
          <a:xfrm>
            <a:off x="3657226" y="2271081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79" name="Forma libre 78">
            <a:extLst>
              <a:ext uri="{FF2B5EF4-FFF2-40B4-BE49-F238E27FC236}">
                <a16:creationId xmlns:a16="http://schemas.microsoft.com/office/drawing/2014/main" id="{DA276DF2-6722-8ADE-9E57-2EEADED9FDAE}"/>
              </a:ext>
            </a:extLst>
          </p:cNvPr>
          <p:cNvSpPr/>
          <p:nvPr/>
        </p:nvSpPr>
        <p:spPr>
          <a:xfrm>
            <a:off x="3657226" y="3062659"/>
            <a:ext cx="162047" cy="162586"/>
          </a:xfrm>
          <a:custGeom>
            <a:avLst/>
            <a:gdLst>
              <a:gd name="connsiteX0" fmla="*/ 105887 w 165051"/>
              <a:gd name="connsiteY0" fmla="*/ 98083 h 165600"/>
              <a:gd name="connsiteX1" fmla="*/ 113910 w 165051"/>
              <a:gd name="connsiteY1" fmla="*/ 106089 h 165600"/>
              <a:gd name="connsiteX2" fmla="*/ 105905 w 165051"/>
              <a:gd name="connsiteY2" fmla="*/ 114094 h 165600"/>
              <a:gd name="connsiteX3" fmla="*/ 97899 w 165051"/>
              <a:gd name="connsiteY3" fmla="*/ 106107 h 165600"/>
              <a:gd name="connsiteX4" fmla="*/ 105887 w 165051"/>
              <a:gd name="connsiteY4" fmla="*/ 98083 h 165600"/>
              <a:gd name="connsiteX5" fmla="*/ 99955 w 165051"/>
              <a:gd name="connsiteY5" fmla="*/ 74521 h 165600"/>
              <a:gd name="connsiteX6" fmla="*/ 95188 w 165051"/>
              <a:gd name="connsiteY6" fmla="*/ 75795 h 165600"/>
              <a:gd name="connsiteX7" fmla="*/ 91640 w 165051"/>
              <a:gd name="connsiteY7" fmla="*/ 80744 h 165600"/>
              <a:gd name="connsiteX8" fmla="*/ 92132 w 165051"/>
              <a:gd name="connsiteY8" fmla="*/ 88349 h 165600"/>
              <a:gd name="connsiteX9" fmla="*/ 88147 w 165051"/>
              <a:gd name="connsiteY9" fmla="*/ 92352 h 165600"/>
              <a:gd name="connsiteX10" fmla="*/ 80524 w 165051"/>
              <a:gd name="connsiteY10" fmla="*/ 91861 h 165600"/>
              <a:gd name="connsiteX11" fmla="*/ 75575 w 165051"/>
              <a:gd name="connsiteY11" fmla="*/ 95408 h 165600"/>
              <a:gd name="connsiteX12" fmla="*/ 74301 w 165051"/>
              <a:gd name="connsiteY12" fmla="*/ 100175 h 165600"/>
              <a:gd name="connsiteX13" fmla="*/ 76812 w 165051"/>
              <a:gd name="connsiteY13" fmla="*/ 105725 h 165600"/>
              <a:gd name="connsiteX14" fmla="*/ 83671 w 165051"/>
              <a:gd name="connsiteY14" fmla="*/ 109109 h 165600"/>
              <a:gd name="connsiteX15" fmla="*/ 84217 w 165051"/>
              <a:gd name="connsiteY15" fmla="*/ 111874 h 165600"/>
              <a:gd name="connsiteX16" fmla="*/ 85127 w 165051"/>
              <a:gd name="connsiteY16" fmla="*/ 114549 h 165600"/>
              <a:gd name="connsiteX17" fmla="*/ 80887 w 165051"/>
              <a:gd name="connsiteY17" fmla="*/ 120917 h 165600"/>
              <a:gd name="connsiteX18" fmla="*/ 81488 w 165051"/>
              <a:gd name="connsiteY18" fmla="*/ 126976 h 165600"/>
              <a:gd name="connsiteX19" fmla="*/ 84981 w 165051"/>
              <a:gd name="connsiteY19" fmla="*/ 130469 h 165600"/>
              <a:gd name="connsiteX20" fmla="*/ 91040 w 165051"/>
              <a:gd name="connsiteY20" fmla="*/ 131069 h 165600"/>
              <a:gd name="connsiteX21" fmla="*/ 97408 w 165051"/>
              <a:gd name="connsiteY21" fmla="*/ 126830 h 165600"/>
              <a:gd name="connsiteX22" fmla="*/ 102848 w 165051"/>
              <a:gd name="connsiteY22" fmla="*/ 128304 h 165600"/>
              <a:gd name="connsiteX23" fmla="*/ 106232 w 165051"/>
              <a:gd name="connsiteY23" fmla="*/ 135145 h 165600"/>
              <a:gd name="connsiteX24" fmla="*/ 111781 w 165051"/>
              <a:gd name="connsiteY24" fmla="*/ 137656 h 165600"/>
              <a:gd name="connsiteX25" fmla="*/ 116548 w 165051"/>
              <a:gd name="connsiteY25" fmla="*/ 136382 h 165600"/>
              <a:gd name="connsiteX26" fmla="*/ 120096 w 165051"/>
              <a:gd name="connsiteY26" fmla="*/ 131433 h 165600"/>
              <a:gd name="connsiteX27" fmla="*/ 119605 w 165051"/>
              <a:gd name="connsiteY27" fmla="*/ 123810 h 165600"/>
              <a:gd name="connsiteX28" fmla="*/ 123590 w 165051"/>
              <a:gd name="connsiteY28" fmla="*/ 119807 h 165600"/>
              <a:gd name="connsiteX29" fmla="*/ 131231 w 165051"/>
              <a:gd name="connsiteY29" fmla="*/ 120298 h 165600"/>
              <a:gd name="connsiteX30" fmla="*/ 136180 w 165051"/>
              <a:gd name="connsiteY30" fmla="*/ 116750 h 165600"/>
              <a:gd name="connsiteX31" fmla="*/ 137454 w 165051"/>
              <a:gd name="connsiteY31" fmla="*/ 111983 h 165600"/>
              <a:gd name="connsiteX32" fmla="*/ 134943 w 165051"/>
              <a:gd name="connsiteY32" fmla="*/ 106434 h 165600"/>
              <a:gd name="connsiteX33" fmla="*/ 128084 w 165051"/>
              <a:gd name="connsiteY33" fmla="*/ 103050 h 165600"/>
              <a:gd name="connsiteX34" fmla="*/ 127538 w 165051"/>
              <a:gd name="connsiteY34" fmla="*/ 100285 h 165600"/>
              <a:gd name="connsiteX35" fmla="*/ 126628 w 165051"/>
              <a:gd name="connsiteY35" fmla="*/ 97610 h 165600"/>
              <a:gd name="connsiteX36" fmla="*/ 130867 w 165051"/>
              <a:gd name="connsiteY36" fmla="*/ 91260 h 165600"/>
              <a:gd name="connsiteX37" fmla="*/ 130267 w 165051"/>
              <a:gd name="connsiteY37" fmla="*/ 85201 h 165600"/>
              <a:gd name="connsiteX38" fmla="*/ 126774 w 165051"/>
              <a:gd name="connsiteY38" fmla="*/ 81708 h 165600"/>
              <a:gd name="connsiteX39" fmla="*/ 120715 w 165051"/>
              <a:gd name="connsiteY39" fmla="*/ 81108 h 165600"/>
              <a:gd name="connsiteX40" fmla="*/ 114347 w 165051"/>
              <a:gd name="connsiteY40" fmla="*/ 85347 h 165600"/>
              <a:gd name="connsiteX41" fmla="*/ 108907 w 165051"/>
              <a:gd name="connsiteY41" fmla="*/ 83873 h 165600"/>
              <a:gd name="connsiteX42" fmla="*/ 105523 w 165051"/>
              <a:gd name="connsiteY42" fmla="*/ 77032 h 165600"/>
              <a:gd name="connsiteX43" fmla="*/ 99973 w 165051"/>
              <a:gd name="connsiteY43" fmla="*/ 74521 h 165600"/>
              <a:gd name="connsiteX44" fmla="*/ 59309 w 165051"/>
              <a:gd name="connsiteY44" fmla="*/ 51505 h 165600"/>
              <a:gd name="connsiteX45" fmla="*/ 67314 w 165051"/>
              <a:gd name="connsiteY45" fmla="*/ 59511 h 165600"/>
              <a:gd name="connsiteX46" fmla="*/ 59309 w 165051"/>
              <a:gd name="connsiteY46" fmla="*/ 67516 h 165600"/>
              <a:gd name="connsiteX47" fmla="*/ 51303 w 165051"/>
              <a:gd name="connsiteY47" fmla="*/ 59511 h 165600"/>
              <a:gd name="connsiteX48" fmla="*/ 59309 w 165051"/>
              <a:gd name="connsiteY48" fmla="*/ 51505 h 165600"/>
              <a:gd name="connsiteX49" fmla="*/ 65222 w 165051"/>
              <a:gd name="connsiteY49" fmla="*/ 27944 h 165600"/>
              <a:gd name="connsiteX50" fmla="*/ 59673 w 165051"/>
              <a:gd name="connsiteY50" fmla="*/ 30455 h 165600"/>
              <a:gd name="connsiteX51" fmla="*/ 56289 w 165051"/>
              <a:gd name="connsiteY51" fmla="*/ 37296 h 165600"/>
              <a:gd name="connsiteX52" fmla="*/ 50849 w 165051"/>
              <a:gd name="connsiteY52" fmla="*/ 38769 h 165600"/>
              <a:gd name="connsiteX53" fmla="*/ 44481 w 165051"/>
              <a:gd name="connsiteY53" fmla="*/ 34530 h 165600"/>
              <a:gd name="connsiteX54" fmla="*/ 38422 w 165051"/>
              <a:gd name="connsiteY54" fmla="*/ 35130 h 165600"/>
              <a:gd name="connsiteX55" fmla="*/ 34928 w 165051"/>
              <a:gd name="connsiteY55" fmla="*/ 38624 h 165600"/>
              <a:gd name="connsiteX56" fmla="*/ 34328 w 165051"/>
              <a:gd name="connsiteY56" fmla="*/ 44683 h 165600"/>
              <a:gd name="connsiteX57" fmla="*/ 38567 w 165051"/>
              <a:gd name="connsiteY57" fmla="*/ 51032 h 165600"/>
              <a:gd name="connsiteX58" fmla="*/ 37658 w 165051"/>
              <a:gd name="connsiteY58" fmla="*/ 53707 h 165600"/>
              <a:gd name="connsiteX59" fmla="*/ 37112 w 165051"/>
              <a:gd name="connsiteY59" fmla="*/ 56472 h 165600"/>
              <a:gd name="connsiteX60" fmla="*/ 30253 w 165051"/>
              <a:gd name="connsiteY60" fmla="*/ 59857 h 165600"/>
              <a:gd name="connsiteX61" fmla="*/ 27742 w 165051"/>
              <a:gd name="connsiteY61" fmla="*/ 65406 h 165600"/>
              <a:gd name="connsiteX62" fmla="*/ 29015 w 165051"/>
              <a:gd name="connsiteY62" fmla="*/ 70173 h 165600"/>
              <a:gd name="connsiteX63" fmla="*/ 33964 w 165051"/>
              <a:gd name="connsiteY63" fmla="*/ 73721 h 165600"/>
              <a:gd name="connsiteX64" fmla="*/ 41606 w 165051"/>
              <a:gd name="connsiteY64" fmla="*/ 73229 h 165600"/>
              <a:gd name="connsiteX65" fmla="*/ 45590 w 165051"/>
              <a:gd name="connsiteY65" fmla="*/ 77232 h 165600"/>
              <a:gd name="connsiteX66" fmla="*/ 45099 w 165051"/>
              <a:gd name="connsiteY66" fmla="*/ 84856 h 165600"/>
              <a:gd name="connsiteX67" fmla="*/ 48647 w 165051"/>
              <a:gd name="connsiteY67" fmla="*/ 89805 h 165600"/>
              <a:gd name="connsiteX68" fmla="*/ 53414 w 165051"/>
              <a:gd name="connsiteY68" fmla="*/ 91078 h 165600"/>
              <a:gd name="connsiteX69" fmla="*/ 58963 w 165051"/>
              <a:gd name="connsiteY69" fmla="*/ 88567 h 165600"/>
              <a:gd name="connsiteX70" fmla="*/ 62347 w 165051"/>
              <a:gd name="connsiteY70" fmla="*/ 81726 h 165600"/>
              <a:gd name="connsiteX71" fmla="*/ 67788 w 165051"/>
              <a:gd name="connsiteY71" fmla="*/ 80253 h 165600"/>
              <a:gd name="connsiteX72" fmla="*/ 74156 w 165051"/>
              <a:gd name="connsiteY72" fmla="*/ 84492 h 165600"/>
              <a:gd name="connsiteX73" fmla="*/ 80214 w 165051"/>
              <a:gd name="connsiteY73" fmla="*/ 83891 h 165600"/>
              <a:gd name="connsiteX74" fmla="*/ 83708 w 165051"/>
              <a:gd name="connsiteY74" fmla="*/ 80398 h 165600"/>
              <a:gd name="connsiteX75" fmla="*/ 84308 w 165051"/>
              <a:gd name="connsiteY75" fmla="*/ 74339 h 165600"/>
              <a:gd name="connsiteX76" fmla="*/ 80069 w 165051"/>
              <a:gd name="connsiteY76" fmla="*/ 67971 h 165600"/>
              <a:gd name="connsiteX77" fmla="*/ 80978 w 165051"/>
              <a:gd name="connsiteY77" fmla="*/ 65297 h 165600"/>
              <a:gd name="connsiteX78" fmla="*/ 81524 w 165051"/>
              <a:gd name="connsiteY78" fmla="*/ 62531 h 165600"/>
              <a:gd name="connsiteX79" fmla="*/ 88384 w 165051"/>
              <a:gd name="connsiteY79" fmla="*/ 59147 h 165600"/>
              <a:gd name="connsiteX80" fmla="*/ 90894 w 165051"/>
              <a:gd name="connsiteY80" fmla="*/ 53598 h 165600"/>
              <a:gd name="connsiteX81" fmla="*/ 89621 w 165051"/>
              <a:gd name="connsiteY81" fmla="*/ 48831 h 165600"/>
              <a:gd name="connsiteX82" fmla="*/ 84672 w 165051"/>
              <a:gd name="connsiteY82" fmla="*/ 45283 h 165600"/>
              <a:gd name="connsiteX83" fmla="*/ 77030 w 165051"/>
              <a:gd name="connsiteY83" fmla="*/ 45774 h 165600"/>
              <a:gd name="connsiteX84" fmla="*/ 73046 w 165051"/>
              <a:gd name="connsiteY84" fmla="*/ 41771 h 165600"/>
              <a:gd name="connsiteX85" fmla="*/ 73537 w 165051"/>
              <a:gd name="connsiteY85" fmla="*/ 34166 h 165600"/>
              <a:gd name="connsiteX86" fmla="*/ 69989 w 165051"/>
              <a:gd name="connsiteY86" fmla="*/ 29217 h 165600"/>
              <a:gd name="connsiteX87" fmla="*/ 82526 w 165051"/>
              <a:gd name="connsiteY87" fmla="*/ 0 h 165600"/>
              <a:gd name="connsiteX88" fmla="*/ 165051 w 165051"/>
              <a:gd name="connsiteY88" fmla="*/ 82800 h 165600"/>
              <a:gd name="connsiteX89" fmla="*/ 82526 w 165051"/>
              <a:gd name="connsiteY89" fmla="*/ 165600 h 165600"/>
              <a:gd name="connsiteX90" fmla="*/ 0 w 165051"/>
              <a:gd name="connsiteY90" fmla="*/ 82800 h 165600"/>
              <a:gd name="connsiteX91" fmla="*/ 82526 w 165051"/>
              <a:gd name="connsiteY91" fmla="*/ 0 h 16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165051" h="165600">
                <a:moveTo>
                  <a:pt x="105887" y="98083"/>
                </a:moveTo>
                <a:cubicBezTo>
                  <a:pt x="110308" y="98083"/>
                  <a:pt x="113892" y="101649"/>
                  <a:pt x="113910" y="106089"/>
                </a:cubicBezTo>
                <a:cubicBezTo>
                  <a:pt x="113910" y="110510"/>
                  <a:pt x="110326" y="114094"/>
                  <a:pt x="105905" y="114094"/>
                </a:cubicBezTo>
                <a:cubicBezTo>
                  <a:pt x="101483" y="114094"/>
                  <a:pt x="97899" y="110528"/>
                  <a:pt x="97899" y="106107"/>
                </a:cubicBezTo>
                <a:cubicBezTo>
                  <a:pt x="97881" y="101667"/>
                  <a:pt x="101465" y="98083"/>
                  <a:pt x="105887" y="98083"/>
                </a:cubicBezTo>
                <a:close/>
                <a:moveTo>
                  <a:pt x="99955" y="74521"/>
                </a:moveTo>
                <a:lnTo>
                  <a:pt x="95188" y="75795"/>
                </a:lnTo>
                <a:cubicBezTo>
                  <a:pt x="92987" y="76377"/>
                  <a:pt x="91495" y="78451"/>
                  <a:pt x="91640" y="80744"/>
                </a:cubicBezTo>
                <a:lnTo>
                  <a:pt x="92132" y="88349"/>
                </a:lnTo>
                <a:cubicBezTo>
                  <a:pt x="90621" y="89513"/>
                  <a:pt x="89293" y="90878"/>
                  <a:pt x="88147" y="92352"/>
                </a:cubicBezTo>
                <a:lnTo>
                  <a:pt x="80524" y="91861"/>
                </a:lnTo>
                <a:cubicBezTo>
                  <a:pt x="78231" y="91715"/>
                  <a:pt x="76175" y="93207"/>
                  <a:pt x="75575" y="95408"/>
                </a:cubicBezTo>
                <a:lnTo>
                  <a:pt x="74301" y="100175"/>
                </a:lnTo>
                <a:cubicBezTo>
                  <a:pt x="73719" y="102377"/>
                  <a:pt x="74756" y="104706"/>
                  <a:pt x="76812" y="105725"/>
                </a:cubicBezTo>
                <a:lnTo>
                  <a:pt x="83671" y="109109"/>
                </a:lnTo>
                <a:cubicBezTo>
                  <a:pt x="83799" y="110019"/>
                  <a:pt x="83962" y="110946"/>
                  <a:pt x="84217" y="111874"/>
                </a:cubicBezTo>
                <a:cubicBezTo>
                  <a:pt x="84472" y="112802"/>
                  <a:pt x="84781" y="113694"/>
                  <a:pt x="85127" y="114549"/>
                </a:cubicBezTo>
                <a:lnTo>
                  <a:pt x="80887" y="120917"/>
                </a:lnTo>
                <a:cubicBezTo>
                  <a:pt x="79614" y="122827"/>
                  <a:pt x="79869" y="125356"/>
                  <a:pt x="81488" y="126976"/>
                </a:cubicBezTo>
                <a:lnTo>
                  <a:pt x="84981" y="130469"/>
                </a:lnTo>
                <a:cubicBezTo>
                  <a:pt x="86600" y="132088"/>
                  <a:pt x="89129" y="132343"/>
                  <a:pt x="91040" y="131069"/>
                </a:cubicBezTo>
                <a:lnTo>
                  <a:pt x="97408" y="126830"/>
                </a:lnTo>
                <a:cubicBezTo>
                  <a:pt x="99136" y="127540"/>
                  <a:pt x="100974" y="128049"/>
                  <a:pt x="102848" y="128304"/>
                </a:cubicBezTo>
                <a:lnTo>
                  <a:pt x="106232" y="135145"/>
                </a:lnTo>
                <a:cubicBezTo>
                  <a:pt x="107251" y="137201"/>
                  <a:pt x="109562" y="138256"/>
                  <a:pt x="111781" y="137656"/>
                </a:cubicBezTo>
                <a:lnTo>
                  <a:pt x="116548" y="136382"/>
                </a:lnTo>
                <a:cubicBezTo>
                  <a:pt x="118750" y="135800"/>
                  <a:pt x="120242" y="133726"/>
                  <a:pt x="120096" y="131433"/>
                </a:cubicBezTo>
                <a:lnTo>
                  <a:pt x="119605" y="123810"/>
                </a:lnTo>
                <a:cubicBezTo>
                  <a:pt x="121115" y="122645"/>
                  <a:pt x="122443" y="121281"/>
                  <a:pt x="123590" y="119807"/>
                </a:cubicBezTo>
                <a:lnTo>
                  <a:pt x="131231" y="120298"/>
                </a:lnTo>
                <a:cubicBezTo>
                  <a:pt x="133524" y="120444"/>
                  <a:pt x="135580" y="118952"/>
                  <a:pt x="136180" y="116750"/>
                </a:cubicBezTo>
                <a:lnTo>
                  <a:pt x="137454" y="111983"/>
                </a:lnTo>
                <a:cubicBezTo>
                  <a:pt x="138054" y="109782"/>
                  <a:pt x="136999" y="107453"/>
                  <a:pt x="134943" y="106434"/>
                </a:cubicBezTo>
                <a:lnTo>
                  <a:pt x="128084" y="103050"/>
                </a:lnTo>
                <a:cubicBezTo>
                  <a:pt x="127956" y="102122"/>
                  <a:pt x="127793" y="101212"/>
                  <a:pt x="127538" y="100285"/>
                </a:cubicBezTo>
                <a:cubicBezTo>
                  <a:pt x="127283" y="99357"/>
                  <a:pt x="126974" y="98465"/>
                  <a:pt x="126628" y="97610"/>
                </a:cubicBezTo>
                <a:lnTo>
                  <a:pt x="130867" y="91260"/>
                </a:lnTo>
                <a:cubicBezTo>
                  <a:pt x="132141" y="89368"/>
                  <a:pt x="131886" y="86821"/>
                  <a:pt x="130267" y="85201"/>
                </a:cubicBezTo>
                <a:lnTo>
                  <a:pt x="126774" y="81708"/>
                </a:lnTo>
                <a:cubicBezTo>
                  <a:pt x="125154" y="80089"/>
                  <a:pt x="122625" y="79834"/>
                  <a:pt x="120715" y="81108"/>
                </a:cubicBezTo>
                <a:lnTo>
                  <a:pt x="114347" y="85347"/>
                </a:lnTo>
                <a:cubicBezTo>
                  <a:pt x="112618" y="84637"/>
                  <a:pt x="110781" y="84128"/>
                  <a:pt x="108907" y="83873"/>
                </a:cubicBezTo>
                <a:lnTo>
                  <a:pt x="105523" y="77032"/>
                </a:lnTo>
                <a:cubicBezTo>
                  <a:pt x="104522" y="74976"/>
                  <a:pt x="102193" y="73921"/>
                  <a:pt x="99973" y="74521"/>
                </a:cubicBezTo>
                <a:close/>
                <a:moveTo>
                  <a:pt x="59309" y="51505"/>
                </a:moveTo>
                <a:cubicBezTo>
                  <a:pt x="63730" y="51505"/>
                  <a:pt x="67314" y="55090"/>
                  <a:pt x="67314" y="59511"/>
                </a:cubicBezTo>
                <a:cubicBezTo>
                  <a:pt x="67314" y="63932"/>
                  <a:pt x="63730" y="67516"/>
                  <a:pt x="59309" y="67516"/>
                </a:cubicBezTo>
                <a:cubicBezTo>
                  <a:pt x="54888" y="67516"/>
                  <a:pt x="51303" y="63932"/>
                  <a:pt x="51303" y="59511"/>
                </a:cubicBezTo>
                <a:cubicBezTo>
                  <a:pt x="51303" y="55090"/>
                  <a:pt x="54888" y="51505"/>
                  <a:pt x="59309" y="51505"/>
                </a:cubicBezTo>
                <a:close/>
                <a:moveTo>
                  <a:pt x="65222" y="27944"/>
                </a:moveTo>
                <a:cubicBezTo>
                  <a:pt x="63002" y="27361"/>
                  <a:pt x="60692" y="28399"/>
                  <a:pt x="59673" y="30455"/>
                </a:cubicBezTo>
                <a:lnTo>
                  <a:pt x="56289" y="37296"/>
                </a:lnTo>
                <a:cubicBezTo>
                  <a:pt x="54415" y="37550"/>
                  <a:pt x="52577" y="38060"/>
                  <a:pt x="50849" y="38769"/>
                </a:cubicBezTo>
                <a:lnTo>
                  <a:pt x="44481" y="34530"/>
                </a:lnTo>
                <a:cubicBezTo>
                  <a:pt x="42570" y="33256"/>
                  <a:pt x="40041" y="33511"/>
                  <a:pt x="38422" y="35130"/>
                </a:cubicBezTo>
                <a:lnTo>
                  <a:pt x="34928" y="38624"/>
                </a:lnTo>
                <a:cubicBezTo>
                  <a:pt x="33309" y="40243"/>
                  <a:pt x="33054" y="42772"/>
                  <a:pt x="34328" y="44683"/>
                </a:cubicBezTo>
                <a:lnTo>
                  <a:pt x="38567" y="51032"/>
                </a:lnTo>
                <a:cubicBezTo>
                  <a:pt x="38203" y="51887"/>
                  <a:pt x="37912" y="52779"/>
                  <a:pt x="37658" y="53707"/>
                </a:cubicBezTo>
                <a:cubicBezTo>
                  <a:pt x="37421" y="54635"/>
                  <a:pt x="37239" y="55545"/>
                  <a:pt x="37112" y="56472"/>
                </a:cubicBezTo>
                <a:lnTo>
                  <a:pt x="30253" y="59857"/>
                </a:lnTo>
                <a:cubicBezTo>
                  <a:pt x="28197" y="60875"/>
                  <a:pt x="27159" y="63204"/>
                  <a:pt x="27742" y="65406"/>
                </a:cubicBezTo>
                <a:lnTo>
                  <a:pt x="29015" y="70173"/>
                </a:lnTo>
                <a:cubicBezTo>
                  <a:pt x="29616" y="72374"/>
                  <a:pt x="31690" y="73866"/>
                  <a:pt x="33964" y="73721"/>
                </a:cubicBezTo>
                <a:lnTo>
                  <a:pt x="41606" y="73229"/>
                </a:lnTo>
                <a:cubicBezTo>
                  <a:pt x="42752" y="74721"/>
                  <a:pt x="44080" y="76068"/>
                  <a:pt x="45590" y="77232"/>
                </a:cubicBezTo>
                <a:lnTo>
                  <a:pt x="45099" y="84856"/>
                </a:lnTo>
                <a:cubicBezTo>
                  <a:pt x="44954" y="87130"/>
                  <a:pt x="46427" y="89204"/>
                  <a:pt x="48647" y="89805"/>
                </a:cubicBezTo>
                <a:lnTo>
                  <a:pt x="53414" y="91078"/>
                </a:lnTo>
                <a:cubicBezTo>
                  <a:pt x="55615" y="91660"/>
                  <a:pt x="57944" y="90623"/>
                  <a:pt x="58963" y="88567"/>
                </a:cubicBezTo>
                <a:lnTo>
                  <a:pt x="62347" y="81726"/>
                </a:lnTo>
                <a:cubicBezTo>
                  <a:pt x="64221" y="81472"/>
                  <a:pt x="66059" y="80962"/>
                  <a:pt x="67788" y="80253"/>
                </a:cubicBezTo>
                <a:lnTo>
                  <a:pt x="74156" y="84492"/>
                </a:lnTo>
                <a:cubicBezTo>
                  <a:pt x="76066" y="85765"/>
                  <a:pt x="78595" y="85511"/>
                  <a:pt x="80214" y="83891"/>
                </a:cubicBezTo>
                <a:lnTo>
                  <a:pt x="83708" y="80398"/>
                </a:lnTo>
                <a:cubicBezTo>
                  <a:pt x="85327" y="78779"/>
                  <a:pt x="85582" y="76250"/>
                  <a:pt x="84308" y="74339"/>
                </a:cubicBezTo>
                <a:lnTo>
                  <a:pt x="80069" y="67971"/>
                </a:lnTo>
                <a:cubicBezTo>
                  <a:pt x="80414" y="67116"/>
                  <a:pt x="80742" y="66206"/>
                  <a:pt x="80978" y="65297"/>
                </a:cubicBezTo>
                <a:cubicBezTo>
                  <a:pt x="81215" y="64387"/>
                  <a:pt x="81397" y="63459"/>
                  <a:pt x="81524" y="62531"/>
                </a:cubicBezTo>
                <a:lnTo>
                  <a:pt x="88384" y="59147"/>
                </a:lnTo>
                <a:cubicBezTo>
                  <a:pt x="90439" y="58128"/>
                  <a:pt x="91477" y="55799"/>
                  <a:pt x="90894" y="53598"/>
                </a:cubicBezTo>
                <a:lnTo>
                  <a:pt x="89621" y="48831"/>
                </a:lnTo>
                <a:cubicBezTo>
                  <a:pt x="89020" y="46629"/>
                  <a:pt x="86946" y="45137"/>
                  <a:pt x="84672" y="45283"/>
                </a:cubicBezTo>
                <a:lnTo>
                  <a:pt x="77030" y="45774"/>
                </a:lnTo>
                <a:cubicBezTo>
                  <a:pt x="75884" y="44282"/>
                  <a:pt x="74556" y="42936"/>
                  <a:pt x="73046" y="41771"/>
                </a:cubicBezTo>
                <a:lnTo>
                  <a:pt x="73537" y="34166"/>
                </a:lnTo>
                <a:cubicBezTo>
                  <a:pt x="73682" y="31892"/>
                  <a:pt x="72191" y="29818"/>
                  <a:pt x="69989" y="29217"/>
                </a:cubicBezTo>
                <a:close/>
                <a:moveTo>
                  <a:pt x="82526" y="0"/>
                </a:moveTo>
                <a:cubicBezTo>
                  <a:pt x="128103" y="0"/>
                  <a:pt x="165051" y="37071"/>
                  <a:pt x="165051" y="82800"/>
                </a:cubicBezTo>
                <a:cubicBezTo>
                  <a:pt x="165051" y="128529"/>
                  <a:pt x="128103" y="165600"/>
                  <a:pt x="82526" y="165600"/>
                </a:cubicBezTo>
                <a:cubicBezTo>
                  <a:pt x="36948" y="165600"/>
                  <a:pt x="0" y="128529"/>
                  <a:pt x="0" y="82800"/>
                </a:cubicBezTo>
                <a:cubicBezTo>
                  <a:pt x="0" y="37071"/>
                  <a:pt x="36948" y="0"/>
                  <a:pt x="82526" y="0"/>
                </a:cubicBezTo>
                <a:close/>
              </a:path>
            </a:pathLst>
          </a:custGeom>
          <a:solidFill>
            <a:srgbClr val="FFC000"/>
          </a:solidFill>
          <a:ln w="179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207" name="Forma libre 188">
            <a:extLst>
              <a:ext uri="{FF2B5EF4-FFF2-40B4-BE49-F238E27FC236}">
                <a16:creationId xmlns:a16="http://schemas.microsoft.com/office/drawing/2014/main" id="{C54AAFC5-2AF7-6184-12B5-223D60D2AD13}"/>
              </a:ext>
            </a:extLst>
          </p:cNvPr>
          <p:cNvSpPr>
            <a:spLocks/>
          </p:cNvSpPr>
          <p:nvPr/>
        </p:nvSpPr>
        <p:spPr>
          <a:xfrm>
            <a:off x="3657226" y="3459123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237" name="Forma libre 188">
            <a:extLst>
              <a:ext uri="{FF2B5EF4-FFF2-40B4-BE49-F238E27FC236}">
                <a16:creationId xmlns:a16="http://schemas.microsoft.com/office/drawing/2014/main" id="{89E72236-5598-7E35-D3A1-12E4E8C7DF8F}"/>
              </a:ext>
            </a:extLst>
          </p:cNvPr>
          <p:cNvSpPr>
            <a:spLocks/>
          </p:cNvSpPr>
          <p:nvPr/>
        </p:nvSpPr>
        <p:spPr>
          <a:xfrm>
            <a:off x="3657226" y="3855316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76" name="Forma libre 196">
            <a:extLst>
              <a:ext uri="{FF2B5EF4-FFF2-40B4-BE49-F238E27FC236}">
                <a16:creationId xmlns:a16="http://schemas.microsoft.com/office/drawing/2014/main" id="{3E0AA354-2D91-70B8-BBA2-F1B418D1DB51}"/>
              </a:ext>
            </a:extLst>
          </p:cNvPr>
          <p:cNvSpPr>
            <a:spLocks/>
          </p:cNvSpPr>
          <p:nvPr/>
        </p:nvSpPr>
        <p:spPr>
          <a:xfrm>
            <a:off x="3657226" y="4251510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96" name="Forma libre 188">
            <a:extLst>
              <a:ext uri="{FF2B5EF4-FFF2-40B4-BE49-F238E27FC236}">
                <a16:creationId xmlns:a16="http://schemas.microsoft.com/office/drawing/2014/main" id="{7C6F8DA8-E389-BEE0-48ED-6E6EECF347BF}"/>
              </a:ext>
            </a:extLst>
          </p:cNvPr>
          <p:cNvSpPr>
            <a:spLocks/>
          </p:cNvSpPr>
          <p:nvPr/>
        </p:nvSpPr>
        <p:spPr>
          <a:xfrm>
            <a:off x="3657226" y="3657220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71" name="Forma libre 188">
            <a:extLst>
              <a:ext uri="{FF2B5EF4-FFF2-40B4-BE49-F238E27FC236}">
                <a16:creationId xmlns:a16="http://schemas.microsoft.com/office/drawing/2014/main" id="{84AA46C5-E9B3-FBAC-7A62-229525F6542E}"/>
              </a:ext>
            </a:extLst>
          </p:cNvPr>
          <p:cNvSpPr>
            <a:spLocks/>
          </p:cNvSpPr>
          <p:nvPr/>
        </p:nvSpPr>
        <p:spPr>
          <a:xfrm>
            <a:off x="3657226" y="4053413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62" name="Forma libre 171">
            <a:extLst>
              <a:ext uri="{FF2B5EF4-FFF2-40B4-BE49-F238E27FC236}">
                <a16:creationId xmlns:a16="http://schemas.microsoft.com/office/drawing/2014/main" id="{B2A597B4-4B7E-AC38-D3D3-A223BA3D4432}"/>
              </a:ext>
            </a:extLst>
          </p:cNvPr>
          <p:cNvSpPr>
            <a:spLocks/>
          </p:cNvSpPr>
          <p:nvPr/>
        </p:nvSpPr>
        <p:spPr>
          <a:xfrm>
            <a:off x="4285517" y="2468908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213" name="Forma libre 171">
            <a:extLst>
              <a:ext uri="{FF2B5EF4-FFF2-40B4-BE49-F238E27FC236}">
                <a16:creationId xmlns:a16="http://schemas.microsoft.com/office/drawing/2014/main" id="{EC49403C-2722-EF7C-1D15-0FED975133E2}"/>
              </a:ext>
            </a:extLst>
          </p:cNvPr>
          <p:cNvSpPr>
            <a:spLocks/>
          </p:cNvSpPr>
          <p:nvPr/>
        </p:nvSpPr>
        <p:spPr>
          <a:xfrm>
            <a:off x="4285517" y="2666736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214" name="Forma libre 171">
            <a:extLst>
              <a:ext uri="{FF2B5EF4-FFF2-40B4-BE49-F238E27FC236}">
                <a16:creationId xmlns:a16="http://schemas.microsoft.com/office/drawing/2014/main" id="{5DAB00FD-57FF-E56D-674A-56E214334428}"/>
              </a:ext>
            </a:extLst>
          </p:cNvPr>
          <p:cNvSpPr>
            <a:spLocks/>
          </p:cNvSpPr>
          <p:nvPr/>
        </p:nvSpPr>
        <p:spPr>
          <a:xfrm>
            <a:off x="4285517" y="2864833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76" name="Forma libre 75">
            <a:extLst>
              <a:ext uri="{FF2B5EF4-FFF2-40B4-BE49-F238E27FC236}">
                <a16:creationId xmlns:a16="http://schemas.microsoft.com/office/drawing/2014/main" id="{1FC0EAB3-3091-B147-BF15-9FE4B355EA76}"/>
              </a:ext>
            </a:extLst>
          </p:cNvPr>
          <p:cNvSpPr/>
          <p:nvPr/>
        </p:nvSpPr>
        <p:spPr>
          <a:xfrm>
            <a:off x="4285517" y="1874618"/>
            <a:ext cx="162047" cy="162586"/>
          </a:xfrm>
          <a:custGeom>
            <a:avLst/>
            <a:gdLst>
              <a:gd name="connsiteX0" fmla="*/ 105887 w 165051"/>
              <a:gd name="connsiteY0" fmla="*/ 98083 h 165600"/>
              <a:gd name="connsiteX1" fmla="*/ 113910 w 165051"/>
              <a:gd name="connsiteY1" fmla="*/ 106089 h 165600"/>
              <a:gd name="connsiteX2" fmla="*/ 105905 w 165051"/>
              <a:gd name="connsiteY2" fmla="*/ 114094 h 165600"/>
              <a:gd name="connsiteX3" fmla="*/ 97899 w 165051"/>
              <a:gd name="connsiteY3" fmla="*/ 106107 h 165600"/>
              <a:gd name="connsiteX4" fmla="*/ 105887 w 165051"/>
              <a:gd name="connsiteY4" fmla="*/ 98083 h 165600"/>
              <a:gd name="connsiteX5" fmla="*/ 99955 w 165051"/>
              <a:gd name="connsiteY5" fmla="*/ 74521 h 165600"/>
              <a:gd name="connsiteX6" fmla="*/ 95188 w 165051"/>
              <a:gd name="connsiteY6" fmla="*/ 75795 h 165600"/>
              <a:gd name="connsiteX7" fmla="*/ 91640 w 165051"/>
              <a:gd name="connsiteY7" fmla="*/ 80744 h 165600"/>
              <a:gd name="connsiteX8" fmla="*/ 92132 w 165051"/>
              <a:gd name="connsiteY8" fmla="*/ 88349 h 165600"/>
              <a:gd name="connsiteX9" fmla="*/ 88147 w 165051"/>
              <a:gd name="connsiteY9" fmla="*/ 92352 h 165600"/>
              <a:gd name="connsiteX10" fmla="*/ 80524 w 165051"/>
              <a:gd name="connsiteY10" fmla="*/ 91861 h 165600"/>
              <a:gd name="connsiteX11" fmla="*/ 75575 w 165051"/>
              <a:gd name="connsiteY11" fmla="*/ 95408 h 165600"/>
              <a:gd name="connsiteX12" fmla="*/ 74301 w 165051"/>
              <a:gd name="connsiteY12" fmla="*/ 100175 h 165600"/>
              <a:gd name="connsiteX13" fmla="*/ 76812 w 165051"/>
              <a:gd name="connsiteY13" fmla="*/ 105725 h 165600"/>
              <a:gd name="connsiteX14" fmla="*/ 83671 w 165051"/>
              <a:gd name="connsiteY14" fmla="*/ 109109 h 165600"/>
              <a:gd name="connsiteX15" fmla="*/ 84217 w 165051"/>
              <a:gd name="connsiteY15" fmla="*/ 111874 h 165600"/>
              <a:gd name="connsiteX16" fmla="*/ 85127 w 165051"/>
              <a:gd name="connsiteY16" fmla="*/ 114549 h 165600"/>
              <a:gd name="connsiteX17" fmla="*/ 80887 w 165051"/>
              <a:gd name="connsiteY17" fmla="*/ 120917 h 165600"/>
              <a:gd name="connsiteX18" fmla="*/ 81488 w 165051"/>
              <a:gd name="connsiteY18" fmla="*/ 126976 h 165600"/>
              <a:gd name="connsiteX19" fmla="*/ 84981 w 165051"/>
              <a:gd name="connsiteY19" fmla="*/ 130469 h 165600"/>
              <a:gd name="connsiteX20" fmla="*/ 91040 w 165051"/>
              <a:gd name="connsiteY20" fmla="*/ 131069 h 165600"/>
              <a:gd name="connsiteX21" fmla="*/ 97408 w 165051"/>
              <a:gd name="connsiteY21" fmla="*/ 126830 h 165600"/>
              <a:gd name="connsiteX22" fmla="*/ 102848 w 165051"/>
              <a:gd name="connsiteY22" fmla="*/ 128304 h 165600"/>
              <a:gd name="connsiteX23" fmla="*/ 106232 w 165051"/>
              <a:gd name="connsiteY23" fmla="*/ 135145 h 165600"/>
              <a:gd name="connsiteX24" fmla="*/ 111781 w 165051"/>
              <a:gd name="connsiteY24" fmla="*/ 137656 h 165600"/>
              <a:gd name="connsiteX25" fmla="*/ 116548 w 165051"/>
              <a:gd name="connsiteY25" fmla="*/ 136382 h 165600"/>
              <a:gd name="connsiteX26" fmla="*/ 120096 w 165051"/>
              <a:gd name="connsiteY26" fmla="*/ 131433 h 165600"/>
              <a:gd name="connsiteX27" fmla="*/ 119605 w 165051"/>
              <a:gd name="connsiteY27" fmla="*/ 123810 h 165600"/>
              <a:gd name="connsiteX28" fmla="*/ 123590 w 165051"/>
              <a:gd name="connsiteY28" fmla="*/ 119807 h 165600"/>
              <a:gd name="connsiteX29" fmla="*/ 131231 w 165051"/>
              <a:gd name="connsiteY29" fmla="*/ 120298 h 165600"/>
              <a:gd name="connsiteX30" fmla="*/ 136180 w 165051"/>
              <a:gd name="connsiteY30" fmla="*/ 116750 h 165600"/>
              <a:gd name="connsiteX31" fmla="*/ 137454 w 165051"/>
              <a:gd name="connsiteY31" fmla="*/ 111983 h 165600"/>
              <a:gd name="connsiteX32" fmla="*/ 134943 w 165051"/>
              <a:gd name="connsiteY32" fmla="*/ 106434 h 165600"/>
              <a:gd name="connsiteX33" fmla="*/ 128084 w 165051"/>
              <a:gd name="connsiteY33" fmla="*/ 103050 h 165600"/>
              <a:gd name="connsiteX34" fmla="*/ 127538 w 165051"/>
              <a:gd name="connsiteY34" fmla="*/ 100285 h 165600"/>
              <a:gd name="connsiteX35" fmla="*/ 126628 w 165051"/>
              <a:gd name="connsiteY35" fmla="*/ 97610 h 165600"/>
              <a:gd name="connsiteX36" fmla="*/ 130867 w 165051"/>
              <a:gd name="connsiteY36" fmla="*/ 91260 h 165600"/>
              <a:gd name="connsiteX37" fmla="*/ 130267 w 165051"/>
              <a:gd name="connsiteY37" fmla="*/ 85201 h 165600"/>
              <a:gd name="connsiteX38" fmla="*/ 126774 w 165051"/>
              <a:gd name="connsiteY38" fmla="*/ 81708 h 165600"/>
              <a:gd name="connsiteX39" fmla="*/ 120715 w 165051"/>
              <a:gd name="connsiteY39" fmla="*/ 81108 h 165600"/>
              <a:gd name="connsiteX40" fmla="*/ 114347 w 165051"/>
              <a:gd name="connsiteY40" fmla="*/ 85347 h 165600"/>
              <a:gd name="connsiteX41" fmla="*/ 108907 w 165051"/>
              <a:gd name="connsiteY41" fmla="*/ 83873 h 165600"/>
              <a:gd name="connsiteX42" fmla="*/ 105523 w 165051"/>
              <a:gd name="connsiteY42" fmla="*/ 77032 h 165600"/>
              <a:gd name="connsiteX43" fmla="*/ 99973 w 165051"/>
              <a:gd name="connsiteY43" fmla="*/ 74521 h 165600"/>
              <a:gd name="connsiteX44" fmla="*/ 59309 w 165051"/>
              <a:gd name="connsiteY44" fmla="*/ 51505 h 165600"/>
              <a:gd name="connsiteX45" fmla="*/ 67314 w 165051"/>
              <a:gd name="connsiteY45" fmla="*/ 59511 h 165600"/>
              <a:gd name="connsiteX46" fmla="*/ 59309 w 165051"/>
              <a:gd name="connsiteY46" fmla="*/ 67516 h 165600"/>
              <a:gd name="connsiteX47" fmla="*/ 51303 w 165051"/>
              <a:gd name="connsiteY47" fmla="*/ 59511 h 165600"/>
              <a:gd name="connsiteX48" fmla="*/ 59309 w 165051"/>
              <a:gd name="connsiteY48" fmla="*/ 51505 h 165600"/>
              <a:gd name="connsiteX49" fmla="*/ 65222 w 165051"/>
              <a:gd name="connsiteY49" fmla="*/ 27944 h 165600"/>
              <a:gd name="connsiteX50" fmla="*/ 59673 w 165051"/>
              <a:gd name="connsiteY50" fmla="*/ 30455 h 165600"/>
              <a:gd name="connsiteX51" fmla="*/ 56289 w 165051"/>
              <a:gd name="connsiteY51" fmla="*/ 37296 h 165600"/>
              <a:gd name="connsiteX52" fmla="*/ 50849 w 165051"/>
              <a:gd name="connsiteY52" fmla="*/ 38769 h 165600"/>
              <a:gd name="connsiteX53" fmla="*/ 44481 w 165051"/>
              <a:gd name="connsiteY53" fmla="*/ 34530 h 165600"/>
              <a:gd name="connsiteX54" fmla="*/ 38422 w 165051"/>
              <a:gd name="connsiteY54" fmla="*/ 35130 h 165600"/>
              <a:gd name="connsiteX55" fmla="*/ 34928 w 165051"/>
              <a:gd name="connsiteY55" fmla="*/ 38624 h 165600"/>
              <a:gd name="connsiteX56" fmla="*/ 34328 w 165051"/>
              <a:gd name="connsiteY56" fmla="*/ 44683 h 165600"/>
              <a:gd name="connsiteX57" fmla="*/ 38567 w 165051"/>
              <a:gd name="connsiteY57" fmla="*/ 51032 h 165600"/>
              <a:gd name="connsiteX58" fmla="*/ 37658 w 165051"/>
              <a:gd name="connsiteY58" fmla="*/ 53707 h 165600"/>
              <a:gd name="connsiteX59" fmla="*/ 37112 w 165051"/>
              <a:gd name="connsiteY59" fmla="*/ 56472 h 165600"/>
              <a:gd name="connsiteX60" fmla="*/ 30253 w 165051"/>
              <a:gd name="connsiteY60" fmla="*/ 59857 h 165600"/>
              <a:gd name="connsiteX61" fmla="*/ 27742 w 165051"/>
              <a:gd name="connsiteY61" fmla="*/ 65406 h 165600"/>
              <a:gd name="connsiteX62" fmla="*/ 29015 w 165051"/>
              <a:gd name="connsiteY62" fmla="*/ 70173 h 165600"/>
              <a:gd name="connsiteX63" fmla="*/ 33964 w 165051"/>
              <a:gd name="connsiteY63" fmla="*/ 73721 h 165600"/>
              <a:gd name="connsiteX64" fmla="*/ 41606 w 165051"/>
              <a:gd name="connsiteY64" fmla="*/ 73229 h 165600"/>
              <a:gd name="connsiteX65" fmla="*/ 45590 w 165051"/>
              <a:gd name="connsiteY65" fmla="*/ 77232 h 165600"/>
              <a:gd name="connsiteX66" fmla="*/ 45099 w 165051"/>
              <a:gd name="connsiteY66" fmla="*/ 84856 h 165600"/>
              <a:gd name="connsiteX67" fmla="*/ 48647 w 165051"/>
              <a:gd name="connsiteY67" fmla="*/ 89805 h 165600"/>
              <a:gd name="connsiteX68" fmla="*/ 53414 w 165051"/>
              <a:gd name="connsiteY68" fmla="*/ 91078 h 165600"/>
              <a:gd name="connsiteX69" fmla="*/ 58963 w 165051"/>
              <a:gd name="connsiteY69" fmla="*/ 88567 h 165600"/>
              <a:gd name="connsiteX70" fmla="*/ 62347 w 165051"/>
              <a:gd name="connsiteY70" fmla="*/ 81726 h 165600"/>
              <a:gd name="connsiteX71" fmla="*/ 67788 w 165051"/>
              <a:gd name="connsiteY71" fmla="*/ 80253 h 165600"/>
              <a:gd name="connsiteX72" fmla="*/ 74156 w 165051"/>
              <a:gd name="connsiteY72" fmla="*/ 84492 h 165600"/>
              <a:gd name="connsiteX73" fmla="*/ 80214 w 165051"/>
              <a:gd name="connsiteY73" fmla="*/ 83891 h 165600"/>
              <a:gd name="connsiteX74" fmla="*/ 83708 w 165051"/>
              <a:gd name="connsiteY74" fmla="*/ 80398 h 165600"/>
              <a:gd name="connsiteX75" fmla="*/ 84308 w 165051"/>
              <a:gd name="connsiteY75" fmla="*/ 74339 h 165600"/>
              <a:gd name="connsiteX76" fmla="*/ 80069 w 165051"/>
              <a:gd name="connsiteY76" fmla="*/ 67971 h 165600"/>
              <a:gd name="connsiteX77" fmla="*/ 80978 w 165051"/>
              <a:gd name="connsiteY77" fmla="*/ 65297 h 165600"/>
              <a:gd name="connsiteX78" fmla="*/ 81524 w 165051"/>
              <a:gd name="connsiteY78" fmla="*/ 62531 h 165600"/>
              <a:gd name="connsiteX79" fmla="*/ 88384 w 165051"/>
              <a:gd name="connsiteY79" fmla="*/ 59147 h 165600"/>
              <a:gd name="connsiteX80" fmla="*/ 90894 w 165051"/>
              <a:gd name="connsiteY80" fmla="*/ 53598 h 165600"/>
              <a:gd name="connsiteX81" fmla="*/ 89621 w 165051"/>
              <a:gd name="connsiteY81" fmla="*/ 48831 h 165600"/>
              <a:gd name="connsiteX82" fmla="*/ 84672 w 165051"/>
              <a:gd name="connsiteY82" fmla="*/ 45283 h 165600"/>
              <a:gd name="connsiteX83" fmla="*/ 77030 w 165051"/>
              <a:gd name="connsiteY83" fmla="*/ 45774 h 165600"/>
              <a:gd name="connsiteX84" fmla="*/ 73046 w 165051"/>
              <a:gd name="connsiteY84" fmla="*/ 41771 h 165600"/>
              <a:gd name="connsiteX85" fmla="*/ 73537 w 165051"/>
              <a:gd name="connsiteY85" fmla="*/ 34166 h 165600"/>
              <a:gd name="connsiteX86" fmla="*/ 69989 w 165051"/>
              <a:gd name="connsiteY86" fmla="*/ 29217 h 165600"/>
              <a:gd name="connsiteX87" fmla="*/ 82526 w 165051"/>
              <a:gd name="connsiteY87" fmla="*/ 0 h 165600"/>
              <a:gd name="connsiteX88" fmla="*/ 165051 w 165051"/>
              <a:gd name="connsiteY88" fmla="*/ 82800 h 165600"/>
              <a:gd name="connsiteX89" fmla="*/ 82526 w 165051"/>
              <a:gd name="connsiteY89" fmla="*/ 165600 h 165600"/>
              <a:gd name="connsiteX90" fmla="*/ 0 w 165051"/>
              <a:gd name="connsiteY90" fmla="*/ 82800 h 165600"/>
              <a:gd name="connsiteX91" fmla="*/ 82526 w 165051"/>
              <a:gd name="connsiteY91" fmla="*/ 0 h 16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165051" h="165600">
                <a:moveTo>
                  <a:pt x="105887" y="98083"/>
                </a:moveTo>
                <a:cubicBezTo>
                  <a:pt x="110308" y="98083"/>
                  <a:pt x="113892" y="101649"/>
                  <a:pt x="113910" y="106089"/>
                </a:cubicBezTo>
                <a:cubicBezTo>
                  <a:pt x="113910" y="110510"/>
                  <a:pt x="110326" y="114094"/>
                  <a:pt x="105905" y="114094"/>
                </a:cubicBezTo>
                <a:cubicBezTo>
                  <a:pt x="101483" y="114094"/>
                  <a:pt x="97899" y="110528"/>
                  <a:pt x="97899" y="106107"/>
                </a:cubicBezTo>
                <a:cubicBezTo>
                  <a:pt x="97881" y="101667"/>
                  <a:pt x="101465" y="98083"/>
                  <a:pt x="105887" y="98083"/>
                </a:cubicBezTo>
                <a:close/>
                <a:moveTo>
                  <a:pt x="99955" y="74521"/>
                </a:moveTo>
                <a:lnTo>
                  <a:pt x="95188" y="75795"/>
                </a:lnTo>
                <a:cubicBezTo>
                  <a:pt x="92987" y="76377"/>
                  <a:pt x="91495" y="78451"/>
                  <a:pt x="91640" y="80744"/>
                </a:cubicBezTo>
                <a:lnTo>
                  <a:pt x="92132" y="88349"/>
                </a:lnTo>
                <a:cubicBezTo>
                  <a:pt x="90621" y="89513"/>
                  <a:pt x="89293" y="90878"/>
                  <a:pt x="88147" y="92352"/>
                </a:cubicBezTo>
                <a:lnTo>
                  <a:pt x="80524" y="91861"/>
                </a:lnTo>
                <a:cubicBezTo>
                  <a:pt x="78231" y="91715"/>
                  <a:pt x="76175" y="93207"/>
                  <a:pt x="75575" y="95408"/>
                </a:cubicBezTo>
                <a:lnTo>
                  <a:pt x="74301" y="100175"/>
                </a:lnTo>
                <a:cubicBezTo>
                  <a:pt x="73719" y="102377"/>
                  <a:pt x="74756" y="104706"/>
                  <a:pt x="76812" y="105725"/>
                </a:cubicBezTo>
                <a:lnTo>
                  <a:pt x="83671" y="109109"/>
                </a:lnTo>
                <a:cubicBezTo>
                  <a:pt x="83799" y="110019"/>
                  <a:pt x="83962" y="110946"/>
                  <a:pt x="84217" y="111874"/>
                </a:cubicBezTo>
                <a:cubicBezTo>
                  <a:pt x="84472" y="112802"/>
                  <a:pt x="84781" y="113694"/>
                  <a:pt x="85127" y="114549"/>
                </a:cubicBezTo>
                <a:lnTo>
                  <a:pt x="80887" y="120917"/>
                </a:lnTo>
                <a:cubicBezTo>
                  <a:pt x="79614" y="122827"/>
                  <a:pt x="79869" y="125356"/>
                  <a:pt x="81488" y="126976"/>
                </a:cubicBezTo>
                <a:lnTo>
                  <a:pt x="84981" y="130469"/>
                </a:lnTo>
                <a:cubicBezTo>
                  <a:pt x="86600" y="132088"/>
                  <a:pt x="89129" y="132343"/>
                  <a:pt x="91040" y="131069"/>
                </a:cubicBezTo>
                <a:lnTo>
                  <a:pt x="97408" y="126830"/>
                </a:lnTo>
                <a:cubicBezTo>
                  <a:pt x="99136" y="127540"/>
                  <a:pt x="100974" y="128049"/>
                  <a:pt x="102848" y="128304"/>
                </a:cubicBezTo>
                <a:lnTo>
                  <a:pt x="106232" y="135145"/>
                </a:lnTo>
                <a:cubicBezTo>
                  <a:pt x="107251" y="137201"/>
                  <a:pt x="109562" y="138256"/>
                  <a:pt x="111781" y="137656"/>
                </a:cubicBezTo>
                <a:lnTo>
                  <a:pt x="116548" y="136382"/>
                </a:lnTo>
                <a:cubicBezTo>
                  <a:pt x="118750" y="135800"/>
                  <a:pt x="120242" y="133726"/>
                  <a:pt x="120096" y="131433"/>
                </a:cubicBezTo>
                <a:lnTo>
                  <a:pt x="119605" y="123810"/>
                </a:lnTo>
                <a:cubicBezTo>
                  <a:pt x="121115" y="122645"/>
                  <a:pt x="122443" y="121281"/>
                  <a:pt x="123590" y="119807"/>
                </a:cubicBezTo>
                <a:lnTo>
                  <a:pt x="131231" y="120298"/>
                </a:lnTo>
                <a:cubicBezTo>
                  <a:pt x="133524" y="120444"/>
                  <a:pt x="135580" y="118952"/>
                  <a:pt x="136180" y="116750"/>
                </a:cubicBezTo>
                <a:lnTo>
                  <a:pt x="137454" y="111983"/>
                </a:lnTo>
                <a:cubicBezTo>
                  <a:pt x="138054" y="109782"/>
                  <a:pt x="136999" y="107453"/>
                  <a:pt x="134943" y="106434"/>
                </a:cubicBezTo>
                <a:lnTo>
                  <a:pt x="128084" y="103050"/>
                </a:lnTo>
                <a:cubicBezTo>
                  <a:pt x="127956" y="102122"/>
                  <a:pt x="127793" y="101212"/>
                  <a:pt x="127538" y="100285"/>
                </a:cubicBezTo>
                <a:cubicBezTo>
                  <a:pt x="127283" y="99357"/>
                  <a:pt x="126974" y="98465"/>
                  <a:pt x="126628" y="97610"/>
                </a:cubicBezTo>
                <a:lnTo>
                  <a:pt x="130867" y="91260"/>
                </a:lnTo>
                <a:cubicBezTo>
                  <a:pt x="132141" y="89368"/>
                  <a:pt x="131886" y="86821"/>
                  <a:pt x="130267" y="85201"/>
                </a:cubicBezTo>
                <a:lnTo>
                  <a:pt x="126774" y="81708"/>
                </a:lnTo>
                <a:cubicBezTo>
                  <a:pt x="125154" y="80089"/>
                  <a:pt x="122625" y="79834"/>
                  <a:pt x="120715" y="81108"/>
                </a:cubicBezTo>
                <a:lnTo>
                  <a:pt x="114347" y="85347"/>
                </a:lnTo>
                <a:cubicBezTo>
                  <a:pt x="112618" y="84637"/>
                  <a:pt x="110781" y="84128"/>
                  <a:pt x="108907" y="83873"/>
                </a:cubicBezTo>
                <a:lnTo>
                  <a:pt x="105523" y="77032"/>
                </a:lnTo>
                <a:cubicBezTo>
                  <a:pt x="104522" y="74976"/>
                  <a:pt x="102193" y="73921"/>
                  <a:pt x="99973" y="74521"/>
                </a:cubicBezTo>
                <a:close/>
                <a:moveTo>
                  <a:pt x="59309" y="51505"/>
                </a:moveTo>
                <a:cubicBezTo>
                  <a:pt x="63730" y="51505"/>
                  <a:pt x="67314" y="55090"/>
                  <a:pt x="67314" y="59511"/>
                </a:cubicBezTo>
                <a:cubicBezTo>
                  <a:pt x="67314" y="63932"/>
                  <a:pt x="63730" y="67516"/>
                  <a:pt x="59309" y="67516"/>
                </a:cubicBezTo>
                <a:cubicBezTo>
                  <a:pt x="54888" y="67516"/>
                  <a:pt x="51303" y="63932"/>
                  <a:pt x="51303" y="59511"/>
                </a:cubicBezTo>
                <a:cubicBezTo>
                  <a:pt x="51303" y="55090"/>
                  <a:pt x="54888" y="51505"/>
                  <a:pt x="59309" y="51505"/>
                </a:cubicBezTo>
                <a:close/>
                <a:moveTo>
                  <a:pt x="65222" y="27944"/>
                </a:moveTo>
                <a:cubicBezTo>
                  <a:pt x="63002" y="27361"/>
                  <a:pt x="60692" y="28399"/>
                  <a:pt x="59673" y="30455"/>
                </a:cubicBezTo>
                <a:lnTo>
                  <a:pt x="56289" y="37296"/>
                </a:lnTo>
                <a:cubicBezTo>
                  <a:pt x="54415" y="37550"/>
                  <a:pt x="52577" y="38060"/>
                  <a:pt x="50849" y="38769"/>
                </a:cubicBezTo>
                <a:lnTo>
                  <a:pt x="44481" y="34530"/>
                </a:lnTo>
                <a:cubicBezTo>
                  <a:pt x="42570" y="33256"/>
                  <a:pt x="40041" y="33511"/>
                  <a:pt x="38422" y="35130"/>
                </a:cubicBezTo>
                <a:lnTo>
                  <a:pt x="34928" y="38624"/>
                </a:lnTo>
                <a:cubicBezTo>
                  <a:pt x="33309" y="40243"/>
                  <a:pt x="33054" y="42772"/>
                  <a:pt x="34328" y="44683"/>
                </a:cubicBezTo>
                <a:lnTo>
                  <a:pt x="38567" y="51032"/>
                </a:lnTo>
                <a:cubicBezTo>
                  <a:pt x="38203" y="51887"/>
                  <a:pt x="37912" y="52779"/>
                  <a:pt x="37658" y="53707"/>
                </a:cubicBezTo>
                <a:cubicBezTo>
                  <a:pt x="37421" y="54635"/>
                  <a:pt x="37239" y="55545"/>
                  <a:pt x="37112" y="56472"/>
                </a:cubicBezTo>
                <a:lnTo>
                  <a:pt x="30253" y="59857"/>
                </a:lnTo>
                <a:cubicBezTo>
                  <a:pt x="28197" y="60875"/>
                  <a:pt x="27159" y="63204"/>
                  <a:pt x="27742" y="65406"/>
                </a:cubicBezTo>
                <a:lnTo>
                  <a:pt x="29015" y="70173"/>
                </a:lnTo>
                <a:cubicBezTo>
                  <a:pt x="29616" y="72374"/>
                  <a:pt x="31690" y="73866"/>
                  <a:pt x="33964" y="73721"/>
                </a:cubicBezTo>
                <a:lnTo>
                  <a:pt x="41606" y="73229"/>
                </a:lnTo>
                <a:cubicBezTo>
                  <a:pt x="42752" y="74721"/>
                  <a:pt x="44080" y="76068"/>
                  <a:pt x="45590" y="77232"/>
                </a:cubicBezTo>
                <a:lnTo>
                  <a:pt x="45099" y="84856"/>
                </a:lnTo>
                <a:cubicBezTo>
                  <a:pt x="44954" y="87130"/>
                  <a:pt x="46427" y="89204"/>
                  <a:pt x="48647" y="89805"/>
                </a:cubicBezTo>
                <a:lnTo>
                  <a:pt x="53414" y="91078"/>
                </a:lnTo>
                <a:cubicBezTo>
                  <a:pt x="55615" y="91660"/>
                  <a:pt x="57944" y="90623"/>
                  <a:pt x="58963" y="88567"/>
                </a:cubicBezTo>
                <a:lnTo>
                  <a:pt x="62347" y="81726"/>
                </a:lnTo>
                <a:cubicBezTo>
                  <a:pt x="64221" y="81472"/>
                  <a:pt x="66059" y="80962"/>
                  <a:pt x="67788" y="80253"/>
                </a:cubicBezTo>
                <a:lnTo>
                  <a:pt x="74156" y="84492"/>
                </a:lnTo>
                <a:cubicBezTo>
                  <a:pt x="76066" y="85765"/>
                  <a:pt x="78595" y="85511"/>
                  <a:pt x="80214" y="83891"/>
                </a:cubicBezTo>
                <a:lnTo>
                  <a:pt x="83708" y="80398"/>
                </a:lnTo>
                <a:cubicBezTo>
                  <a:pt x="85327" y="78779"/>
                  <a:pt x="85582" y="76250"/>
                  <a:pt x="84308" y="74339"/>
                </a:cubicBezTo>
                <a:lnTo>
                  <a:pt x="80069" y="67971"/>
                </a:lnTo>
                <a:cubicBezTo>
                  <a:pt x="80414" y="67116"/>
                  <a:pt x="80742" y="66206"/>
                  <a:pt x="80978" y="65297"/>
                </a:cubicBezTo>
                <a:cubicBezTo>
                  <a:pt x="81215" y="64387"/>
                  <a:pt x="81397" y="63459"/>
                  <a:pt x="81524" y="62531"/>
                </a:cubicBezTo>
                <a:lnTo>
                  <a:pt x="88384" y="59147"/>
                </a:lnTo>
                <a:cubicBezTo>
                  <a:pt x="90439" y="58128"/>
                  <a:pt x="91477" y="55799"/>
                  <a:pt x="90894" y="53598"/>
                </a:cubicBezTo>
                <a:lnTo>
                  <a:pt x="89621" y="48831"/>
                </a:lnTo>
                <a:cubicBezTo>
                  <a:pt x="89020" y="46629"/>
                  <a:pt x="86946" y="45137"/>
                  <a:pt x="84672" y="45283"/>
                </a:cubicBezTo>
                <a:lnTo>
                  <a:pt x="77030" y="45774"/>
                </a:lnTo>
                <a:cubicBezTo>
                  <a:pt x="75884" y="44282"/>
                  <a:pt x="74556" y="42936"/>
                  <a:pt x="73046" y="41771"/>
                </a:cubicBezTo>
                <a:lnTo>
                  <a:pt x="73537" y="34166"/>
                </a:lnTo>
                <a:cubicBezTo>
                  <a:pt x="73682" y="31892"/>
                  <a:pt x="72191" y="29818"/>
                  <a:pt x="69989" y="29217"/>
                </a:cubicBezTo>
                <a:close/>
                <a:moveTo>
                  <a:pt x="82526" y="0"/>
                </a:moveTo>
                <a:cubicBezTo>
                  <a:pt x="128103" y="0"/>
                  <a:pt x="165051" y="37071"/>
                  <a:pt x="165051" y="82800"/>
                </a:cubicBezTo>
                <a:cubicBezTo>
                  <a:pt x="165051" y="128529"/>
                  <a:pt x="128103" y="165600"/>
                  <a:pt x="82526" y="165600"/>
                </a:cubicBezTo>
                <a:cubicBezTo>
                  <a:pt x="36948" y="165600"/>
                  <a:pt x="0" y="128529"/>
                  <a:pt x="0" y="82800"/>
                </a:cubicBezTo>
                <a:cubicBezTo>
                  <a:pt x="0" y="37071"/>
                  <a:pt x="36948" y="0"/>
                  <a:pt x="82526" y="0"/>
                </a:cubicBezTo>
                <a:close/>
              </a:path>
            </a:pathLst>
          </a:custGeom>
          <a:solidFill>
            <a:srgbClr val="FFC000"/>
          </a:solidFill>
          <a:ln w="179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77" name="Forma libre 76">
            <a:extLst>
              <a:ext uri="{FF2B5EF4-FFF2-40B4-BE49-F238E27FC236}">
                <a16:creationId xmlns:a16="http://schemas.microsoft.com/office/drawing/2014/main" id="{CC204475-5DAA-2A7D-8F11-F23353432943}"/>
              </a:ext>
            </a:extLst>
          </p:cNvPr>
          <p:cNvSpPr/>
          <p:nvPr/>
        </p:nvSpPr>
        <p:spPr>
          <a:xfrm>
            <a:off x="4285517" y="2072715"/>
            <a:ext cx="162047" cy="162586"/>
          </a:xfrm>
          <a:custGeom>
            <a:avLst/>
            <a:gdLst>
              <a:gd name="connsiteX0" fmla="*/ 105887 w 165051"/>
              <a:gd name="connsiteY0" fmla="*/ 98083 h 165600"/>
              <a:gd name="connsiteX1" fmla="*/ 113910 w 165051"/>
              <a:gd name="connsiteY1" fmla="*/ 106089 h 165600"/>
              <a:gd name="connsiteX2" fmla="*/ 105905 w 165051"/>
              <a:gd name="connsiteY2" fmla="*/ 114094 h 165600"/>
              <a:gd name="connsiteX3" fmla="*/ 97899 w 165051"/>
              <a:gd name="connsiteY3" fmla="*/ 106107 h 165600"/>
              <a:gd name="connsiteX4" fmla="*/ 105887 w 165051"/>
              <a:gd name="connsiteY4" fmla="*/ 98083 h 165600"/>
              <a:gd name="connsiteX5" fmla="*/ 99955 w 165051"/>
              <a:gd name="connsiteY5" fmla="*/ 74521 h 165600"/>
              <a:gd name="connsiteX6" fmla="*/ 95188 w 165051"/>
              <a:gd name="connsiteY6" fmla="*/ 75795 h 165600"/>
              <a:gd name="connsiteX7" fmla="*/ 91640 w 165051"/>
              <a:gd name="connsiteY7" fmla="*/ 80744 h 165600"/>
              <a:gd name="connsiteX8" fmla="*/ 92132 w 165051"/>
              <a:gd name="connsiteY8" fmla="*/ 88349 h 165600"/>
              <a:gd name="connsiteX9" fmla="*/ 88147 w 165051"/>
              <a:gd name="connsiteY9" fmla="*/ 92352 h 165600"/>
              <a:gd name="connsiteX10" fmla="*/ 80524 w 165051"/>
              <a:gd name="connsiteY10" fmla="*/ 91861 h 165600"/>
              <a:gd name="connsiteX11" fmla="*/ 75575 w 165051"/>
              <a:gd name="connsiteY11" fmla="*/ 95408 h 165600"/>
              <a:gd name="connsiteX12" fmla="*/ 74301 w 165051"/>
              <a:gd name="connsiteY12" fmla="*/ 100175 h 165600"/>
              <a:gd name="connsiteX13" fmla="*/ 76812 w 165051"/>
              <a:gd name="connsiteY13" fmla="*/ 105725 h 165600"/>
              <a:gd name="connsiteX14" fmla="*/ 83671 w 165051"/>
              <a:gd name="connsiteY14" fmla="*/ 109109 h 165600"/>
              <a:gd name="connsiteX15" fmla="*/ 84217 w 165051"/>
              <a:gd name="connsiteY15" fmla="*/ 111874 h 165600"/>
              <a:gd name="connsiteX16" fmla="*/ 85127 w 165051"/>
              <a:gd name="connsiteY16" fmla="*/ 114549 h 165600"/>
              <a:gd name="connsiteX17" fmla="*/ 80887 w 165051"/>
              <a:gd name="connsiteY17" fmla="*/ 120917 h 165600"/>
              <a:gd name="connsiteX18" fmla="*/ 81488 w 165051"/>
              <a:gd name="connsiteY18" fmla="*/ 126976 h 165600"/>
              <a:gd name="connsiteX19" fmla="*/ 84981 w 165051"/>
              <a:gd name="connsiteY19" fmla="*/ 130469 h 165600"/>
              <a:gd name="connsiteX20" fmla="*/ 91040 w 165051"/>
              <a:gd name="connsiteY20" fmla="*/ 131069 h 165600"/>
              <a:gd name="connsiteX21" fmla="*/ 97408 w 165051"/>
              <a:gd name="connsiteY21" fmla="*/ 126830 h 165600"/>
              <a:gd name="connsiteX22" fmla="*/ 102848 w 165051"/>
              <a:gd name="connsiteY22" fmla="*/ 128304 h 165600"/>
              <a:gd name="connsiteX23" fmla="*/ 106232 w 165051"/>
              <a:gd name="connsiteY23" fmla="*/ 135145 h 165600"/>
              <a:gd name="connsiteX24" fmla="*/ 111781 w 165051"/>
              <a:gd name="connsiteY24" fmla="*/ 137656 h 165600"/>
              <a:gd name="connsiteX25" fmla="*/ 116548 w 165051"/>
              <a:gd name="connsiteY25" fmla="*/ 136382 h 165600"/>
              <a:gd name="connsiteX26" fmla="*/ 120096 w 165051"/>
              <a:gd name="connsiteY26" fmla="*/ 131433 h 165600"/>
              <a:gd name="connsiteX27" fmla="*/ 119605 w 165051"/>
              <a:gd name="connsiteY27" fmla="*/ 123810 h 165600"/>
              <a:gd name="connsiteX28" fmla="*/ 123590 w 165051"/>
              <a:gd name="connsiteY28" fmla="*/ 119807 h 165600"/>
              <a:gd name="connsiteX29" fmla="*/ 131231 w 165051"/>
              <a:gd name="connsiteY29" fmla="*/ 120298 h 165600"/>
              <a:gd name="connsiteX30" fmla="*/ 136180 w 165051"/>
              <a:gd name="connsiteY30" fmla="*/ 116750 h 165600"/>
              <a:gd name="connsiteX31" fmla="*/ 137454 w 165051"/>
              <a:gd name="connsiteY31" fmla="*/ 111983 h 165600"/>
              <a:gd name="connsiteX32" fmla="*/ 134943 w 165051"/>
              <a:gd name="connsiteY32" fmla="*/ 106434 h 165600"/>
              <a:gd name="connsiteX33" fmla="*/ 128084 w 165051"/>
              <a:gd name="connsiteY33" fmla="*/ 103050 h 165600"/>
              <a:gd name="connsiteX34" fmla="*/ 127538 w 165051"/>
              <a:gd name="connsiteY34" fmla="*/ 100285 h 165600"/>
              <a:gd name="connsiteX35" fmla="*/ 126628 w 165051"/>
              <a:gd name="connsiteY35" fmla="*/ 97610 h 165600"/>
              <a:gd name="connsiteX36" fmla="*/ 130867 w 165051"/>
              <a:gd name="connsiteY36" fmla="*/ 91260 h 165600"/>
              <a:gd name="connsiteX37" fmla="*/ 130267 w 165051"/>
              <a:gd name="connsiteY37" fmla="*/ 85201 h 165600"/>
              <a:gd name="connsiteX38" fmla="*/ 126774 w 165051"/>
              <a:gd name="connsiteY38" fmla="*/ 81708 h 165600"/>
              <a:gd name="connsiteX39" fmla="*/ 120715 w 165051"/>
              <a:gd name="connsiteY39" fmla="*/ 81108 h 165600"/>
              <a:gd name="connsiteX40" fmla="*/ 114347 w 165051"/>
              <a:gd name="connsiteY40" fmla="*/ 85347 h 165600"/>
              <a:gd name="connsiteX41" fmla="*/ 108907 w 165051"/>
              <a:gd name="connsiteY41" fmla="*/ 83873 h 165600"/>
              <a:gd name="connsiteX42" fmla="*/ 105523 w 165051"/>
              <a:gd name="connsiteY42" fmla="*/ 77032 h 165600"/>
              <a:gd name="connsiteX43" fmla="*/ 99973 w 165051"/>
              <a:gd name="connsiteY43" fmla="*/ 74521 h 165600"/>
              <a:gd name="connsiteX44" fmla="*/ 59309 w 165051"/>
              <a:gd name="connsiteY44" fmla="*/ 51505 h 165600"/>
              <a:gd name="connsiteX45" fmla="*/ 67314 w 165051"/>
              <a:gd name="connsiteY45" fmla="*/ 59511 h 165600"/>
              <a:gd name="connsiteX46" fmla="*/ 59309 w 165051"/>
              <a:gd name="connsiteY46" fmla="*/ 67516 h 165600"/>
              <a:gd name="connsiteX47" fmla="*/ 51303 w 165051"/>
              <a:gd name="connsiteY47" fmla="*/ 59511 h 165600"/>
              <a:gd name="connsiteX48" fmla="*/ 59309 w 165051"/>
              <a:gd name="connsiteY48" fmla="*/ 51505 h 165600"/>
              <a:gd name="connsiteX49" fmla="*/ 65222 w 165051"/>
              <a:gd name="connsiteY49" fmla="*/ 27944 h 165600"/>
              <a:gd name="connsiteX50" fmla="*/ 59673 w 165051"/>
              <a:gd name="connsiteY50" fmla="*/ 30455 h 165600"/>
              <a:gd name="connsiteX51" fmla="*/ 56289 w 165051"/>
              <a:gd name="connsiteY51" fmla="*/ 37296 h 165600"/>
              <a:gd name="connsiteX52" fmla="*/ 50849 w 165051"/>
              <a:gd name="connsiteY52" fmla="*/ 38769 h 165600"/>
              <a:gd name="connsiteX53" fmla="*/ 44481 w 165051"/>
              <a:gd name="connsiteY53" fmla="*/ 34530 h 165600"/>
              <a:gd name="connsiteX54" fmla="*/ 38422 w 165051"/>
              <a:gd name="connsiteY54" fmla="*/ 35130 h 165600"/>
              <a:gd name="connsiteX55" fmla="*/ 34928 w 165051"/>
              <a:gd name="connsiteY55" fmla="*/ 38624 h 165600"/>
              <a:gd name="connsiteX56" fmla="*/ 34328 w 165051"/>
              <a:gd name="connsiteY56" fmla="*/ 44683 h 165600"/>
              <a:gd name="connsiteX57" fmla="*/ 38567 w 165051"/>
              <a:gd name="connsiteY57" fmla="*/ 51032 h 165600"/>
              <a:gd name="connsiteX58" fmla="*/ 37658 w 165051"/>
              <a:gd name="connsiteY58" fmla="*/ 53707 h 165600"/>
              <a:gd name="connsiteX59" fmla="*/ 37112 w 165051"/>
              <a:gd name="connsiteY59" fmla="*/ 56472 h 165600"/>
              <a:gd name="connsiteX60" fmla="*/ 30253 w 165051"/>
              <a:gd name="connsiteY60" fmla="*/ 59857 h 165600"/>
              <a:gd name="connsiteX61" fmla="*/ 27742 w 165051"/>
              <a:gd name="connsiteY61" fmla="*/ 65406 h 165600"/>
              <a:gd name="connsiteX62" fmla="*/ 29015 w 165051"/>
              <a:gd name="connsiteY62" fmla="*/ 70173 h 165600"/>
              <a:gd name="connsiteX63" fmla="*/ 33964 w 165051"/>
              <a:gd name="connsiteY63" fmla="*/ 73721 h 165600"/>
              <a:gd name="connsiteX64" fmla="*/ 41606 w 165051"/>
              <a:gd name="connsiteY64" fmla="*/ 73229 h 165600"/>
              <a:gd name="connsiteX65" fmla="*/ 45590 w 165051"/>
              <a:gd name="connsiteY65" fmla="*/ 77232 h 165600"/>
              <a:gd name="connsiteX66" fmla="*/ 45099 w 165051"/>
              <a:gd name="connsiteY66" fmla="*/ 84856 h 165600"/>
              <a:gd name="connsiteX67" fmla="*/ 48647 w 165051"/>
              <a:gd name="connsiteY67" fmla="*/ 89805 h 165600"/>
              <a:gd name="connsiteX68" fmla="*/ 53414 w 165051"/>
              <a:gd name="connsiteY68" fmla="*/ 91078 h 165600"/>
              <a:gd name="connsiteX69" fmla="*/ 58963 w 165051"/>
              <a:gd name="connsiteY69" fmla="*/ 88567 h 165600"/>
              <a:gd name="connsiteX70" fmla="*/ 62347 w 165051"/>
              <a:gd name="connsiteY70" fmla="*/ 81726 h 165600"/>
              <a:gd name="connsiteX71" fmla="*/ 67788 w 165051"/>
              <a:gd name="connsiteY71" fmla="*/ 80253 h 165600"/>
              <a:gd name="connsiteX72" fmla="*/ 74156 w 165051"/>
              <a:gd name="connsiteY72" fmla="*/ 84492 h 165600"/>
              <a:gd name="connsiteX73" fmla="*/ 80214 w 165051"/>
              <a:gd name="connsiteY73" fmla="*/ 83891 h 165600"/>
              <a:gd name="connsiteX74" fmla="*/ 83708 w 165051"/>
              <a:gd name="connsiteY74" fmla="*/ 80398 h 165600"/>
              <a:gd name="connsiteX75" fmla="*/ 84308 w 165051"/>
              <a:gd name="connsiteY75" fmla="*/ 74339 h 165600"/>
              <a:gd name="connsiteX76" fmla="*/ 80069 w 165051"/>
              <a:gd name="connsiteY76" fmla="*/ 67971 h 165600"/>
              <a:gd name="connsiteX77" fmla="*/ 80978 w 165051"/>
              <a:gd name="connsiteY77" fmla="*/ 65297 h 165600"/>
              <a:gd name="connsiteX78" fmla="*/ 81524 w 165051"/>
              <a:gd name="connsiteY78" fmla="*/ 62531 h 165600"/>
              <a:gd name="connsiteX79" fmla="*/ 88384 w 165051"/>
              <a:gd name="connsiteY79" fmla="*/ 59147 h 165600"/>
              <a:gd name="connsiteX80" fmla="*/ 90894 w 165051"/>
              <a:gd name="connsiteY80" fmla="*/ 53598 h 165600"/>
              <a:gd name="connsiteX81" fmla="*/ 89621 w 165051"/>
              <a:gd name="connsiteY81" fmla="*/ 48831 h 165600"/>
              <a:gd name="connsiteX82" fmla="*/ 84672 w 165051"/>
              <a:gd name="connsiteY82" fmla="*/ 45283 h 165600"/>
              <a:gd name="connsiteX83" fmla="*/ 77030 w 165051"/>
              <a:gd name="connsiteY83" fmla="*/ 45774 h 165600"/>
              <a:gd name="connsiteX84" fmla="*/ 73046 w 165051"/>
              <a:gd name="connsiteY84" fmla="*/ 41771 h 165600"/>
              <a:gd name="connsiteX85" fmla="*/ 73537 w 165051"/>
              <a:gd name="connsiteY85" fmla="*/ 34166 h 165600"/>
              <a:gd name="connsiteX86" fmla="*/ 69989 w 165051"/>
              <a:gd name="connsiteY86" fmla="*/ 29217 h 165600"/>
              <a:gd name="connsiteX87" fmla="*/ 82526 w 165051"/>
              <a:gd name="connsiteY87" fmla="*/ 0 h 165600"/>
              <a:gd name="connsiteX88" fmla="*/ 165051 w 165051"/>
              <a:gd name="connsiteY88" fmla="*/ 82800 h 165600"/>
              <a:gd name="connsiteX89" fmla="*/ 82526 w 165051"/>
              <a:gd name="connsiteY89" fmla="*/ 165600 h 165600"/>
              <a:gd name="connsiteX90" fmla="*/ 0 w 165051"/>
              <a:gd name="connsiteY90" fmla="*/ 82800 h 165600"/>
              <a:gd name="connsiteX91" fmla="*/ 82526 w 165051"/>
              <a:gd name="connsiteY91" fmla="*/ 0 h 16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165051" h="165600">
                <a:moveTo>
                  <a:pt x="105887" y="98083"/>
                </a:moveTo>
                <a:cubicBezTo>
                  <a:pt x="110308" y="98083"/>
                  <a:pt x="113892" y="101649"/>
                  <a:pt x="113910" y="106089"/>
                </a:cubicBezTo>
                <a:cubicBezTo>
                  <a:pt x="113910" y="110510"/>
                  <a:pt x="110326" y="114094"/>
                  <a:pt x="105905" y="114094"/>
                </a:cubicBezTo>
                <a:cubicBezTo>
                  <a:pt x="101483" y="114094"/>
                  <a:pt x="97899" y="110528"/>
                  <a:pt x="97899" y="106107"/>
                </a:cubicBezTo>
                <a:cubicBezTo>
                  <a:pt x="97881" y="101667"/>
                  <a:pt x="101465" y="98083"/>
                  <a:pt x="105887" y="98083"/>
                </a:cubicBezTo>
                <a:close/>
                <a:moveTo>
                  <a:pt x="99955" y="74521"/>
                </a:moveTo>
                <a:lnTo>
                  <a:pt x="95188" y="75795"/>
                </a:lnTo>
                <a:cubicBezTo>
                  <a:pt x="92987" y="76377"/>
                  <a:pt x="91495" y="78451"/>
                  <a:pt x="91640" y="80744"/>
                </a:cubicBezTo>
                <a:lnTo>
                  <a:pt x="92132" y="88349"/>
                </a:lnTo>
                <a:cubicBezTo>
                  <a:pt x="90621" y="89513"/>
                  <a:pt x="89293" y="90878"/>
                  <a:pt x="88147" y="92352"/>
                </a:cubicBezTo>
                <a:lnTo>
                  <a:pt x="80524" y="91861"/>
                </a:lnTo>
                <a:cubicBezTo>
                  <a:pt x="78231" y="91715"/>
                  <a:pt x="76175" y="93207"/>
                  <a:pt x="75575" y="95408"/>
                </a:cubicBezTo>
                <a:lnTo>
                  <a:pt x="74301" y="100175"/>
                </a:lnTo>
                <a:cubicBezTo>
                  <a:pt x="73719" y="102377"/>
                  <a:pt x="74756" y="104706"/>
                  <a:pt x="76812" y="105725"/>
                </a:cubicBezTo>
                <a:lnTo>
                  <a:pt x="83671" y="109109"/>
                </a:lnTo>
                <a:cubicBezTo>
                  <a:pt x="83799" y="110019"/>
                  <a:pt x="83962" y="110946"/>
                  <a:pt x="84217" y="111874"/>
                </a:cubicBezTo>
                <a:cubicBezTo>
                  <a:pt x="84472" y="112802"/>
                  <a:pt x="84781" y="113694"/>
                  <a:pt x="85127" y="114549"/>
                </a:cubicBezTo>
                <a:lnTo>
                  <a:pt x="80887" y="120917"/>
                </a:lnTo>
                <a:cubicBezTo>
                  <a:pt x="79614" y="122827"/>
                  <a:pt x="79869" y="125356"/>
                  <a:pt x="81488" y="126976"/>
                </a:cubicBezTo>
                <a:lnTo>
                  <a:pt x="84981" y="130469"/>
                </a:lnTo>
                <a:cubicBezTo>
                  <a:pt x="86600" y="132088"/>
                  <a:pt x="89129" y="132343"/>
                  <a:pt x="91040" y="131069"/>
                </a:cubicBezTo>
                <a:lnTo>
                  <a:pt x="97408" y="126830"/>
                </a:lnTo>
                <a:cubicBezTo>
                  <a:pt x="99136" y="127540"/>
                  <a:pt x="100974" y="128049"/>
                  <a:pt x="102848" y="128304"/>
                </a:cubicBezTo>
                <a:lnTo>
                  <a:pt x="106232" y="135145"/>
                </a:lnTo>
                <a:cubicBezTo>
                  <a:pt x="107251" y="137201"/>
                  <a:pt x="109562" y="138256"/>
                  <a:pt x="111781" y="137656"/>
                </a:cubicBezTo>
                <a:lnTo>
                  <a:pt x="116548" y="136382"/>
                </a:lnTo>
                <a:cubicBezTo>
                  <a:pt x="118750" y="135800"/>
                  <a:pt x="120242" y="133726"/>
                  <a:pt x="120096" y="131433"/>
                </a:cubicBezTo>
                <a:lnTo>
                  <a:pt x="119605" y="123810"/>
                </a:lnTo>
                <a:cubicBezTo>
                  <a:pt x="121115" y="122645"/>
                  <a:pt x="122443" y="121281"/>
                  <a:pt x="123590" y="119807"/>
                </a:cubicBezTo>
                <a:lnTo>
                  <a:pt x="131231" y="120298"/>
                </a:lnTo>
                <a:cubicBezTo>
                  <a:pt x="133524" y="120444"/>
                  <a:pt x="135580" y="118952"/>
                  <a:pt x="136180" y="116750"/>
                </a:cubicBezTo>
                <a:lnTo>
                  <a:pt x="137454" y="111983"/>
                </a:lnTo>
                <a:cubicBezTo>
                  <a:pt x="138054" y="109782"/>
                  <a:pt x="136999" y="107453"/>
                  <a:pt x="134943" y="106434"/>
                </a:cubicBezTo>
                <a:lnTo>
                  <a:pt x="128084" y="103050"/>
                </a:lnTo>
                <a:cubicBezTo>
                  <a:pt x="127956" y="102122"/>
                  <a:pt x="127793" y="101212"/>
                  <a:pt x="127538" y="100285"/>
                </a:cubicBezTo>
                <a:cubicBezTo>
                  <a:pt x="127283" y="99357"/>
                  <a:pt x="126974" y="98465"/>
                  <a:pt x="126628" y="97610"/>
                </a:cubicBezTo>
                <a:lnTo>
                  <a:pt x="130867" y="91260"/>
                </a:lnTo>
                <a:cubicBezTo>
                  <a:pt x="132141" y="89368"/>
                  <a:pt x="131886" y="86821"/>
                  <a:pt x="130267" y="85201"/>
                </a:cubicBezTo>
                <a:lnTo>
                  <a:pt x="126774" y="81708"/>
                </a:lnTo>
                <a:cubicBezTo>
                  <a:pt x="125154" y="80089"/>
                  <a:pt x="122625" y="79834"/>
                  <a:pt x="120715" y="81108"/>
                </a:cubicBezTo>
                <a:lnTo>
                  <a:pt x="114347" y="85347"/>
                </a:lnTo>
                <a:cubicBezTo>
                  <a:pt x="112618" y="84637"/>
                  <a:pt x="110781" y="84128"/>
                  <a:pt x="108907" y="83873"/>
                </a:cubicBezTo>
                <a:lnTo>
                  <a:pt x="105523" y="77032"/>
                </a:lnTo>
                <a:cubicBezTo>
                  <a:pt x="104522" y="74976"/>
                  <a:pt x="102193" y="73921"/>
                  <a:pt x="99973" y="74521"/>
                </a:cubicBezTo>
                <a:close/>
                <a:moveTo>
                  <a:pt x="59309" y="51505"/>
                </a:moveTo>
                <a:cubicBezTo>
                  <a:pt x="63730" y="51505"/>
                  <a:pt x="67314" y="55090"/>
                  <a:pt x="67314" y="59511"/>
                </a:cubicBezTo>
                <a:cubicBezTo>
                  <a:pt x="67314" y="63932"/>
                  <a:pt x="63730" y="67516"/>
                  <a:pt x="59309" y="67516"/>
                </a:cubicBezTo>
                <a:cubicBezTo>
                  <a:pt x="54888" y="67516"/>
                  <a:pt x="51303" y="63932"/>
                  <a:pt x="51303" y="59511"/>
                </a:cubicBezTo>
                <a:cubicBezTo>
                  <a:pt x="51303" y="55090"/>
                  <a:pt x="54888" y="51505"/>
                  <a:pt x="59309" y="51505"/>
                </a:cubicBezTo>
                <a:close/>
                <a:moveTo>
                  <a:pt x="65222" y="27944"/>
                </a:moveTo>
                <a:cubicBezTo>
                  <a:pt x="63002" y="27361"/>
                  <a:pt x="60692" y="28399"/>
                  <a:pt x="59673" y="30455"/>
                </a:cubicBezTo>
                <a:lnTo>
                  <a:pt x="56289" y="37296"/>
                </a:lnTo>
                <a:cubicBezTo>
                  <a:pt x="54415" y="37550"/>
                  <a:pt x="52577" y="38060"/>
                  <a:pt x="50849" y="38769"/>
                </a:cubicBezTo>
                <a:lnTo>
                  <a:pt x="44481" y="34530"/>
                </a:lnTo>
                <a:cubicBezTo>
                  <a:pt x="42570" y="33256"/>
                  <a:pt x="40041" y="33511"/>
                  <a:pt x="38422" y="35130"/>
                </a:cubicBezTo>
                <a:lnTo>
                  <a:pt x="34928" y="38624"/>
                </a:lnTo>
                <a:cubicBezTo>
                  <a:pt x="33309" y="40243"/>
                  <a:pt x="33054" y="42772"/>
                  <a:pt x="34328" y="44683"/>
                </a:cubicBezTo>
                <a:lnTo>
                  <a:pt x="38567" y="51032"/>
                </a:lnTo>
                <a:cubicBezTo>
                  <a:pt x="38203" y="51887"/>
                  <a:pt x="37912" y="52779"/>
                  <a:pt x="37658" y="53707"/>
                </a:cubicBezTo>
                <a:cubicBezTo>
                  <a:pt x="37421" y="54635"/>
                  <a:pt x="37239" y="55545"/>
                  <a:pt x="37112" y="56472"/>
                </a:cubicBezTo>
                <a:lnTo>
                  <a:pt x="30253" y="59857"/>
                </a:lnTo>
                <a:cubicBezTo>
                  <a:pt x="28197" y="60875"/>
                  <a:pt x="27159" y="63204"/>
                  <a:pt x="27742" y="65406"/>
                </a:cubicBezTo>
                <a:lnTo>
                  <a:pt x="29015" y="70173"/>
                </a:lnTo>
                <a:cubicBezTo>
                  <a:pt x="29616" y="72374"/>
                  <a:pt x="31690" y="73866"/>
                  <a:pt x="33964" y="73721"/>
                </a:cubicBezTo>
                <a:lnTo>
                  <a:pt x="41606" y="73229"/>
                </a:lnTo>
                <a:cubicBezTo>
                  <a:pt x="42752" y="74721"/>
                  <a:pt x="44080" y="76068"/>
                  <a:pt x="45590" y="77232"/>
                </a:cubicBezTo>
                <a:lnTo>
                  <a:pt x="45099" y="84856"/>
                </a:lnTo>
                <a:cubicBezTo>
                  <a:pt x="44954" y="87130"/>
                  <a:pt x="46427" y="89204"/>
                  <a:pt x="48647" y="89805"/>
                </a:cubicBezTo>
                <a:lnTo>
                  <a:pt x="53414" y="91078"/>
                </a:lnTo>
                <a:cubicBezTo>
                  <a:pt x="55615" y="91660"/>
                  <a:pt x="57944" y="90623"/>
                  <a:pt x="58963" y="88567"/>
                </a:cubicBezTo>
                <a:lnTo>
                  <a:pt x="62347" y="81726"/>
                </a:lnTo>
                <a:cubicBezTo>
                  <a:pt x="64221" y="81472"/>
                  <a:pt x="66059" y="80962"/>
                  <a:pt x="67788" y="80253"/>
                </a:cubicBezTo>
                <a:lnTo>
                  <a:pt x="74156" y="84492"/>
                </a:lnTo>
                <a:cubicBezTo>
                  <a:pt x="76066" y="85765"/>
                  <a:pt x="78595" y="85511"/>
                  <a:pt x="80214" y="83891"/>
                </a:cubicBezTo>
                <a:lnTo>
                  <a:pt x="83708" y="80398"/>
                </a:lnTo>
                <a:cubicBezTo>
                  <a:pt x="85327" y="78779"/>
                  <a:pt x="85582" y="76250"/>
                  <a:pt x="84308" y="74339"/>
                </a:cubicBezTo>
                <a:lnTo>
                  <a:pt x="80069" y="67971"/>
                </a:lnTo>
                <a:cubicBezTo>
                  <a:pt x="80414" y="67116"/>
                  <a:pt x="80742" y="66206"/>
                  <a:pt x="80978" y="65297"/>
                </a:cubicBezTo>
                <a:cubicBezTo>
                  <a:pt x="81215" y="64387"/>
                  <a:pt x="81397" y="63459"/>
                  <a:pt x="81524" y="62531"/>
                </a:cubicBezTo>
                <a:lnTo>
                  <a:pt x="88384" y="59147"/>
                </a:lnTo>
                <a:cubicBezTo>
                  <a:pt x="90439" y="58128"/>
                  <a:pt x="91477" y="55799"/>
                  <a:pt x="90894" y="53598"/>
                </a:cubicBezTo>
                <a:lnTo>
                  <a:pt x="89621" y="48831"/>
                </a:lnTo>
                <a:cubicBezTo>
                  <a:pt x="89020" y="46629"/>
                  <a:pt x="86946" y="45137"/>
                  <a:pt x="84672" y="45283"/>
                </a:cubicBezTo>
                <a:lnTo>
                  <a:pt x="77030" y="45774"/>
                </a:lnTo>
                <a:cubicBezTo>
                  <a:pt x="75884" y="44282"/>
                  <a:pt x="74556" y="42936"/>
                  <a:pt x="73046" y="41771"/>
                </a:cubicBezTo>
                <a:lnTo>
                  <a:pt x="73537" y="34166"/>
                </a:lnTo>
                <a:cubicBezTo>
                  <a:pt x="73682" y="31892"/>
                  <a:pt x="72191" y="29818"/>
                  <a:pt x="69989" y="29217"/>
                </a:cubicBezTo>
                <a:close/>
                <a:moveTo>
                  <a:pt x="82526" y="0"/>
                </a:moveTo>
                <a:cubicBezTo>
                  <a:pt x="128103" y="0"/>
                  <a:pt x="165051" y="37071"/>
                  <a:pt x="165051" y="82800"/>
                </a:cubicBezTo>
                <a:cubicBezTo>
                  <a:pt x="165051" y="128529"/>
                  <a:pt x="128103" y="165600"/>
                  <a:pt x="82526" y="165600"/>
                </a:cubicBezTo>
                <a:cubicBezTo>
                  <a:pt x="36948" y="165600"/>
                  <a:pt x="0" y="128529"/>
                  <a:pt x="0" y="82800"/>
                </a:cubicBezTo>
                <a:cubicBezTo>
                  <a:pt x="0" y="37071"/>
                  <a:pt x="36948" y="0"/>
                  <a:pt x="82526" y="0"/>
                </a:cubicBezTo>
                <a:close/>
              </a:path>
            </a:pathLst>
          </a:custGeom>
          <a:solidFill>
            <a:srgbClr val="FFC000"/>
          </a:solidFill>
          <a:ln w="179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78" name="Forma libre 77">
            <a:extLst>
              <a:ext uri="{FF2B5EF4-FFF2-40B4-BE49-F238E27FC236}">
                <a16:creationId xmlns:a16="http://schemas.microsoft.com/office/drawing/2014/main" id="{DC88A33D-C8E9-1BDC-6920-678BCBA0DB9D}"/>
              </a:ext>
            </a:extLst>
          </p:cNvPr>
          <p:cNvSpPr/>
          <p:nvPr/>
        </p:nvSpPr>
        <p:spPr>
          <a:xfrm>
            <a:off x="4285517" y="2270811"/>
            <a:ext cx="162047" cy="162586"/>
          </a:xfrm>
          <a:custGeom>
            <a:avLst/>
            <a:gdLst>
              <a:gd name="connsiteX0" fmla="*/ 105887 w 165051"/>
              <a:gd name="connsiteY0" fmla="*/ 98083 h 165600"/>
              <a:gd name="connsiteX1" fmla="*/ 113910 w 165051"/>
              <a:gd name="connsiteY1" fmla="*/ 106089 h 165600"/>
              <a:gd name="connsiteX2" fmla="*/ 105905 w 165051"/>
              <a:gd name="connsiteY2" fmla="*/ 114094 h 165600"/>
              <a:gd name="connsiteX3" fmla="*/ 97899 w 165051"/>
              <a:gd name="connsiteY3" fmla="*/ 106107 h 165600"/>
              <a:gd name="connsiteX4" fmla="*/ 105887 w 165051"/>
              <a:gd name="connsiteY4" fmla="*/ 98083 h 165600"/>
              <a:gd name="connsiteX5" fmla="*/ 99955 w 165051"/>
              <a:gd name="connsiteY5" fmla="*/ 74521 h 165600"/>
              <a:gd name="connsiteX6" fmla="*/ 95188 w 165051"/>
              <a:gd name="connsiteY6" fmla="*/ 75795 h 165600"/>
              <a:gd name="connsiteX7" fmla="*/ 91640 w 165051"/>
              <a:gd name="connsiteY7" fmla="*/ 80744 h 165600"/>
              <a:gd name="connsiteX8" fmla="*/ 92132 w 165051"/>
              <a:gd name="connsiteY8" fmla="*/ 88349 h 165600"/>
              <a:gd name="connsiteX9" fmla="*/ 88147 w 165051"/>
              <a:gd name="connsiteY9" fmla="*/ 92352 h 165600"/>
              <a:gd name="connsiteX10" fmla="*/ 80524 w 165051"/>
              <a:gd name="connsiteY10" fmla="*/ 91861 h 165600"/>
              <a:gd name="connsiteX11" fmla="*/ 75575 w 165051"/>
              <a:gd name="connsiteY11" fmla="*/ 95408 h 165600"/>
              <a:gd name="connsiteX12" fmla="*/ 74301 w 165051"/>
              <a:gd name="connsiteY12" fmla="*/ 100175 h 165600"/>
              <a:gd name="connsiteX13" fmla="*/ 76812 w 165051"/>
              <a:gd name="connsiteY13" fmla="*/ 105725 h 165600"/>
              <a:gd name="connsiteX14" fmla="*/ 83671 w 165051"/>
              <a:gd name="connsiteY14" fmla="*/ 109109 h 165600"/>
              <a:gd name="connsiteX15" fmla="*/ 84217 w 165051"/>
              <a:gd name="connsiteY15" fmla="*/ 111874 h 165600"/>
              <a:gd name="connsiteX16" fmla="*/ 85127 w 165051"/>
              <a:gd name="connsiteY16" fmla="*/ 114549 h 165600"/>
              <a:gd name="connsiteX17" fmla="*/ 80887 w 165051"/>
              <a:gd name="connsiteY17" fmla="*/ 120917 h 165600"/>
              <a:gd name="connsiteX18" fmla="*/ 81488 w 165051"/>
              <a:gd name="connsiteY18" fmla="*/ 126976 h 165600"/>
              <a:gd name="connsiteX19" fmla="*/ 84981 w 165051"/>
              <a:gd name="connsiteY19" fmla="*/ 130469 h 165600"/>
              <a:gd name="connsiteX20" fmla="*/ 91040 w 165051"/>
              <a:gd name="connsiteY20" fmla="*/ 131069 h 165600"/>
              <a:gd name="connsiteX21" fmla="*/ 97408 w 165051"/>
              <a:gd name="connsiteY21" fmla="*/ 126830 h 165600"/>
              <a:gd name="connsiteX22" fmla="*/ 102848 w 165051"/>
              <a:gd name="connsiteY22" fmla="*/ 128304 h 165600"/>
              <a:gd name="connsiteX23" fmla="*/ 106232 w 165051"/>
              <a:gd name="connsiteY23" fmla="*/ 135145 h 165600"/>
              <a:gd name="connsiteX24" fmla="*/ 111781 w 165051"/>
              <a:gd name="connsiteY24" fmla="*/ 137656 h 165600"/>
              <a:gd name="connsiteX25" fmla="*/ 116548 w 165051"/>
              <a:gd name="connsiteY25" fmla="*/ 136382 h 165600"/>
              <a:gd name="connsiteX26" fmla="*/ 120096 w 165051"/>
              <a:gd name="connsiteY26" fmla="*/ 131433 h 165600"/>
              <a:gd name="connsiteX27" fmla="*/ 119605 w 165051"/>
              <a:gd name="connsiteY27" fmla="*/ 123810 h 165600"/>
              <a:gd name="connsiteX28" fmla="*/ 123590 w 165051"/>
              <a:gd name="connsiteY28" fmla="*/ 119807 h 165600"/>
              <a:gd name="connsiteX29" fmla="*/ 131231 w 165051"/>
              <a:gd name="connsiteY29" fmla="*/ 120298 h 165600"/>
              <a:gd name="connsiteX30" fmla="*/ 136180 w 165051"/>
              <a:gd name="connsiteY30" fmla="*/ 116750 h 165600"/>
              <a:gd name="connsiteX31" fmla="*/ 137454 w 165051"/>
              <a:gd name="connsiteY31" fmla="*/ 111983 h 165600"/>
              <a:gd name="connsiteX32" fmla="*/ 134943 w 165051"/>
              <a:gd name="connsiteY32" fmla="*/ 106434 h 165600"/>
              <a:gd name="connsiteX33" fmla="*/ 128084 w 165051"/>
              <a:gd name="connsiteY33" fmla="*/ 103050 h 165600"/>
              <a:gd name="connsiteX34" fmla="*/ 127538 w 165051"/>
              <a:gd name="connsiteY34" fmla="*/ 100285 h 165600"/>
              <a:gd name="connsiteX35" fmla="*/ 126628 w 165051"/>
              <a:gd name="connsiteY35" fmla="*/ 97610 h 165600"/>
              <a:gd name="connsiteX36" fmla="*/ 130867 w 165051"/>
              <a:gd name="connsiteY36" fmla="*/ 91260 h 165600"/>
              <a:gd name="connsiteX37" fmla="*/ 130267 w 165051"/>
              <a:gd name="connsiteY37" fmla="*/ 85201 h 165600"/>
              <a:gd name="connsiteX38" fmla="*/ 126774 w 165051"/>
              <a:gd name="connsiteY38" fmla="*/ 81708 h 165600"/>
              <a:gd name="connsiteX39" fmla="*/ 120715 w 165051"/>
              <a:gd name="connsiteY39" fmla="*/ 81108 h 165600"/>
              <a:gd name="connsiteX40" fmla="*/ 114347 w 165051"/>
              <a:gd name="connsiteY40" fmla="*/ 85347 h 165600"/>
              <a:gd name="connsiteX41" fmla="*/ 108907 w 165051"/>
              <a:gd name="connsiteY41" fmla="*/ 83873 h 165600"/>
              <a:gd name="connsiteX42" fmla="*/ 105523 w 165051"/>
              <a:gd name="connsiteY42" fmla="*/ 77032 h 165600"/>
              <a:gd name="connsiteX43" fmla="*/ 99973 w 165051"/>
              <a:gd name="connsiteY43" fmla="*/ 74521 h 165600"/>
              <a:gd name="connsiteX44" fmla="*/ 59309 w 165051"/>
              <a:gd name="connsiteY44" fmla="*/ 51505 h 165600"/>
              <a:gd name="connsiteX45" fmla="*/ 67314 w 165051"/>
              <a:gd name="connsiteY45" fmla="*/ 59511 h 165600"/>
              <a:gd name="connsiteX46" fmla="*/ 59309 w 165051"/>
              <a:gd name="connsiteY46" fmla="*/ 67516 h 165600"/>
              <a:gd name="connsiteX47" fmla="*/ 51303 w 165051"/>
              <a:gd name="connsiteY47" fmla="*/ 59511 h 165600"/>
              <a:gd name="connsiteX48" fmla="*/ 59309 w 165051"/>
              <a:gd name="connsiteY48" fmla="*/ 51505 h 165600"/>
              <a:gd name="connsiteX49" fmla="*/ 65222 w 165051"/>
              <a:gd name="connsiteY49" fmla="*/ 27944 h 165600"/>
              <a:gd name="connsiteX50" fmla="*/ 59673 w 165051"/>
              <a:gd name="connsiteY50" fmla="*/ 30455 h 165600"/>
              <a:gd name="connsiteX51" fmla="*/ 56289 w 165051"/>
              <a:gd name="connsiteY51" fmla="*/ 37296 h 165600"/>
              <a:gd name="connsiteX52" fmla="*/ 50849 w 165051"/>
              <a:gd name="connsiteY52" fmla="*/ 38769 h 165600"/>
              <a:gd name="connsiteX53" fmla="*/ 44481 w 165051"/>
              <a:gd name="connsiteY53" fmla="*/ 34530 h 165600"/>
              <a:gd name="connsiteX54" fmla="*/ 38422 w 165051"/>
              <a:gd name="connsiteY54" fmla="*/ 35130 h 165600"/>
              <a:gd name="connsiteX55" fmla="*/ 34928 w 165051"/>
              <a:gd name="connsiteY55" fmla="*/ 38624 h 165600"/>
              <a:gd name="connsiteX56" fmla="*/ 34328 w 165051"/>
              <a:gd name="connsiteY56" fmla="*/ 44683 h 165600"/>
              <a:gd name="connsiteX57" fmla="*/ 38567 w 165051"/>
              <a:gd name="connsiteY57" fmla="*/ 51032 h 165600"/>
              <a:gd name="connsiteX58" fmla="*/ 37658 w 165051"/>
              <a:gd name="connsiteY58" fmla="*/ 53707 h 165600"/>
              <a:gd name="connsiteX59" fmla="*/ 37112 w 165051"/>
              <a:gd name="connsiteY59" fmla="*/ 56472 h 165600"/>
              <a:gd name="connsiteX60" fmla="*/ 30253 w 165051"/>
              <a:gd name="connsiteY60" fmla="*/ 59857 h 165600"/>
              <a:gd name="connsiteX61" fmla="*/ 27742 w 165051"/>
              <a:gd name="connsiteY61" fmla="*/ 65406 h 165600"/>
              <a:gd name="connsiteX62" fmla="*/ 29015 w 165051"/>
              <a:gd name="connsiteY62" fmla="*/ 70173 h 165600"/>
              <a:gd name="connsiteX63" fmla="*/ 33964 w 165051"/>
              <a:gd name="connsiteY63" fmla="*/ 73721 h 165600"/>
              <a:gd name="connsiteX64" fmla="*/ 41606 w 165051"/>
              <a:gd name="connsiteY64" fmla="*/ 73229 h 165600"/>
              <a:gd name="connsiteX65" fmla="*/ 45590 w 165051"/>
              <a:gd name="connsiteY65" fmla="*/ 77232 h 165600"/>
              <a:gd name="connsiteX66" fmla="*/ 45099 w 165051"/>
              <a:gd name="connsiteY66" fmla="*/ 84856 h 165600"/>
              <a:gd name="connsiteX67" fmla="*/ 48647 w 165051"/>
              <a:gd name="connsiteY67" fmla="*/ 89805 h 165600"/>
              <a:gd name="connsiteX68" fmla="*/ 53414 w 165051"/>
              <a:gd name="connsiteY68" fmla="*/ 91078 h 165600"/>
              <a:gd name="connsiteX69" fmla="*/ 58963 w 165051"/>
              <a:gd name="connsiteY69" fmla="*/ 88567 h 165600"/>
              <a:gd name="connsiteX70" fmla="*/ 62347 w 165051"/>
              <a:gd name="connsiteY70" fmla="*/ 81726 h 165600"/>
              <a:gd name="connsiteX71" fmla="*/ 67788 w 165051"/>
              <a:gd name="connsiteY71" fmla="*/ 80253 h 165600"/>
              <a:gd name="connsiteX72" fmla="*/ 74156 w 165051"/>
              <a:gd name="connsiteY72" fmla="*/ 84492 h 165600"/>
              <a:gd name="connsiteX73" fmla="*/ 80214 w 165051"/>
              <a:gd name="connsiteY73" fmla="*/ 83891 h 165600"/>
              <a:gd name="connsiteX74" fmla="*/ 83708 w 165051"/>
              <a:gd name="connsiteY74" fmla="*/ 80398 h 165600"/>
              <a:gd name="connsiteX75" fmla="*/ 84308 w 165051"/>
              <a:gd name="connsiteY75" fmla="*/ 74339 h 165600"/>
              <a:gd name="connsiteX76" fmla="*/ 80069 w 165051"/>
              <a:gd name="connsiteY76" fmla="*/ 67971 h 165600"/>
              <a:gd name="connsiteX77" fmla="*/ 80978 w 165051"/>
              <a:gd name="connsiteY77" fmla="*/ 65297 h 165600"/>
              <a:gd name="connsiteX78" fmla="*/ 81524 w 165051"/>
              <a:gd name="connsiteY78" fmla="*/ 62531 h 165600"/>
              <a:gd name="connsiteX79" fmla="*/ 88384 w 165051"/>
              <a:gd name="connsiteY79" fmla="*/ 59147 h 165600"/>
              <a:gd name="connsiteX80" fmla="*/ 90894 w 165051"/>
              <a:gd name="connsiteY80" fmla="*/ 53598 h 165600"/>
              <a:gd name="connsiteX81" fmla="*/ 89621 w 165051"/>
              <a:gd name="connsiteY81" fmla="*/ 48831 h 165600"/>
              <a:gd name="connsiteX82" fmla="*/ 84672 w 165051"/>
              <a:gd name="connsiteY82" fmla="*/ 45283 h 165600"/>
              <a:gd name="connsiteX83" fmla="*/ 77030 w 165051"/>
              <a:gd name="connsiteY83" fmla="*/ 45774 h 165600"/>
              <a:gd name="connsiteX84" fmla="*/ 73046 w 165051"/>
              <a:gd name="connsiteY84" fmla="*/ 41771 h 165600"/>
              <a:gd name="connsiteX85" fmla="*/ 73537 w 165051"/>
              <a:gd name="connsiteY85" fmla="*/ 34166 h 165600"/>
              <a:gd name="connsiteX86" fmla="*/ 69989 w 165051"/>
              <a:gd name="connsiteY86" fmla="*/ 29217 h 165600"/>
              <a:gd name="connsiteX87" fmla="*/ 82526 w 165051"/>
              <a:gd name="connsiteY87" fmla="*/ 0 h 165600"/>
              <a:gd name="connsiteX88" fmla="*/ 165051 w 165051"/>
              <a:gd name="connsiteY88" fmla="*/ 82800 h 165600"/>
              <a:gd name="connsiteX89" fmla="*/ 82526 w 165051"/>
              <a:gd name="connsiteY89" fmla="*/ 165600 h 165600"/>
              <a:gd name="connsiteX90" fmla="*/ 0 w 165051"/>
              <a:gd name="connsiteY90" fmla="*/ 82800 h 165600"/>
              <a:gd name="connsiteX91" fmla="*/ 82526 w 165051"/>
              <a:gd name="connsiteY91" fmla="*/ 0 h 16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165051" h="165600">
                <a:moveTo>
                  <a:pt x="105887" y="98083"/>
                </a:moveTo>
                <a:cubicBezTo>
                  <a:pt x="110308" y="98083"/>
                  <a:pt x="113892" y="101649"/>
                  <a:pt x="113910" y="106089"/>
                </a:cubicBezTo>
                <a:cubicBezTo>
                  <a:pt x="113910" y="110510"/>
                  <a:pt x="110326" y="114094"/>
                  <a:pt x="105905" y="114094"/>
                </a:cubicBezTo>
                <a:cubicBezTo>
                  <a:pt x="101483" y="114094"/>
                  <a:pt x="97899" y="110528"/>
                  <a:pt x="97899" y="106107"/>
                </a:cubicBezTo>
                <a:cubicBezTo>
                  <a:pt x="97881" y="101667"/>
                  <a:pt x="101465" y="98083"/>
                  <a:pt x="105887" y="98083"/>
                </a:cubicBezTo>
                <a:close/>
                <a:moveTo>
                  <a:pt x="99955" y="74521"/>
                </a:moveTo>
                <a:lnTo>
                  <a:pt x="95188" y="75795"/>
                </a:lnTo>
                <a:cubicBezTo>
                  <a:pt x="92987" y="76377"/>
                  <a:pt x="91495" y="78451"/>
                  <a:pt x="91640" y="80744"/>
                </a:cubicBezTo>
                <a:lnTo>
                  <a:pt x="92132" y="88349"/>
                </a:lnTo>
                <a:cubicBezTo>
                  <a:pt x="90621" y="89513"/>
                  <a:pt x="89293" y="90878"/>
                  <a:pt x="88147" y="92352"/>
                </a:cubicBezTo>
                <a:lnTo>
                  <a:pt x="80524" y="91861"/>
                </a:lnTo>
                <a:cubicBezTo>
                  <a:pt x="78231" y="91715"/>
                  <a:pt x="76175" y="93207"/>
                  <a:pt x="75575" y="95408"/>
                </a:cubicBezTo>
                <a:lnTo>
                  <a:pt x="74301" y="100175"/>
                </a:lnTo>
                <a:cubicBezTo>
                  <a:pt x="73719" y="102377"/>
                  <a:pt x="74756" y="104706"/>
                  <a:pt x="76812" y="105725"/>
                </a:cubicBezTo>
                <a:lnTo>
                  <a:pt x="83671" y="109109"/>
                </a:lnTo>
                <a:cubicBezTo>
                  <a:pt x="83799" y="110019"/>
                  <a:pt x="83962" y="110946"/>
                  <a:pt x="84217" y="111874"/>
                </a:cubicBezTo>
                <a:cubicBezTo>
                  <a:pt x="84472" y="112802"/>
                  <a:pt x="84781" y="113694"/>
                  <a:pt x="85127" y="114549"/>
                </a:cubicBezTo>
                <a:lnTo>
                  <a:pt x="80887" y="120917"/>
                </a:lnTo>
                <a:cubicBezTo>
                  <a:pt x="79614" y="122827"/>
                  <a:pt x="79869" y="125356"/>
                  <a:pt x="81488" y="126976"/>
                </a:cubicBezTo>
                <a:lnTo>
                  <a:pt x="84981" y="130469"/>
                </a:lnTo>
                <a:cubicBezTo>
                  <a:pt x="86600" y="132088"/>
                  <a:pt x="89129" y="132343"/>
                  <a:pt x="91040" y="131069"/>
                </a:cubicBezTo>
                <a:lnTo>
                  <a:pt x="97408" y="126830"/>
                </a:lnTo>
                <a:cubicBezTo>
                  <a:pt x="99136" y="127540"/>
                  <a:pt x="100974" y="128049"/>
                  <a:pt x="102848" y="128304"/>
                </a:cubicBezTo>
                <a:lnTo>
                  <a:pt x="106232" y="135145"/>
                </a:lnTo>
                <a:cubicBezTo>
                  <a:pt x="107251" y="137201"/>
                  <a:pt x="109562" y="138256"/>
                  <a:pt x="111781" y="137656"/>
                </a:cubicBezTo>
                <a:lnTo>
                  <a:pt x="116548" y="136382"/>
                </a:lnTo>
                <a:cubicBezTo>
                  <a:pt x="118750" y="135800"/>
                  <a:pt x="120242" y="133726"/>
                  <a:pt x="120096" y="131433"/>
                </a:cubicBezTo>
                <a:lnTo>
                  <a:pt x="119605" y="123810"/>
                </a:lnTo>
                <a:cubicBezTo>
                  <a:pt x="121115" y="122645"/>
                  <a:pt x="122443" y="121281"/>
                  <a:pt x="123590" y="119807"/>
                </a:cubicBezTo>
                <a:lnTo>
                  <a:pt x="131231" y="120298"/>
                </a:lnTo>
                <a:cubicBezTo>
                  <a:pt x="133524" y="120444"/>
                  <a:pt x="135580" y="118952"/>
                  <a:pt x="136180" y="116750"/>
                </a:cubicBezTo>
                <a:lnTo>
                  <a:pt x="137454" y="111983"/>
                </a:lnTo>
                <a:cubicBezTo>
                  <a:pt x="138054" y="109782"/>
                  <a:pt x="136999" y="107453"/>
                  <a:pt x="134943" y="106434"/>
                </a:cubicBezTo>
                <a:lnTo>
                  <a:pt x="128084" y="103050"/>
                </a:lnTo>
                <a:cubicBezTo>
                  <a:pt x="127956" y="102122"/>
                  <a:pt x="127793" y="101212"/>
                  <a:pt x="127538" y="100285"/>
                </a:cubicBezTo>
                <a:cubicBezTo>
                  <a:pt x="127283" y="99357"/>
                  <a:pt x="126974" y="98465"/>
                  <a:pt x="126628" y="97610"/>
                </a:cubicBezTo>
                <a:lnTo>
                  <a:pt x="130867" y="91260"/>
                </a:lnTo>
                <a:cubicBezTo>
                  <a:pt x="132141" y="89368"/>
                  <a:pt x="131886" y="86821"/>
                  <a:pt x="130267" y="85201"/>
                </a:cubicBezTo>
                <a:lnTo>
                  <a:pt x="126774" y="81708"/>
                </a:lnTo>
                <a:cubicBezTo>
                  <a:pt x="125154" y="80089"/>
                  <a:pt x="122625" y="79834"/>
                  <a:pt x="120715" y="81108"/>
                </a:cubicBezTo>
                <a:lnTo>
                  <a:pt x="114347" y="85347"/>
                </a:lnTo>
                <a:cubicBezTo>
                  <a:pt x="112618" y="84637"/>
                  <a:pt x="110781" y="84128"/>
                  <a:pt x="108907" y="83873"/>
                </a:cubicBezTo>
                <a:lnTo>
                  <a:pt x="105523" y="77032"/>
                </a:lnTo>
                <a:cubicBezTo>
                  <a:pt x="104522" y="74976"/>
                  <a:pt x="102193" y="73921"/>
                  <a:pt x="99973" y="74521"/>
                </a:cubicBezTo>
                <a:close/>
                <a:moveTo>
                  <a:pt x="59309" y="51505"/>
                </a:moveTo>
                <a:cubicBezTo>
                  <a:pt x="63730" y="51505"/>
                  <a:pt x="67314" y="55090"/>
                  <a:pt x="67314" y="59511"/>
                </a:cubicBezTo>
                <a:cubicBezTo>
                  <a:pt x="67314" y="63932"/>
                  <a:pt x="63730" y="67516"/>
                  <a:pt x="59309" y="67516"/>
                </a:cubicBezTo>
                <a:cubicBezTo>
                  <a:pt x="54888" y="67516"/>
                  <a:pt x="51303" y="63932"/>
                  <a:pt x="51303" y="59511"/>
                </a:cubicBezTo>
                <a:cubicBezTo>
                  <a:pt x="51303" y="55090"/>
                  <a:pt x="54888" y="51505"/>
                  <a:pt x="59309" y="51505"/>
                </a:cubicBezTo>
                <a:close/>
                <a:moveTo>
                  <a:pt x="65222" y="27944"/>
                </a:moveTo>
                <a:cubicBezTo>
                  <a:pt x="63002" y="27361"/>
                  <a:pt x="60692" y="28399"/>
                  <a:pt x="59673" y="30455"/>
                </a:cubicBezTo>
                <a:lnTo>
                  <a:pt x="56289" y="37296"/>
                </a:lnTo>
                <a:cubicBezTo>
                  <a:pt x="54415" y="37550"/>
                  <a:pt x="52577" y="38060"/>
                  <a:pt x="50849" y="38769"/>
                </a:cubicBezTo>
                <a:lnTo>
                  <a:pt x="44481" y="34530"/>
                </a:lnTo>
                <a:cubicBezTo>
                  <a:pt x="42570" y="33256"/>
                  <a:pt x="40041" y="33511"/>
                  <a:pt x="38422" y="35130"/>
                </a:cubicBezTo>
                <a:lnTo>
                  <a:pt x="34928" y="38624"/>
                </a:lnTo>
                <a:cubicBezTo>
                  <a:pt x="33309" y="40243"/>
                  <a:pt x="33054" y="42772"/>
                  <a:pt x="34328" y="44683"/>
                </a:cubicBezTo>
                <a:lnTo>
                  <a:pt x="38567" y="51032"/>
                </a:lnTo>
                <a:cubicBezTo>
                  <a:pt x="38203" y="51887"/>
                  <a:pt x="37912" y="52779"/>
                  <a:pt x="37658" y="53707"/>
                </a:cubicBezTo>
                <a:cubicBezTo>
                  <a:pt x="37421" y="54635"/>
                  <a:pt x="37239" y="55545"/>
                  <a:pt x="37112" y="56472"/>
                </a:cubicBezTo>
                <a:lnTo>
                  <a:pt x="30253" y="59857"/>
                </a:lnTo>
                <a:cubicBezTo>
                  <a:pt x="28197" y="60875"/>
                  <a:pt x="27159" y="63204"/>
                  <a:pt x="27742" y="65406"/>
                </a:cubicBezTo>
                <a:lnTo>
                  <a:pt x="29015" y="70173"/>
                </a:lnTo>
                <a:cubicBezTo>
                  <a:pt x="29616" y="72374"/>
                  <a:pt x="31690" y="73866"/>
                  <a:pt x="33964" y="73721"/>
                </a:cubicBezTo>
                <a:lnTo>
                  <a:pt x="41606" y="73229"/>
                </a:lnTo>
                <a:cubicBezTo>
                  <a:pt x="42752" y="74721"/>
                  <a:pt x="44080" y="76068"/>
                  <a:pt x="45590" y="77232"/>
                </a:cubicBezTo>
                <a:lnTo>
                  <a:pt x="45099" y="84856"/>
                </a:lnTo>
                <a:cubicBezTo>
                  <a:pt x="44954" y="87130"/>
                  <a:pt x="46427" y="89204"/>
                  <a:pt x="48647" y="89805"/>
                </a:cubicBezTo>
                <a:lnTo>
                  <a:pt x="53414" y="91078"/>
                </a:lnTo>
                <a:cubicBezTo>
                  <a:pt x="55615" y="91660"/>
                  <a:pt x="57944" y="90623"/>
                  <a:pt x="58963" y="88567"/>
                </a:cubicBezTo>
                <a:lnTo>
                  <a:pt x="62347" y="81726"/>
                </a:lnTo>
                <a:cubicBezTo>
                  <a:pt x="64221" y="81472"/>
                  <a:pt x="66059" y="80962"/>
                  <a:pt x="67788" y="80253"/>
                </a:cubicBezTo>
                <a:lnTo>
                  <a:pt x="74156" y="84492"/>
                </a:lnTo>
                <a:cubicBezTo>
                  <a:pt x="76066" y="85765"/>
                  <a:pt x="78595" y="85511"/>
                  <a:pt x="80214" y="83891"/>
                </a:cubicBezTo>
                <a:lnTo>
                  <a:pt x="83708" y="80398"/>
                </a:lnTo>
                <a:cubicBezTo>
                  <a:pt x="85327" y="78779"/>
                  <a:pt x="85582" y="76250"/>
                  <a:pt x="84308" y="74339"/>
                </a:cubicBezTo>
                <a:lnTo>
                  <a:pt x="80069" y="67971"/>
                </a:lnTo>
                <a:cubicBezTo>
                  <a:pt x="80414" y="67116"/>
                  <a:pt x="80742" y="66206"/>
                  <a:pt x="80978" y="65297"/>
                </a:cubicBezTo>
                <a:cubicBezTo>
                  <a:pt x="81215" y="64387"/>
                  <a:pt x="81397" y="63459"/>
                  <a:pt x="81524" y="62531"/>
                </a:cubicBezTo>
                <a:lnTo>
                  <a:pt x="88384" y="59147"/>
                </a:lnTo>
                <a:cubicBezTo>
                  <a:pt x="90439" y="58128"/>
                  <a:pt x="91477" y="55799"/>
                  <a:pt x="90894" y="53598"/>
                </a:cubicBezTo>
                <a:lnTo>
                  <a:pt x="89621" y="48831"/>
                </a:lnTo>
                <a:cubicBezTo>
                  <a:pt x="89020" y="46629"/>
                  <a:pt x="86946" y="45137"/>
                  <a:pt x="84672" y="45283"/>
                </a:cubicBezTo>
                <a:lnTo>
                  <a:pt x="77030" y="45774"/>
                </a:lnTo>
                <a:cubicBezTo>
                  <a:pt x="75884" y="44282"/>
                  <a:pt x="74556" y="42936"/>
                  <a:pt x="73046" y="41771"/>
                </a:cubicBezTo>
                <a:lnTo>
                  <a:pt x="73537" y="34166"/>
                </a:lnTo>
                <a:cubicBezTo>
                  <a:pt x="73682" y="31892"/>
                  <a:pt x="72191" y="29818"/>
                  <a:pt x="69989" y="29217"/>
                </a:cubicBezTo>
                <a:close/>
                <a:moveTo>
                  <a:pt x="82526" y="0"/>
                </a:moveTo>
                <a:cubicBezTo>
                  <a:pt x="128103" y="0"/>
                  <a:pt x="165051" y="37071"/>
                  <a:pt x="165051" y="82800"/>
                </a:cubicBezTo>
                <a:cubicBezTo>
                  <a:pt x="165051" y="128529"/>
                  <a:pt x="128103" y="165600"/>
                  <a:pt x="82526" y="165600"/>
                </a:cubicBezTo>
                <a:cubicBezTo>
                  <a:pt x="36948" y="165600"/>
                  <a:pt x="0" y="128529"/>
                  <a:pt x="0" y="82800"/>
                </a:cubicBezTo>
                <a:cubicBezTo>
                  <a:pt x="0" y="37071"/>
                  <a:pt x="36948" y="0"/>
                  <a:pt x="82526" y="0"/>
                </a:cubicBezTo>
                <a:close/>
              </a:path>
            </a:pathLst>
          </a:custGeom>
          <a:solidFill>
            <a:srgbClr val="FFC000"/>
          </a:solidFill>
          <a:ln w="179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80" name="Forma libre 79">
            <a:extLst>
              <a:ext uri="{FF2B5EF4-FFF2-40B4-BE49-F238E27FC236}">
                <a16:creationId xmlns:a16="http://schemas.microsoft.com/office/drawing/2014/main" id="{F93E10DB-8241-5EA9-4F7E-F002364B717C}"/>
              </a:ext>
            </a:extLst>
          </p:cNvPr>
          <p:cNvSpPr/>
          <p:nvPr/>
        </p:nvSpPr>
        <p:spPr>
          <a:xfrm>
            <a:off x="4285517" y="3260756"/>
            <a:ext cx="162047" cy="162586"/>
          </a:xfrm>
          <a:custGeom>
            <a:avLst/>
            <a:gdLst>
              <a:gd name="connsiteX0" fmla="*/ 105887 w 165051"/>
              <a:gd name="connsiteY0" fmla="*/ 98083 h 165600"/>
              <a:gd name="connsiteX1" fmla="*/ 113910 w 165051"/>
              <a:gd name="connsiteY1" fmla="*/ 106089 h 165600"/>
              <a:gd name="connsiteX2" fmla="*/ 105905 w 165051"/>
              <a:gd name="connsiteY2" fmla="*/ 114094 h 165600"/>
              <a:gd name="connsiteX3" fmla="*/ 97899 w 165051"/>
              <a:gd name="connsiteY3" fmla="*/ 106107 h 165600"/>
              <a:gd name="connsiteX4" fmla="*/ 105887 w 165051"/>
              <a:gd name="connsiteY4" fmla="*/ 98083 h 165600"/>
              <a:gd name="connsiteX5" fmla="*/ 99955 w 165051"/>
              <a:gd name="connsiteY5" fmla="*/ 74521 h 165600"/>
              <a:gd name="connsiteX6" fmla="*/ 95188 w 165051"/>
              <a:gd name="connsiteY6" fmla="*/ 75795 h 165600"/>
              <a:gd name="connsiteX7" fmla="*/ 91640 w 165051"/>
              <a:gd name="connsiteY7" fmla="*/ 80744 h 165600"/>
              <a:gd name="connsiteX8" fmla="*/ 92132 w 165051"/>
              <a:gd name="connsiteY8" fmla="*/ 88349 h 165600"/>
              <a:gd name="connsiteX9" fmla="*/ 88147 w 165051"/>
              <a:gd name="connsiteY9" fmla="*/ 92352 h 165600"/>
              <a:gd name="connsiteX10" fmla="*/ 80524 w 165051"/>
              <a:gd name="connsiteY10" fmla="*/ 91861 h 165600"/>
              <a:gd name="connsiteX11" fmla="*/ 75575 w 165051"/>
              <a:gd name="connsiteY11" fmla="*/ 95408 h 165600"/>
              <a:gd name="connsiteX12" fmla="*/ 74301 w 165051"/>
              <a:gd name="connsiteY12" fmla="*/ 100175 h 165600"/>
              <a:gd name="connsiteX13" fmla="*/ 76812 w 165051"/>
              <a:gd name="connsiteY13" fmla="*/ 105725 h 165600"/>
              <a:gd name="connsiteX14" fmla="*/ 83671 w 165051"/>
              <a:gd name="connsiteY14" fmla="*/ 109109 h 165600"/>
              <a:gd name="connsiteX15" fmla="*/ 84217 w 165051"/>
              <a:gd name="connsiteY15" fmla="*/ 111874 h 165600"/>
              <a:gd name="connsiteX16" fmla="*/ 85127 w 165051"/>
              <a:gd name="connsiteY16" fmla="*/ 114549 h 165600"/>
              <a:gd name="connsiteX17" fmla="*/ 80887 w 165051"/>
              <a:gd name="connsiteY17" fmla="*/ 120917 h 165600"/>
              <a:gd name="connsiteX18" fmla="*/ 81488 w 165051"/>
              <a:gd name="connsiteY18" fmla="*/ 126976 h 165600"/>
              <a:gd name="connsiteX19" fmla="*/ 84981 w 165051"/>
              <a:gd name="connsiteY19" fmla="*/ 130469 h 165600"/>
              <a:gd name="connsiteX20" fmla="*/ 91040 w 165051"/>
              <a:gd name="connsiteY20" fmla="*/ 131069 h 165600"/>
              <a:gd name="connsiteX21" fmla="*/ 97408 w 165051"/>
              <a:gd name="connsiteY21" fmla="*/ 126830 h 165600"/>
              <a:gd name="connsiteX22" fmla="*/ 102848 w 165051"/>
              <a:gd name="connsiteY22" fmla="*/ 128304 h 165600"/>
              <a:gd name="connsiteX23" fmla="*/ 106232 w 165051"/>
              <a:gd name="connsiteY23" fmla="*/ 135145 h 165600"/>
              <a:gd name="connsiteX24" fmla="*/ 111781 w 165051"/>
              <a:gd name="connsiteY24" fmla="*/ 137656 h 165600"/>
              <a:gd name="connsiteX25" fmla="*/ 116548 w 165051"/>
              <a:gd name="connsiteY25" fmla="*/ 136382 h 165600"/>
              <a:gd name="connsiteX26" fmla="*/ 120096 w 165051"/>
              <a:gd name="connsiteY26" fmla="*/ 131433 h 165600"/>
              <a:gd name="connsiteX27" fmla="*/ 119605 w 165051"/>
              <a:gd name="connsiteY27" fmla="*/ 123810 h 165600"/>
              <a:gd name="connsiteX28" fmla="*/ 123590 w 165051"/>
              <a:gd name="connsiteY28" fmla="*/ 119807 h 165600"/>
              <a:gd name="connsiteX29" fmla="*/ 131231 w 165051"/>
              <a:gd name="connsiteY29" fmla="*/ 120298 h 165600"/>
              <a:gd name="connsiteX30" fmla="*/ 136180 w 165051"/>
              <a:gd name="connsiteY30" fmla="*/ 116750 h 165600"/>
              <a:gd name="connsiteX31" fmla="*/ 137454 w 165051"/>
              <a:gd name="connsiteY31" fmla="*/ 111983 h 165600"/>
              <a:gd name="connsiteX32" fmla="*/ 134943 w 165051"/>
              <a:gd name="connsiteY32" fmla="*/ 106434 h 165600"/>
              <a:gd name="connsiteX33" fmla="*/ 128084 w 165051"/>
              <a:gd name="connsiteY33" fmla="*/ 103050 h 165600"/>
              <a:gd name="connsiteX34" fmla="*/ 127538 w 165051"/>
              <a:gd name="connsiteY34" fmla="*/ 100285 h 165600"/>
              <a:gd name="connsiteX35" fmla="*/ 126628 w 165051"/>
              <a:gd name="connsiteY35" fmla="*/ 97610 h 165600"/>
              <a:gd name="connsiteX36" fmla="*/ 130867 w 165051"/>
              <a:gd name="connsiteY36" fmla="*/ 91260 h 165600"/>
              <a:gd name="connsiteX37" fmla="*/ 130267 w 165051"/>
              <a:gd name="connsiteY37" fmla="*/ 85201 h 165600"/>
              <a:gd name="connsiteX38" fmla="*/ 126774 w 165051"/>
              <a:gd name="connsiteY38" fmla="*/ 81708 h 165600"/>
              <a:gd name="connsiteX39" fmla="*/ 120715 w 165051"/>
              <a:gd name="connsiteY39" fmla="*/ 81108 h 165600"/>
              <a:gd name="connsiteX40" fmla="*/ 114347 w 165051"/>
              <a:gd name="connsiteY40" fmla="*/ 85347 h 165600"/>
              <a:gd name="connsiteX41" fmla="*/ 108907 w 165051"/>
              <a:gd name="connsiteY41" fmla="*/ 83873 h 165600"/>
              <a:gd name="connsiteX42" fmla="*/ 105523 w 165051"/>
              <a:gd name="connsiteY42" fmla="*/ 77032 h 165600"/>
              <a:gd name="connsiteX43" fmla="*/ 99973 w 165051"/>
              <a:gd name="connsiteY43" fmla="*/ 74521 h 165600"/>
              <a:gd name="connsiteX44" fmla="*/ 59309 w 165051"/>
              <a:gd name="connsiteY44" fmla="*/ 51505 h 165600"/>
              <a:gd name="connsiteX45" fmla="*/ 67314 w 165051"/>
              <a:gd name="connsiteY45" fmla="*/ 59511 h 165600"/>
              <a:gd name="connsiteX46" fmla="*/ 59309 w 165051"/>
              <a:gd name="connsiteY46" fmla="*/ 67516 h 165600"/>
              <a:gd name="connsiteX47" fmla="*/ 51303 w 165051"/>
              <a:gd name="connsiteY47" fmla="*/ 59511 h 165600"/>
              <a:gd name="connsiteX48" fmla="*/ 59309 w 165051"/>
              <a:gd name="connsiteY48" fmla="*/ 51505 h 165600"/>
              <a:gd name="connsiteX49" fmla="*/ 65222 w 165051"/>
              <a:gd name="connsiteY49" fmla="*/ 27944 h 165600"/>
              <a:gd name="connsiteX50" fmla="*/ 59673 w 165051"/>
              <a:gd name="connsiteY50" fmla="*/ 30455 h 165600"/>
              <a:gd name="connsiteX51" fmla="*/ 56289 w 165051"/>
              <a:gd name="connsiteY51" fmla="*/ 37296 h 165600"/>
              <a:gd name="connsiteX52" fmla="*/ 50849 w 165051"/>
              <a:gd name="connsiteY52" fmla="*/ 38769 h 165600"/>
              <a:gd name="connsiteX53" fmla="*/ 44481 w 165051"/>
              <a:gd name="connsiteY53" fmla="*/ 34530 h 165600"/>
              <a:gd name="connsiteX54" fmla="*/ 38422 w 165051"/>
              <a:gd name="connsiteY54" fmla="*/ 35130 h 165600"/>
              <a:gd name="connsiteX55" fmla="*/ 34928 w 165051"/>
              <a:gd name="connsiteY55" fmla="*/ 38624 h 165600"/>
              <a:gd name="connsiteX56" fmla="*/ 34328 w 165051"/>
              <a:gd name="connsiteY56" fmla="*/ 44683 h 165600"/>
              <a:gd name="connsiteX57" fmla="*/ 38567 w 165051"/>
              <a:gd name="connsiteY57" fmla="*/ 51032 h 165600"/>
              <a:gd name="connsiteX58" fmla="*/ 37658 w 165051"/>
              <a:gd name="connsiteY58" fmla="*/ 53707 h 165600"/>
              <a:gd name="connsiteX59" fmla="*/ 37112 w 165051"/>
              <a:gd name="connsiteY59" fmla="*/ 56472 h 165600"/>
              <a:gd name="connsiteX60" fmla="*/ 30253 w 165051"/>
              <a:gd name="connsiteY60" fmla="*/ 59857 h 165600"/>
              <a:gd name="connsiteX61" fmla="*/ 27742 w 165051"/>
              <a:gd name="connsiteY61" fmla="*/ 65406 h 165600"/>
              <a:gd name="connsiteX62" fmla="*/ 29015 w 165051"/>
              <a:gd name="connsiteY62" fmla="*/ 70173 h 165600"/>
              <a:gd name="connsiteX63" fmla="*/ 33964 w 165051"/>
              <a:gd name="connsiteY63" fmla="*/ 73721 h 165600"/>
              <a:gd name="connsiteX64" fmla="*/ 41606 w 165051"/>
              <a:gd name="connsiteY64" fmla="*/ 73229 h 165600"/>
              <a:gd name="connsiteX65" fmla="*/ 45590 w 165051"/>
              <a:gd name="connsiteY65" fmla="*/ 77232 h 165600"/>
              <a:gd name="connsiteX66" fmla="*/ 45099 w 165051"/>
              <a:gd name="connsiteY66" fmla="*/ 84856 h 165600"/>
              <a:gd name="connsiteX67" fmla="*/ 48647 w 165051"/>
              <a:gd name="connsiteY67" fmla="*/ 89805 h 165600"/>
              <a:gd name="connsiteX68" fmla="*/ 53414 w 165051"/>
              <a:gd name="connsiteY68" fmla="*/ 91078 h 165600"/>
              <a:gd name="connsiteX69" fmla="*/ 58963 w 165051"/>
              <a:gd name="connsiteY69" fmla="*/ 88567 h 165600"/>
              <a:gd name="connsiteX70" fmla="*/ 62347 w 165051"/>
              <a:gd name="connsiteY70" fmla="*/ 81726 h 165600"/>
              <a:gd name="connsiteX71" fmla="*/ 67788 w 165051"/>
              <a:gd name="connsiteY71" fmla="*/ 80253 h 165600"/>
              <a:gd name="connsiteX72" fmla="*/ 74156 w 165051"/>
              <a:gd name="connsiteY72" fmla="*/ 84492 h 165600"/>
              <a:gd name="connsiteX73" fmla="*/ 80214 w 165051"/>
              <a:gd name="connsiteY73" fmla="*/ 83891 h 165600"/>
              <a:gd name="connsiteX74" fmla="*/ 83708 w 165051"/>
              <a:gd name="connsiteY74" fmla="*/ 80398 h 165600"/>
              <a:gd name="connsiteX75" fmla="*/ 84308 w 165051"/>
              <a:gd name="connsiteY75" fmla="*/ 74339 h 165600"/>
              <a:gd name="connsiteX76" fmla="*/ 80069 w 165051"/>
              <a:gd name="connsiteY76" fmla="*/ 67971 h 165600"/>
              <a:gd name="connsiteX77" fmla="*/ 80978 w 165051"/>
              <a:gd name="connsiteY77" fmla="*/ 65297 h 165600"/>
              <a:gd name="connsiteX78" fmla="*/ 81524 w 165051"/>
              <a:gd name="connsiteY78" fmla="*/ 62531 h 165600"/>
              <a:gd name="connsiteX79" fmla="*/ 88384 w 165051"/>
              <a:gd name="connsiteY79" fmla="*/ 59147 h 165600"/>
              <a:gd name="connsiteX80" fmla="*/ 90894 w 165051"/>
              <a:gd name="connsiteY80" fmla="*/ 53598 h 165600"/>
              <a:gd name="connsiteX81" fmla="*/ 89621 w 165051"/>
              <a:gd name="connsiteY81" fmla="*/ 48831 h 165600"/>
              <a:gd name="connsiteX82" fmla="*/ 84672 w 165051"/>
              <a:gd name="connsiteY82" fmla="*/ 45283 h 165600"/>
              <a:gd name="connsiteX83" fmla="*/ 77030 w 165051"/>
              <a:gd name="connsiteY83" fmla="*/ 45774 h 165600"/>
              <a:gd name="connsiteX84" fmla="*/ 73046 w 165051"/>
              <a:gd name="connsiteY84" fmla="*/ 41771 h 165600"/>
              <a:gd name="connsiteX85" fmla="*/ 73537 w 165051"/>
              <a:gd name="connsiteY85" fmla="*/ 34166 h 165600"/>
              <a:gd name="connsiteX86" fmla="*/ 69989 w 165051"/>
              <a:gd name="connsiteY86" fmla="*/ 29217 h 165600"/>
              <a:gd name="connsiteX87" fmla="*/ 82526 w 165051"/>
              <a:gd name="connsiteY87" fmla="*/ 0 h 165600"/>
              <a:gd name="connsiteX88" fmla="*/ 165051 w 165051"/>
              <a:gd name="connsiteY88" fmla="*/ 82800 h 165600"/>
              <a:gd name="connsiteX89" fmla="*/ 82526 w 165051"/>
              <a:gd name="connsiteY89" fmla="*/ 165600 h 165600"/>
              <a:gd name="connsiteX90" fmla="*/ 0 w 165051"/>
              <a:gd name="connsiteY90" fmla="*/ 82800 h 165600"/>
              <a:gd name="connsiteX91" fmla="*/ 82526 w 165051"/>
              <a:gd name="connsiteY91" fmla="*/ 0 h 16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165051" h="165600">
                <a:moveTo>
                  <a:pt x="105887" y="98083"/>
                </a:moveTo>
                <a:cubicBezTo>
                  <a:pt x="110308" y="98083"/>
                  <a:pt x="113892" y="101649"/>
                  <a:pt x="113910" y="106089"/>
                </a:cubicBezTo>
                <a:cubicBezTo>
                  <a:pt x="113910" y="110510"/>
                  <a:pt x="110326" y="114094"/>
                  <a:pt x="105905" y="114094"/>
                </a:cubicBezTo>
                <a:cubicBezTo>
                  <a:pt x="101483" y="114094"/>
                  <a:pt x="97899" y="110528"/>
                  <a:pt x="97899" y="106107"/>
                </a:cubicBezTo>
                <a:cubicBezTo>
                  <a:pt x="97881" y="101667"/>
                  <a:pt x="101465" y="98083"/>
                  <a:pt x="105887" y="98083"/>
                </a:cubicBezTo>
                <a:close/>
                <a:moveTo>
                  <a:pt x="99955" y="74521"/>
                </a:moveTo>
                <a:lnTo>
                  <a:pt x="95188" y="75795"/>
                </a:lnTo>
                <a:cubicBezTo>
                  <a:pt x="92987" y="76377"/>
                  <a:pt x="91495" y="78451"/>
                  <a:pt x="91640" y="80744"/>
                </a:cubicBezTo>
                <a:lnTo>
                  <a:pt x="92132" y="88349"/>
                </a:lnTo>
                <a:cubicBezTo>
                  <a:pt x="90621" y="89513"/>
                  <a:pt x="89293" y="90878"/>
                  <a:pt x="88147" y="92352"/>
                </a:cubicBezTo>
                <a:lnTo>
                  <a:pt x="80524" y="91861"/>
                </a:lnTo>
                <a:cubicBezTo>
                  <a:pt x="78231" y="91715"/>
                  <a:pt x="76175" y="93207"/>
                  <a:pt x="75575" y="95408"/>
                </a:cubicBezTo>
                <a:lnTo>
                  <a:pt x="74301" y="100175"/>
                </a:lnTo>
                <a:cubicBezTo>
                  <a:pt x="73719" y="102377"/>
                  <a:pt x="74756" y="104706"/>
                  <a:pt x="76812" y="105725"/>
                </a:cubicBezTo>
                <a:lnTo>
                  <a:pt x="83671" y="109109"/>
                </a:lnTo>
                <a:cubicBezTo>
                  <a:pt x="83799" y="110019"/>
                  <a:pt x="83962" y="110946"/>
                  <a:pt x="84217" y="111874"/>
                </a:cubicBezTo>
                <a:cubicBezTo>
                  <a:pt x="84472" y="112802"/>
                  <a:pt x="84781" y="113694"/>
                  <a:pt x="85127" y="114549"/>
                </a:cubicBezTo>
                <a:lnTo>
                  <a:pt x="80887" y="120917"/>
                </a:lnTo>
                <a:cubicBezTo>
                  <a:pt x="79614" y="122827"/>
                  <a:pt x="79869" y="125356"/>
                  <a:pt x="81488" y="126976"/>
                </a:cubicBezTo>
                <a:lnTo>
                  <a:pt x="84981" y="130469"/>
                </a:lnTo>
                <a:cubicBezTo>
                  <a:pt x="86600" y="132088"/>
                  <a:pt x="89129" y="132343"/>
                  <a:pt x="91040" y="131069"/>
                </a:cubicBezTo>
                <a:lnTo>
                  <a:pt x="97408" y="126830"/>
                </a:lnTo>
                <a:cubicBezTo>
                  <a:pt x="99136" y="127540"/>
                  <a:pt x="100974" y="128049"/>
                  <a:pt x="102848" y="128304"/>
                </a:cubicBezTo>
                <a:lnTo>
                  <a:pt x="106232" y="135145"/>
                </a:lnTo>
                <a:cubicBezTo>
                  <a:pt x="107251" y="137201"/>
                  <a:pt x="109562" y="138256"/>
                  <a:pt x="111781" y="137656"/>
                </a:cubicBezTo>
                <a:lnTo>
                  <a:pt x="116548" y="136382"/>
                </a:lnTo>
                <a:cubicBezTo>
                  <a:pt x="118750" y="135800"/>
                  <a:pt x="120242" y="133726"/>
                  <a:pt x="120096" y="131433"/>
                </a:cubicBezTo>
                <a:lnTo>
                  <a:pt x="119605" y="123810"/>
                </a:lnTo>
                <a:cubicBezTo>
                  <a:pt x="121115" y="122645"/>
                  <a:pt x="122443" y="121281"/>
                  <a:pt x="123590" y="119807"/>
                </a:cubicBezTo>
                <a:lnTo>
                  <a:pt x="131231" y="120298"/>
                </a:lnTo>
                <a:cubicBezTo>
                  <a:pt x="133524" y="120444"/>
                  <a:pt x="135580" y="118952"/>
                  <a:pt x="136180" y="116750"/>
                </a:cubicBezTo>
                <a:lnTo>
                  <a:pt x="137454" y="111983"/>
                </a:lnTo>
                <a:cubicBezTo>
                  <a:pt x="138054" y="109782"/>
                  <a:pt x="136999" y="107453"/>
                  <a:pt x="134943" y="106434"/>
                </a:cubicBezTo>
                <a:lnTo>
                  <a:pt x="128084" y="103050"/>
                </a:lnTo>
                <a:cubicBezTo>
                  <a:pt x="127956" y="102122"/>
                  <a:pt x="127793" y="101212"/>
                  <a:pt x="127538" y="100285"/>
                </a:cubicBezTo>
                <a:cubicBezTo>
                  <a:pt x="127283" y="99357"/>
                  <a:pt x="126974" y="98465"/>
                  <a:pt x="126628" y="97610"/>
                </a:cubicBezTo>
                <a:lnTo>
                  <a:pt x="130867" y="91260"/>
                </a:lnTo>
                <a:cubicBezTo>
                  <a:pt x="132141" y="89368"/>
                  <a:pt x="131886" y="86821"/>
                  <a:pt x="130267" y="85201"/>
                </a:cubicBezTo>
                <a:lnTo>
                  <a:pt x="126774" y="81708"/>
                </a:lnTo>
                <a:cubicBezTo>
                  <a:pt x="125154" y="80089"/>
                  <a:pt x="122625" y="79834"/>
                  <a:pt x="120715" y="81108"/>
                </a:cubicBezTo>
                <a:lnTo>
                  <a:pt x="114347" y="85347"/>
                </a:lnTo>
                <a:cubicBezTo>
                  <a:pt x="112618" y="84637"/>
                  <a:pt x="110781" y="84128"/>
                  <a:pt x="108907" y="83873"/>
                </a:cubicBezTo>
                <a:lnTo>
                  <a:pt x="105523" y="77032"/>
                </a:lnTo>
                <a:cubicBezTo>
                  <a:pt x="104522" y="74976"/>
                  <a:pt x="102193" y="73921"/>
                  <a:pt x="99973" y="74521"/>
                </a:cubicBezTo>
                <a:close/>
                <a:moveTo>
                  <a:pt x="59309" y="51505"/>
                </a:moveTo>
                <a:cubicBezTo>
                  <a:pt x="63730" y="51505"/>
                  <a:pt x="67314" y="55090"/>
                  <a:pt x="67314" y="59511"/>
                </a:cubicBezTo>
                <a:cubicBezTo>
                  <a:pt x="67314" y="63932"/>
                  <a:pt x="63730" y="67516"/>
                  <a:pt x="59309" y="67516"/>
                </a:cubicBezTo>
                <a:cubicBezTo>
                  <a:pt x="54888" y="67516"/>
                  <a:pt x="51303" y="63932"/>
                  <a:pt x="51303" y="59511"/>
                </a:cubicBezTo>
                <a:cubicBezTo>
                  <a:pt x="51303" y="55090"/>
                  <a:pt x="54888" y="51505"/>
                  <a:pt x="59309" y="51505"/>
                </a:cubicBezTo>
                <a:close/>
                <a:moveTo>
                  <a:pt x="65222" y="27944"/>
                </a:moveTo>
                <a:cubicBezTo>
                  <a:pt x="63002" y="27361"/>
                  <a:pt x="60692" y="28399"/>
                  <a:pt x="59673" y="30455"/>
                </a:cubicBezTo>
                <a:lnTo>
                  <a:pt x="56289" y="37296"/>
                </a:lnTo>
                <a:cubicBezTo>
                  <a:pt x="54415" y="37550"/>
                  <a:pt x="52577" y="38060"/>
                  <a:pt x="50849" y="38769"/>
                </a:cubicBezTo>
                <a:lnTo>
                  <a:pt x="44481" y="34530"/>
                </a:lnTo>
                <a:cubicBezTo>
                  <a:pt x="42570" y="33256"/>
                  <a:pt x="40041" y="33511"/>
                  <a:pt x="38422" y="35130"/>
                </a:cubicBezTo>
                <a:lnTo>
                  <a:pt x="34928" y="38624"/>
                </a:lnTo>
                <a:cubicBezTo>
                  <a:pt x="33309" y="40243"/>
                  <a:pt x="33054" y="42772"/>
                  <a:pt x="34328" y="44683"/>
                </a:cubicBezTo>
                <a:lnTo>
                  <a:pt x="38567" y="51032"/>
                </a:lnTo>
                <a:cubicBezTo>
                  <a:pt x="38203" y="51887"/>
                  <a:pt x="37912" y="52779"/>
                  <a:pt x="37658" y="53707"/>
                </a:cubicBezTo>
                <a:cubicBezTo>
                  <a:pt x="37421" y="54635"/>
                  <a:pt x="37239" y="55545"/>
                  <a:pt x="37112" y="56472"/>
                </a:cubicBezTo>
                <a:lnTo>
                  <a:pt x="30253" y="59857"/>
                </a:lnTo>
                <a:cubicBezTo>
                  <a:pt x="28197" y="60875"/>
                  <a:pt x="27159" y="63204"/>
                  <a:pt x="27742" y="65406"/>
                </a:cubicBezTo>
                <a:lnTo>
                  <a:pt x="29015" y="70173"/>
                </a:lnTo>
                <a:cubicBezTo>
                  <a:pt x="29616" y="72374"/>
                  <a:pt x="31690" y="73866"/>
                  <a:pt x="33964" y="73721"/>
                </a:cubicBezTo>
                <a:lnTo>
                  <a:pt x="41606" y="73229"/>
                </a:lnTo>
                <a:cubicBezTo>
                  <a:pt x="42752" y="74721"/>
                  <a:pt x="44080" y="76068"/>
                  <a:pt x="45590" y="77232"/>
                </a:cubicBezTo>
                <a:lnTo>
                  <a:pt x="45099" y="84856"/>
                </a:lnTo>
                <a:cubicBezTo>
                  <a:pt x="44954" y="87130"/>
                  <a:pt x="46427" y="89204"/>
                  <a:pt x="48647" y="89805"/>
                </a:cubicBezTo>
                <a:lnTo>
                  <a:pt x="53414" y="91078"/>
                </a:lnTo>
                <a:cubicBezTo>
                  <a:pt x="55615" y="91660"/>
                  <a:pt x="57944" y="90623"/>
                  <a:pt x="58963" y="88567"/>
                </a:cubicBezTo>
                <a:lnTo>
                  <a:pt x="62347" y="81726"/>
                </a:lnTo>
                <a:cubicBezTo>
                  <a:pt x="64221" y="81472"/>
                  <a:pt x="66059" y="80962"/>
                  <a:pt x="67788" y="80253"/>
                </a:cubicBezTo>
                <a:lnTo>
                  <a:pt x="74156" y="84492"/>
                </a:lnTo>
                <a:cubicBezTo>
                  <a:pt x="76066" y="85765"/>
                  <a:pt x="78595" y="85511"/>
                  <a:pt x="80214" y="83891"/>
                </a:cubicBezTo>
                <a:lnTo>
                  <a:pt x="83708" y="80398"/>
                </a:lnTo>
                <a:cubicBezTo>
                  <a:pt x="85327" y="78779"/>
                  <a:pt x="85582" y="76250"/>
                  <a:pt x="84308" y="74339"/>
                </a:cubicBezTo>
                <a:lnTo>
                  <a:pt x="80069" y="67971"/>
                </a:lnTo>
                <a:cubicBezTo>
                  <a:pt x="80414" y="67116"/>
                  <a:pt x="80742" y="66206"/>
                  <a:pt x="80978" y="65297"/>
                </a:cubicBezTo>
                <a:cubicBezTo>
                  <a:pt x="81215" y="64387"/>
                  <a:pt x="81397" y="63459"/>
                  <a:pt x="81524" y="62531"/>
                </a:cubicBezTo>
                <a:lnTo>
                  <a:pt x="88384" y="59147"/>
                </a:lnTo>
                <a:cubicBezTo>
                  <a:pt x="90439" y="58128"/>
                  <a:pt x="91477" y="55799"/>
                  <a:pt x="90894" y="53598"/>
                </a:cubicBezTo>
                <a:lnTo>
                  <a:pt x="89621" y="48831"/>
                </a:lnTo>
                <a:cubicBezTo>
                  <a:pt x="89020" y="46629"/>
                  <a:pt x="86946" y="45137"/>
                  <a:pt x="84672" y="45283"/>
                </a:cubicBezTo>
                <a:lnTo>
                  <a:pt x="77030" y="45774"/>
                </a:lnTo>
                <a:cubicBezTo>
                  <a:pt x="75884" y="44282"/>
                  <a:pt x="74556" y="42936"/>
                  <a:pt x="73046" y="41771"/>
                </a:cubicBezTo>
                <a:lnTo>
                  <a:pt x="73537" y="34166"/>
                </a:lnTo>
                <a:cubicBezTo>
                  <a:pt x="73682" y="31892"/>
                  <a:pt x="72191" y="29818"/>
                  <a:pt x="69989" y="29217"/>
                </a:cubicBezTo>
                <a:close/>
                <a:moveTo>
                  <a:pt x="82526" y="0"/>
                </a:moveTo>
                <a:cubicBezTo>
                  <a:pt x="128103" y="0"/>
                  <a:pt x="165051" y="37071"/>
                  <a:pt x="165051" y="82800"/>
                </a:cubicBezTo>
                <a:cubicBezTo>
                  <a:pt x="165051" y="128529"/>
                  <a:pt x="128103" y="165600"/>
                  <a:pt x="82526" y="165600"/>
                </a:cubicBezTo>
                <a:cubicBezTo>
                  <a:pt x="36948" y="165600"/>
                  <a:pt x="0" y="128529"/>
                  <a:pt x="0" y="82800"/>
                </a:cubicBezTo>
                <a:cubicBezTo>
                  <a:pt x="0" y="37071"/>
                  <a:pt x="36948" y="0"/>
                  <a:pt x="82526" y="0"/>
                </a:cubicBezTo>
                <a:close/>
              </a:path>
            </a:pathLst>
          </a:custGeom>
          <a:solidFill>
            <a:srgbClr val="FFC000"/>
          </a:solidFill>
          <a:ln w="179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189" name="Forma libre 171">
            <a:extLst>
              <a:ext uri="{FF2B5EF4-FFF2-40B4-BE49-F238E27FC236}">
                <a16:creationId xmlns:a16="http://schemas.microsoft.com/office/drawing/2014/main" id="{4C381DB9-4953-1FBC-06A4-74F4CBDF4E52}"/>
              </a:ext>
            </a:extLst>
          </p:cNvPr>
          <p:cNvSpPr>
            <a:spLocks/>
          </p:cNvSpPr>
          <p:nvPr/>
        </p:nvSpPr>
        <p:spPr>
          <a:xfrm>
            <a:off x="4285517" y="3062929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208" name="Forma libre 189">
            <a:extLst>
              <a:ext uri="{FF2B5EF4-FFF2-40B4-BE49-F238E27FC236}">
                <a16:creationId xmlns:a16="http://schemas.microsoft.com/office/drawing/2014/main" id="{7629F430-4716-2201-5FB2-0AC3380B58B3}"/>
              </a:ext>
            </a:extLst>
          </p:cNvPr>
          <p:cNvSpPr>
            <a:spLocks/>
          </p:cNvSpPr>
          <p:nvPr/>
        </p:nvSpPr>
        <p:spPr>
          <a:xfrm>
            <a:off x="4285517" y="3459123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238" name="Forma libre 188">
            <a:extLst>
              <a:ext uri="{FF2B5EF4-FFF2-40B4-BE49-F238E27FC236}">
                <a16:creationId xmlns:a16="http://schemas.microsoft.com/office/drawing/2014/main" id="{2A97EBE3-506A-ADCE-B846-CCB0BBF8BD4E}"/>
              </a:ext>
            </a:extLst>
          </p:cNvPr>
          <p:cNvSpPr>
            <a:spLocks/>
          </p:cNvSpPr>
          <p:nvPr/>
        </p:nvSpPr>
        <p:spPr>
          <a:xfrm>
            <a:off x="4285517" y="3855316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82" name="Forma libre 189">
            <a:extLst>
              <a:ext uri="{FF2B5EF4-FFF2-40B4-BE49-F238E27FC236}">
                <a16:creationId xmlns:a16="http://schemas.microsoft.com/office/drawing/2014/main" id="{573C7D3C-FE02-A5B3-F654-D56C6F0BF72C}"/>
              </a:ext>
            </a:extLst>
          </p:cNvPr>
          <p:cNvSpPr>
            <a:spLocks/>
          </p:cNvSpPr>
          <p:nvPr/>
        </p:nvSpPr>
        <p:spPr>
          <a:xfrm>
            <a:off x="4285517" y="4251510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97" name="Forma libre 188">
            <a:extLst>
              <a:ext uri="{FF2B5EF4-FFF2-40B4-BE49-F238E27FC236}">
                <a16:creationId xmlns:a16="http://schemas.microsoft.com/office/drawing/2014/main" id="{37EAAD66-ACB0-7E6A-4A3D-9009D8EE2272}"/>
              </a:ext>
            </a:extLst>
          </p:cNvPr>
          <p:cNvSpPr>
            <a:spLocks/>
          </p:cNvSpPr>
          <p:nvPr/>
        </p:nvSpPr>
        <p:spPr>
          <a:xfrm>
            <a:off x="4285517" y="3657220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172" name="Forma libre 189">
            <a:extLst>
              <a:ext uri="{FF2B5EF4-FFF2-40B4-BE49-F238E27FC236}">
                <a16:creationId xmlns:a16="http://schemas.microsoft.com/office/drawing/2014/main" id="{92EB5A62-998F-3B73-AC9F-0D9CBBA30299}"/>
              </a:ext>
            </a:extLst>
          </p:cNvPr>
          <p:cNvSpPr>
            <a:spLocks/>
          </p:cNvSpPr>
          <p:nvPr/>
        </p:nvSpPr>
        <p:spPr>
          <a:xfrm>
            <a:off x="4285517" y="4053413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228" name="Forma libre 190">
            <a:extLst>
              <a:ext uri="{FF2B5EF4-FFF2-40B4-BE49-F238E27FC236}">
                <a16:creationId xmlns:a16="http://schemas.microsoft.com/office/drawing/2014/main" id="{99AE1E61-BBAC-FD44-F2E2-083543C8BE4F}"/>
              </a:ext>
            </a:extLst>
          </p:cNvPr>
          <p:cNvSpPr>
            <a:spLocks/>
          </p:cNvSpPr>
          <p:nvPr/>
        </p:nvSpPr>
        <p:spPr>
          <a:xfrm>
            <a:off x="5812474" y="4053413"/>
            <a:ext cx="162047" cy="162047"/>
          </a:xfrm>
          <a:custGeom>
            <a:avLst/>
            <a:gdLst>
              <a:gd name="connsiteX0" fmla="*/ 337563 w 455568"/>
              <a:gd name="connsiteY0" fmla="*/ 127269 h 455568"/>
              <a:gd name="connsiteX1" fmla="*/ 318227 w 455568"/>
              <a:gd name="connsiteY1" fmla="*/ 135288 h 455568"/>
              <a:gd name="connsiteX2" fmla="*/ 191314 w 455568"/>
              <a:gd name="connsiteY2" fmla="*/ 262199 h 455568"/>
              <a:gd name="connsiteX3" fmla="*/ 137575 w 455568"/>
              <a:gd name="connsiteY3" fmla="*/ 208463 h 455568"/>
              <a:gd name="connsiteX4" fmla="*/ 98816 w 455568"/>
              <a:gd name="connsiteY4" fmla="*/ 208463 h 455568"/>
              <a:gd name="connsiteX5" fmla="*/ 98816 w 455568"/>
              <a:gd name="connsiteY5" fmla="*/ 247223 h 455568"/>
              <a:gd name="connsiteX6" fmla="*/ 171990 w 455568"/>
              <a:gd name="connsiteY6" fmla="*/ 320398 h 455568"/>
              <a:gd name="connsiteX7" fmla="*/ 210749 w 455568"/>
              <a:gd name="connsiteY7" fmla="*/ 320398 h 455568"/>
              <a:gd name="connsiteX8" fmla="*/ 356986 w 455568"/>
              <a:gd name="connsiteY8" fmla="*/ 174048 h 455568"/>
              <a:gd name="connsiteX9" fmla="*/ 356986 w 455568"/>
              <a:gd name="connsiteY9" fmla="*/ 135288 h 455568"/>
              <a:gd name="connsiteX10" fmla="*/ 337563 w 455568"/>
              <a:gd name="connsiteY10" fmla="*/ 127269 h 455568"/>
              <a:gd name="connsiteX11" fmla="*/ 227784 w 455568"/>
              <a:gd name="connsiteY11" fmla="*/ 0 h 455568"/>
              <a:gd name="connsiteX12" fmla="*/ 455568 w 455568"/>
              <a:gd name="connsiteY12" fmla="*/ 227784 h 455568"/>
              <a:gd name="connsiteX13" fmla="*/ 227784 w 455568"/>
              <a:gd name="connsiteY13" fmla="*/ 455568 h 455568"/>
              <a:gd name="connsiteX14" fmla="*/ 0 w 455568"/>
              <a:gd name="connsiteY14" fmla="*/ 227784 h 455568"/>
              <a:gd name="connsiteX15" fmla="*/ 227784 w 455568"/>
              <a:gd name="connsiteY15" fmla="*/ 0 h 45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568" h="455568">
                <a:moveTo>
                  <a:pt x="337563" y="127269"/>
                </a:moveTo>
                <a:cubicBezTo>
                  <a:pt x="330545" y="127255"/>
                  <a:pt x="323543" y="129914"/>
                  <a:pt x="318227" y="135288"/>
                </a:cubicBezTo>
                <a:lnTo>
                  <a:pt x="191314" y="262199"/>
                </a:lnTo>
                <a:lnTo>
                  <a:pt x="137575" y="208463"/>
                </a:lnTo>
                <a:cubicBezTo>
                  <a:pt x="126827" y="197715"/>
                  <a:pt x="109448" y="197715"/>
                  <a:pt x="98816" y="208463"/>
                </a:cubicBezTo>
                <a:cubicBezTo>
                  <a:pt x="88184" y="219211"/>
                  <a:pt x="88068" y="236591"/>
                  <a:pt x="98816" y="247223"/>
                </a:cubicBezTo>
                <a:lnTo>
                  <a:pt x="171990" y="320398"/>
                </a:lnTo>
                <a:cubicBezTo>
                  <a:pt x="182738" y="331146"/>
                  <a:pt x="200117" y="331146"/>
                  <a:pt x="210749" y="320398"/>
                </a:cubicBezTo>
                <a:lnTo>
                  <a:pt x="356986" y="174048"/>
                </a:lnTo>
                <a:cubicBezTo>
                  <a:pt x="367734" y="163300"/>
                  <a:pt x="367734" y="145920"/>
                  <a:pt x="356986" y="135288"/>
                </a:cubicBezTo>
                <a:cubicBezTo>
                  <a:pt x="351612" y="129970"/>
                  <a:pt x="344580" y="127283"/>
                  <a:pt x="337563" y="127269"/>
                </a:cubicBezTo>
                <a:close/>
                <a:moveTo>
                  <a:pt x="227784" y="0"/>
                </a:moveTo>
                <a:cubicBezTo>
                  <a:pt x="353586" y="0"/>
                  <a:pt x="455568" y="101982"/>
                  <a:pt x="455568" y="227784"/>
                </a:cubicBezTo>
                <a:cubicBezTo>
                  <a:pt x="455568" y="353586"/>
                  <a:pt x="353586" y="455568"/>
                  <a:pt x="227784" y="455568"/>
                </a:cubicBezTo>
                <a:cubicBezTo>
                  <a:pt x="101982" y="455568"/>
                  <a:pt x="0" y="353586"/>
                  <a:pt x="0" y="227784"/>
                </a:cubicBezTo>
                <a:cubicBezTo>
                  <a:pt x="0" y="101982"/>
                  <a:pt x="101982" y="0"/>
                  <a:pt x="227784" y="0"/>
                </a:cubicBezTo>
                <a:close/>
              </a:path>
            </a:pathLst>
          </a:custGeom>
          <a:solidFill>
            <a:srgbClr val="92D050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685748" fontAlgn="auto">
              <a:spcBef>
                <a:spcPts val="1000"/>
              </a:spcBef>
              <a:spcAft>
                <a:spcPts val="0"/>
              </a:spcAft>
              <a:defRPr/>
            </a:pPr>
            <a:endParaRPr lang="en-US" sz="1400" b="1">
              <a:solidFill>
                <a:srgbClr val="24272A"/>
              </a:solidFill>
              <a:latin typeface="Pulso" pitchFamily="2" charset="0"/>
            </a:endParaRPr>
          </a:p>
        </p:txBody>
      </p:sp>
      <p:sp>
        <p:nvSpPr>
          <p:cNvPr id="74" name="Forma libre 73">
            <a:extLst>
              <a:ext uri="{FF2B5EF4-FFF2-40B4-BE49-F238E27FC236}">
                <a16:creationId xmlns:a16="http://schemas.microsoft.com/office/drawing/2014/main" id="{BA3E3C2B-2410-E335-13EF-DF27017D9169}"/>
              </a:ext>
            </a:extLst>
          </p:cNvPr>
          <p:cNvSpPr/>
          <p:nvPr/>
        </p:nvSpPr>
        <p:spPr>
          <a:xfrm>
            <a:off x="4910110" y="2666466"/>
            <a:ext cx="162047" cy="162586"/>
          </a:xfrm>
          <a:custGeom>
            <a:avLst/>
            <a:gdLst>
              <a:gd name="connsiteX0" fmla="*/ 105887 w 165051"/>
              <a:gd name="connsiteY0" fmla="*/ 98083 h 165600"/>
              <a:gd name="connsiteX1" fmla="*/ 113910 w 165051"/>
              <a:gd name="connsiteY1" fmla="*/ 106089 h 165600"/>
              <a:gd name="connsiteX2" fmla="*/ 105905 w 165051"/>
              <a:gd name="connsiteY2" fmla="*/ 114094 h 165600"/>
              <a:gd name="connsiteX3" fmla="*/ 97899 w 165051"/>
              <a:gd name="connsiteY3" fmla="*/ 106107 h 165600"/>
              <a:gd name="connsiteX4" fmla="*/ 105887 w 165051"/>
              <a:gd name="connsiteY4" fmla="*/ 98083 h 165600"/>
              <a:gd name="connsiteX5" fmla="*/ 99955 w 165051"/>
              <a:gd name="connsiteY5" fmla="*/ 74521 h 165600"/>
              <a:gd name="connsiteX6" fmla="*/ 95188 w 165051"/>
              <a:gd name="connsiteY6" fmla="*/ 75795 h 165600"/>
              <a:gd name="connsiteX7" fmla="*/ 91640 w 165051"/>
              <a:gd name="connsiteY7" fmla="*/ 80744 h 165600"/>
              <a:gd name="connsiteX8" fmla="*/ 92132 w 165051"/>
              <a:gd name="connsiteY8" fmla="*/ 88349 h 165600"/>
              <a:gd name="connsiteX9" fmla="*/ 88147 w 165051"/>
              <a:gd name="connsiteY9" fmla="*/ 92352 h 165600"/>
              <a:gd name="connsiteX10" fmla="*/ 80524 w 165051"/>
              <a:gd name="connsiteY10" fmla="*/ 91861 h 165600"/>
              <a:gd name="connsiteX11" fmla="*/ 75575 w 165051"/>
              <a:gd name="connsiteY11" fmla="*/ 95408 h 165600"/>
              <a:gd name="connsiteX12" fmla="*/ 74301 w 165051"/>
              <a:gd name="connsiteY12" fmla="*/ 100175 h 165600"/>
              <a:gd name="connsiteX13" fmla="*/ 76812 w 165051"/>
              <a:gd name="connsiteY13" fmla="*/ 105725 h 165600"/>
              <a:gd name="connsiteX14" fmla="*/ 83671 w 165051"/>
              <a:gd name="connsiteY14" fmla="*/ 109109 h 165600"/>
              <a:gd name="connsiteX15" fmla="*/ 84217 w 165051"/>
              <a:gd name="connsiteY15" fmla="*/ 111874 h 165600"/>
              <a:gd name="connsiteX16" fmla="*/ 85127 w 165051"/>
              <a:gd name="connsiteY16" fmla="*/ 114549 h 165600"/>
              <a:gd name="connsiteX17" fmla="*/ 80887 w 165051"/>
              <a:gd name="connsiteY17" fmla="*/ 120917 h 165600"/>
              <a:gd name="connsiteX18" fmla="*/ 81488 w 165051"/>
              <a:gd name="connsiteY18" fmla="*/ 126976 h 165600"/>
              <a:gd name="connsiteX19" fmla="*/ 84981 w 165051"/>
              <a:gd name="connsiteY19" fmla="*/ 130469 h 165600"/>
              <a:gd name="connsiteX20" fmla="*/ 91040 w 165051"/>
              <a:gd name="connsiteY20" fmla="*/ 131069 h 165600"/>
              <a:gd name="connsiteX21" fmla="*/ 97408 w 165051"/>
              <a:gd name="connsiteY21" fmla="*/ 126830 h 165600"/>
              <a:gd name="connsiteX22" fmla="*/ 102848 w 165051"/>
              <a:gd name="connsiteY22" fmla="*/ 128304 h 165600"/>
              <a:gd name="connsiteX23" fmla="*/ 106232 w 165051"/>
              <a:gd name="connsiteY23" fmla="*/ 135145 h 165600"/>
              <a:gd name="connsiteX24" fmla="*/ 111781 w 165051"/>
              <a:gd name="connsiteY24" fmla="*/ 137656 h 165600"/>
              <a:gd name="connsiteX25" fmla="*/ 116548 w 165051"/>
              <a:gd name="connsiteY25" fmla="*/ 136382 h 165600"/>
              <a:gd name="connsiteX26" fmla="*/ 120096 w 165051"/>
              <a:gd name="connsiteY26" fmla="*/ 131433 h 165600"/>
              <a:gd name="connsiteX27" fmla="*/ 119605 w 165051"/>
              <a:gd name="connsiteY27" fmla="*/ 123810 h 165600"/>
              <a:gd name="connsiteX28" fmla="*/ 123590 w 165051"/>
              <a:gd name="connsiteY28" fmla="*/ 119807 h 165600"/>
              <a:gd name="connsiteX29" fmla="*/ 131231 w 165051"/>
              <a:gd name="connsiteY29" fmla="*/ 120298 h 165600"/>
              <a:gd name="connsiteX30" fmla="*/ 136180 w 165051"/>
              <a:gd name="connsiteY30" fmla="*/ 116750 h 165600"/>
              <a:gd name="connsiteX31" fmla="*/ 137454 w 165051"/>
              <a:gd name="connsiteY31" fmla="*/ 111983 h 165600"/>
              <a:gd name="connsiteX32" fmla="*/ 134943 w 165051"/>
              <a:gd name="connsiteY32" fmla="*/ 106434 h 165600"/>
              <a:gd name="connsiteX33" fmla="*/ 128084 w 165051"/>
              <a:gd name="connsiteY33" fmla="*/ 103050 h 165600"/>
              <a:gd name="connsiteX34" fmla="*/ 127538 w 165051"/>
              <a:gd name="connsiteY34" fmla="*/ 100285 h 165600"/>
              <a:gd name="connsiteX35" fmla="*/ 126628 w 165051"/>
              <a:gd name="connsiteY35" fmla="*/ 97610 h 165600"/>
              <a:gd name="connsiteX36" fmla="*/ 130867 w 165051"/>
              <a:gd name="connsiteY36" fmla="*/ 91260 h 165600"/>
              <a:gd name="connsiteX37" fmla="*/ 130267 w 165051"/>
              <a:gd name="connsiteY37" fmla="*/ 85201 h 165600"/>
              <a:gd name="connsiteX38" fmla="*/ 126774 w 165051"/>
              <a:gd name="connsiteY38" fmla="*/ 81708 h 165600"/>
              <a:gd name="connsiteX39" fmla="*/ 120715 w 165051"/>
              <a:gd name="connsiteY39" fmla="*/ 81108 h 165600"/>
              <a:gd name="connsiteX40" fmla="*/ 114347 w 165051"/>
              <a:gd name="connsiteY40" fmla="*/ 85347 h 165600"/>
              <a:gd name="connsiteX41" fmla="*/ 108907 w 165051"/>
              <a:gd name="connsiteY41" fmla="*/ 83873 h 165600"/>
              <a:gd name="connsiteX42" fmla="*/ 105523 w 165051"/>
              <a:gd name="connsiteY42" fmla="*/ 77032 h 165600"/>
              <a:gd name="connsiteX43" fmla="*/ 99973 w 165051"/>
              <a:gd name="connsiteY43" fmla="*/ 74521 h 165600"/>
              <a:gd name="connsiteX44" fmla="*/ 59309 w 165051"/>
              <a:gd name="connsiteY44" fmla="*/ 51505 h 165600"/>
              <a:gd name="connsiteX45" fmla="*/ 67314 w 165051"/>
              <a:gd name="connsiteY45" fmla="*/ 59511 h 165600"/>
              <a:gd name="connsiteX46" fmla="*/ 59309 w 165051"/>
              <a:gd name="connsiteY46" fmla="*/ 67516 h 165600"/>
              <a:gd name="connsiteX47" fmla="*/ 51303 w 165051"/>
              <a:gd name="connsiteY47" fmla="*/ 59511 h 165600"/>
              <a:gd name="connsiteX48" fmla="*/ 59309 w 165051"/>
              <a:gd name="connsiteY48" fmla="*/ 51505 h 165600"/>
              <a:gd name="connsiteX49" fmla="*/ 65222 w 165051"/>
              <a:gd name="connsiteY49" fmla="*/ 27944 h 165600"/>
              <a:gd name="connsiteX50" fmla="*/ 59673 w 165051"/>
              <a:gd name="connsiteY50" fmla="*/ 30455 h 165600"/>
              <a:gd name="connsiteX51" fmla="*/ 56289 w 165051"/>
              <a:gd name="connsiteY51" fmla="*/ 37296 h 165600"/>
              <a:gd name="connsiteX52" fmla="*/ 50849 w 165051"/>
              <a:gd name="connsiteY52" fmla="*/ 38769 h 165600"/>
              <a:gd name="connsiteX53" fmla="*/ 44481 w 165051"/>
              <a:gd name="connsiteY53" fmla="*/ 34530 h 165600"/>
              <a:gd name="connsiteX54" fmla="*/ 38422 w 165051"/>
              <a:gd name="connsiteY54" fmla="*/ 35130 h 165600"/>
              <a:gd name="connsiteX55" fmla="*/ 34928 w 165051"/>
              <a:gd name="connsiteY55" fmla="*/ 38624 h 165600"/>
              <a:gd name="connsiteX56" fmla="*/ 34328 w 165051"/>
              <a:gd name="connsiteY56" fmla="*/ 44683 h 165600"/>
              <a:gd name="connsiteX57" fmla="*/ 38567 w 165051"/>
              <a:gd name="connsiteY57" fmla="*/ 51032 h 165600"/>
              <a:gd name="connsiteX58" fmla="*/ 37658 w 165051"/>
              <a:gd name="connsiteY58" fmla="*/ 53707 h 165600"/>
              <a:gd name="connsiteX59" fmla="*/ 37112 w 165051"/>
              <a:gd name="connsiteY59" fmla="*/ 56472 h 165600"/>
              <a:gd name="connsiteX60" fmla="*/ 30253 w 165051"/>
              <a:gd name="connsiteY60" fmla="*/ 59857 h 165600"/>
              <a:gd name="connsiteX61" fmla="*/ 27742 w 165051"/>
              <a:gd name="connsiteY61" fmla="*/ 65406 h 165600"/>
              <a:gd name="connsiteX62" fmla="*/ 29015 w 165051"/>
              <a:gd name="connsiteY62" fmla="*/ 70173 h 165600"/>
              <a:gd name="connsiteX63" fmla="*/ 33964 w 165051"/>
              <a:gd name="connsiteY63" fmla="*/ 73721 h 165600"/>
              <a:gd name="connsiteX64" fmla="*/ 41606 w 165051"/>
              <a:gd name="connsiteY64" fmla="*/ 73229 h 165600"/>
              <a:gd name="connsiteX65" fmla="*/ 45590 w 165051"/>
              <a:gd name="connsiteY65" fmla="*/ 77232 h 165600"/>
              <a:gd name="connsiteX66" fmla="*/ 45099 w 165051"/>
              <a:gd name="connsiteY66" fmla="*/ 84856 h 165600"/>
              <a:gd name="connsiteX67" fmla="*/ 48647 w 165051"/>
              <a:gd name="connsiteY67" fmla="*/ 89805 h 165600"/>
              <a:gd name="connsiteX68" fmla="*/ 53414 w 165051"/>
              <a:gd name="connsiteY68" fmla="*/ 91078 h 165600"/>
              <a:gd name="connsiteX69" fmla="*/ 58963 w 165051"/>
              <a:gd name="connsiteY69" fmla="*/ 88567 h 165600"/>
              <a:gd name="connsiteX70" fmla="*/ 62347 w 165051"/>
              <a:gd name="connsiteY70" fmla="*/ 81726 h 165600"/>
              <a:gd name="connsiteX71" fmla="*/ 67788 w 165051"/>
              <a:gd name="connsiteY71" fmla="*/ 80253 h 165600"/>
              <a:gd name="connsiteX72" fmla="*/ 74156 w 165051"/>
              <a:gd name="connsiteY72" fmla="*/ 84492 h 165600"/>
              <a:gd name="connsiteX73" fmla="*/ 80214 w 165051"/>
              <a:gd name="connsiteY73" fmla="*/ 83891 h 165600"/>
              <a:gd name="connsiteX74" fmla="*/ 83708 w 165051"/>
              <a:gd name="connsiteY74" fmla="*/ 80398 h 165600"/>
              <a:gd name="connsiteX75" fmla="*/ 84308 w 165051"/>
              <a:gd name="connsiteY75" fmla="*/ 74339 h 165600"/>
              <a:gd name="connsiteX76" fmla="*/ 80069 w 165051"/>
              <a:gd name="connsiteY76" fmla="*/ 67971 h 165600"/>
              <a:gd name="connsiteX77" fmla="*/ 80978 w 165051"/>
              <a:gd name="connsiteY77" fmla="*/ 65297 h 165600"/>
              <a:gd name="connsiteX78" fmla="*/ 81524 w 165051"/>
              <a:gd name="connsiteY78" fmla="*/ 62531 h 165600"/>
              <a:gd name="connsiteX79" fmla="*/ 88384 w 165051"/>
              <a:gd name="connsiteY79" fmla="*/ 59147 h 165600"/>
              <a:gd name="connsiteX80" fmla="*/ 90894 w 165051"/>
              <a:gd name="connsiteY80" fmla="*/ 53598 h 165600"/>
              <a:gd name="connsiteX81" fmla="*/ 89621 w 165051"/>
              <a:gd name="connsiteY81" fmla="*/ 48831 h 165600"/>
              <a:gd name="connsiteX82" fmla="*/ 84672 w 165051"/>
              <a:gd name="connsiteY82" fmla="*/ 45283 h 165600"/>
              <a:gd name="connsiteX83" fmla="*/ 77030 w 165051"/>
              <a:gd name="connsiteY83" fmla="*/ 45774 h 165600"/>
              <a:gd name="connsiteX84" fmla="*/ 73046 w 165051"/>
              <a:gd name="connsiteY84" fmla="*/ 41771 h 165600"/>
              <a:gd name="connsiteX85" fmla="*/ 73537 w 165051"/>
              <a:gd name="connsiteY85" fmla="*/ 34166 h 165600"/>
              <a:gd name="connsiteX86" fmla="*/ 69989 w 165051"/>
              <a:gd name="connsiteY86" fmla="*/ 29217 h 165600"/>
              <a:gd name="connsiteX87" fmla="*/ 82526 w 165051"/>
              <a:gd name="connsiteY87" fmla="*/ 0 h 165600"/>
              <a:gd name="connsiteX88" fmla="*/ 165051 w 165051"/>
              <a:gd name="connsiteY88" fmla="*/ 82800 h 165600"/>
              <a:gd name="connsiteX89" fmla="*/ 82526 w 165051"/>
              <a:gd name="connsiteY89" fmla="*/ 165600 h 165600"/>
              <a:gd name="connsiteX90" fmla="*/ 0 w 165051"/>
              <a:gd name="connsiteY90" fmla="*/ 82800 h 165600"/>
              <a:gd name="connsiteX91" fmla="*/ 82526 w 165051"/>
              <a:gd name="connsiteY91" fmla="*/ 0 h 16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165051" h="165600">
                <a:moveTo>
                  <a:pt x="105887" y="98083"/>
                </a:moveTo>
                <a:cubicBezTo>
                  <a:pt x="110308" y="98083"/>
                  <a:pt x="113892" y="101649"/>
                  <a:pt x="113910" y="106089"/>
                </a:cubicBezTo>
                <a:cubicBezTo>
                  <a:pt x="113910" y="110510"/>
                  <a:pt x="110326" y="114094"/>
                  <a:pt x="105905" y="114094"/>
                </a:cubicBezTo>
                <a:cubicBezTo>
                  <a:pt x="101483" y="114094"/>
                  <a:pt x="97899" y="110528"/>
                  <a:pt x="97899" y="106107"/>
                </a:cubicBezTo>
                <a:cubicBezTo>
                  <a:pt x="97881" y="101667"/>
                  <a:pt x="101465" y="98083"/>
                  <a:pt x="105887" y="98083"/>
                </a:cubicBezTo>
                <a:close/>
                <a:moveTo>
                  <a:pt x="99955" y="74521"/>
                </a:moveTo>
                <a:lnTo>
                  <a:pt x="95188" y="75795"/>
                </a:lnTo>
                <a:cubicBezTo>
                  <a:pt x="92987" y="76377"/>
                  <a:pt x="91495" y="78451"/>
                  <a:pt x="91640" y="80744"/>
                </a:cubicBezTo>
                <a:lnTo>
                  <a:pt x="92132" y="88349"/>
                </a:lnTo>
                <a:cubicBezTo>
                  <a:pt x="90621" y="89513"/>
                  <a:pt x="89293" y="90878"/>
                  <a:pt x="88147" y="92352"/>
                </a:cubicBezTo>
                <a:lnTo>
                  <a:pt x="80524" y="91861"/>
                </a:lnTo>
                <a:cubicBezTo>
                  <a:pt x="78231" y="91715"/>
                  <a:pt x="76175" y="93207"/>
                  <a:pt x="75575" y="95408"/>
                </a:cubicBezTo>
                <a:lnTo>
                  <a:pt x="74301" y="100175"/>
                </a:lnTo>
                <a:cubicBezTo>
                  <a:pt x="73719" y="102377"/>
                  <a:pt x="74756" y="104706"/>
                  <a:pt x="76812" y="105725"/>
                </a:cubicBezTo>
                <a:lnTo>
                  <a:pt x="83671" y="109109"/>
                </a:lnTo>
                <a:cubicBezTo>
                  <a:pt x="83799" y="110019"/>
                  <a:pt x="83962" y="110946"/>
                  <a:pt x="84217" y="111874"/>
                </a:cubicBezTo>
                <a:cubicBezTo>
                  <a:pt x="84472" y="112802"/>
                  <a:pt x="84781" y="113694"/>
                  <a:pt x="85127" y="114549"/>
                </a:cubicBezTo>
                <a:lnTo>
                  <a:pt x="80887" y="120917"/>
                </a:lnTo>
                <a:cubicBezTo>
                  <a:pt x="79614" y="122827"/>
                  <a:pt x="79869" y="125356"/>
                  <a:pt x="81488" y="126976"/>
                </a:cubicBezTo>
                <a:lnTo>
                  <a:pt x="84981" y="130469"/>
                </a:lnTo>
                <a:cubicBezTo>
                  <a:pt x="86600" y="132088"/>
                  <a:pt x="89129" y="132343"/>
                  <a:pt x="91040" y="131069"/>
                </a:cubicBezTo>
                <a:lnTo>
                  <a:pt x="97408" y="126830"/>
                </a:lnTo>
                <a:cubicBezTo>
                  <a:pt x="99136" y="127540"/>
                  <a:pt x="100974" y="128049"/>
                  <a:pt x="102848" y="128304"/>
                </a:cubicBezTo>
                <a:lnTo>
                  <a:pt x="106232" y="135145"/>
                </a:lnTo>
                <a:cubicBezTo>
                  <a:pt x="107251" y="137201"/>
                  <a:pt x="109562" y="138256"/>
                  <a:pt x="111781" y="137656"/>
                </a:cubicBezTo>
                <a:lnTo>
                  <a:pt x="116548" y="136382"/>
                </a:lnTo>
                <a:cubicBezTo>
                  <a:pt x="118750" y="135800"/>
                  <a:pt x="120242" y="133726"/>
                  <a:pt x="120096" y="131433"/>
                </a:cubicBezTo>
                <a:lnTo>
                  <a:pt x="119605" y="123810"/>
                </a:lnTo>
                <a:cubicBezTo>
                  <a:pt x="121115" y="122645"/>
                  <a:pt x="122443" y="121281"/>
                  <a:pt x="123590" y="119807"/>
                </a:cubicBezTo>
                <a:lnTo>
                  <a:pt x="131231" y="120298"/>
                </a:lnTo>
                <a:cubicBezTo>
                  <a:pt x="133524" y="120444"/>
                  <a:pt x="135580" y="118952"/>
                  <a:pt x="136180" y="116750"/>
                </a:cubicBezTo>
                <a:lnTo>
                  <a:pt x="137454" y="111983"/>
                </a:lnTo>
                <a:cubicBezTo>
                  <a:pt x="138054" y="109782"/>
                  <a:pt x="136999" y="107453"/>
                  <a:pt x="134943" y="106434"/>
                </a:cubicBezTo>
                <a:lnTo>
                  <a:pt x="128084" y="103050"/>
                </a:lnTo>
                <a:cubicBezTo>
                  <a:pt x="127956" y="102122"/>
                  <a:pt x="127793" y="101212"/>
                  <a:pt x="127538" y="100285"/>
                </a:cubicBezTo>
                <a:cubicBezTo>
                  <a:pt x="127283" y="99357"/>
                  <a:pt x="126974" y="98465"/>
                  <a:pt x="126628" y="97610"/>
                </a:cubicBezTo>
                <a:lnTo>
                  <a:pt x="130867" y="91260"/>
                </a:lnTo>
                <a:cubicBezTo>
                  <a:pt x="132141" y="89368"/>
                  <a:pt x="131886" y="86821"/>
                  <a:pt x="130267" y="85201"/>
                </a:cubicBezTo>
                <a:lnTo>
                  <a:pt x="126774" y="81708"/>
                </a:lnTo>
                <a:cubicBezTo>
                  <a:pt x="125154" y="80089"/>
                  <a:pt x="122625" y="79834"/>
                  <a:pt x="120715" y="81108"/>
                </a:cubicBezTo>
                <a:lnTo>
                  <a:pt x="114347" y="85347"/>
                </a:lnTo>
                <a:cubicBezTo>
                  <a:pt x="112618" y="84637"/>
                  <a:pt x="110781" y="84128"/>
                  <a:pt x="108907" y="83873"/>
                </a:cubicBezTo>
                <a:lnTo>
                  <a:pt x="105523" y="77032"/>
                </a:lnTo>
                <a:cubicBezTo>
                  <a:pt x="104522" y="74976"/>
                  <a:pt x="102193" y="73921"/>
                  <a:pt x="99973" y="74521"/>
                </a:cubicBezTo>
                <a:close/>
                <a:moveTo>
                  <a:pt x="59309" y="51505"/>
                </a:moveTo>
                <a:cubicBezTo>
                  <a:pt x="63730" y="51505"/>
                  <a:pt x="67314" y="55090"/>
                  <a:pt x="67314" y="59511"/>
                </a:cubicBezTo>
                <a:cubicBezTo>
                  <a:pt x="67314" y="63932"/>
                  <a:pt x="63730" y="67516"/>
                  <a:pt x="59309" y="67516"/>
                </a:cubicBezTo>
                <a:cubicBezTo>
                  <a:pt x="54888" y="67516"/>
                  <a:pt x="51303" y="63932"/>
                  <a:pt x="51303" y="59511"/>
                </a:cubicBezTo>
                <a:cubicBezTo>
                  <a:pt x="51303" y="55090"/>
                  <a:pt x="54888" y="51505"/>
                  <a:pt x="59309" y="51505"/>
                </a:cubicBezTo>
                <a:close/>
                <a:moveTo>
                  <a:pt x="65222" y="27944"/>
                </a:moveTo>
                <a:cubicBezTo>
                  <a:pt x="63002" y="27361"/>
                  <a:pt x="60692" y="28399"/>
                  <a:pt x="59673" y="30455"/>
                </a:cubicBezTo>
                <a:lnTo>
                  <a:pt x="56289" y="37296"/>
                </a:lnTo>
                <a:cubicBezTo>
                  <a:pt x="54415" y="37550"/>
                  <a:pt x="52577" y="38060"/>
                  <a:pt x="50849" y="38769"/>
                </a:cubicBezTo>
                <a:lnTo>
                  <a:pt x="44481" y="34530"/>
                </a:lnTo>
                <a:cubicBezTo>
                  <a:pt x="42570" y="33256"/>
                  <a:pt x="40041" y="33511"/>
                  <a:pt x="38422" y="35130"/>
                </a:cubicBezTo>
                <a:lnTo>
                  <a:pt x="34928" y="38624"/>
                </a:lnTo>
                <a:cubicBezTo>
                  <a:pt x="33309" y="40243"/>
                  <a:pt x="33054" y="42772"/>
                  <a:pt x="34328" y="44683"/>
                </a:cubicBezTo>
                <a:lnTo>
                  <a:pt x="38567" y="51032"/>
                </a:lnTo>
                <a:cubicBezTo>
                  <a:pt x="38203" y="51887"/>
                  <a:pt x="37912" y="52779"/>
                  <a:pt x="37658" y="53707"/>
                </a:cubicBezTo>
                <a:cubicBezTo>
                  <a:pt x="37421" y="54635"/>
                  <a:pt x="37239" y="55545"/>
                  <a:pt x="37112" y="56472"/>
                </a:cubicBezTo>
                <a:lnTo>
                  <a:pt x="30253" y="59857"/>
                </a:lnTo>
                <a:cubicBezTo>
                  <a:pt x="28197" y="60875"/>
                  <a:pt x="27159" y="63204"/>
                  <a:pt x="27742" y="65406"/>
                </a:cubicBezTo>
                <a:lnTo>
                  <a:pt x="29015" y="70173"/>
                </a:lnTo>
                <a:cubicBezTo>
                  <a:pt x="29616" y="72374"/>
                  <a:pt x="31690" y="73866"/>
                  <a:pt x="33964" y="73721"/>
                </a:cubicBezTo>
                <a:lnTo>
                  <a:pt x="41606" y="73229"/>
                </a:lnTo>
                <a:cubicBezTo>
                  <a:pt x="42752" y="74721"/>
                  <a:pt x="44080" y="76068"/>
                  <a:pt x="45590" y="77232"/>
                </a:cubicBezTo>
                <a:lnTo>
                  <a:pt x="45099" y="84856"/>
                </a:lnTo>
                <a:cubicBezTo>
                  <a:pt x="44954" y="87130"/>
                  <a:pt x="46427" y="89204"/>
                  <a:pt x="48647" y="89805"/>
                </a:cubicBezTo>
                <a:lnTo>
                  <a:pt x="53414" y="91078"/>
                </a:lnTo>
                <a:cubicBezTo>
                  <a:pt x="55615" y="91660"/>
                  <a:pt x="57944" y="90623"/>
                  <a:pt x="58963" y="88567"/>
                </a:cubicBezTo>
                <a:lnTo>
                  <a:pt x="62347" y="81726"/>
                </a:lnTo>
                <a:cubicBezTo>
                  <a:pt x="64221" y="81472"/>
                  <a:pt x="66059" y="80962"/>
                  <a:pt x="67788" y="80253"/>
                </a:cubicBezTo>
                <a:lnTo>
                  <a:pt x="74156" y="84492"/>
                </a:lnTo>
                <a:cubicBezTo>
                  <a:pt x="76066" y="85765"/>
                  <a:pt x="78595" y="85511"/>
                  <a:pt x="80214" y="83891"/>
                </a:cubicBezTo>
                <a:lnTo>
                  <a:pt x="83708" y="80398"/>
                </a:lnTo>
                <a:cubicBezTo>
                  <a:pt x="85327" y="78779"/>
                  <a:pt x="85582" y="76250"/>
                  <a:pt x="84308" y="74339"/>
                </a:cubicBezTo>
                <a:lnTo>
                  <a:pt x="80069" y="67971"/>
                </a:lnTo>
                <a:cubicBezTo>
                  <a:pt x="80414" y="67116"/>
                  <a:pt x="80742" y="66206"/>
                  <a:pt x="80978" y="65297"/>
                </a:cubicBezTo>
                <a:cubicBezTo>
                  <a:pt x="81215" y="64387"/>
                  <a:pt x="81397" y="63459"/>
                  <a:pt x="81524" y="62531"/>
                </a:cubicBezTo>
                <a:lnTo>
                  <a:pt x="88384" y="59147"/>
                </a:lnTo>
                <a:cubicBezTo>
                  <a:pt x="90439" y="58128"/>
                  <a:pt x="91477" y="55799"/>
                  <a:pt x="90894" y="53598"/>
                </a:cubicBezTo>
                <a:lnTo>
                  <a:pt x="89621" y="48831"/>
                </a:lnTo>
                <a:cubicBezTo>
                  <a:pt x="89020" y="46629"/>
                  <a:pt x="86946" y="45137"/>
                  <a:pt x="84672" y="45283"/>
                </a:cubicBezTo>
                <a:lnTo>
                  <a:pt x="77030" y="45774"/>
                </a:lnTo>
                <a:cubicBezTo>
                  <a:pt x="75884" y="44282"/>
                  <a:pt x="74556" y="42936"/>
                  <a:pt x="73046" y="41771"/>
                </a:cubicBezTo>
                <a:lnTo>
                  <a:pt x="73537" y="34166"/>
                </a:lnTo>
                <a:cubicBezTo>
                  <a:pt x="73682" y="31892"/>
                  <a:pt x="72191" y="29818"/>
                  <a:pt x="69989" y="29217"/>
                </a:cubicBezTo>
                <a:close/>
                <a:moveTo>
                  <a:pt x="82526" y="0"/>
                </a:moveTo>
                <a:cubicBezTo>
                  <a:pt x="128103" y="0"/>
                  <a:pt x="165051" y="37071"/>
                  <a:pt x="165051" y="82800"/>
                </a:cubicBezTo>
                <a:cubicBezTo>
                  <a:pt x="165051" y="128529"/>
                  <a:pt x="128103" y="165600"/>
                  <a:pt x="82526" y="165600"/>
                </a:cubicBezTo>
                <a:cubicBezTo>
                  <a:pt x="36948" y="165600"/>
                  <a:pt x="0" y="128529"/>
                  <a:pt x="0" y="82800"/>
                </a:cubicBezTo>
                <a:cubicBezTo>
                  <a:pt x="0" y="37071"/>
                  <a:pt x="36948" y="0"/>
                  <a:pt x="82526" y="0"/>
                </a:cubicBezTo>
                <a:close/>
              </a:path>
            </a:pathLst>
          </a:custGeom>
          <a:solidFill>
            <a:srgbClr val="FFC000"/>
          </a:solidFill>
          <a:ln w="179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75" name="Forma libre 74">
            <a:extLst>
              <a:ext uri="{FF2B5EF4-FFF2-40B4-BE49-F238E27FC236}">
                <a16:creationId xmlns:a16="http://schemas.microsoft.com/office/drawing/2014/main" id="{A787B358-DD25-E427-8399-F81B60642979}"/>
              </a:ext>
            </a:extLst>
          </p:cNvPr>
          <p:cNvSpPr/>
          <p:nvPr/>
        </p:nvSpPr>
        <p:spPr>
          <a:xfrm>
            <a:off x="4910110" y="2864563"/>
            <a:ext cx="162047" cy="162586"/>
          </a:xfrm>
          <a:custGeom>
            <a:avLst/>
            <a:gdLst>
              <a:gd name="connsiteX0" fmla="*/ 105887 w 165051"/>
              <a:gd name="connsiteY0" fmla="*/ 98083 h 165600"/>
              <a:gd name="connsiteX1" fmla="*/ 113910 w 165051"/>
              <a:gd name="connsiteY1" fmla="*/ 106089 h 165600"/>
              <a:gd name="connsiteX2" fmla="*/ 105905 w 165051"/>
              <a:gd name="connsiteY2" fmla="*/ 114094 h 165600"/>
              <a:gd name="connsiteX3" fmla="*/ 97899 w 165051"/>
              <a:gd name="connsiteY3" fmla="*/ 106107 h 165600"/>
              <a:gd name="connsiteX4" fmla="*/ 105887 w 165051"/>
              <a:gd name="connsiteY4" fmla="*/ 98083 h 165600"/>
              <a:gd name="connsiteX5" fmla="*/ 99955 w 165051"/>
              <a:gd name="connsiteY5" fmla="*/ 74521 h 165600"/>
              <a:gd name="connsiteX6" fmla="*/ 95188 w 165051"/>
              <a:gd name="connsiteY6" fmla="*/ 75795 h 165600"/>
              <a:gd name="connsiteX7" fmla="*/ 91640 w 165051"/>
              <a:gd name="connsiteY7" fmla="*/ 80744 h 165600"/>
              <a:gd name="connsiteX8" fmla="*/ 92132 w 165051"/>
              <a:gd name="connsiteY8" fmla="*/ 88349 h 165600"/>
              <a:gd name="connsiteX9" fmla="*/ 88147 w 165051"/>
              <a:gd name="connsiteY9" fmla="*/ 92352 h 165600"/>
              <a:gd name="connsiteX10" fmla="*/ 80524 w 165051"/>
              <a:gd name="connsiteY10" fmla="*/ 91861 h 165600"/>
              <a:gd name="connsiteX11" fmla="*/ 75575 w 165051"/>
              <a:gd name="connsiteY11" fmla="*/ 95408 h 165600"/>
              <a:gd name="connsiteX12" fmla="*/ 74301 w 165051"/>
              <a:gd name="connsiteY12" fmla="*/ 100175 h 165600"/>
              <a:gd name="connsiteX13" fmla="*/ 76812 w 165051"/>
              <a:gd name="connsiteY13" fmla="*/ 105725 h 165600"/>
              <a:gd name="connsiteX14" fmla="*/ 83671 w 165051"/>
              <a:gd name="connsiteY14" fmla="*/ 109109 h 165600"/>
              <a:gd name="connsiteX15" fmla="*/ 84217 w 165051"/>
              <a:gd name="connsiteY15" fmla="*/ 111874 h 165600"/>
              <a:gd name="connsiteX16" fmla="*/ 85127 w 165051"/>
              <a:gd name="connsiteY16" fmla="*/ 114549 h 165600"/>
              <a:gd name="connsiteX17" fmla="*/ 80887 w 165051"/>
              <a:gd name="connsiteY17" fmla="*/ 120917 h 165600"/>
              <a:gd name="connsiteX18" fmla="*/ 81488 w 165051"/>
              <a:gd name="connsiteY18" fmla="*/ 126976 h 165600"/>
              <a:gd name="connsiteX19" fmla="*/ 84981 w 165051"/>
              <a:gd name="connsiteY19" fmla="*/ 130469 h 165600"/>
              <a:gd name="connsiteX20" fmla="*/ 91040 w 165051"/>
              <a:gd name="connsiteY20" fmla="*/ 131069 h 165600"/>
              <a:gd name="connsiteX21" fmla="*/ 97408 w 165051"/>
              <a:gd name="connsiteY21" fmla="*/ 126830 h 165600"/>
              <a:gd name="connsiteX22" fmla="*/ 102848 w 165051"/>
              <a:gd name="connsiteY22" fmla="*/ 128304 h 165600"/>
              <a:gd name="connsiteX23" fmla="*/ 106232 w 165051"/>
              <a:gd name="connsiteY23" fmla="*/ 135145 h 165600"/>
              <a:gd name="connsiteX24" fmla="*/ 111781 w 165051"/>
              <a:gd name="connsiteY24" fmla="*/ 137656 h 165600"/>
              <a:gd name="connsiteX25" fmla="*/ 116548 w 165051"/>
              <a:gd name="connsiteY25" fmla="*/ 136382 h 165600"/>
              <a:gd name="connsiteX26" fmla="*/ 120096 w 165051"/>
              <a:gd name="connsiteY26" fmla="*/ 131433 h 165600"/>
              <a:gd name="connsiteX27" fmla="*/ 119605 w 165051"/>
              <a:gd name="connsiteY27" fmla="*/ 123810 h 165600"/>
              <a:gd name="connsiteX28" fmla="*/ 123590 w 165051"/>
              <a:gd name="connsiteY28" fmla="*/ 119807 h 165600"/>
              <a:gd name="connsiteX29" fmla="*/ 131231 w 165051"/>
              <a:gd name="connsiteY29" fmla="*/ 120298 h 165600"/>
              <a:gd name="connsiteX30" fmla="*/ 136180 w 165051"/>
              <a:gd name="connsiteY30" fmla="*/ 116750 h 165600"/>
              <a:gd name="connsiteX31" fmla="*/ 137454 w 165051"/>
              <a:gd name="connsiteY31" fmla="*/ 111983 h 165600"/>
              <a:gd name="connsiteX32" fmla="*/ 134943 w 165051"/>
              <a:gd name="connsiteY32" fmla="*/ 106434 h 165600"/>
              <a:gd name="connsiteX33" fmla="*/ 128084 w 165051"/>
              <a:gd name="connsiteY33" fmla="*/ 103050 h 165600"/>
              <a:gd name="connsiteX34" fmla="*/ 127538 w 165051"/>
              <a:gd name="connsiteY34" fmla="*/ 100285 h 165600"/>
              <a:gd name="connsiteX35" fmla="*/ 126628 w 165051"/>
              <a:gd name="connsiteY35" fmla="*/ 97610 h 165600"/>
              <a:gd name="connsiteX36" fmla="*/ 130867 w 165051"/>
              <a:gd name="connsiteY36" fmla="*/ 91260 h 165600"/>
              <a:gd name="connsiteX37" fmla="*/ 130267 w 165051"/>
              <a:gd name="connsiteY37" fmla="*/ 85201 h 165600"/>
              <a:gd name="connsiteX38" fmla="*/ 126774 w 165051"/>
              <a:gd name="connsiteY38" fmla="*/ 81708 h 165600"/>
              <a:gd name="connsiteX39" fmla="*/ 120715 w 165051"/>
              <a:gd name="connsiteY39" fmla="*/ 81108 h 165600"/>
              <a:gd name="connsiteX40" fmla="*/ 114347 w 165051"/>
              <a:gd name="connsiteY40" fmla="*/ 85347 h 165600"/>
              <a:gd name="connsiteX41" fmla="*/ 108907 w 165051"/>
              <a:gd name="connsiteY41" fmla="*/ 83873 h 165600"/>
              <a:gd name="connsiteX42" fmla="*/ 105523 w 165051"/>
              <a:gd name="connsiteY42" fmla="*/ 77032 h 165600"/>
              <a:gd name="connsiteX43" fmla="*/ 99973 w 165051"/>
              <a:gd name="connsiteY43" fmla="*/ 74521 h 165600"/>
              <a:gd name="connsiteX44" fmla="*/ 59309 w 165051"/>
              <a:gd name="connsiteY44" fmla="*/ 51505 h 165600"/>
              <a:gd name="connsiteX45" fmla="*/ 67314 w 165051"/>
              <a:gd name="connsiteY45" fmla="*/ 59511 h 165600"/>
              <a:gd name="connsiteX46" fmla="*/ 59309 w 165051"/>
              <a:gd name="connsiteY46" fmla="*/ 67516 h 165600"/>
              <a:gd name="connsiteX47" fmla="*/ 51303 w 165051"/>
              <a:gd name="connsiteY47" fmla="*/ 59511 h 165600"/>
              <a:gd name="connsiteX48" fmla="*/ 59309 w 165051"/>
              <a:gd name="connsiteY48" fmla="*/ 51505 h 165600"/>
              <a:gd name="connsiteX49" fmla="*/ 65222 w 165051"/>
              <a:gd name="connsiteY49" fmla="*/ 27944 h 165600"/>
              <a:gd name="connsiteX50" fmla="*/ 59673 w 165051"/>
              <a:gd name="connsiteY50" fmla="*/ 30455 h 165600"/>
              <a:gd name="connsiteX51" fmla="*/ 56289 w 165051"/>
              <a:gd name="connsiteY51" fmla="*/ 37296 h 165600"/>
              <a:gd name="connsiteX52" fmla="*/ 50849 w 165051"/>
              <a:gd name="connsiteY52" fmla="*/ 38769 h 165600"/>
              <a:gd name="connsiteX53" fmla="*/ 44481 w 165051"/>
              <a:gd name="connsiteY53" fmla="*/ 34530 h 165600"/>
              <a:gd name="connsiteX54" fmla="*/ 38422 w 165051"/>
              <a:gd name="connsiteY54" fmla="*/ 35130 h 165600"/>
              <a:gd name="connsiteX55" fmla="*/ 34928 w 165051"/>
              <a:gd name="connsiteY55" fmla="*/ 38624 h 165600"/>
              <a:gd name="connsiteX56" fmla="*/ 34328 w 165051"/>
              <a:gd name="connsiteY56" fmla="*/ 44683 h 165600"/>
              <a:gd name="connsiteX57" fmla="*/ 38567 w 165051"/>
              <a:gd name="connsiteY57" fmla="*/ 51032 h 165600"/>
              <a:gd name="connsiteX58" fmla="*/ 37658 w 165051"/>
              <a:gd name="connsiteY58" fmla="*/ 53707 h 165600"/>
              <a:gd name="connsiteX59" fmla="*/ 37112 w 165051"/>
              <a:gd name="connsiteY59" fmla="*/ 56472 h 165600"/>
              <a:gd name="connsiteX60" fmla="*/ 30253 w 165051"/>
              <a:gd name="connsiteY60" fmla="*/ 59857 h 165600"/>
              <a:gd name="connsiteX61" fmla="*/ 27742 w 165051"/>
              <a:gd name="connsiteY61" fmla="*/ 65406 h 165600"/>
              <a:gd name="connsiteX62" fmla="*/ 29015 w 165051"/>
              <a:gd name="connsiteY62" fmla="*/ 70173 h 165600"/>
              <a:gd name="connsiteX63" fmla="*/ 33964 w 165051"/>
              <a:gd name="connsiteY63" fmla="*/ 73721 h 165600"/>
              <a:gd name="connsiteX64" fmla="*/ 41606 w 165051"/>
              <a:gd name="connsiteY64" fmla="*/ 73229 h 165600"/>
              <a:gd name="connsiteX65" fmla="*/ 45590 w 165051"/>
              <a:gd name="connsiteY65" fmla="*/ 77232 h 165600"/>
              <a:gd name="connsiteX66" fmla="*/ 45099 w 165051"/>
              <a:gd name="connsiteY66" fmla="*/ 84856 h 165600"/>
              <a:gd name="connsiteX67" fmla="*/ 48647 w 165051"/>
              <a:gd name="connsiteY67" fmla="*/ 89805 h 165600"/>
              <a:gd name="connsiteX68" fmla="*/ 53414 w 165051"/>
              <a:gd name="connsiteY68" fmla="*/ 91078 h 165600"/>
              <a:gd name="connsiteX69" fmla="*/ 58963 w 165051"/>
              <a:gd name="connsiteY69" fmla="*/ 88567 h 165600"/>
              <a:gd name="connsiteX70" fmla="*/ 62347 w 165051"/>
              <a:gd name="connsiteY70" fmla="*/ 81726 h 165600"/>
              <a:gd name="connsiteX71" fmla="*/ 67788 w 165051"/>
              <a:gd name="connsiteY71" fmla="*/ 80253 h 165600"/>
              <a:gd name="connsiteX72" fmla="*/ 74156 w 165051"/>
              <a:gd name="connsiteY72" fmla="*/ 84492 h 165600"/>
              <a:gd name="connsiteX73" fmla="*/ 80214 w 165051"/>
              <a:gd name="connsiteY73" fmla="*/ 83891 h 165600"/>
              <a:gd name="connsiteX74" fmla="*/ 83708 w 165051"/>
              <a:gd name="connsiteY74" fmla="*/ 80398 h 165600"/>
              <a:gd name="connsiteX75" fmla="*/ 84308 w 165051"/>
              <a:gd name="connsiteY75" fmla="*/ 74339 h 165600"/>
              <a:gd name="connsiteX76" fmla="*/ 80069 w 165051"/>
              <a:gd name="connsiteY76" fmla="*/ 67971 h 165600"/>
              <a:gd name="connsiteX77" fmla="*/ 80978 w 165051"/>
              <a:gd name="connsiteY77" fmla="*/ 65297 h 165600"/>
              <a:gd name="connsiteX78" fmla="*/ 81524 w 165051"/>
              <a:gd name="connsiteY78" fmla="*/ 62531 h 165600"/>
              <a:gd name="connsiteX79" fmla="*/ 88384 w 165051"/>
              <a:gd name="connsiteY79" fmla="*/ 59147 h 165600"/>
              <a:gd name="connsiteX80" fmla="*/ 90894 w 165051"/>
              <a:gd name="connsiteY80" fmla="*/ 53598 h 165600"/>
              <a:gd name="connsiteX81" fmla="*/ 89621 w 165051"/>
              <a:gd name="connsiteY81" fmla="*/ 48831 h 165600"/>
              <a:gd name="connsiteX82" fmla="*/ 84672 w 165051"/>
              <a:gd name="connsiteY82" fmla="*/ 45283 h 165600"/>
              <a:gd name="connsiteX83" fmla="*/ 77030 w 165051"/>
              <a:gd name="connsiteY83" fmla="*/ 45774 h 165600"/>
              <a:gd name="connsiteX84" fmla="*/ 73046 w 165051"/>
              <a:gd name="connsiteY84" fmla="*/ 41771 h 165600"/>
              <a:gd name="connsiteX85" fmla="*/ 73537 w 165051"/>
              <a:gd name="connsiteY85" fmla="*/ 34166 h 165600"/>
              <a:gd name="connsiteX86" fmla="*/ 69989 w 165051"/>
              <a:gd name="connsiteY86" fmla="*/ 29217 h 165600"/>
              <a:gd name="connsiteX87" fmla="*/ 82526 w 165051"/>
              <a:gd name="connsiteY87" fmla="*/ 0 h 165600"/>
              <a:gd name="connsiteX88" fmla="*/ 165051 w 165051"/>
              <a:gd name="connsiteY88" fmla="*/ 82800 h 165600"/>
              <a:gd name="connsiteX89" fmla="*/ 82526 w 165051"/>
              <a:gd name="connsiteY89" fmla="*/ 165600 h 165600"/>
              <a:gd name="connsiteX90" fmla="*/ 0 w 165051"/>
              <a:gd name="connsiteY90" fmla="*/ 82800 h 165600"/>
              <a:gd name="connsiteX91" fmla="*/ 82526 w 165051"/>
              <a:gd name="connsiteY91" fmla="*/ 0 h 16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165051" h="165600">
                <a:moveTo>
                  <a:pt x="105887" y="98083"/>
                </a:moveTo>
                <a:cubicBezTo>
                  <a:pt x="110308" y="98083"/>
                  <a:pt x="113892" y="101649"/>
                  <a:pt x="113910" y="106089"/>
                </a:cubicBezTo>
                <a:cubicBezTo>
                  <a:pt x="113910" y="110510"/>
                  <a:pt x="110326" y="114094"/>
                  <a:pt x="105905" y="114094"/>
                </a:cubicBezTo>
                <a:cubicBezTo>
                  <a:pt x="101483" y="114094"/>
                  <a:pt x="97899" y="110528"/>
                  <a:pt x="97899" y="106107"/>
                </a:cubicBezTo>
                <a:cubicBezTo>
                  <a:pt x="97881" y="101667"/>
                  <a:pt x="101465" y="98083"/>
                  <a:pt x="105887" y="98083"/>
                </a:cubicBezTo>
                <a:close/>
                <a:moveTo>
                  <a:pt x="99955" y="74521"/>
                </a:moveTo>
                <a:lnTo>
                  <a:pt x="95188" y="75795"/>
                </a:lnTo>
                <a:cubicBezTo>
                  <a:pt x="92987" y="76377"/>
                  <a:pt x="91495" y="78451"/>
                  <a:pt x="91640" y="80744"/>
                </a:cubicBezTo>
                <a:lnTo>
                  <a:pt x="92132" y="88349"/>
                </a:lnTo>
                <a:cubicBezTo>
                  <a:pt x="90621" y="89513"/>
                  <a:pt x="89293" y="90878"/>
                  <a:pt x="88147" y="92352"/>
                </a:cubicBezTo>
                <a:lnTo>
                  <a:pt x="80524" y="91861"/>
                </a:lnTo>
                <a:cubicBezTo>
                  <a:pt x="78231" y="91715"/>
                  <a:pt x="76175" y="93207"/>
                  <a:pt x="75575" y="95408"/>
                </a:cubicBezTo>
                <a:lnTo>
                  <a:pt x="74301" y="100175"/>
                </a:lnTo>
                <a:cubicBezTo>
                  <a:pt x="73719" y="102377"/>
                  <a:pt x="74756" y="104706"/>
                  <a:pt x="76812" y="105725"/>
                </a:cubicBezTo>
                <a:lnTo>
                  <a:pt x="83671" y="109109"/>
                </a:lnTo>
                <a:cubicBezTo>
                  <a:pt x="83799" y="110019"/>
                  <a:pt x="83962" y="110946"/>
                  <a:pt x="84217" y="111874"/>
                </a:cubicBezTo>
                <a:cubicBezTo>
                  <a:pt x="84472" y="112802"/>
                  <a:pt x="84781" y="113694"/>
                  <a:pt x="85127" y="114549"/>
                </a:cubicBezTo>
                <a:lnTo>
                  <a:pt x="80887" y="120917"/>
                </a:lnTo>
                <a:cubicBezTo>
                  <a:pt x="79614" y="122827"/>
                  <a:pt x="79869" y="125356"/>
                  <a:pt x="81488" y="126976"/>
                </a:cubicBezTo>
                <a:lnTo>
                  <a:pt x="84981" y="130469"/>
                </a:lnTo>
                <a:cubicBezTo>
                  <a:pt x="86600" y="132088"/>
                  <a:pt x="89129" y="132343"/>
                  <a:pt x="91040" y="131069"/>
                </a:cubicBezTo>
                <a:lnTo>
                  <a:pt x="97408" y="126830"/>
                </a:lnTo>
                <a:cubicBezTo>
                  <a:pt x="99136" y="127540"/>
                  <a:pt x="100974" y="128049"/>
                  <a:pt x="102848" y="128304"/>
                </a:cubicBezTo>
                <a:lnTo>
                  <a:pt x="106232" y="135145"/>
                </a:lnTo>
                <a:cubicBezTo>
                  <a:pt x="107251" y="137201"/>
                  <a:pt x="109562" y="138256"/>
                  <a:pt x="111781" y="137656"/>
                </a:cubicBezTo>
                <a:lnTo>
                  <a:pt x="116548" y="136382"/>
                </a:lnTo>
                <a:cubicBezTo>
                  <a:pt x="118750" y="135800"/>
                  <a:pt x="120242" y="133726"/>
                  <a:pt x="120096" y="131433"/>
                </a:cubicBezTo>
                <a:lnTo>
                  <a:pt x="119605" y="123810"/>
                </a:lnTo>
                <a:cubicBezTo>
                  <a:pt x="121115" y="122645"/>
                  <a:pt x="122443" y="121281"/>
                  <a:pt x="123590" y="119807"/>
                </a:cubicBezTo>
                <a:lnTo>
                  <a:pt x="131231" y="120298"/>
                </a:lnTo>
                <a:cubicBezTo>
                  <a:pt x="133524" y="120444"/>
                  <a:pt x="135580" y="118952"/>
                  <a:pt x="136180" y="116750"/>
                </a:cubicBezTo>
                <a:lnTo>
                  <a:pt x="137454" y="111983"/>
                </a:lnTo>
                <a:cubicBezTo>
                  <a:pt x="138054" y="109782"/>
                  <a:pt x="136999" y="107453"/>
                  <a:pt x="134943" y="106434"/>
                </a:cubicBezTo>
                <a:lnTo>
                  <a:pt x="128084" y="103050"/>
                </a:lnTo>
                <a:cubicBezTo>
                  <a:pt x="127956" y="102122"/>
                  <a:pt x="127793" y="101212"/>
                  <a:pt x="127538" y="100285"/>
                </a:cubicBezTo>
                <a:cubicBezTo>
                  <a:pt x="127283" y="99357"/>
                  <a:pt x="126974" y="98465"/>
                  <a:pt x="126628" y="97610"/>
                </a:cubicBezTo>
                <a:lnTo>
                  <a:pt x="130867" y="91260"/>
                </a:lnTo>
                <a:cubicBezTo>
                  <a:pt x="132141" y="89368"/>
                  <a:pt x="131886" y="86821"/>
                  <a:pt x="130267" y="85201"/>
                </a:cubicBezTo>
                <a:lnTo>
                  <a:pt x="126774" y="81708"/>
                </a:lnTo>
                <a:cubicBezTo>
                  <a:pt x="125154" y="80089"/>
                  <a:pt x="122625" y="79834"/>
                  <a:pt x="120715" y="81108"/>
                </a:cubicBezTo>
                <a:lnTo>
                  <a:pt x="114347" y="85347"/>
                </a:lnTo>
                <a:cubicBezTo>
                  <a:pt x="112618" y="84637"/>
                  <a:pt x="110781" y="84128"/>
                  <a:pt x="108907" y="83873"/>
                </a:cubicBezTo>
                <a:lnTo>
                  <a:pt x="105523" y="77032"/>
                </a:lnTo>
                <a:cubicBezTo>
                  <a:pt x="104522" y="74976"/>
                  <a:pt x="102193" y="73921"/>
                  <a:pt x="99973" y="74521"/>
                </a:cubicBezTo>
                <a:close/>
                <a:moveTo>
                  <a:pt x="59309" y="51505"/>
                </a:moveTo>
                <a:cubicBezTo>
                  <a:pt x="63730" y="51505"/>
                  <a:pt x="67314" y="55090"/>
                  <a:pt x="67314" y="59511"/>
                </a:cubicBezTo>
                <a:cubicBezTo>
                  <a:pt x="67314" y="63932"/>
                  <a:pt x="63730" y="67516"/>
                  <a:pt x="59309" y="67516"/>
                </a:cubicBezTo>
                <a:cubicBezTo>
                  <a:pt x="54888" y="67516"/>
                  <a:pt x="51303" y="63932"/>
                  <a:pt x="51303" y="59511"/>
                </a:cubicBezTo>
                <a:cubicBezTo>
                  <a:pt x="51303" y="55090"/>
                  <a:pt x="54888" y="51505"/>
                  <a:pt x="59309" y="51505"/>
                </a:cubicBezTo>
                <a:close/>
                <a:moveTo>
                  <a:pt x="65222" y="27944"/>
                </a:moveTo>
                <a:cubicBezTo>
                  <a:pt x="63002" y="27361"/>
                  <a:pt x="60692" y="28399"/>
                  <a:pt x="59673" y="30455"/>
                </a:cubicBezTo>
                <a:lnTo>
                  <a:pt x="56289" y="37296"/>
                </a:lnTo>
                <a:cubicBezTo>
                  <a:pt x="54415" y="37550"/>
                  <a:pt x="52577" y="38060"/>
                  <a:pt x="50849" y="38769"/>
                </a:cubicBezTo>
                <a:lnTo>
                  <a:pt x="44481" y="34530"/>
                </a:lnTo>
                <a:cubicBezTo>
                  <a:pt x="42570" y="33256"/>
                  <a:pt x="40041" y="33511"/>
                  <a:pt x="38422" y="35130"/>
                </a:cubicBezTo>
                <a:lnTo>
                  <a:pt x="34928" y="38624"/>
                </a:lnTo>
                <a:cubicBezTo>
                  <a:pt x="33309" y="40243"/>
                  <a:pt x="33054" y="42772"/>
                  <a:pt x="34328" y="44683"/>
                </a:cubicBezTo>
                <a:lnTo>
                  <a:pt x="38567" y="51032"/>
                </a:lnTo>
                <a:cubicBezTo>
                  <a:pt x="38203" y="51887"/>
                  <a:pt x="37912" y="52779"/>
                  <a:pt x="37658" y="53707"/>
                </a:cubicBezTo>
                <a:cubicBezTo>
                  <a:pt x="37421" y="54635"/>
                  <a:pt x="37239" y="55545"/>
                  <a:pt x="37112" y="56472"/>
                </a:cubicBezTo>
                <a:lnTo>
                  <a:pt x="30253" y="59857"/>
                </a:lnTo>
                <a:cubicBezTo>
                  <a:pt x="28197" y="60875"/>
                  <a:pt x="27159" y="63204"/>
                  <a:pt x="27742" y="65406"/>
                </a:cubicBezTo>
                <a:lnTo>
                  <a:pt x="29015" y="70173"/>
                </a:lnTo>
                <a:cubicBezTo>
                  <a:pt x="29616" y="72374"/>
                  <a:pt x="31690" y="73866"/>
                  <a:pt x="33964" y="73721"/>
                </a:cubicBezTo>
                <a:lnTo>
                  <a:pt x="41606" y="73229"/>
                </a:lnTo>
                <a:cubicBezTo>
                  <a:pt x="42752" y="74721"/>
                  <a:pt x="44080" y="76068"/>
                  <a:pt x="45590" y="77232"/>
                </a:cubicBezTo>
                <a:lnTo>
                  <a:pt x="45099" y="84856"/>
                </a:lnTo>
                <a:cubicBezTo>
                  <a:pt x="44954" y="87130"/>
                  <a:pt x="46427" y="89204"/>
                  <a:pt x="48647" y="89805"/>
                </a:cubicBezTo>
                <a:lnTo>
                  <a:pt x="53414" y="91078"/>
                </a:lnTo>
                <a:cubicBezTo>
                  <a:pt x="55615" y="91660"/>
                  <a:pt x="57944" y="90623"/>
                  <a:pt x="58963" y="88567"/>
                </a:cubicBezTo>
                <a:lnTo>
                  <a:pt x="62347" y="81726"/>
                </a:lnTo>
                <a:cubicBezTo>
                  <a:pt x="64221" y="81472"/>
                  <a:pt x="66059" y="80962"/>
                  <a:pt x="67788" y="80253"/>
                </a:cubicBezTo>
                <a:lnTo>
                  <a:pt x="74156" y="84492"/>
                </a:lnTo>
                <a:cubicBezTo>
                  <a:pt x="76066" y="85765"/>
                  <a:pt x="78595" y="85511"/>
                  <a:pt x="80214" y="83891"/>
                </a:cubicBezTo>
                <a:lnTo>
                  <a:pt x="83708" y="80398"/>
                </a:lnTo>
                <a:cubicBezTo>
                  <a:pt x="85327" y="78779"/>
                  <a:pt x="85582" y="76250"/>
                  <a:pt x="84308" y="74339"/>
                </a:cubicBezTo>
                <a:lnTo>
                  <a:pt x="80069" y="67971"/>
                </a:lnTo>
                <a:cubicBezTo>
                  <a:pt x="80414" y="67116"/>
                  <a:pt x="80742" y="66206"/>
                  <a:pt x="80978" y="65297"/>
                </a:cubicBezTo>
                <a:cubicBezTo>
                  <a:pt x="81215" y="64387"/>
                  <a:pt x="81397" y="63459"/>
                  <a:pt x="81524" y="62531"/>
                </a:cubicBezTo>
                <a:lnTo>
                  <a:pt x="88384" y="59147"/>
                </a:lnTo>
                <a:cubicBezTo>
                  <a:pt x="90439" y="58128"/>
                  <a:pt x="91477" y="55799"/>
                  <a:pt x="90894" y="53598"/>
                </a:cubicBezTo>
                <a:lnTo>
                  <a:pt x="89621" y="48831"/>
                </a:lnTo>
                <a:cubicBezTo>
                  <a:pt x="89020" y="46629"/>
                  <a:pt x="86946" y="45137"/>
                  <a:pt x="84672" y="45283"/>
                </a:cubicBezTo>
                <a:lnTo>
                  <a:pt x="77030" y="45774"/>
                </a:lnTo>
                <a:cubicBezTo>
                  <a:pt x="75884" y="44282"/>
                  <a:pt x="74556" y="42936"/>
                  <a:pt x="73046" y="41771"/>
                </a:cubicBezTo>
                <a:lnTo>
                  <a:pt x="73537" y="34166"/>
                </a:lnTo>
                <a:cubicBezTo>
                  <a:pt x="73682" y="31892"/>
                  <a:pt x="72191" y="29818"/>
                  <a:pt x="69989" y="29217"/>
                </a:cubicBezTo>
                <a:close/>
                <a:moveTo>
                  <a:pt x="82526" y="0"/>
                </a:moveTo>
                <a:cubicBezTo>
                  <a:pt x="128103" y="0"/>
                  <a:pt x="165051" y="37071"/>
                  <a:pt x="165051" y="82800"/>
                </a:cubicBezTo>
                <a:cubicBezTo>
                  <a:pt x="165051" y="128529"/>
                  <a:pt x="128103" y="165600"/>
                  <a:pt x="82526" y="165600"/>
                </a:cubicBezTo>
                <a:cubicBezTo>
                  <a:pt x="36948" y="165600"/>
                  <a:pt x="0" y="128529"/>
                  <a:pt x="0" y="82800"/>
                </a:cubicBezTo>
                <a:cubicBezTo>
                  <a:pt x="0" y="37071"/>
                  <a:pt x="36948" y="0"/>
                  <a:pt x="82526" y="0"/>
                </a:cubicBezTo>
                <a:close/>
              </a:path>
            </a:pathLst>
          </a:custGeom>
          <a:solidFill>
            <a:srgbClr val="FFC000"/>
          </a:solidFill>
          <a:ln w="179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70" name="Forma libre 69">
            <a:extLst>
              <a:ext uri="{FF2B5EF4-FFF2-40B4-BE49-F238E27FC236}">
                <a16:creationId xmlns:a16="http://schemas.microsoft.com/office/drawing/2014/main" id="{4B1D1E9A-17D0-C5EC-B6EF-26140DC26DA7}"/>
              </a:ext>
            </a:extLst>
          </p:cNvPr>
          <p:cNvSpPr/>
          <p:nvPr/>
        </p:nvSpPr>
        <p:spPr>
          <a:xfrm>
            <a:off x="4910110" y="1874618"/>
            <a:ext cx="162047" cy="162586"/>
          </a:xfrm>
          <a:custGeom>
            <a:avLst/>
            <a:gdLst>
              <a:gd name="connsiteX0" fmla="*/ 105887 w 165051"/>
              <a:gd name="connsiteY0" fmla="*/ 98083 h 165600"/>
              <a:gd name="connsiteX1" fmla="*/ 113910 w 165051"/>
              <a:gd name="connsiteY1" fmla="*/ 106089 h 165600"/>
              <a:gd name="connsiteX2" fmla="*/ 105905 w 165051"/>
              <a:gd name="connsiteY2" fmla="*/ 114094 h 165600"/>
              <a:gd name="connsiteX3" fmla="*/ 97899 w 165051"/>
              <a:gd name="connsiteY3" fmla="*/ 106107 h 165600"/>
              <a:gd name="connsiteX4" fmla="*/ 105887 w 165051"/>
              <a:gd name="connsiteY4" fmla="*/ 98083 h 165600"/>
              <a:gd name="connsiteX5" fmla="*/ 99955 w 165051"/>
              <a:gd name="connsiteY5" fmla="*/ 74521 h 165600"/>
              <a:gd name="connsiteX6" fmla="*/ 95188 w 165051"/>
              <a:gd name="connsiteY6" fmla="*/ 75795 h 165600"/>
              <a:gd name="connsiteX7" fmla="*/ 91640 w 165051"/>
              <a:gd name="connsiteY7" fmla="*/ 80744 h 165600"/>
              <a:gd name="connsiteX8" fmla="*/ 92132 w 165051"/>
              <a:gd name="connsiteY8" fmla="*/ 88349 h 165600"/>
              <a:gd name="connsiteX9" fmla="*/ 88147 w 165051"/>
              <a:gd name="connsiteY9" fmla="*/ 92352 h 165600"/>
              <a:gd name="connsiteX10" fmla="*/ 80524 w 165051"/>
              <a:gd name="connsiteY10" fmla="*/ 91861 h 165600"/>
              <a:gd name="connsiteX11" fmla="*/ 75575 w 165051"/>
              <a:gd name="connsiteY11" fmla="*/ 95408 h 165600"/>
              <a:gd name="connsiteX12" fmla="*/ 74301 w 165051"/>
              <a:gd name="connsiteY12" fmla="*/ 100175 h 165600"/>
              <a:gd name="connsiteX13" fmla="*/ 76812 w 165051"/>
              <a:gd name="connsiteY13" fmla="*/ 105725 h 165600"/>
              <a:gd name="connsiteX14" fmla="*/ 83671 w 165051"/>
              <a:gd name="connsiteY14" fmla="*/ 109109 h 165600"/>
              <a:gd name="connsiteX15" fmla="*/ 84217 w 165051"/>
              <a:gd name="connsiteY15" fmla="*/ 111874 h 165600"/>
              <a:gd name="connsiteX16" fmla="*/ 85127 w 165051"/>
              <a:gd name="connsiteY16" fmla="*/ 114549 h 165600"/>
              <a:gd name="connsiteX17" fmla="*/ 80887 w 165051"/>
              <a:gd name="connsiteY17" fmla="*/ 120917 h 165600"/>
              <a:gd name="connsiteX18" fmla="*/ 81488 w 165051"/>
              <a:gd name="connsiteY18" fmla="*/ 126976 h 165600"/>
              <a:gd name="connsiteX19" fmla="*/ 84981 w 165051"/>
              <a:gd name="connsiteY19" fmla="*/ 130469 h 165600"/>
              <a:gd name="connsiteX20" fmla="*/ 91040 w 165051"/>
              <a:gd name="connsiteY20" fmla="*/ 131069 h 165600"/>
              <a:gd name="connsiteX21" fmla="*/ 97408 w 165051"/>
              <a:gd name="connsiteY21" fmla="*/ 126830 h 165600"/>
              <a:gd name="connsiteX22" fmla="*/ 102848 w 165051"/>
              <a:gd name="connsiteY22" fmla="*/ 128304 h 165600"/>
              <a:gd name="connsiteX23" fmla="*/ 106232 w 165051"/>
              <a:gd name="connsiteY23" fmla="*/ 135145 h 165600"/>
              <a:gd name="connsiteX24" fmla="*/ 111781 w 165051"/>
              <a:gd name="connsiteY24" fmla="*/ 137656 h 165600"/>
              <a:gd name="connsiteX25" fmla="*/ 116548 w 165051"/>
              <a:gd name="connsiteY25" fmla="*/ 136382 h 165600"/>
              <a:gd name="connsiteX26" fmla="*/ 120096 w 165051"/>
              <a:gd name="connsiteY26" fmla="*/ 131433 h 165600"/>
              <a:gd name="connsiteX27" fmla="*/ 119605 w 165051"/>
              <a:gd name="connsiteY27" fmla="*/ 123810 h 165600"/>
              <a:gd name="connsiteX28" fmla="*/ 123590 w 165051"/>
              <a:gd name="connsiteY28" fmla="*/ 119807 h 165600"/>
              <a:gd name="connsiteX29" fmla="*/ 131231 w 165051"/>
              <a:gd name="connsiteY29" fmla="*/ 120298 h 165600"/>
              <a:gd name="connsiteX30" fmla="*/ 136180 w 165051"/>
              <a:gd name="connsiteY30" fmla="*/ 116750 h 165600"/>
              <a:gd name="connsiteX31" fmla="*/ 137454 w 165051"/>
              <a:gd name="connsiteY31" fmla="*/ 111983 h 165600"/>
              <a:gd name="connsiteX32" fmla="*/ 134943 w 165051"/>
              <a:gd name="connsiteY32" fmla="*/ 106434 h 165600"/>
              <a:gd name="connsiteX33" fmla="*/ 128084 w 165051"/>
              <a:gd name="connsiteY33" fmla="*/ 103050 h 165600"/>
              <a:gd name="connsiteX34" fmla="*/ 127538 w 165051"/>
              <a:gd name="connsiteY34" fmla="*/ 100285 h 165600"/>
              <a:gd name="connsiteX35" fmla="*/ 126628 w 165051"/>
              <a:gd name="connsiteY35" fmla="*/ 97610 h 165600"/>
              <a:gd name="connsiteX36" fmla="*/ 130867 w 165051"/>
              <a:gd name="connsiteY36" fmla="*/ 91260 h 165600"/>
              <a:gd name="connsiteX37" fmla="*/ 130267 w 165051"/>
              <a:gd name="connsiteY37" fmla="*/ 85201 h 165600"/>
              <a:gd name="connsiteX38" fmla="*/ 126774 w 165051"/>
              <a:gd name="connsiteY38" fmla="*/ 81708 h 165600"/>
              <a:gd name="connsiteX39" fmla="*/ 120715 w 165051"/>
              <a:gd name="connsiteY39" fmla="*/ 81108 h 165600"/>
              <a:gd name="connsiteX40" fmla="*/ 114347 w 165051"/>
              <a:gd name="connsiteY40" fmla="*/ 85347 h 165600"/>
              <a:gd name="connsiteX41" fmla="*/ 108907 w 165051"/>
              <a:gd name="connsiteY41" fmla="*/ 83873 h 165600"/>
              <a:gd name="connsiteX42" fmla="*/ 105523 w 165051"/>
              <a:gd name="connsiteY42" fmla="*/ 77032 h 165600"/>
              <a:gd name="connsiteX43" fmla="*/ 99973 w 165051"/>
              <a:gd name="connsiteY43" fmla="*/ 74521 h 165600"/>
              <a:gd name="connsiteX44" fmla="*/ 59309 w 165051"/>
              <a:gd name="connsiteY44" fmla="*/ 51505 h 165600"/>
              <a:gd name="connsiteX45" fmla="*/ 67314 w 165051"/>
              <a:gd name="connsiteY45" fmla="*/ 59511 h 165600"/>
              <a:gd name="connsiteX46" fmla="*/ 59309 w 165051"/>
              <a:gd name="connsiteY46" fmla="*/ 67516 h 165600"/>
              <a:gd name="connsiteX47" fmla="*/ 51303 w 165051"/>
              <a:gd name="connsiteY47" fmla="*/ 59511 h 165600"/>
              <a:gd name="connsiteX48" fmla="*/ 59309 w 165051"/>
              <a:gd name="connsiteY48" fmla="*/ 51505 h 165600"/>
              <a:gd name="connsiteX49" fmla="*/ 65222 w 165051"/>
              <a:gd name="connsiteY49" fmla="*/ 27944 h 165600"/>
              <a:gd name="connsiteX50" fmla="*/ 59673 w 165051"/>
              <a:gd name="connsiteY50" fmla="*/ 30455 h 165600"/>
              <a:gd name="connsiteX51" fmla="*/ 56289 w 165051"/>
              <a:gd name="connsiteY51" fmla="*/ 37296 h 165600"/>
              <a:gd name="connsiteX52" fmla="*/ 50849 w 165051"/>
              <a:gd name="connsiteY52" fmla="*/ 38769 h 165600"/>
              <a:gd name="connsiteX53" fmla="*/ 44481 w 165051"/>
              <a:gd name="connsiteY53" fmla="*/ 34530 h 165600"/>
              <a:gd name="connsiteX54" fmla="*/ 38422 w 165051"/>
              <a:gd name="connsiteY54" fmla="*/ 35130 h 165600"/>
              <a:gd name="connsiteX55" fmla="*/ 34928 w 165051"/>
              <a:gd name="connsiteY55" fmla="*/ 38624 h 165600"/>
              <a:gd name="connsiteX56" fmla="*/ 34328 w 165051"/>
              <a:gd name="connsiteY56" fmla="*/ 44683 h 165600"/>
              <a:gd name="connsiteX57" fmla="*/ 38567 w 165051"/>
              <a:gd name="connsiteY57" fmla="*/ 51032 h 165600"/>
              <a:gd name="connsiteX58" fmla="*/ 37658 w 165051"/>
              <a:gd name="connsiteY58" fmla="*/ 53707 h 165600"/>
              <a:gd name="connsiteX59" fmla="*/ 37112 w 165051"/>
              <a:gd name="connsiteY59" fmla="*/ 56472 h 165600"/>
              <a:gd name="connsiteX60" fmla="*/ 30253 w 165051"/>
              <a:gd name="connsiteY60" fmla="*/ 59857 h 165600"/>
              <a:gd name="connsiteX61" fmla="*/ 27742 w 165051"/>
              <a:gd name="connsiteY61" fmla="*/ 65406 h 165600"/>
              <a:gd name="connsiteX62" fmla="*/ 29015 w 165051"/>
              <a:gd name="connsiteY62" fmla="*/ 70173 h 165600"/>
              <a:gd name="connsiteX63" fmla="*/ 33964 w 165051"/>
              <a:gd name="connsiteY63" fmla="*/ 73721 h 165600"/>
              <a:gd name="connsiteX64" fmla="*/ 41606 w 165051"/>
              <a:gd name="connsiteY64" fmla="*/ 73229 h 165600"/>
              <a:gd name="connsiteX65" fmla="*/ 45590 w 165051"/>
              <a:gd name="connsiteY65" fmla="*/ 77232 h 165600"/>
              <a:gd name="connsiteX66" fmla="*/ 45099 w 165051"/>
              <a:gd name="connsiteY66" fmla="*/ 84856 h 165600"/>
              <a:gd name="connsiteX67" fmla="*/ 48647 w 165051"/>
              <a:gd name="connsiteY67" fmla="*/ 89805 h 165600"/>
              <a:gd name="connsiteX68" fmla="*/ 53414 w 165051"/>
              <a:gd name="connsiteY68" fmla="*/ 91078 h 165600"/>
              <a:gd name="connsiteX69" fmla="*/ 58963 w 165051"/>
              <a:gd name="connsiteY69" fmla="*/ 88567 h 165600"/>
              <a:gd name="connsiteX70" fmla="*/ 62347 w 165051"/>
              <a:gd name="connsiteY70" fmla="*/ 81726 h 165600"/>
              <a:gd name="connsiteX71" fmla="*/ 67788 w 165051"/>
              <a:gd name="connsiteY71" fmla="*/ 80253 h 165600"/>
              <a:gd name="connsiteX72" fmla="*/ 74156 w 165051"/>
              <a:gd name="connsiteY72" fmla="*/ 84492 h 165600"/>
              <a:gd name="connsiteX73" fmla="*/ 80214 w 165051"/>
              <a:gd name="connsiteY73" fmla="*/ 83891 h 165600"/>
              <a:gd name="connsiteX74" fmla="*/ 83708 w 165051"/>
              <a:gd name="connsiteY74" fmla="*/ 80398 h 165600"/>
              <a:gd name="connsiteX75" fmla="*/ 84308 w 165051"/>
              <a:gd name="connsiteY75" fmla="*/ 74339 h 165600"/>
              <a:gd name="connsiteX76" fmla="*/ 80069 w 165051"/>
              <a:gd name="connsiteY76" fmla="*/ 67971 h 165600"/>
              <a:gd name="connsiteX77" fmla="*/ 80978 w 165051"/>
              <a:gd name="connsiteY77" fmla="*/ 65297 h 165600"/>
              <a:gd name="connsiteX78" fmla="*/ 81524 w 165051"/>
              <a:gd name="connsiteY78" fmla="*/ 62531 h 165600"/>
              <a:gd name="connsiteX79" fmla="*/ 88384 w 165051"/>
              <a:gd name="connsiteY79" fmla="*/ 59147 h 165600"/>
              <a:gd name="connsiteX80" fmla="*/ 90894 w 165051"/>
              <a:gd name="connsiteY80" fmla="*/ 53598 h 165600"/>
              <a:gd name="connsiteX81" fmla="*/ 89621 w 165051"/>
              <a:gd name="connsiteY81" fmla="*/ 48831 h 165600"/>
              <a:gd name="connsiteX82" fmla="*/ 84672 w 165051"/>
              <a:gd name="connsiteY82" fmla="*/ 45283 h 165600"/>
              <a:gd name="connsiteX83" fmla="*/ 77030 w 165051"/>
              <a:gd name="connsiteY83" fmla="*/ 45774 h 165600"/>
              <a:gd name="connsiteX84" fmla="*/ 73046 w 165051"/>
              <a:gd name="connsiteY84" fmla="*/ 41771 h 165600"/>
              <a:gd name="connsiteX85" fmla="*/ 73537 w 165051"/>
              <a:gd name="connsiteY85" fmla="*/ 34166 h 165600"/>
              <a:gd name="connsiteX86" fmla="*/ 69989 w 165051"/>
              <a:gd name="connsiteY86" fmla="*/ 29217 h 165600"/>
              <a:gd name="connsiteX87" fmla="*/ 82526 w 165051"/>
              <a:gd name="connsiteY87" fmla="*/ 0 h 165600"/>
              <a:gd name="connsiteX88" fmla="*/ 165051 w 165051"/>
              <a:gd name="connsiteY88" fmla="*/ 82800 h 165600"/>
              <a:gd name="connsiteX89" fmla="*/ 82526 w 165051"/>
              <a:gd name="connsiteY89" fmla="*/ 165600 h 165600"/>
              <a:gd name="connsiteX90" fmla="*/ 0 w 165051"/>
              <a:gd name="connsiteY90" fmla="*/ 82800 h 165600"/>
              <a:gd name="connsiteX91" fmla="*/ 82526 w 165051"/>
              <a:gd name="connsiteY91" fmla="*/ 0 h 16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165051" h="165600">
                <a:moveTo>
                  <a:pt x="105887" y="98083"/>
                </a:moveTo>
                <a:cubicBezTo>
                  <a:pt x="110308" y="98083"/>
                  <a:pt x="113892" y="101649"/>
                  <a:pt x="113910" y="106089"/>
                </a:cubicBezTo>
                <a:cubicBezTo>
                  <a:pt x="113910" y="110510"/>
                  <a:pt x="110326" y="114094"/>
                  <a:pt x="105905" y="114094"/>
                </a:cubicBezTo>
                <a:cubicBezTo>
                  <a:pt x="101483" y="114094"/>
                  <a:pt x="97899" y="110528"/>
                  <a:pt x="97899" y="106107"/>
                </a:cubicBezTo>
                <a:cubicBezTo>
                  <a:pt x="97881" y="101667"/>
                  <a:pt x="101465" y="98083"/>
                  <a:pt x="105887" y="98083"/>
                </a:cubicBezTo>
                <a:close/>
                <a:moveTo>
                  <a:pt x="99955" y="74521"/>
                </a:moveTo>
                <a:lnTo>
                  <a:pt x="95188" y="75795"/>
                </a:lnTo>
                <a:cubicBezTo>
                  <a:pt x="92987" y="76377"/>
                  <a:pt x="91495" y="78451"/>
                  <a:pt x="91640" y="80744"/>
                </a:cubicBezTo>
                <a:lnTo>
                  <a:pt x="92132" y="88349"/>
                </a:lnTo>
                <a:cubicBezTo>
                  <a:pt x="90621" y="89513"/>
                  <a:pt x="89293" y="90878"/>
                  <a:pt x="88147" y="92352"/>
                </a:cubicBezTo>
                <a:lnTo>
                  <a:pt x="80524" y="91861"/>
                </a:lnTo>
                <a:cubicBezTo>
                  <a:pt x="78231" y="91715"/>
                  <a:pt x="76175" y="93207"/>
                  <a:pt x="75575" y="95408"/>
                </a:cubicBezTo>
                <a:lnTo>
                  <a:pt x="74301" y="100175"/>
                </a:lnTo>
                <a:cubicBezTo>
                  <a:pt x="73719" y="102377"/>
                  <a:pt x="74756" y="104706"/>
                  <a:pt x="76812" y="105725"/>
                </a:cubicBezTo>
                <a:lnTo>
                  <a:pt x="83671" y="109109"/>
                </a:lnTo>
                <a:cubicBezTo>
                  <a:pt x="83799" y="110019"/>
                  <a:pt x="83962" y="110946"/>
                  <a:pt x="84217" y="111874"/>
                </a:cubicBezTo>
                <a:cubicBezTo>
                  <a:pt x="84472" y="112802"/>
                  <a:pt x="84781" y="113694"/>
                  <a:pt x="85127" y="114549"/>
                </a:cubicBezTo>
                <a:lnTo>
                  <a:pt x="80887" y="120917"/>
                </a:lnTo>
                <a:cubicBezTo>
                  <a:pt x="79614" y="122827"/>
                  <a:pt x="79869" y="125356"/>
                  <a:pt x="81488" y="126976"/>
                </a:cubicBezTo>
                <a:lnTo>
                  <a:pt x="84981" y="130469"/>
                </a:lnTo>
                <a:cubicBezTo>
                  <a:pt x="86600" y="132088"/>
                  <a:pt x="89129" y="132343"/>
                  <a:pt x="91040" y="131069"/>
                </a:cubicBezTo>
                <a:lnTo>
                  <a:pt x="97408" y="126830"/>
                </a:lnTo>
                <a:cubicBezTo>
                  <a:pt x="99136" y="127540"/>
                  <a:pt x="100974" y="128049"/>
                  <a:pt x="102848" y="128304"/>
                </a:cubicBezTo>
                <a:lnTo>
                  <a:pt x="106232" y="135145"/>
                </a:lnTo>
                <a:cubicBezTo>
                  <a:pt x="107251" y="137201"/>
                  <a:pt x="109562" y="138256"/>
                  <a:pt x="111781" y="137656"/>
                </a:cubicBezTo>
                <a:lnTo>
                  <a:pt x="116548" y="136382"/>
                </a:lnTo>
                <a:cubicBezTo>
                  <a:pt x="118750" y="135800"/>
                  <a:pt x="120242" y="133726"/>
                  <a:pt x="120096" y="131433"/>
                </a:cubicBezTo>
                <a:lnTo>
                  <a:pt x="119605" y="123810"/>
                </a:lnTo>
                <a:cubicBezTo>
                  <a:pt x="121115" y="122645"/>
                  <a:pt x="122443" y="121281"/>
                  <a:pt x="123590" y="119807"/>
                </a:cubicBezTo>
                <a:lnTo>
                  <a:pt x="131231" y="120298"/>
                </a:lnTo>
                <a:cubicBezTo>
                  <a:pt x="133524" y="120444"/>
                  <a:pt x="135580" y="118952"/>
                  <a:pt x="136180" y="116750"/>
                </a:cubicBezTo>
                <a:lnTo>
                  <a:pt x="137454" y="111983"/>
                </a:lnTo>
                <a:cubicBezTo>
                  <a:pt x="138054" y="109782"/>
                  <a:pt x="136999" y="107453"/>
                  <a:pt x="134943" y="106434"/>
                </a:cubicBezTo>
                <a:lnTo>
                  <a:pt x="128084" y="103050"/>
                </a:lnTo>
                <a:cubicBezTo>
                  <a:pt x="127956" y="102122"/>
                  <a:pt x="127793" y="101212"/>
                  <a:pt x="127538" y="100285"/>
                </a:cubicBezTo>
                <a:cubicBezTo>
                  <a:pt x="127283" y="99357"/>
                  <a:pt x="126974" y="98465"/>
                  <a:pt x="126628" y="97610"/>
                </a:cubicBezTo>
                <a:lnTo>
                  <a:pt x="130867" y="91260"/>
                </a:lnTo>
                <a:cubicBezTo>
                  <a:pt x="132141" y="89368"/>
                  <a:pt x="131886" y="86821"/>
                  <a:pt x="130267" y="85201"/>
                </a:cubicBezTo>
                <a:lnTo>
                  <a:pt x="126774" y="81708"/>
                </a:lnTo>
                <a:cubicBezTo>
                  <a:pt x="125154" y="80089"/>
                  <a:pt x="122625" y="79834"/>
                  <a:pt x="120715" y="81108"/>
                </a:cubicBezTo>
                <a:lnTo>
                  <a:pt x="114347" y="85347"/>
                </a:lnTo>
                <a:cubicBezTo>
                  <a:pt x="112618" y="84637"/>
                  <a:pt x="110781" y="84128"/>
                  <a:pt x="108907" y="83873"/>
                </a:cubicBezTo>
                <a:lnTo>
                  <a:pt x="105523" y="77032"/>
                </a:lnTo>
                <a:cubicBezTo>
                  <a:pt x="104522" y="74976"/>
                  <a:pt x="102193" y="73921"/>
                  <a:pt x="99973" y="74521"/>
                </a:cubicBezTo>
                <a:close/>
                <a:moveTo>
                  <a:pt x="59309" y="51505"/>
                </a:moveTo>
                <a:cubicBezTo>
                  <a:pt x="63730" y="51505"/>
                  <a:pt x="67314" y="55090"/>
                  <a:pt x="67314" y="59511"/>
                </a:cubicBezTo>
                <a:cubicBezTo>
                  <a:pt x="67314" y="63932"/>
                  <a:pt x="63730" y="67516"/>
                  <a:pt x="59309" y="67516"/>
                </a:cubicBezTo>
                <a:cubicBezTo>
                  <a:pt x="54888" y="67516"/>
                  <a:pt x="51303" y="63932"/>
                  <a:pt x="51303" y="59511"/>
                </a:cubicBezTo>
                <a:cubicBezTo>
                  <a:pt x="51303" y="55090"/>
                  <a:pt x="54888" y="51505"/>
                  <a:pt x="59309" y="51505"/>
                </a:cubicBezTo>
                <a:close/>
                <a:moveTo>
                  <a:pt x="65222" y="27944"/>
                </a:moveTo>
                <a:cubicBezTo>
                  <a:pt x="63002" y="27361"/>
                  <a:pt x="60692" y="28399"/>
                  <a:pt x="59673" y="30455"/>
                </a:cubicBezTo>
                <a:lnTo>
                  <a:pt x="56289" y="37296"/>
                </a:lnTo>
                <a:cubicBezTo>
                  <a:pt x="54415" y="37550"/>
                  <a:pt x="52577" y="38060"/>
                  <a:pt x="50849" y="38769"/>
                </a:cubicBezTo>
                <a:lnTo>
                  <a:pt x="44481" y="34530"/>
                </a:lnTo>
                <a:cubicBezTo>
                  <a:pt x="42570" y="33256"/>
                  <a:pt x="40041" y="33511"/>
                  <a:pt x="38422" y="35130"/>
                </a:cubicBezTo>
                <a:lnTo>
                  <a:pt x="34928" y="38624"/>
                </a:lnTo>
                <a:cubicBezTo>
                  <a:pt x="33309" y="40243"/>
                  <a:pt x="33054" y="42772"/>
                  <a:pt x="34328" y="44683"/>
                </a:cubicBezTo>
                <a:lnTo>
                  <a:pt x="38567" y="51032"/>
                </a:lnTo>
                <a:cubicBezTo>
                  <a:pt x="38203" y="51887"/>
                  <a:pt x="37912" y="52779"/>
                  <a:pt x="37658" y="53707"/>
                </a:cubicBezTo>
                <a:cubicBezTo>
                  <a:pt x="37421" y="54635"/>
                  <a:pt x="37239" y="55545"/>
                  <a:pt x="37112" y="56472"/>
                </a:cubicBezTo>
                <a:lnTo>
                  <a:pt x="30253" y="59857"/>
                </a:lnTo>
                <a:cubicBezTo>
                  <a:pt x="28197" y="60875"/>
                  <a:pt x="27159" y="63204"/>
                  <a:pt x="27742" y="65406"/>
                </a:cubicBezTo>
                <a:lnTo>
                  <a:pt x="29015" y="70173"/>
                </a:lnTo>
                <a:cubicBezTo>
                  <a:pt x="29616" y="72374"/>
                  <a:pt x="31690" y="73866"/>
                  <a:pt x="33964" y="73721"/>
                </a:cubicBezTo>
                <a:lnTo>
                  <a:pt x="41606" y="73229"/>
                </a:lnTo>
                <a:cubicBezTo>
                  <a:pt x="42752" y="74721"/>
                  <a:pt x="44080" y="76068"/>
                  <a:pt x="45590" y="77232"/>
                </a:cubicBezTo>
                <a:lnTo>
                  <a:pt x="45099" y="84856"/>
                </a:lnTo>
                <a:cubicBezTo>
                  <a:pt x="44954" y="87130"/>
                  <a:pt x="46427" y="89204"/>
                  <a:pt x="48647" y="89805"/>
                </a:cubicBezTo>
                <a:lnTo>
                  <a:pt x="53414" y="91078"/>
                </a:lnTo>
                <a:cubicBezTo>
                  <a:pt x="55615" y="91660"/>
                  <a:pt x="57944" y="90623"/>
                  <a:pt x="58963" y="88567"/>
                </a:cubicBezTo>
                <a:lnTo>
                  <a:pt x="62347" y="81726"/>
                </a:lnTo>
                <a:cubicBezTo>
                  <a:pt x="64221" y="81472"/>
                  <a:pt x="66059" y="80962"/>
                  <a:pt x="67788" y="80253"/>
                </a:cubicBezTo>
                <a:lnTo>
                  <a:pt x="74156" y="84492"/>
                </a:lnTo>
                <a:cubicBezTo>
                  <a:pt x="76066" y="85765"/>
                  <a:pt x="78595" y="85511"/>
                  <a:pt x="80214" y="83891"/>
                </a:cubicBezTo>
                <a:lnTo>
                  <a:pt x="83708" y="80398"/>
                </a:lnTo>
                <a:cubicBezTo>
                  <a:pt x="85327" y="78779"/>
                  <a:pt x="85582" y="76250"/>
                  <a:pt x="84308" y="74339"/>
                </a:cubicBezTo>
                <a:lnTo>
                  <a:pt x="80069" y="67971"/>
                </a:lnTo>
                <a:cubicBezTo>
                  <a:pt x="80414" y="67116"/>
                  <a:pt x="80742" y="66206"/>
                  <a:pt x="80978" y="65297"/>
                </a:cubicBezTo>
                <a:cubicBezTo>
                  <a:pt x="81215" y="64387"/>
                  <a:pt x="81397" y="63459"/>
                  <a:pt x="81524" y="62531"/>
                </a:cubicBezTo>
                <a:lnTo>
                  <a:pt x="88384" y="59147"/>
                </a:lnTo>
                <a:cubicBezTo>
                  <a:pt x="90439" y="58128"/>
                  <a:pt x="91477" y="55799"/>
                  <a:pt x="90894" y="53598"/>
                </a:cubicBezTo>
                <a:lnTo>
                  <a:pt x="89621" y="48831"/>
                </a:lnTo>
                <a:cubicBezTo>
                  <a:pt x="89020" y="46629"/>
                  <a:pt x="86946" y="45137"/>
                  <a:pt x="84672" y="45283"/>
                </a:cubicBezTo>
                <a:lnTo>
                  <a:pt x="77030" y="45774"/>
                </a:lnTo>
                <a:cubicBezTo>
                  <a:pt x="75884" y="44282"/>
                  <a:pt x="74556" y="42936"/>
                  <a:pt x="73046" y="41771"/>
                </a:cubicBezTo>
                <a:lnTo>
                  <a:pt x="73537" y="34166"/>
                </a:lnTo>
                <a:cubicBezTo>
                  <a:pt x="73682" y="31892"/>
                  <a:pt x="72191" y="29818"/>
                  <a:pt x="69989" y="29217"/>
                </a:cubicBezTo>
                <a:close/>
                <a:moveTo>
                  <a:pt x="82526" y="0"/>
                </a:moveTo>
                <a:cubicBezTo>
                  <a:pt x="128103" y="0"/>
                  <a:pt x="165051" y="37071"/>
                  <a:pt x="165051" y="82800"/>
                </a:cubicBezTo>
                <a:cubicBezTo>
                  <a:pt x="165051" y="128529"/>
                  <a:pt x="128103" y="165600"/>
                  <a:pt x="82526" y="165600"/>
                </a:cubicBezTo>
                <a:cubicBezTo>
                  <a:pt x="36948" y="165600"/>
                  <a:pt x="0" y="128529"/>
                  <a:pt x="0" y="82800"/>
                </a:cubicBezTo>
                <a:cubicBezTo>
                  <a:pt x="0" y="37071"/>
                  <a:pt x="36948" y="0"/>
                  <a:pt x="82526" y="0"/>
                </a:cubicBezTo>
                <a:close/>
              </a:path>
            </a:pathLst>
          </a:custGeom>
          <a:solidFill>
            <a:srgbClr val="FFC000"/>
          </a:solidFill>
          <a:ln w="179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71" name="Forma libre 70">
            <a:extLst>
              <a:ext uri="{FF2B5EF4-FFF2-40B4-BE49-F238E27FC236}">
                <a16:creationId xmlns:a16="http://schemas.microsoft.com/office/drawing/2014/main" id="{5CE7C99C-4E7A-5501-9D70-2491FD9B4240}"/>
              </a:ext>
            </a:extLst>
          </p:cNvPr>
          <p:cNvSpPr/>
          <p:nvPr/>
        </p:nvSpPr>
        <p:spPr>
          <a:xfrm>
            <a:off x="4910110" y="2072715"/>
            <a:ext cx="162047" cy="162586"/>
          </a:xfrm>
          <a:custGeom>
            <a:avLst/>
            <a:gdLst>
              <a:gd name="connsiteX0" fmla="*/ 105887 w 165051"/>
              <a:gd name="connsiteY0" fmla="*/ 98083 h 165600"/>
              <a:gd name="connsiteX1" fmla="*/ 113910 w 165051"/>
              <a:gd name="connsiteY1" fmla="*/ 106089 h 165600"/>
              <a:gd name="connsiteX2" fmla="*/ 105905 w 165051"/>
              <a:gd name="connsiteY2" fmla="*/ 114094 h 165600"/>
              <a:gd name="connsiteX3" fmla="*/ 97899 w 165051"/>
              <a:gd name="connsiteY3" fmla="*/ 106107 h 165600"/>
              <a:gd name="connsiteX4" fmla="*/ 105887 w 165051"/>
              <a:gd name="connsiteY4" fmla="*/ 98083 h 165600"/>
              <a:gd name="connsiteX5" fmla="*/ 99955 w 165051"/>
              <a:gd name="connsiteY5" fmla="*/ 74521 h 165600"/>
              <a:gd name="connsiteX6" fmla="*/ 95188 w 165051"/>
              <a:gd name="connsiteY6" fmla="*/ 75795 h 165600"/>
              <a:gd name="connsiteX7" fmla="*/ 91640 w 165051"/>
              <a:gd name="connsiteY7" fmla="*/ 80744 h 165600"/>
              <a:gd name="connsiteX8" fmla="*/ 92132 w 165051"/>
              <a:gd name="connsiteY8" fmla="*/ 88349 h 165600"/>
              <a:gd name="connsiteX9" fmla="*/ 88147 w 165051"/>
              <a:gd name="connsiteY9" fmla="*/ 92352 h 165600"/>
              <a:gd name="connsiteX10" fmla="*/ 80524 w 165051"/>
              <a:gd name="connsiteY10" fmla="*/ 91861 h 165600"/>
              <a:gd name="connsiteX11" fmla="*/ 75575 w 165051"/>
              <a:gd name="connsiteY11" fmla="*/ 95408 h 165600"/>
              <a:gd name="connsiteX12" fmla="*/ 74301 w 165051"/>
              <a:gd name="connsiteY12" fmla="*/ 100175 h 165600"/>
              <a:gd name="connsiteX13" fmla="*/ 76812 w 165051"/>
              <a:gd name="connsiteY13" fmla="*/ 105725 h 165600"/>
              <a:gd name="connsiteX14" fmla="*/ 83671 w 165051"/>
              <a:gd name="connsiteY14" fmla="*/ 109109 h 165600"/>
              <a:gd name="connsiteX15" fmla="*/ 84217 w 165051"/>
              <a:gd name="connsiteY15" fmla="*/ 111874 h 165600"/>
              <a:gd name="connsiteX16" fmla="*/ 85127 w 165051"/>
              <a:gd name="connsiteY16" fmla="*/ 114549 h 165600"/>
              <a:gd name="connsiteX17" fmla="*/ 80887 w 165051"/>
              <a:gd name="connsiteY17" fmla="*/ 120917 h 165600"/>
              <a:gd name="connsiteX18" fmla="*/ 81488 w 165051"/>
              <a:gd name="connsiteY18" fmla="*/ 126976 h 165600"/>
              <a:gd name="connsiteX19" fmla="*/ 84981 w 165051"/>
              <a:gd name="connsiteY19" fmla="*/ 130469 h 165600"/>
              <a:gd name="connsiteX20" fmla="*/ 91040 w 165051"/>
              <a:gd name="connsiteY20" fmla="*/ 131069 h 165600"/>
              <a:gd name="connsiteX21" fmla="*/ 97408 w 165051"/>
              <a:gd name="connsiteY21" fmla="*/ 126830 h 165600"/>
              <a:gd name="connsiteX22" fmla="*/ 102848 w 165051"/>
              <a:gd name="connsiteY22" fmla="*/ 128304 h 165600"/>
              <a:gd name="connsiteX23" fmla="*/ 106232 w 165051"/>
              <a:gd name="connsiteY23" fmla="*/ 135145 h 165600"/>
              <a:gd name="connsiteX24" fmla="*/ 111781 w 165051"/>
              <a:gd name="connsiteY24" fmla="*/ 137656 h 165600"/>
              <a:gd name="connsiteX25" fmla="*/ 116548 w 165051"/>
              <a:gd name="connsiteY25" fmla="*/ 136382 h 165600"/>
              <a:gd name="connsiteX26" fmla="*/ 120096 w 165051"/>
              <a:gd name="connsiteY26" fmla="*/ 131433 h 165600"/>
              <a:gd name="connsiteX27" fmla="*/ 119605 w 165051"/>
              <a:gd name="connsiteY27" fmla="*/ 123810 h 165600"/>
              <a:gd name="connsiteX28" fmla="*/ 123590 w 165051"/>
              <a:gd name="connsiteY28" fmla="*/ 119807 h 165600"/>
              <a:gd name="connsiteX29" fmla="*/ 131231 w 165051"/>
              <a:gd name="connsiteY29" fmla="*/ 120298 h 165600"/>
              <a:gd name="connsiteX30" fmla="*/ 136180 w 165051"/>
              <a:gd name="connsiteY30" fmla="*/ 116750 h 165600"/>
              <a:gd name="connsiteX31" fmla="*/ 137454 w 165051"/>
              <a:gd name="connsiteY31" fmla="*/ 111983 h 165600"/>
              <a:gd name="connsiteX32" fmla="*/ 134943 w 165051"/>
              <a:gd name="connsiteY32" fmla="*/ 106434 h 165600"/>
              <a:gd name="connsiteX33" fmla="*/ 128084 w 165051"/>
              <a:gd name="connsiteY33" fmla="*/ 103050 h 165600"/>
              <a:gd name="connsiteX34" fmla="*/ 127538 w 165051"/>
              <a:gd name="connsiteY34" fmla="*/ 100285 h 165600"/>
              <a:gd name="connsiteX35" fmla="*/ 126628 w 165051"/>
              <a:gd name="connsiteY35" fmla="*/ 97610 h 165600"/>
              <a:gd name="connsiteX36" fmla="*/ 130867 w 165051"/>
              <a:gd name="connsiteY36" fmla="*/ 91260 h 165600"/>
              <a:gd name="connsiteX37" fmla="*/ 130267 w 165051"/>
              <a:gd name="connsiteY37" fmla="*/ 85201 h 165600"/>
              <a:gd name="connsiteX38" fmla="*/ 126774 w 165051"/>
              <a:gd name="connsiteY38" fmla="*/ 81708 h 165600"/>
              <a:gd name="connsiteX39" fmla="*/ 120715 w 165051"/>
              <a:gd name="connsiteY39" fmla="*/ 81108 h 165600"/>
              <a:gd name="connsiteX40" fmla="*/ 114347 w 165051"/>
              <a:gd name="connsiteY40" fmla="*/ 85347 h 165600"/>
              <a:gd name="connsiteX41" fmla="*/ 108907 w 165051"/>
              <a:gd name="connsiteY41" fmla="*/ 83873 h 165600"/>
              <a:gd name="connsiteX42" fmla="*/ 105523 w 165051"/>
              <a:gd name="connsiteY42" fmla="*/ 77032 h 165600"/>
              <a:gd name="connsiteX43" fmla="*/ 99973 w 165051"/>
              <a:gd name="connsiteY43" fmla="*/ 74521 h 165600"/>
              <a:gd name="connsiteX44" fmla="*/ 59309 w 165051"/>
              <a:gd name="connsiteY44" fmla="*/ 51505 h 165600"/>
              <a:gd name="connsiteX45" fmla="*/ 67314 w 165051"/>
              <a:gd name="connsiteY45" fmla="*/ 59511 h 165600"/>
              <a:gd name="connsiteX46" fmla="*/ 59309 w 165051"/>
              <a:gd name="connsiteY46" fmla="*/ 67516 h 165600"/>
              <a:gd name="connsiteX47" fmla="*/ 51303 w 165051"/>
              <a:gd name="connsiteY47" fmla="*/ 59511 h 165600"/>
              <a:gd name="connsiteX48" fmla="*/ 59309 w 165051"/>
              <a:gd name="connsiteY48" fmla="*/ 51505 h 165600"/>
              <a:gd name="connsiteX49" fmla="*/ 65222 w 165051"/>
              <a:gd name="connsiteY49" fmla="*/ 27944 h 165600"/>
              <a:gd name="connsiteX50" fmla="*/ 59673 w 165051"/>
              <a:gd name="connsiteY50" fmla="*/ 30455 h 165600"/>
              <a:gd name="connsiteX51" fmla="*/ 56289 w 165051"/>
              <a:gd name="connsiteY51" fmla="*/ 37296 h 165600"/>
              <a:gd name="connsiteX52" fmla="*/ 50849 w 165051"/>
              <a:gd name="connsiteY52" fmla="*/ 38769 h 165600"/>
              <a:gd name="connsiteX53" fmla="*/ 44481 w 165051"/>
              <a:gd name="connsiteY53" fmla="*/ 34530 h 165600"/>
              <a:gd name="connsiteX54" fmla="*/ 38422 w 165051"/>
              <a:gd name="connsiteY54" fmla="*/ 35130 h 165600"/>
              <a:gd name="connsiteX55" fmla="*/ 34928 w 165051"/>
              <a:gd name="connsiteY55" fmla="*/ 38624 h 165600"/>
              <a:gd name="connsiteX56" fmla="*/ 34328 w 165051"/>
              <a:gd name="connsiteY56" fmla="*/ 44683 h 165600"/>
              <a:gd name="connsiteX57" fmla="*/ 38567 w 165051"/>
              <a:gd name="connsiteY57" fmla="*/ 51032 h 165600"/>
              <a:gd name="connsiteX58" fmla="*/ 37658 w 165051"/>
              <a:gd name="connsiteY58" fmla="*/ 53707 h 165600"/>
              <a:gd name="connsiteX59" fmla="*/ 37112 w 165051"/>
              <a:gd name="connsiteY59" fmla="*/ 56472 h 165600"/>
              <a:gd name="connsiteX60" fmla="*/ 30253 w 165051"/>
              <a:gd name="connsiteY60" fmla="*/ 59857 h 165600"/>
              <a:gd name="connsiteX61" fmla="*/ 27742 w 165051"/>
              <a:gd name="connsiteY61" fmla="*/ 65406 h 165600"/>
              <a:gd name="connsiteX62" fmla="*/ 29015 w 165051"/>
              <a:gd name="connsiteY62" fmla="*/ 70173 h 165600"/>
              <a:gd name="connsiteX63" fmla="*/ 33964 w 165051"/>
              <a:gd name="connsiteY63" fmla="*/ 73721 h 165600"/>
              <a:gd name="connsiteX64" fmla="*/ 41606 w 165051"/>
              <a:gd name="connsiteY64" fmla="*/ 73229 h 165600"/>
              <a:gd name="connsiteX65" fmla="*/ 45590 w 165051"/>
              <a:gd name="connsiteY65" fmla="*/ 77232 h 165600"/>
              <a:gd name="connsiteX66" fmla="*/ 45099 w 165051"/>
              <a:gd name="connsiteY66" fmla="*/ 84856 h 165600"/>
              <a:gd name="connsiteX67" fmla="*/ 48647 w 165051"/>
              <a:gd name="connsiteY67" fmla="*/ 89805 h 165600"/>
              <a:gd name="connsiteX68" fmla="*/ 53414 w 165051"/>
              <a:gd name="connsiteY68" fmla="*/ 91078 h 165600"/>
              <a:gd name="connsiteX69" fmla="*/ 58963 w 165051"/>
              <a:gd name="connsiteY69" fmla="*/ 88567 h 165600"/>
              <a:gd name="connsiteX70" fmla="*/ 62347 w 165051"/>
              <a:gd name="connsiteY70" fmla="*/ 81726 h 165600"/>
              <a:gd name="connsiteX71" fmla="*/ 67788 w 165051"/>
              <a:gd name="connsiteY71" fmla="*/ 80253 h 165600"/>
              <a:gd name="connsiteX72" fmla="*/ 74156 w 165051"/>
              <a:gd name="connsiteY72" fmla="*/ 84492 h 165600"/>
              <a:gd name="connsiteX73" fmla="*/ 80214 w 165051"/>
              <a:gd name="connsiteY73" fmla="*/ 83891 h 165600"/>
              <a:gd name="connsiteX74" fmla="*/ 83708 w 165051"/>
              <a:gd name="connsiteY74" fmla="*/ 80398 h 165600"/>
              <a:gd name="connsiteX75" fmla="*/ 84308 w 165051"/>
              <a:gd name="connsiteY75" fmla="*/ 74339 h 165600"/>
              <a:gd name="connsiteX76" fmla="*/ 80069 w 165051"/>
              <a:gd name="connsiteY76" fmla="*/ 67971 h 165600"/>
              <a:gd name="connsiteX77" fmla="*/ 80978 w 165051"/>
              <a:gd name="connsiteY77" fmla="*/ 65297 h 165600"/>
              <a:gd name="connsiteX78" fmla="*/ 81524 w 165051"/>
              <a:gd name="connsiteY78" fmla="*/ 62531 h 165600"/>
              <a:gd name="connsiteX79" fmla="*/ 88384 w 165051"/>
              <a:gd name="connsiteY79" fmla="*/ 59147 h 165600"/>
              <a:gd name="connsiteX80" fmla="*/ 90894 w 165051"/>
              <a:gd name="connsiteY80" fmla="*/ 53598 h 165600"/>
              <a:gd name="connsiteX81" fmla="*/ 89621 w 165051"/>
              <a:gd name="connsiteY81" fmla="*/ 48831 h 165600"/>
              <a:gd name="connsiteX82" fmla="*/ 84672 w 165051"/>
              <a:gd name="connsiteY82" fmla="*/ 45283 h 165600"/>
              <a:gd name="connsiteX83" fmla="*/ 77030 w 165051"/>
              <a:gd name="connsiteY83" fmla="*/ 45774 h 165600"/>
              <a:gd name="connsiteX84" fmla="*/ 73046 w 165051"/>
              <a:gd name="connsiteY84" fmla="*/ 41771 h 165600"/>
              <a:gd name="connsiteX85" fmla="*/ 73537 w 165051"/>
              <a:gd name="connsiteY85" fmla="*/ 34166 h 165600"/>
              <a:gd name="connsiteX86" fmla="*/ 69989 w 165051"/>
              <a:gd name="connsiteY86" fmla="*/ 29217 h 165600"/>
              <a:gd name="connsiteX87" fmla="*/ 82526 w 165051"/>
              <a:gd name="connsiteY87" fmla="*/ 0 h 165600"/>
              <a:gd name="connsiteX88" fmla="*/ 165051 w 165051"/>
              <a:gd name="connsiteY88" fmla="*/ 82800 h 165600"/>
              <a:gd name="connsiteX89" fmla="*/ 82526 w 165051"/>
              <a:gd name="connsiteY89" fmla="*/ 165600 h 165600"/>
              <a:gd name="connsiteX90" fmla="*/ 0 w 165051"/>
              <a:gd name="connsiteY90" fmla="*/ 82800 h 165600"/>
              <a:gd name="connsiteX91" fmla="*/ 82526 w 165051"/>
              <a:gd name="connsiteY91" fmla="*/ 0 h 16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165051" h="165600">
                <a:moveTo>
                  <a:pt x="105887" y="98083"/>
                </a:moveTo>
                <a:cubicBezTo>
                  <a:pt x="110308" y="98083"/>
                  <a:pt x="113892" y="101649"/>
                  <a:pt x="113910" y="106089"/>
                </a:cubicBezTo>
                <a:cubicBezTo>
                  <a:pt x="113910" y="110510"/>
                  <a:pt x="110326" y="114094"/>
                  <a:pt x="105905" y="114094"/>
                </a:cubicBezTo>
                <a:cubicBezTo>
                  <a:pt x="101483" y="114094"/>
                  <a:pt x="97899" y="110528"/>
                  <a:pt x="97899" y="106107"/>
                </a:cubicBezTo>
                <a:cubicBezTo>
                  <a:pt x="97881" y="101667"/>
                  <a:pt x="101465" y="98083"/>
                  <a:pt x="105887" y="98083"/>
                </a:cubicBezTo>
                <a:close/>
                <a:moveTo>
                  <a:pt x="99955" y="74521"/>
                </a:moveTo>
                <a:lnTo>
                  <a:pt x="95188" y="75795"/>
                </a:lnTo>
                <a:cubicBezTo>
                  <a:pt x="92987" y="76377"/>
                  <a:pt x="91495" y="78451"/>
                  <a:pt x="91640" y="80744"/>
                </a:cubicBezTo>
                <a:lnTo>
                  <a:pt x="92132" y="88349"/>
                </a:lnTo>
                <a:cubicBezTo>
                  <a:pt x="90621" y="89513"/>
                  <a:pt x="89293" y="90878"/>
                  <a:pt x="88147" y="92352"/>
                </a:cubicBezTo>
                <a:lnTo>
                  <a:pt x="80524" y="91861"/>
                </a:lnTo>
                <a:cubicBezTo>
                  <a:pt x="78231" y="91715"/>
                  <a:pt x="76175" y="93207"/>
                  <a:pt x="75575" y="95408"/>
                </a:cubicBezTo>
                <a:lnTo>
                  <a:pt x="74301" y="100175"/>
                </a:lnTo>
                <a:cubicBezTo>
                  <a:pt x="73719" y="102377"/>
                  <a:pt x="74756" y="104706"/>
                  <a:pt x="76812" y="105725"/>
                </a:cubicBezTo>
                <a:lnTo>
                  <a:pt x="83671" y="109109"/>
                </a:lnTo>
                <a:cubicBezTo>
                  <a:pt x="83799" y="110019"/>
                  <a:pt x="83962" y="110946"/>
                  <a:pt x="84217" y="111874"/>
                </a:cubicBezTo>
                <a:cubicBezTo>
                  <a:pt x="84472" y="112802"/>
                  <a:pt x="84781" y="113694"/>
                  <a:pt x="85127" y="114549"/>
                </a:cubicBezTo>
                <a:lnTo>
                  <a:pt x="80887" y="120917"/>
                </a:lnTo>
                <a:cubicBezTo>
                  <a:pt x="79614" y="122827"/>
                  <a:pt x="79869" y="125356"/>
                  <a:pt x="81488" y="126976"/>
                </a:cubicBezTo>
                <a:lnTo>
                  <a:pt x="84981" y="130469"/>
                </a:lnTo>
                <a:cubicBezTo>
                  <a:pt x="86600" y="132088"/>
                  <a:pt x="89129" y="132343"/>
                  <a:pt x="91040" y="131069"/>
                </a:cubicBezTo>
                <a:lnTo>
                  <a:pt x="97408" y="126830"/>
                </a:lnTo>
                <a:cubicBezTo>
                  <a:pt x="99136" y="127540"/>
                  <a:pt x="100974" y="128049"/>
                  <a:pt x="102848" y="128304"/>
                </a:cubicBezTo>
                <a:lnTo>
                  <a:pt x="106232" y="135145"/>
                </a:lnTo>
                <a:cubicBezTo>
                  <a:pt x="107251" y="137201"/>
                  <a:pt x="109562" y="138256"/>
                  <a:pt x="111781" y="137656"/>
                </a:cubicBezTo>
                <a:lnTo>
                  <a:pt x="116548" y="136382"/>
                </a:lnTo>
                <a:cubicBezTo>
                  <a:pt x="118750" y="135800"/>
                  <a:pt x="120242" y="133726"/>
                  <a:pt x="120096" y="131433"/>
                </a:cubicBezTo>
                <a:lnTo>
                  <a:pt x="119605" y="123810"/>
                </a:lnTo>
                <a:cubicBezTo>
                  <a:pt x="121115" y="122645"/>
                  <a:pt x="122443" y="121281"/>
                  <a:pt x="123590" y="119807"/>
                </a:cubicBezTo>
                <a:lnTo>
                  <a:pt x="131231" y="120298"/>
                </a:lnTo>
                <a:cubicBezTo>
                  <a:pt x="133524" y="120444"/>
                  <a:pt x="135580" y="118952"/>
                  <a:pt x="136180" y="116750"/>
                </a:cubicBezTo>
                <a:lnTo>
                  <a:pt x="137454" y="111983"/>
                </a:lnTo>
                <a:cubicBezTo>
                  <a:pt x="138054" y="109782"/>
                  <a:pt x="136999" y="107453"/>
                  <a:pt x="134943" y="106434"/>
                </a:cubicBezTo>
                <a:lnTo>
                  <a:pt x="128084" y="103050"/>
                </a:lnTo>
                <a:cubicBezTo>
                  <a:pt x="127956" y="102122"/>
                  <a:pt x="127793" y="101212"/>
                  <a:pt x="127538" y="100285"/>
                </a:cubicBezTo>
                <a:cubicBezTo>
                  <a:pt x="127283" y="99357"/>
                  <a:pt x="126974" y="98465"/>
                  <a:pt x="126628" y="97610"/>
                </a:cubicBezTo>
                <a:lnTo>
                  <a:pt x="130867" y="91260"/>
                </a:lnTo>
                <a:cubicBezTo>
                  <a:pt x="132141" y="89368"/>
                  <a:pt x="131886" y="86821"/>
                  <a:pt x="130267" y="85201"/>
                </a:cubicBezTo>
                <a:lnTo>
                  <a:pt x="126774" y="81708"/>
                </a:lnTo>
                <a:cubicBezTo>
                  <a:pt x="125154" y="80089"/>
                  <a:pt x="122625" y="79834"/>
                  <a:pt x="120715" y="81108"/>
                </a:cubicBezTo>
                <a:lnTo>
                  <a:pt x="114347" y="85347"/>
                </a:lnTo>
                <a:cubicBezTo>
                  <a:pt x="112618" y="84637"/>
                  <a:pt x="110781" y="84128"/>
                  <a:pt x="108907" y="83873"/>
                </a:cubicBezTo>
                <a:lnTo>
                  <a:pt x="105523" y="77032"/>
                </a:lnTo>
                <a:cubicBezTo>
                  <a:pt x="104522" y="74976"/>
                  <a:pt x="102193" y="73921"/>
                  <a:pt x="99973" y="74521"/>
                </a:cubicBezTo>
                <a:close/>
                <a:moveTo>
                  <a:pt x="59309" y="51505"/>
                </a:moveTo>
                <a:cubicBezTo>
                  <a:pt x="63730" y="51505"/>
                  <a:pt x="67314" y="55090"/>
                  <a:pt x="67314" y="59511"/>
                </a:cubicBezTo>
                <a:cubicBezTo>
                  <a:pt x="67314" y="63932"/>
                  <a:pt x="63730" y="67516"/>
                  <a:pt x="59309" y="67516"/>
                </a:cubicBezTo>
                <a:cubicBezTo>
                  <a:pt x="54888" y="67516"/>
                  <a:pt x="51303" y="63932"/>
                  <a:pt x="51303" y="59511"/>
                </a:cubicBezTo>
                <a:cubicBezTo>
                  <a:pt x="51303" y="55090"/>
                  <a:pt x="54888" y="51505"/>
                  <a:pt x="59309" y="51505"/>
                </a:cubicBezTo>
                <a:close/>
                <a:moveTo>
                  <a:pt x="65222" y="27944"/>
                </a:moveTo>
                <a:cubicBezTo>
                  <a:pt x="63002" y="27361"/>
                  <a:pt x="60692" y="28399"/>
                  <a:pt x="59673" y="30455"/>
                </a:cubicBezTo>
                <a:lnTo>
                  <a:pt x="56289" y="37296"/>
                </a:lnTo>
                <a:cubicBezTo>
                  <a:pt x="54415" y="37550"/>
                  <a:pt x="52577" y="38060"/>
                  <a:pt x="50849" y="38769"/>
                </a:cubicBezTo>
                <a:lnTo>
                  <a:pt x="44481" y="34530"/>
                </a:lnTo>
                <a:cubicBezTo>
                  <a:pt x="42570" y="33256"/>
                  <a:pt x="40041" y="33511"/>
                  <a:pt x="38422" y="35130"/>
                </a:cubicBezTo>
                <a:lnTo>
                  <a:pt x="34928" y="38624"/>
                </a:lnTo>
                <a:cubicBezTo>
                  <a:pt x="33309" y="40243"/>
                  <a:pt x="33054" y="42772"/>
                  <a:pt x="34328" y="44683"/>
                </a:cubicBezTo>
                <a:lnTo>
                  <a:pt x="38567" y="51032"/>
                </a:lnTo>
                <a:cubicBezTo>
                  <a:pt x="38203" y="51887"/>
                  <a:pt x="37912" y="52779"/>
                  <a:pt x="37658" y="53707"/>
                </a:cubicBezTo>
                <a:cubicBezTo>
                  <a:pt x="37421" y="54635"/>
                  <a:pt x="37239" y="55545"/>
                  <a:pt x="37112" y="56472"/>
                </a:cubicBezTo>
                <a:lnTo>
                  <a:pt x="30253" y="59857"/>
                </a:lnTo>
                <a:cubicBezTo>
                  <a:pt x="28197" y="60875"/>
                  <a:pt x="27159" y="63204"/>
                  <a:pt x="27742" y="65406"/>
                </a:cubicBezTo>
                <a:lnTo>
                  <a:pt x="29015" y="70173"/>
                </a:lnTo>
                <a:cubicBezTo>
                  <a:pt x="29616" y="72374"/>
                  <a:pt x="31690" y="73866"/>
                  <a:pt x="33964" y="73721"/>
                </a:cubicBezTo>
                <a:lnTo>
                  <a:pt x="41606" y="73229"/>
                </a:lnTo>
                <a:cubicBezTo>
                  <a:pt x="42752" y="74721"/>
                  <a:pt x="44080" y="76068"/>
                  <a:pt x="45590" y="77232"/>
                </a:cubicBezTo>
                <a:lnTo>
                  <a:pt x="45099" y="84856"/>
                </a:lnTo>
                <a:cubicBezTo>
                  <a:pt x="44954" y="87130"/>
                  <a:pt x="46427" y="89204"/>
                  <a:pt x="48647" y="89805"/>
                </a:cubicBezTo>
                <a:lnTo>
                  <a:pt x="53414" y="91078"/>
                </a:lnTo>
                <a:cubicBezTo>
                  <a:pt x="55615" y="91660"/>
                  <a:pt x="57944" y="90623"/>
                  <a:pt x="58963" y="88567"/>
                </a:cubicBezTo>
                <a:lnTo>
                  <a:pt x="62347" y="81726"/>
                </a:lnTo>
                <a:cubicBezTo>
                  <a:pt x="64221" y="81472"/>
                  <a:pt x="66059" y="80962"/>
                  <a:pt x="67788" y="80253"/>
                </a:cubicBezTo>
                <a:lnTo>
                  <a:pt x="74156" y="84492"/>
                </a:lnTo>
                <a:cubicBezTo>
                  <a:pt x="76066" y="85765"/>
                  <a:pt x="78595" y="85511"/>
                  <a:pt x="80214" y="83891"/>
                </a:cubicBezTo>
                <a:lnTo>
                  <a:pt x="83708" y="80398"/>
                </a:lnTo>
                <a:cubicBezTo>
                  <a:pt x="85327" y="78779"/>
                  <a:pt x="85582" y="76250"/>
                  <a:pt x="84308" y="74339"/>
                </a:cubicBezTo>
                <a:lnTo>
                  <a:pt x="80069" y="67971"/>
                </a:lnTo>
                <a:cubicBezTo>
                  <a:pt x="80414" y="67116"/>
                  <a:pt x="80742" y="66206"/>
                  <a:pt x="80978" y="65297"/>
                </a:cubicBezTo>
                <a:cubicBezTo>
                  <a:pt x="81215" y="64387"/>
                  <a:pt x="81397" y="63459"/>
                  <a:pt x="81524" y="62531"/>
                </a:cubicBezTo>
                <a:lnTo>
                  <a:pt x="88384" y="59147"/>
                </a:lnTo>
                <a:cubicBezTo>
                  <a:pt x="90439" y="58128"/>
                  <a:pt x="91477" y="55799"/>
                  <a:pt x="90894" y="53598"/>
                </a:cubicBezTo>
                <a:lnTo>
                  <a:pt x="89621" y="48831"/>
                </a:lnTo>
                <a:cubicBezTo>
                  <a:pt x="89020" y="46629"/>
                  <a:pt x="86946" y="45137"/>
                  <a:pt x="84672" y="45283"/>
                </a:cubicBezTo>
                <a:lnTo>
                  <a:pt x="77030" y="45774"/>
                </a:lnTo>
                <a:cubicBezTo>
                  <a:pt x="75884" y="44282"/>
                  <a:pt x="74556" y="42936"/>
                  <a:pt x="73046" y="41771"/>
                </a:cubicBezTo>
                <a:lnTo>
                  <a:pt x="73537" y="34166"/>
                </a:lnTo>
                <a:cubicBezTo>
                  <a:pt x="73682" y="31892"/>
                  <a:pt x="72191" y="29818"/>
                  <a:pt x="69989" y="29217"/>
                </a:cubicBezTo>
                <a:close/>
                <a:moveTo>
                  <a:pt x="82526" y="0"/>
                </a:moveTo>
                <a:cubicBezTo>
                  <a:pt x="128103" y="0"/>
                  <a:pt x="165051" y="37071"/>
                  <a:pt x="165051" y="82800"/>
                </a:cubicBezTo>
                <a:cubicBezTo>
                  <a:pt x="165051" y="128529"/>
                  <a:pt x="128103" y="165600"/>
                  <a:pt x="82526" y="165600"/>
                </a:cubicBezTo>
                <a:cubicBezTo>
                  <a:pt x="36948" y="165600"/>
                  <a:pt x="0" y="128529"/>
                  <a:pt x="0" y="82800"/>
                </a:cubicBezTo>
                <a:cubicBezTo>
                  <a:pt x="0" y="37071"/>
                  <a:pt x="36948" y="0"/>
                  <a:pt x="82526" y="0"/>
                </a:cubicBezTo>
                <a:close/>
              </a:path>
            </a:pathLst>
          </a:custGeom>
          <a:solidFill>
            <a:srgbClr val="FFC000"/>
          </a:solidFill>
          <a:ln w="179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68" name="Forma libre 67">
            <a:extLst>
              <a:ext uri="{FF2B5EF4-FFF2-40B4-BE49-F238E27FC236}">
                <a16:creationId xmlns:a16="http://schemas.microsoft.com/office/drawing/2014/main" id="{DED577A6-B6ED-68C2-BD57-42FC444AAAAE}"/>
              </a:ext>
            </a:extLst>
          </p:cNvPr>
          <p:cNvSpPr/>
          <p:nvPr/>
        </p:nvSpPr>
        <p:spPr>
          <a:xfrm>
            <a:off x="4910110" y="3260756"/>
            <a:ext cx="162047" cy="162586"/>
          </a:xfrm>
          <a:custGeom>
            <a:avLst/>
            <a:gdLst>
              <a:gd name="connsiteX0" fmla="*/ 68948 w 165051"/>
              <a:gd name="connsiteY0" fmla="*/ 109953 h 165600"/>
              <a:gd name="connsiteX1" fmla="*/ 62159 w 165051"/>
              <a:gd name="connsiteY1" fmla="*/ 116742 h 165600"/>
              <a:gd name="connsiteX2" fmla="*/ 68948 w 165051"/>
              <a:gd name="connsiteY2" fmla="*/ 123530 h 165600"/>
              <a:gd name="connsiteX3" fmla="*/ 130044 w 165051"/>
              <a:gd name="connsiteY3" fmla="*/ 123530 h 165600"/>
              <a:gd name="connsiteX4" fmla="*/ 136833 w 165051"/>
              <a:gd name="connsiteY4" fmla="*/ 116742 h 165600"/>
              <a:gd name="connsiteX5" fmla="*/ 130044 w 165051"/>
              <a:gd name="connsiteY5" fmla="*/ 109953 h 165600"/>
              <a:gd name="connsiteX6" fmla="*/ 41794 w 165051"/>
              <a:gd name="connsiteY6" fmla="*/ 108256 h 165600"/>
              <a:gd name="connsiteX7" fmla="*/ 33308 w 165051"/>
              <a:gd name="connsiteY7" fmla="*/ 116742 h 165600"/>
              <a:gd name="connsiteX8" fmla="*/ 41794 w 165051"/>
              <a:gd name="connsiteY8" fmla="*/ 125227 h 165600"/>
              <a:gd name="connsiteX9" fmla="*/ 50279 w 165051"/>
              <a:gd name="connsiteY9" fmla="*/ 116742 h 165600"/>
              <a:gd name="connsiteX10" fmla="*/ 41794 w 165051"/>
              <a:gd name="connsiteY10" fmla="*/ 108256 h 165600"/>
              <a:gd name="connsiteX11" fmla="*/ 82525 w 165051"/>
              <a:gd name="connsiteY11" fmla="*/ 76011 h 165600"/>
              <a:gd name="connsiteX12" fmla="*/ 75736 w 165051"/>
              <a:gd name="connsiteY12" fmla="*/ 82799 h 165600"/>
              <a:gd name="connsiteX13" fmla="*/ 82525 w 165051"/>
              <a:gd name="connsiteY13" fmla="*/ 89588 h 165600"/>
              <a:gd name="connsiteX14" fmla="*/ 130044 w 165051"/>
              <a:gd name="connsiteY14" fmla="*/ 89588 h 165600"/>
              <a:gd name="connsiteX15" fmla="*/ 136833 w 165051"/>
              <a:gd name="connsiteY15" fmla="*/ 82799 h 165600"/>
              <a:gd name="connsiteX16" fmla="*/ 130044 w 165051"/>
              <a:gd name="connsiteY16" fmla="*/ 76011 h 165600"/>
              <a:gd name="connsiteX17" fmla="*/ 56601 w 165051"/>
              <a:gd name="connsiteY17" fmla="*/ 70134 h 165600"/>
              <a:gd name="connsiteX18" fmla="*/ 56580 w 165051"/>
              <a:gd name="connsiteY18" fmla="*/ 70156 h 165600"/>
              <a:gd name="connsiteX19" fmla="*/ 49494 w 165051"/>
              <a:gd name="connsiteY19" fmla="*/ 71407 h 165600"/>
              <a:gd name="connsiteX20" fmla="*/ 41094 w 165051"/>
              <a:gd name="connsiteY20" fmla="*/ 83414 h 165600"/>
              <a:gd name="connsiteX21" fmla="*/ 36893 w 165051"/>
              <a:gd name="connsiteY21" fmla="*/ 79214 h 165600"/>
              <a:gd name="connsiteX22" fmla="*/ 29702 w 165051"/>
              <a:gd name="connsiteY22" fmla="*/ 79214 h 165600"/>
              <a:gd name="connsiteX23" fmla="*/ 29702 w 165051"/>
              <a:gd name="connsiteY23" fmla="*/ 86406 h 165600"/>
              <a:gd name="connsiteX24" fmla="*/ 38187 w 165051"/>
              <a:gd name="connsiteY24" fmla="*/ 94891 h 165600"/>
              <a:gd name="connsiteX25" fmla="*/ 42239 w 165051"/>
              <a:gd name="connsiteY25" fmla="*/ 96334 h 165600"/>
              <a:gd name="connsiteX26" fmla="*/ 45973 w 165051"/>
              <a:gd name="connsiteY26" fmla="*/ 94191 h 165600"/>
              <a:gd name="connsiteX27" fmla="*/ 57853 w 165051"/>
              <a:gd name="connsiteY27" fmla="*/ 77220 h 165600"/>
              <a:gd name="connsiteX28" fmla="*/ 56601 w 165051"/>
              <a:gd name="connsiteY28" fmla="*/ 70134 h 165600"/>
              <a:gd name="connsiteX29" fmla="*/ 82525 w 165051"/>
              <a:gd name="connsiteY29" fmla="*/ 42068 h 165600"/>
              <a:gd name="connsiteX30" fmla="*/ 75736 w 165051"/>
              <a:gd name="connsiteY30" fmla="*/ 48857 h 165600"/>
              <a:gd name="connsiteX31" fmla="*/ 82525 w 165051"/>
              <a:gd name="connsiteY31" fmla="*/ 55645 h 165600"/>
              <a:gd name="connsiteX32" fmla="*/ 130044 w 165051"/>
              <a:gd name="connsiteY32" fmla="*/ 55645 h 165600"/>
              <a:gd name="connsiteX33" fmla="*/ 136833 w 165051"/>
              <a:gd name="connsiteY33" fmla="*/ 48857 h 165600"/>
              <a:gd name="connsiteX34" fmla="*/ 130044 w 165051"/>
              <a:gd name="connsiteY34" fmla="*/ 42068 h 165600"/>
              <a:gd name="connsiteX35" fmla="*/ 56601 w 165051"/>
              <a:gd name="connsiteY35" fmla="*/ 36192 h 165600"/>
              <a:gd name="connsiteX36" fmla="*/ 49516 w 165051"/>
              <a:gd name="connsiteY36" fmla="*/ 37444 h 165600"/>
              <a:gd name="connsiteX37" fmla="*/ 41115 w 165051"/>
              <a:gd name="connsiteY37" fmla="*/ 49451 h 165600"/>
              <a:gd name="connsiteX38" fmla="*/ 36914 w 165051"/>
              <a:gd name="connsiteY38" fmla="*/ 45250 h 165600"/>
              <a:gd name="connsiteX39" fmla="*/ 29702 w 165051"/>
              <a:gd name="connsiteY39" fmla="*/ 45250 h 165600"/>
              <a:gd name="connsiteX40" fmla="*/ 29702 w 165051"/>
              <a:gd name="connsiteY40" fmla="*/ 52463 h 165600"/>
              <a:gd name="connsiteX41" fmla="*/ 38187 w 165051"/>
              <a:gd name="connsiteY41" fmla="*/ 60949 h 165600"/>
              <a:gd name="connsiteX42" fmla="*/ 42239 w 165051"/>
              <a:gd name="connsiteY42" fmla="*/ 62391 h 165600"/>
              <a:gd name="connsiteX43" fmla="*/ 45973 w 165051"/>
              <a:gd name="connsiteY43" fmla="*/ 60249 h 165600"/>
              <a:gd name="connsiteX44" fmla="*/ 57853 w 165051"/>
              <a:gd name="connsiteY44" fmla="*/ 43277 h 165600"/>
              <a:gd name="connsiteX45" fmla="*/ 56601 w 165051"/>
              <a:gd name="connsiteY45" fmla="*/ 36192 h 165600"/>
              <a:gd name="connsiteX46" fmla="*/ 82526 w 165051"/>
              <a:gd name="connsiteY46" fmla="*/ 0 h 165600"/>
              <a:gd name="connsiteX47" fmla="*/ 165051 w 165051"/>
              <a:gd name="connsiteY47" fmla="*/ 82800 h 165600"/>
              <a:gd name="connsiteX48" fmla="*/ 82526 w 165051"/>
              <a:gd name="connsiteY48" fmla="*/ 165600 h 165600"/>
              <a:gd name="connsiteX49" fmla="*/ 0 w 165051"/>
              <a:gd name="connsiteY49" fmla="*/ 82800 h 165600"/>
              <a:gd name="connsiteX50" fmla="*/ 82526 w 165051"/>
              <a:gd name="connsiteY50" fmla="*/ 0 h 16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165051" h="165600">
                <a:moveTo>
                  <a:pt x="68948" y="109953"/>
                </a:moveTo>
                <a:cubicBezTo>
                  <a:pt x="65193" y="109953"/>
                  <a:pt x="62159" y="112987"/>
                  <a:pt x="62159" y="116742"/>
                </a:cubicBezTo>
                <a:cubicBezTo>
                  <a:pt x="62159" y="120497"/>
                  <a:pt x="65193" y="123530"/>
                  <a:pt x="68948" y="123530"/>
                </a:cubicBezTo>
                <a:lnTo>
                  <a:pt x="130044" y="123530"/>
                </a:lnTo>
                <a:cubicBezTo>
                  <a:pt x="133799" y="123530"/>
                  <a:pt x="136833" y="120497"/>
                  <a:pt x="136833" y="116742"/>
                </a:cubicBezTo>
                <a:cubicBezTo>
                  <a:pt x="136833" y="112987"/>
                  <a:pt x="133799" y="109953"/>
                  <a:pt x="130044" y="109953"/>
                </a:cubicBezTo>
                <a:close/>
                <a:moveTo>
                  <a:pt x="41794" y="108256"/>
                </a:moveTo>
                <a:cubicBezTo>
                  <a:pt x="37105" y="108256"/>
                  <a:pt x="33308" y="112053"/>
                  <a:pt x="33308" y="116742"/>
                </a:cubicBezTo>
                <a:cubicBezTo>
                  <a:pt x="33308" y="121430"/>
                  <a:pt x="37105" y="125227"/>
                  <a:pt x="41794" y="125227"/>
                </a:cubicBezTo>
                <a:cubicBezTo>
                  <a:pt x="46482" y="125227"/>
                  <a:pt x="50279" y="121430"/>
                  <a:pt x="50279" y="116742"/>
                </a:cubicBezTo>
                <a:cubicBezTo>
                  <a:pt x="50279" y="112053"/>
                  <a:pt x="46482" y="108256"/>
                  <a:pt x="41794" y="108256"/>
                </a:cubicBezTo>
                <a:close/>
                <a:moveTo>
                  <a:pt x="82525" y="76011"/>
                </a:moveTo>
                <a:cubicBezTo>
                  <a:pt x="78770" y="76011"/>
                  <a:pt x="75736" y="79044"/>
                  <a:pt x="75736" y="82799"/>
                </a:cubicBezTo>
                <a:cubicBezTo>
                  <a:pt x="75736" y="86554"/>
                  <a:pt x="78770" y="89588"/>
                  <a:pt x="82525" y="89588"/>
                </a:cubicBezTo>
                <a:lnTo>
                  <a:pt x="130044" y="89588"/>
                </a:lnTo>
                <a:cubicBezTo>
                  <a:pt x="133799" y="89588"/>
                  <a:pt x="136833" y="86554"/>
                  <a:pt x="136833" y="82799"/>
                </a:cubicBezTo>
                <a:cubicBezTo>
                  <a:pt x="136833" y="79044"/>
                  <a:pt x="133799" y="76011"/>
                  <a:pt x="130044" y="76011"/>
                </a:cubicBezTo>
                <a:close/>
                <a:moveTo>
                  <a:pt x="56601" y="70134"/>
                </a:moveTo>
                <a:lnTo>
                  <a:pt x="56580" y="70156"/>
                </a:lnTo>
                <a:cubicBezTo>
                  <a:pt x="54289" y="68543"/>
                  <a:pt x="51107" y="69095"/>
                  <a:pt x="49494" y="71407"/>
                </a:cubicBezTo>
                <a:lnTo>
                  <a:pt x="41094" y="83414"/>
                </a:lnTo>
                <a:lnTo>
                  <a:pt x="36893" y="79214"/>
                </a:lnTo>
                <a:cubicBezTo>
                  <a:pt x="34920" y="77220"/>
                  <a:pt x="31696" y="77241"/>
                  <a:pt x="29702" y="79214"/>
                </a:cubicBezTo>
                <a:cubicBezTo>
                  <a:pt x="27707" y="81187"/>
                  <a:pt x="27707" y="84412"/>
                  <a:pt x="29702" y="86406"/>
                </a:cubicBezTo>
                <a:lnTo>
                  <a:pt x="38187" y="94891"/>
                </a:lnTo>
                <a:cubicBezTo>
                  <a:pt x="39248" y="95952"/>
                  <a:pt x="40733" y="96461"/>
                  <a:pt x="42239" y="96334"/>
                </a:cubicBezTo>
                <a:cubicBezTo>
                  <a:pt x="43745" y="96207"/>
                  <a:pt x="45103" y="95422"/>
                  <a:pt x="45973" y="94191"/>
                </a:cubicBezTo>
                <a:lnTo>
                  <a:pt x="57853" y="77220"/>
                </a:lnTo>
                <a:cubicBezTo>
                  <a:pt x="59465" y="74929"/>
                  <a:pt x="58913" y="71747"/>
                  <a:pt x="56601" y="70134"/>
                </a:cubicBezTo>
                <a:close/>
                <a:moveTo>
                  <a:pt x="82525" y="42068"/>
                </a:moveTo>
                <a:cubicBezTo>
                  <a:pt x="78770" y="42068"/>
                  <a:pt x="75736" y="45102"/>
                  <a:pt x="75736" y="48857"/>
                </a:cubicBezTo>
                <a:cubicBezTo>
                  <a:pt x="75736" y="52612"/>
                  <a:pt x="78770" y="55645"/>
                  <a:pt x="82525" y="55645"/>
                </a:cubicBezTo>
                <a:lnTo>
                  <a:pt x="130044" y="55645"/>
                </a:lnTo>
                <a:cubicBezTo>
                  <a:pt x="133799" y="55645"/>
                  <a:pt x="136833" y="52612"/>
                  <a:pt x="136833" y="48857"/>
                </a:cubicBezTo>
                <a:cubicBezTo>
                  <a:pt x="136833" y="45102"/>
                  <a:pt x="133799" y="42068"/>
                  <a:pt x="130044" y="42068"/>
                </a:cubicBezTo>
                <a:close/>
                <a:moveTo>
                  <a:pt x="56601" y="36192"/>
                </a:moveTo>
                <a:cubicBezTo>
                  <a:pt x="54310" y="34580"/>
                  <a:pt x="51128" y="35131"/>
                  <a:pt x="49516" y="37444"/>
                </a:cubicBezTo>
                <a:lnTo>
                  <a:pt x="41115" y="49451"/>
                </a:lnTo>
                <a:lnTo>
                  <a:pt x="36914" y="45250"/>
                </a:lnTo>
                <a:cubicBezTo>
                  <a:pt x="34920" y="43277"/>
                  <a:pt x="31675" y="43256"/>
                  <a:pt x="29702" y="45250"/>
                </a:cubicBezTo>
                <a:cubicBezTo>
                  <a:pt x="27729" y="47245"/>
                  <a:pt x="27729" y="50469"/>
                  <a:pt x="29702" y="52463"/>
                </a:cubicBezTo>
                <a:lnTo>
                  <a:pt x="38187" y="60949"/>
                </a:lnTo>
                <a:cubicBezTo>
                  <a:pt x="39248" y="62009"/>
                  <a:pt x="40733" y="62519"/>
                  <a:pt x="42239" y="62391"/>
                </a:cubicBezTo>
                <a:cubicBezTo>
                  <a:pt x="43745" y="62264"/>
                  <a:pt x="45103" y="61479"/>
                  <a:pt x="45973" y="60249"/>
                </a:cubicBezTo>
                <a:lnTo>
                  <a:pt x="57853" y="43277"/>
                </a:lnTo>
                <a:cubicBezTo>
                  <a:pt x="59465" y="40986"/>
                  <a:pt x="58913" y="37804"/>
                  <a:pt x="56601" y="36192"/>
                </a:cubicBezTo>
                <a:close/>
                <a:moveTo>
                  <a:pt x="82526" y="0"/>
                </a:moveTo>
                <a:cubicBezTo>
                  <a:pt x="128103" y="0"/>
                  <a:pt x="165051" y="37071"/>
                  <a:pt x="165051" y="82800"/>
                </a:cubicBezTo>
                <a:cubicBezTo>
                  <a:pt x="165051" y="128529"/>
                  <a:pt x="128103" y="165600"/>
                  <a:pt x="82526" y="165600"/>
                </a:cubicBezTo>
                <a:cubicBezTo>
                  <a:pt x="36948" y="165600"/>
                  <a:pt x="0" y="128529"/>
                  <a:pt x="0" y="82800"/>
                </a:cubicBezTo>
                <a:cubicBezTo>
                  <a:pt x="0" y="37071"/>
                  <a:pt x="36948" y="0"/>
                  <a:pt x="82526" y="0"/>
                </a:cubicBezTo>
                <a:close/>
              </a:path>
            </a:pathLst>
          </a:custGeom>
          <a:solidFill>
            <a:schemeClr val="accent1"/>
          </a:solidFill>
          <a:ln w="208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83" name="Forma libre 82">
            <a:extLst>
              <a:ext uri="{FF2B5EF4-FFF2-40B4-BE49-F238E27FC236}">
                <a16:creationId xmlns:a16="http://schemas.microsoft.com/office/drawing/2014/main" id="{BA1A5A21-8869-64E8-C0E0-0291A5934393}"/>
              </a:ext>
            </a:extLst>
          </p:cNvPr>
          <p:cNvSpPr/>
          <p:nvPr/>
        </p:nvSpPr>
        <p:spPr>
          <a:xfrm>
            <a:off x="4910110" y="3062659"/>
            <a:ext cx="162047" cy="162586"/>
          </a:xfrm>
          <a:custGeom>
            <a:avLst/>
            <a:gdLst>
              <a:gd name="connsiteX0" fmla="*/ 105887 w 165051"/>
              <a:gd name="connsiteY0" fmla="*/ 98083 h 165600"/>
              <a:gd name="connsiteX1" fmla="*/ 113910 w 165051"/>
              <a:gd name="connsiteY1" fmla="*/ 106089 h 165600"/>
              <a:gd name="connsiteX2" fmla="*/ 105905 w 165051"/>
              <a:gd name="connsiteY2" fmla="*/ 114094 h 165600"/>
              <a:gd name="connsiteX3" fmla="*/ 97899 w 165051"/>
              <a:gd name="connsiteY3" fmla="*/ 106107 h 165600"/>
              <a:gd name="connsiteX4" fmla="*/ 105887 w 165051"/>
              <a:gd name="connsiteY4" fmla="*/ 98083 h 165600"/>
              <a:gd name="connsiteX5" fmla="*/ 99955 w 165051"/>
              <a:gd name="connsiteY5" fmla="*/ 74521 h 165600"/>
              <a:gd name="connsiteX6" fmla="*/ 95188 w 165051"/>
              <a:gd name="connsiteY6" fmla="*/ 75795 h 165600"/>
              <a:gd name="connsiteX7" fmla="*/ 91640 w 165051"/>
              <a:gd name="connsiteY7" fmla="*/ 80744 h 165600"/>
              <a:gd name="connsiteX8" fmla="*/ 92132 w 165051"/>
              <a:gd name="connsiteY8" fmla="*/ 88349 h 165600"/>
              <a:gd name="connsiteX9" fmla="*/ 88147 w 165051"/>
              <a:gd name="connsiteY9" fmla="*/ 92352 h 165600"/>
              <a:gd name="connsiteX10" fmla="*/ 80524 w 165051"/>
              <a:gd name="connsiteY10" fmla="*/ 91861 h 165600"/>
              <a:gd name="connsiteX11" fmla="*/ 75575 w 165051"/>
              <a:gd name="connsiteY11" fmla="*/ 95408 h 165600"/>
              <a:gd name="connsiteX12" fmla="*/ 74301 w 165051"/>
              <a:gd name="connsiteY12" fmla="*/ 100175 h 165600"/>
              <a:gd name="connsiteX13" fmla="*/ 76812 w 165051"/>
              <a:gd name="connsiteY13" fmla="*/ 105725 h 165600"/>
              <a:gd name="connsiteX14" fmla="*/ 83671 w 165051"/>
              <a:gd name="connsiteY14" fmla="*/ 109109 h 165600"/>
              <a:gd name="connsiteX15" fmla="*/ 84217 w 165051"/>
              <a:gd name="connsiteY15" fmla="*/ 111874 h 165600"/>
              <a:gd name="connsiteX16" fmla="*/ 85127 w 165051"/>
              <a:gd name="connsiteY16" fmla="*/ 114549 h 165600"/>
              <a:gd name="connsiteX17" fmla="*/ 80887 w 165051"/>
              <a:gd name="connsiteY17" fmla="*/ 120917 h 165600"/>
              <a:gd name="connsiteX18" fmla="*/ 81488 w 165051"/>
              <a:gd name="connsiteY18" fmla="*/ 126976 h 165600"/>
              <a:gd name="connsiteX19" fmla="*/ 84981 w 165051"/>
              <a:gd name="connsiteY19" fmla="*/ 130469 h 165600"/>
              <a:gd name="connsiteX20" fmla="*/ 91040 w 165051"/>
              <a:gd name="connsiteY20" fmla="*/ 131069 h 165600"/>
              <a:gd name="connsiteX21" fmla="*/ 97408 w 165051"/>
              <a:gd name="connsiteY21" fmla="*/ 126830 h 165600"/>
              <a:gd name="connsiteX22" fmla="*/ 102848 w 165051"/>
              <a:gd name="connsiteY22" fmla="*/ 128304 h 165600"/>
              <a:gd name="connsiteX23" fmla="*/ 106232 w 165051"/>
              <a:gd name="connsiteY23" fmla="*/ 135145 h 165600"/>
              <a:gd name="connsiteX24" fmla="*/ 111781 w 165051"/>
              <a:gd name="connsiteY24" fmla="*/ 137656 h 165600"/>
              <a:gd name="connsiteX25" fmla="*/ 116548 w 165051"/>
              <a:gd name="connsiteY25" fmla="*/ 136382 h 165600"/>
              <a:gd name="connsiteX26" fmla="*/ 120096 w 165051"/>
              <a:gd name="connsiteY26" fmla="*/ 131433 h 165600"/>
              <a:gd name="connsiteX27" fmla="*/ 119605 w 165051"/>
              <a:gd name="connsiteY27" fmla="*/ 123810 h 165600"/>
              <a:gd name="connsiteX28" fmla="*/ 123590 w 165051"/>
              <a:gd name="connsiteY28" fmla="*/ 119807 h 165600"/>
              <a:gd name="connsiteX29" fmla="*/ 131231 w 165051"/>
              <a:gd name="connsiteY29" fmla="*/ 120298 h 165600"/>
              <a:gd name="connsiteX30" fmla="*/ 136180 w 165051"/>
              <a:gd name="connsiteY30" fmla="*/ 116750 h 165600"/>
              <a:gd name="connsiteX31" fmla="*/ 137454 w 165051"/>
              <a:gd name="connsiteY31" fmla="*/ 111983 h 165600"/>
              <a:gd name="connsiteX32" fmla="*/ 134943 w 165051"/>
              <a:gd name="connsiteY32" fmla="*/ 106434 h 165600"/>
              <a:gd name="connsiteX33" fmla="*/ 128084 w 165051"/>
              <a:gd name="connsiteY33" fmla="*/ 103050 h 165600"/>
              <a:gd name="connsiteX34" fmla="*/ 127538 w 165051"/>
              <a:gd name="connsiteY34" fmla="*/ 100285 h 165600"/>
              <a:gd name="connsiteX35" fmla="*/ 126628 w 165051"/>
              <a:gd name="connsiteY35" fmla="*/ 97610 h 165600"/>
              <a:gd name="connsiteX36" fmla="*/ 130867 w 165051"/>
              <a:gd name="connsiteY36" fmla="*/ 91260 h 165600"/>
              <a:gd name="connsiteX37" fmla="*/ 130267 w 165051"/>
              <a:gd name="connsiteY37" fmla="*/ 85201 h 165600"/>
              <a:gd name="connsiteX38" fmla="*/ 126774 w 165051"/>
              <a:gd name="connsiteY38" fmla="*/ 81708 h 165600"/>
              <a:gd name="connsiteX39" fmla="*/ 120715 w 165051"/>
              <a:gd name="connsiteY39" fmla="*/ 81108 h 165600"/>
              <a:gd name="connsiteX40" fmla="*/ 114347 w 165051"/>
              <a:gd name="connsiteY40" fmla="*/ 85347 h 165600"/>
              <a:gd name="connsiteX41" fmla="*/ 108907 w 165051"/>
              <a:gd name="connsiteY41" fmla="*/ 83873 h 165600"/>
              <a:gd name="connsiteX42" fmla="*/ 105523 w 165051"/>
              <a:gd name="connsiteY42" fmla="*/ 77032 h 165600"/>
              <a:gd name="connsiteX43" fmla="*/ 99973 w 165051"/>
              <a:gd name="connsiteY43" fmla="*/ 74521 h 165600"/>
              <a:gd name="connsiteX44" fmla="*/ 59309 w 165051"/>
              <a:gd name="connsiteY44" fmla="*/ 51505 h 165600"/>
              <a:gd name="connsiteX45" fmla="*/ 67314 w 165051"/>
              <a:gd name="connsiteY45" fmla="*/ 59511 h 165600"/>
              <a:gd name="connsiteX46" fmla="*/ 59309 w 165051"/>
              <a:gd name="connsiteY46" fmla="*/ 67516 h 165600"/>
              <a:gd name="connsiteX47" fmla="*/ 51303 w 165051"/>
              <a:gd name="connsiteY47" fmla="*/ 59511 h 165600"/>
              <a:gd name="connsiteX48" fmla="*/ 59309 w 165051"/>
              <a:gd name="connsiteY48" fmla="*/ 51505 h 165600"/>
              <a:gd name="connsiteX49" fmla="*/ 65222 w 165051"/>
              <a:gd name="connsiteY49" fmla="*/ 27944 h 165600"/>
              <a:gd name="connsiteX50" fmla="*/ 59673 w 165051"/>
              <a:gd name="connsiteY50" fmla="*/ 30455 h 165600"/>
              <a:gd name="connsiteX51" fmla="*/ 56289 w 165051"/>
              <a:gd name="connsiteY51" fmla="*/ 37296 h 165600"/>
              <a:gd name="connsiteX52" fmla="*/ 50849 w 165051"/>
              <a:gd name="connsiteY52" fmla="*/ 38769 h 165600"/>
              <a:gd name="connsiteX53" fmla="*/ 44481 w 165051"/>
              <a:gd name="connsiteY53" fmla="*/ 34530 h 165600"/>
              <a:gd name="connsiteX54" fmla="*/ 38422 w 165051"/>
              <a:gd name="connsiteY54" fmla="*/ 35130 h 165600"/>
              <a:gd name="connsiteX55" fmla="*/ 34928 w 165051"/>
              <a:gd name="connsiteY55" fmla="*/ 38624 h 165600"/>
              <a:gd name="connsiteX56" fmla="*/ 34328 w 165051"/>
              <a:gd name="connsiteY56" fmla="*/ 44683 h 165600"/>
              <a:gd name="connsiteX57" fmla="*/ 38567 w 165051"/>
              <a:gd name="connsiteY57" fmla="*/ 51032 h 165600"/>
              <a:gd name="connsiteX58" fmla="*/ 37658 w 165051"/>
              <a:gd name="connsiteY58" fmla="*/ 53707 h 165600"/>
              <a:gd name="connsiteX59" fmla="*/ 37112 w 165051"/>
              <a:gd name="connsiteY59" fmla="*/ 56472 h 165600"/>
              <a:gd name="connsiteX60" fmla="*/ 30253 w 165051"/>
              <a:gd name="connsiteY60" fmla="*/ 59857 h 165600"/>
              <a:gd name="connsiteX61" fmla="*/ 27742 w 165051"/>
              <a:gd name="connsiteY61" fmla="*/ 65406 h 165600"/>
              <a:gd name="connsiteX62" fmla="*/ 29015 w 165051"/>
              <a:gd name="connsiteY62" fmla="*/ 70173 h 165600"/>
              <a:gd name="connsiteX63" fmla="*/ 33964 w 165051"/>
              <a:gd name="connsiteY63" fmla="*/ 73721 h 165600"/>
              <a:gd name="connsiteX64" fmla="*/ 41606 w 165051"/>
              <a:gd name="connsiteY64" fmla="*/ 73229 h 165600"/>
              <a:gd name="connsiteX65" fmla="*/ 45590 w 165051"/>
              <a:gd name="connsiteY65" fmla="*/ 77232 h 165600"/>
              <a:gd name="connsiteX66" fmla="*/ 45099 w 165051"/>
              <a:gd name="connsiteY66" fmla="*/ 84856 h 165600"/>
              <a:gd name="connsiteX67" fmla="*/ 48647 w 165051"/>
              <a:gd name="connsiteY67" fmla="*/ 89805 h 165600"/>
              <a:gd name="connsiteX68" fmla="*/ 53414 w 165051"/>
              <a:gd name="connsiteY68" fmla="*/ 91078 h 165600"/>
              <a:gd name="connsiteX69" fmla="*/ 58963 w 165051"/>
              <a:gd name="connsiteY69" fmla="*/ 88567 h 165600"/>
              <a:gd name="connsiteX70" fmla="*/ 62347 w 165051"/>
              <a:gd name="connsiteY70" fmla="*/ 81726 h 165600"/>
              <a:gd name="connsiteX71" fmla="*/ 67788 w 165051"/>
              <a:gd name="connsiteY71" fmla="*/ 80253 h 165600"/>
              <a:gd name="connsiteX72" fmla="*/ 74156 w 165051"/>
              <a:gd name="connsiteY72" fmla="*/ 84492 h 165600"/>
              <a:gd name="connsiteX73" fmla="*/ 80214 w 165051"/>
              <a:gd name="connsiteY73" fmla="*/ 83891 h 165600"/>
              <a:gd name="connsiteX74" fmla="*/ 83708 w 165051"/>
              <a:gd name="connsiteY74" fmla="*/ 80398 h 165600"/>
              <a:gd name="connsiteX75" fmla="*/ 84308 w 165051"/>
              <a:gd name="connsiteY75" fmla="*/ 74339 h 165600"/>
              <a:gd name="connsiteX76" fmla="*/ 80069 w 165051"/>
              <a:gd name="connsiteY76" fmla="*/ 67971 h 165600"/>
              <a:gd name="connsiteX77" fmla="*/ 80978 w 165051"/>
              <a:gd name="connsiteY77" fmla="*/ 65297 h 165600"/>
              <a:gd name="connsiteX78" fmla="*/ 81524 w 165051"/>
              <a:gd name="connsiteY78" fmla="*/ 62531 h 165600"/>
              <a:gd name="connsiteX79" fmla="*/ 88384 w 165051"/>
              <a:gd name="connsiteY79" fmla="*/ 59147 h 165600"/>
              <a:gd name="connsiteX80" fmla="*/ 90894 w 165051"/>
              <a:gd name="connsiteY80" fmla="*/ 53598 h 165600"/>
              <a:gd name="connsiteX81" fmla="*/ 89621 w 165051"/>
              <a:gd name="connsiteY81" fmla="*/ 48831 h 165600"/>
              <a:gd name="connsiteX82" fmla="*/ 84672 w 165051"/>
              <a:gd name="connsiteY82" fmla="*/ 45283 h 165600"/>
              <a:gd name="connsiteX83" fmla="*/ 77030 w 165051"/>
              <a:gd name="connsiteY83" fmla="*/ 45774 h 165600"/>
              <a:gd name="connsiteX84" fmla="*/ 73046 w 165051"/>
              <a:gd name="connsiteY84" fmla="*/ 41771 h 165600"/>
              <a:gd name="connsiteX85" fmla="*/ 73537 w 165051"/>
              <a:gd name="connsiteY85" fmla="*/ 34166 h 165600"/>
              <a:gd name="connsiteX86" fmla="*/ 69989 w 165051"/>
              <a:gd name="connsiteY86" fmla="*/ 29217 h 165600"/>
              <a:gd name="connsiteX87" fmla="*/ 82526 w 165051"/>
              <a:gd name="connsiteY87" fmla="*/ 0 h 165600"/>
              <a:gd name="connsiteX88" fmla="*/ 165051 w 165051"/>
              <a:gd name="connsiteY88" fmla="*/ 82800 h 165600"/>
              <a:gd name="connsiteX89" fmla="*/ 82526 w 165051"/>
              <a:gd name="connsiteY89" fmla="*/ 165600 h 165600"/>
              <a:gd name="connsiteX90" fmla="*/ 0 w 165051"/>
              <a:gd name="connsiteY90" fmla="*/ 82800 h 165600"/>
              <a:gd name="connsiteX91" fmla="*/ 82526 w 165051"/>
              <a:gd name="connsiteY91" fmla="*/ 0 h 16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165051" h="165600">
                <a:moveTo>
                  <a:pt x="105887" y="98083"/>
                </a:moveTo>
                <a:cubicBezTo>
                  <a:pt x="110308" y="98083"/>
                  <a:pt x="113892" y="101649"/>
                  <a:pt x="113910" y="106089"/>
                </a:cubicBezTo>
                <a:cubicBezTo>
                  <a:pt x="113910" y="110510"/>
                  <a:pt x="110326" y="114094"/>
                  <a:pt x="105905" y="114094"/>
                </a:cubicBezTo>
                <a:cubicBezTo>
                  <a:pt x="101483" y="114094"/>
                  <a:pt x="97899" y="110528"/>
                  <a:pt x="97899" y="106107"/>
                </a:cubicBezTo>
                <a:cubicBezTo>
                  <a:pt x="97881" y="101667"/>
                  <a:pt x="101465" y="98083"/>
                  <a:pt x="105887" y="98083"/>
                </a:cubicBezTo>
                <a:close/>
                <a:moveTo>
                  <a:pt x="99955" y="74521"/>
                </a:moveTo>
                <a:lnTo>
                  <a:pt x="95188" y="75795"/>
                </a:lnTo>
                <a:cubicBezTo>
                  <a:pt x="92987" y="76377"/>
                  <a:pt x="91495" y="78451"/>
                  <a:pt x="91640" y="80744"/>
                </a:cubicBezTo>
                <a:lnTo>
                  <a:pt x="92132" y="88349"/>
                </a:lnTo>
                <a:cubicBezTo>
                  <a:pt x="90621" y="89513"/>
                  <a:pt x="89293" y="90878"/>
                  <a:pt x="88147" y="92352"/>
                </a:cubicBezTo>
                <a:lnTo>
                  <a:pt x="80524" y="91861"/>
                </a:lnTo>
                <a:cubicBezTo>
                  <a:pt x="78231" y="91715"/>
                  <a:pt x="76175" y="93207"/>
                  <a:pt x="75575" y="95408"/>
                </a:cubicBezTo>
                <a:lnTo>
                  <a:pt x="74301" y="100175"/>
                </a:lnTo>
                <a:cubicBezTo>
                  <a:pt x="73719" y="102377"/>
                  <a:pt x="74756" y="104706"/>
                  <a:pt x="76812" y="105725"/>
                </a:cubicBezTo>
                <a:lnTo>
                  <a:pt x="83671" y="109109"/>
                </a:lnTo>
                <a:cubicBezTo>
                  <a:pt x="83799" y="110019"/>
                  <a:pt x="83962" y="110946"/>
                  <a:pt x="84217" y="111874"/>
                </a:cubicBezTo>
                <a:cubicBezTo>
                  <a:pt x="84472" y="112802"/>
                  <a:pt x="84781" y="113694"/>
                  <a:pt x="85127" y="114549"/>
                </a:cubicBezTo>
                <a:lnTo>
                  <a:pt x="80887" y="120917"/>
                </a:lnTo>
                <a:cubicBezTo>
                  <a:pt x="79614" y="122827"/>
                  <a:pt x="79869" y="125356"/>
                  <a:pt x="81488" y="126976"/>
                </a:cubicBezTo>
                <a:lnTo>
                  <a:pt x="84981" y="130469"/>
                </a:lnTo>
                <a:cubicBezTo>
                  <a:pt x="86600" y="132088"/>
                  <a:pt x="89129" y="132343"/>
                  <a:pt x="91040" y="131069"/>
                </a:cubicBezTo>
                <a:lnTo>
                  <a:pt x="97408" y="126830"/>
                </a:lnTo>
                <a:cubicBezTo>
                  <a:pt x="99136" y="127540"/>
                  <a:pt x="100974" y="128049"/>
                  <a:pt x="102848" y="128304"/>
                </a:cubicBezTo>
                <a:lnTo>
                  <a:pt x="106232" y="135145"/>
                </a:lnTo>
                <a:cubicBezTo>
                  <a:pt x="107251" y="137201"/>
                  <a:pt x="109562" y="138256"/>
                  <a:pt x="111781" y="137656"/>
                </a:cubicBezTo>
                <a:lnTo>
                  <a:pt x="116548" y="136382"/>
                </a:lnTo>
                <a:cubicBezTo>
                  <a:pt x="118750" y="135800"/>
                  <a:pt x="120242" y="133726"/>
                  <a:pt x="120096" y="131433"/>
                </a:cubicBezTo>
                <a:lnTo>
                  <a:pt x="119605" y="123810"/>
                </a:lnTo>
                <a:cubicBezTo>
                  <a:pt x="121115" y="122645"/>
                  <a:pt x="122443" y="121281"/>
                  <a:pt x="123590" y="119807"/>
                </a:cubicBezTo>
                <a:lnTo>
                  <a:pt x="131231" y="120298"/>
                </a:lnTo>
                <a:cubicBezTo>
                  <a:pt x="133524" y="120444"/>
                  <a:pt x="135580" y="118952"/>
                  <a:pt x="136180" y="116750"/>
                </a:cubicBezTo>
                <a:lnTo>
                  <a:pt x="137454" y="111983"/>
                </a:lnTo>
                <a:cubicBezTo>
                  <a:pt x="138054" y="109782"/>
                  <a:pt x="136999" y="107453"/>
                  <a:pt x="134943" y="106434"/>
                </a:cubicBezTo>
                <a:lnTo>
                  <a:pt x="128084" y="103050"/>
                </a:lnTo>
                <a:cubicBezTo>
                  <a:pt x="127956" y="102122"/>
                  <a:pt x="127793" y="101212"/>
                  <a:pt x="127538" y="100285"/>
                </a:cubicBezTo>
                <a:cubicBezTo>
                  <a:pt x="127283" y="99357"/>
                  <a:pt x="126974" y="98465"/>
                  <a:pt x="126628" y="97610"/>
                </a:cubicBezTo>
                <a:lnTo>
                  <a:pt x="130867" y="91260"/>
                </a:lnTo>
                <a:cubicBezTo>
                  <a:pt x="132141" y="89368"/>
                  <a:pt x="131886" y="86821"/>
                  <a:pt x="130267" y="85201"/>
                </a:cubicBezTo>
                <a:lnTo>
                  <a:pt x="126774" y="81708"/>
                </a:lnTo>
                <a:cubicBezTo>
                  <a:pt x="125154" y="80089"/>
                  <a:pt x="122625" y="79834"/>
                  <a:pt x="120715" y="81108"/>
                </a:cubicBezTo>
                <a:lnTo>
                  <a:pt x="114347" y="85347"/>
                </a:lnTo>
                <a:cubicBezTo>
                  <a:pt x="112618" y="84637"/>
                  <a:pt x="110781" y="84128"/>
                  <a:pt x="108907" y="83873"/>
                </a:cubicBezTo>
                <a:lnTo>
                  <a:pt x="105523" y="77032"/>
                </a:lnTo>
                <a:cubicBezTo>
                  <a:pt x="104522" y="74976"/>
                  <a:pt x="102193" y="73921"/>
                  <a:pt x="99973" y="74521"/>
                </a:cubicBezTo>
                <a:close/>
                <a:moveTo>
                  <a:pt x="59309" y="51505"/>
                </a:moveTo>
                <a:cubicBezTo>
                  <a:pt x="63730" y="51505"/>
                  <a:pt x="67314" y="55090"/>
                  <a:pt x="67314" y="59511"/>
                </a:cubicBezTo>
                <a:cubicBezTo>
                  <a:pt x="67314" y="63932"/>
                  <a:pt x="63730" y="67516"/>
                  <a:pt x="59309" y="67516"/>
                </a:cubicBezTo>
                <a:cubicBezTo>
                  <a:pt x="54888" y="67516"/>
                  <a:pt x="51303" y="63932"/>
                  <a:pt x="51303" y="59511"/>
                </a:cubicBezTo>
                <a:cubicBezTo>
                  <a:pt x="51303" y="55090"/>
                  <a:pt x="54888" y="51505"/>
                  <a:pt x="59309" y="51505"/>
                </a:cubicBezTo>
                <a:close/>
                <a:moveTo>
                  <a:pt x="65222" y="27944"/>
                </a:moveTo>
                <a:cubicBezTo>
                  <a:pt x="63002" y="27361"/>
                  <a:pt x="60692" y="28399"/>
                  <a:pt x="59673" y="30455"/>
                </a:cubicBezTo>
                <a:lnTo>
                  <a:pt x="56289" y="37296"/>
                </a:lnTo>
                <a:cubicBezTo>
                  <a:pt x="54415" y="37550"/>
                  <a:pt x="52577" y="38060"/>
                  <a:pt x="50849" y="38769"/>
                </a:cubicBezTo>
                <a:lnTo>
                  <a:pt x="44481" y="34530"/>
                </a:lnTo>
                <a:cubicBezTo>
                  <a:pt x="42570" y="33256"/>
                  <a:pt x="40041" y="33511"/>
                  <a:pt x="38422" y="35130"/>
                </a:cubicBezTo>
                <a:lnTo>
                  <a:pt x="34928" y="38624"/>
                </a:lnTo>
                <a:cubicBezTo>
                  <a:pt x="33309" y="40243"/>
                  <a:pt x="33054" y="42772"/>
                  <a:pt x="34328" y="44683"/>
                </a:cubicBezTo>
                <a:lnTo>
                  <a:pt x="38567" y="51032"/>
                </a:lnTo>
                <a:cubicBezTo>
                  <a:pt x="38203" y="51887"/>
                  <a:pt x="37912" y="52779"/>
                  <a:pt x="37658" y="53707"/>
                </a:cubicBezTo>
                <a:cubicBezTo>
                  <a:pt x="37421" y="54635"/>
                  <a:pt x="37239" y="55545"/>
                  <a:pt x="37112" y="56472"/>
                </a:cubicBezTo>
                <a:lnTo>
                  <a:pt x="30253" y="59857"/>
                </a:lnTo>
                <a:cubicBezTo>
                  <a:pt x="28197" y="60875"/>
                  <a:pt x="27159" y="63204"/>
                  <a:pt x="27742" y="65406"/>
                </a:cubicBezTo>
                <a:lnTo>
                  <a:pt x="29015" y="70173"/>
                </a:lnTo>
                <a:cubicBezTo>
                  <a:pt x="29616" y="72374"/>
                  <a:pt x="31690" y="73866"/>
                  <a:pt x="33964" y="73721"/>
                </a:cubicBezTo>
                <a:lnTo>
                  <a:pt x="41606" y="73229"/>
                </a:lnTo>
                <a:cubicBezTo>
                  <a:pt x="42752" y="74721"/>
                  <a:pt x="44080" y="76068"/>
                  <a:pt x="45590" y="77232"/>
                </a:cubicBezTo>
                <a:lnTo>
                  <a:pt x="45099" y="84856"/>
                </a:lnTo>
                <a:cubicBezTo>
                  <a:pt x="44954" y="87130"/>
                  <a:pt x="46427" y="89204"/>
                  <a:pt x="48647" y="89805"/>
                </a:cubicBezTo>
                <a:lnTo>
                  <a:pt x="53414" y="91078"/>
                </a:lnTo>
                <a:cubicBezTo>
                  <a:pt x="55615" y="91660"/>
                  <a:pt x="57944" y="90623"/>
                  <a:pt x="58963" y="88567"/>
                </a:cubicBezTo>
                <a:lnTo>
                  <a:pt x="62347" y="81726"/>
                </a:lnTo>
                <a:cubicBezTo>
                  <a:pt x="64221" y="81472"/>
                  <a:pt x="66059" y="80962"/>
                  <a:pt x="67788" y="80253"/>
                </a:cubicBezTo>
                <a:lnTo>
                  <a:pt x="74156" y="84492"/>
                </a:lnTo>
                <a:cubicBezTo>
                  <a:pt x="76066" y="85765"/>
                  <a:pt x="78595" y="85511"/>
                  <a:pt x="80214" y="83891"/>
                </a:cubicBezTo>
                <a:lnTo>
                  <a:pt x="83708" y="80398"/>
                </a:lnTo>
                <a:cubicBezTo>
                  <a:pt x="85327" y="78779"/>
                  <a:pt x="85582" y="76250"/>
                  <a:pt x="84308" y="74339"/>
                </a:cubicBezTo>
                <a:lnTo>
                  <a:pt x="80069" y="67971"/>
                </a:lnTo>
                <a:cubicBezTo>
                  <a:pt x="80414" y="67116"/>
                  <a:pt x="80742" y="66206"/>
                  <a:pt x="80978" y="65297"/>
                </a:cubicBezTo>
                <a:cubicBezTo>
                  <a:pt x="81215" y="64387"/>
                  <a:pt x="81397" y="63459"/>
                  <a:pt x="81524" y="62531"/>
                </a:cubicBezTo>
                <a:lnTo>
                  <a:pt x="88384" y="59147"/>
                </a:lnTo>
                <a:cubicBezTo>
                  <a:pt x="90439" y="58128"/>
                  <a:pt x="91477" y="55799"/>
                  <a:pt x="90894" y="53598"/>
                </a:cubicBezTo>
                <a:lnTo>
                  <a:pt x="89621" y="48831"/>
                </a:lnTo>
                <a:cubicBezTo>
                  <a:pt x="89020" y="46629"/>
                  <a:pt x="86946" y="45137"/>
                  <a:pt x="84672" y="45283"/>
                </a:cubicBezTo>
                <a:lnTo>
                  <a:pt x="77030" y="45774"/>
                </a:lnTo>
                <a:cubicBezTo>
                  <a:pt x="75884" y="44282"/>
                  <a:pt x="74556" y="42936"/>
                  <a:pt x="73046" y="41771"/>
                </a:cubicBezTo>
                <a:lnTo>
                  <a:pt x="73537" y="34166"/>
                </a:lnTo>
                <a:cubicBezTo>
                  <a:pt x="73682" y="31892"/>
                  <a:pt x="72191" y="29818"/>
                  <a:pt x="69989" y="29217"/>
                </a:cubicBezTo>
                <a:close/>
                <a:moveTo>
                  <a:pt x="82526" y="0"/>
                </a:moveTo>
                <a:cubicBezTo>
                  <a:pt x="128103" y="0"/>
                  <a:pt x="165051" y="37071"/>
                  <a:pt x="165051" y="82800"/>
                </a:cubicBezTo>
                <a:cubicBezTo>
                  <a:pt x="165051" y="128529"/>
                  <a:pt x="128103" y="165600"/>
                  <a:pt x="82526" y="165600"/>
                </a:cubicBezTo>
                <a:cubicBezTo>
                  <a:pt x="36948" y="165600"/>
                  <a:pt x="0" y="128529"/>
                  <a:pt x="0" y="82800"/>
                </a:cubicBezTo>
                <a:cubicBezTo>
                  <a:pt x="0" y="37071"/>
                  <a:pt x="36948" y="0"/>
                  <a:pt x="82526" y="0"/>
                </a:cubicBezTo>
                <a:close/>
              </a:path>
            </a:pathLst>
          </a:custGeom>
          <a:solidFill>
            <a:srgbClr val="FFC000"/>
          </a:solidFill>
          <a:ln w="179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84" name="Forma libre 83">
            <a:extLst>
              <a:ext uri="{FF2B5EF4-FFF2-40B4-BE49-F238E27FC236}">
                <a16:creationId xmlns:a16="http://schemas.microsoft.com/office/drawing/2014/main" id="{1EFEF702-A72B-06F5-349D-DE778A9AADDE}"/>
              </a:ext>
            </a:extLst>
          </p:cNvPr>
          <p:cNvSpPr/>
          <p:nvPr/>
        </p:nvSpPr>
        <p:spPr>
          <a:xfrm>
            <a:off x="4910110" y="3458853"/>
            <a:ext cx="162047" cy="162586"/>
          </a:xfrm>
          <a:custGeom>
            <a:avLst/>
            <a:gdLst>
              <a:gd name="connsiteX0" fmla="*/ 105887 w 165051"/>
              <a:gd name="connsiteY0" fmla="*/ 98083 h 165600"/>
              <a:gd name="connsiteX1" fmla="*/ 113910 w 165051"/>
              <a:gd name="connsiteY1" fmla="*/ 106089 h 165600"/>
              <a:gd name="connsiteX2" fmla="*/ 105905 w 165051"/>
              <a:gd name="connsiteY2" fmla="*/ 114094 h 165600"/>
              <a:gd name="connsiteX3" fmla="*/ 97899 w 165051"/>
              <a:gd name="connsiteY3" fmla="*/ 106107 h 165600"/>
              <a:gd name="connsiteX4" fmla="*/ 105887 w 165051"/>
              <a:gd name="connsiteY4" fmla="*/ 98083 h 165600"/>
              <a:gd name="connsiteX5" fmla="*/ 99955 w 165051"/>
              <a:gd name="connsiteY5" fmla="*/ 74521 h 165600"/>
              <a:gd name="connsiteX6" fmla="*/ 95188 w 165051"/>
              <a:gd name="connsiteY6" fmla="*/ 75795 h 165600"/>
              <a:gd name="connsiteX7" fmla="*/ 91640 w 165051"/>
              <a:gd name="connsiteY7" fmla="*/ 80744 h 165600"/>
              <a:gd name="connsiteX8" fmla="*/ 92132 w 165051"/>
              <a:gd name="connsiteY8" fmla="*/ 88349 h 165600"/>
              <a:gd name="connsiteX9" fmla="*/ 88147 w 165051"/>
              <a:gd name="connsiteY9" fmla="*/ 92352 h 165600"/>
              <a:gd name="connsiteX10" fmla="*/ 80524 w 165051"/>
              <a:gd name="connsiteY10" fmla="*/ 91861 h 165600"/>
              <a:gd name="connsiteX11" fmla="*/ 75575 w 165051"/>
              <a:gd name="connsiteY11" fmla="*/ 95408 h 165600"/>
              <a:gd name="connsiteX12" fmla="*/ 74301 w 165051"/>
              <a:gd name="connsiteY12" fmla="*/ 100175 h 165600"/>
              <a:gd name="connsiteX13" fmla="*/ 76812 w 165051"/>
              <a:gd name="connsiteY13" fmla="*/ 105725 h 165600"/>
              <a:gd name="connsiteX14" fmla="*/ 83671 w 165051"/>
              <a:gd name="connsiteY14" fmla="*/ 109109 h 165600"/>
              <a:gd name="connsiteX15" fmla="*/ 84217 w 165051"/>
              <a:gd name="connsiteY15" fmla="*/ 111874 h 165600"/>
              <a:gd name="connsiteX16" fmla="*/ 85127 w 165051"/>
              <a:gd name="connsiteY16" fmla="*/ 114549 h 165600"/>
              <a:gd name="connsiteX17" fmla="*/ 80887 w 165051"/>
              <a:gd name="connsiteY17" fmla="*/ 120917 h 165600"/>
              <a:gd name="connsiteX18" fmla="*/ 81488 w 165051"/>
              <a:gd name="connsiteY18" fmla="*/ 126976 h 165600"/>
              <a:gd name="connsiteX19" fmla="*/ 84981 w 165051"/>
              <a:gd name="connsiteY19" fmla="*/ 130469 h 165600"/>
              <a:gd name="connsiteX20" fmla="*/ 91040 w 165051"/>
              <a:gd name="connsiteY20" fmla="*/ 131069 h 165600"/>
              <a:gd name="connsiteX21" fmla="*/ 97408 w 165051"/>
              <a:gd name="connsiteY21" fmla="*/ 126830 h 165600"/>
              <a:gd name="connsiteX22" fmla="*/ 102848 w 165051"/>
              <a:gd name="connsiteY22" fmla="*/ 128304 h 165600"/>
              <a:gd name="connsiteX23" fmla="*/ 106232 w 165051"/>
              <a:gd name="connsiteY23" fmla="*/ 135145 h 165600"/>
              <a:gd name="connsiteX24" fmla="*/ 111781 w 165051"/>
              <a:gd name="connsiteY24" fmla="*/ 137656 h 165600"/>
              <a:gd name="connsiteX25" fmla="*/ 116548 w 165051"/>
              <a:gd name="connsiteY25" fmla="*/ 136382 h 165600"/>
              <a:gd name="connsiteX26" fmla="*/ 120096 w 165051"/>
              <a:gd name="connsiteY26" fmla="*/ 131433 h 165600"/>
              <a:gd name="connsiteX27" fmla="*/ 119605 w 165051"/>
              <a:gd name="connsiteY27" fmla="*/ 123810 h 165600"/>
              <a:gd name="connsiteX28" fmla="*/ 123590 w 165051"/>
              <a:gd name="connsiteY28" fmla="*/ 119807 h 165600"/>
              <a:gd name="connsiteX29" fmla="*/ 131231 w 165051"/>
              <a:gd name="connsiteY29" fmla="*/ 120298 h 165600"/>
              <a:gd name="connsiteX30" fmla="*/ 136180 w 165051"/>
              <a:gd name="connsiteY30" fmla="*/ 116750 h 165600"/>
              <a:gd name="connsiteX31" fmla="*/ 137454 w 165051"/>
              <a:gd name="connsiteY31" fmla="*/ 111983 h 165600"/>
              <a:gd name="connsiteX32" fmla="*/ 134943 w 165051"/>
              <a:gd name="connsiteY32" fmla="*/ 106434 h 165600"/>
              <a:gd name="connsiteX33" fmla="*/ 128084 w 165051"/>
              <a:gd name="connsiteY33" fmla="*/ 103050 h 165600"/>
              <a:gd name="connsiteX34" fmla="*/ 127538 w 165051"/>
              <a:gd name="connsiteY34" fmla="*/ 100285 h 165600"/>
              <a:gd name="connsiteX35" fmla="*/ 126628 w 165051"/>
              <a:gd name="connsiteY35" fmla="*/ 97610 h 165600"/>
              <a:gd name="connsiteX36" fmla="*/ 130867 w 165051"/>
              <a:gd name="connsiteY36" fmla="*/ 91260 h 165600"/>
              <a:gd name="connsiteX37" fmla="*/ 130267 w 165051"/>
              <a:gd name="connsiteY37" fmla="*/ 85201 h 165600"/>
              <a:gd name="connsiteX38" fmla="*/ 126774 w 165051"/>
              <a:gd name="connsiteY38" fmla="*/ 81708 h 165600"/>
              <a:gd name="connsiteX39" fmla="*/ 120715 w 165051"/>
              <a:gd name="connsiteY39" fmla="*/ 81108 h 165600"/>
              <a:gd name="connsiteX40" fmla="*/ 114347 w 165051"/>
              <a:gd name="connsiteY40" fmla="*/ 85347 h 165600"/>
              <a:gd name="connsiteX41" fmla="*/ 108907 w 165051"/>
              <a:gd name="connsiteY41" fmla="*/ 83873 h 165600"/>
              <a:gd name="connsiteX42" fmla="*/ 105523 w 165051"/>
              <a:gd name="connsiteY42" fmla="*/ 77032 h 165600"/>
              <a:gd name="connsiteX43" fmla="*/ 99973 w 165051"/>
              <a:gd name="connsiteY43" fmla="*/ 74521 h 165600"/>
              <a:gd name="connsiteX44" fmla="*/ 59309 w 165051"/>
              <a:gd name="connsiteY44" fmla="*/ 51505 h 165600"/>
              <a:gd name="connsiteX45" fmla="*/ 67314 w 165051"/>
              <a:gd name="connsiteY45" fmla="*/ 59511 h 165600"/>
              <a:gd name="connsiteX46" fmla="*/ 59309 w 165051"/>
              <a:gd name="connsiteY46" fmla="*/ 67516 h 165600"/>
              <a:gd name="connsiteX47" fmla="*/ 51303 w 165051"/>
              <a:gd name="connsiteY47" fmla="*/ 59511 h 165600"/>
              <a:gd name="connsiteX48" fmla="*/ 59309 w 165051"/>
              <a:gd name="connsiteY48" fmla="*/ 51505 h 165600"/>
              <a:gd name="connsiteX49" fmla="*/ 65222 w 165051"/>
              <a:gd name="connsiteY49" fmla="*/ 27944 h 165600"/>
              <a:gd name="connsiteX50" fmla="*/ 59673 w 165051"/>
              <a:gd name="connsiteY50" fmla="*/ 30455 h 165600"/>
              <a:gd name="connsiteX51" fmla="*/ 56289 w 165051"/>
              <a:gd name="connsiteY51" fmla="*/ 37296 h 165600"/>
              <a:gd name="connsiteX52" fmla="*/ 50849 w 165051"/>
              <a:gd name="connsiteY52" fmla="*/ 38769 h 165600"/>
              <a:gd name="connsiteX53" fmla="*/ 44481 w 165051"/>
              <a:gd name="connsiteY53" fmla="*/ 34530 h 165600"/>
              <a:gd name="connsiteX54" fmla="*/ 38422 w 165051"/>
              <a:gd name="connsiteY54" fmla="*/ 35130 h 165600"/>
              <a:gd name="connsiteX55" fmla="*/ 34928 w 165051"/>
              <a:gd name="connsiteY55" fmla="*/ 38624 h 165600"/>
              <a:gd name="connsiteX56" fmla="*/ 34328 w 165051"/>
              <a:gd name="connsiteY56" fmla="*/ 44683 h 165600"/>
              <a:gd name="connsiteX57" fmla="*/ 38567 w 165051"/>
              <a:gd name="connsiteY57" fmla="*/ 51032 h 165600"/>
              <a:gd name="connsiteX58" fmla="*/ 37658 w 165051"/>
              <a:gd name="connsiteY58" fmla="*/ 53707 h 165600"/>
              <a:gd name="connsiteX59" fmla="*/ 37112 w 165051"/>
              <a:gd name="connsiteY59" fmla="*/ 56472 h 165600"/>
              <a:gd name="connsiteX60" fmla="*/ 30253 w 165051"/>
              <a:gd name="connsiteY60" fmla="*/ 59857 h 165600"/>
              <a:gd name="connsiteX61" fmla="*/ 27742 w 165051"/>
              <a:gd name="connsiteY61" fmla="*/ 65406 h 165600"/>
              <a:gd name="connsiteX62" fmla="*/ 29015 w 165051"/>
              <a:gd name="connsiteY62" fmla="*/ 70173 h 165600"/>
              <a:gd name="connsiteX63" fmla="*/ 33964 w 165051"/>
              <a:gd name="connsiteY63" fmla="*/ 73721 h 165600"/>
              <a:gd name="connsiteX64" fmla="*/ 41606 w 165051"/>
              <a:gd name="connsiteY64" fmla="*/ 73229 h 165600"/>
              <a:gd name="connsiteX65" fmla="*/ 45590 w 165051"/>
              <a:gd name="connsiteY65" fmla="*/ 77232 h 165600"/>
              <a:gd name="connsiteX66" fmla="*/ 45099 w 165051"/>
              <a:gd name="connsiteY66" fmla="*/ 84856 h 165600"/>
              <a:gd name="connsiteX67" fmla="*/ 48647 w 165051"/>
              <a:gd name="connsiteY67" fmla="*/ 89805 h 165600"/>
              <a:gd name="connsiteX68" fmla="*/ 53414 w 165051"/>
              <a:gd name="connsiteY68" fmla="*/ 91078 h 165600"/>
              <a:gd name="connsiteX69" fmla="*/ 58963 w 165051"/>
              <a:gd name="connsiteY69" fmla="*/ 88567 h 165600"/>
              <a:gd name="connsiteX70" fmla="*/ 62347 w 165051"/>
              <a:gd name="connsiteY70" fmla="*/ 81726 h 165600"/>
              <a:gd name="connsiteX71" fmla="*/ 67788 w 165051"/>
              <a:gd name="connsiteY71" fmla="*/ 80253 h 165600"/>
              <a:gd name="connsiteX72" fmla="*/ 74156 w 165051"/>
              <a:gd name="connsiteY72" fmla="*/ 84492 h 165600"/>
              <a:gd name="connsiteX73" fmla="*/ 80214 w 165051"/>
              <a:gd name="connsiteY73" fmla="*/ 83891 h 165600"/>
              <a:gd name="connsiteX74" fmla="*/ 83708 w 165051"/>
              <a:gd name="connsiteY74" fmla="*/ 80398 h 165600"/>
              <a:gd name="connsiteX75" fmla="*/ 84308 w 165051"/>
              <a:gd name="connsiteY75" fmla="*/ 74339 h 165600"/>
              <a:gd name="connsiteX76" fmla="*/ 80069 w 165051"/>
              <a:gd name="connsiteY76" fmla="*/ 67971 h 165600"/>
              <a:gd name="connsiteX77" fmla="*/ 80978 w 165051"/>
              <a:gd name="connsiteY77" fmla="*/ 65297 h 165600"/>
              <a:gd name="connsiteX78" fmla="*/ 81524 w 165051"/>
              <a:gd name="connsiteY78" fmla="*/ 62531 h 165600"/>
              <a:gd name="connsiteX79" fmla="*/ 88384 w 165051"/>
              <a:gd name="connsiteY79" fmla="*/ 59147 h 165600"/>
              <a:gd name="connsiteX80" fmla="*/ 90894 w 165051"/>
              <a:gd name="connsiteY80" fmla="*/ 53598 h 165600"/>
              <a:gd name="connsiteX81" fmla="*/ 89621 w 165051"/>
              <a:gd name="connsiteY81" fmla="*/ 48831 h 165600"/>
              <a:gd name="connsiteX82" fmla="*/ 84672 w 165051"/>
              <a:gd name="connsiteY82" fmla="*/ 45283 h 165600"/>
              <a:gd name="connsiteX83" fmla="*/ 77030 w 165051"/>
              <a:gd name="connsiteY83" fmla="*/ 45774 h 165600"/>
              <a:gd name="connsiteX84" fmla="*/ 73046 w 165051"/>
              <a:gd name="connsiteY84" fmla="*/ 41771 h 165600"/>
              <a:gd name="connsiteX85" fmla="*/ 73537 w 165051"/>
              <a:gd name="connsiteY85" fmla="*/ 34166 h 165600"/>
              <a:gd name="connsiteX86" fmla="*/ 69989 w 165051"/>
              <a:gd name="connsiteY86" fmla="*/ 29217 h 165600"/>
              <a:gd name="connsiteX87" fmla="*/ 82526 w 165051"/>
              <a:gd name="connsiteY87" fmla="*/ 0 h 165600"/>
              <a:gd name="connsiteX88" fmla="*/ 165051 w 165051"/>
              <a:gd name="connsiteY88" fmla="*/ 82800 h 165600"/>
              <a:gd name="connsiteX89" fmla="*/ 82526 w 165051"/>
              <a:gd name="connsiteY89" fmla="*/ 165600 h 165600"/>
              <a:gd name="connsiteX90" fmla="*/ 0 w 165051"/>
              <a:gd name="connsiteY90" fmla="*/ 82800 h 165600"/>
              <a:gd name="connsiteX91" fmla="*/ 82526 w 165051"/>
              <a:gd name="connsiteY91" fmla="*/ 0 h 16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165051" h="165600">
                <a:moveTo>
                  <a:pt x="105887" y="98083"/>
                </a:moveTo>
                <a:cubicBezTo>
                  <a:pt x="110308" y="98083"/>
                  <a:pt x="113892" y="101649"/>
                  <a:pt x="113910" y="106089"/>
                </a:cubicBezTo>
                <a:cubicBezTo>
                  <a:pt x="113910" y="110510"/>
                  <a:pt x="110326" y="114094"/>
                  <a:pt x="105905" y="114094"/>
                </a:cubicBezTo>
                <a:cubicBezTo>
                  <a:pt x="101483" y="114094"/>
                  <a:pt x="97899" y="110528"/>
                  <a:pt x="97899" y="106107"/>
                </a:cubicBezTo>
                <a:cubicBezTo>
                  <a:pt x="97881" y="101667"/>
                  <a:pt x="101465" y="98083"/>
                  <a:pt x="105887" y="98083"/>
                </a:cubicBezTo>
                <a:close/>
                <a:moveTo>
                  <a:pt x="99955" y="74521"/>
                </a:moveTo>
                <a:lnTo>
                  <a:pt x="95188" y="75795"/>
                </a:lnTo>
                <a:cubicBezTo>
                  <a:pt x="92987" y="76377"/>
                  <a:pt x="91495" y="78451"/>
                  <a:pt x="91640" y="80744"/>
                </a:cubicBezTo>
                <a:lnTo>
                  <a:pt x="92132" y="88349"/>
                </a:lnTo>
                <a:cubicBezTo>
                  <a:pt x="90621" y="89513"/>
                  <a:pt x="89293" y="90878"/>
                  <a:pt x="88147" y="92352"/>
                </a:cubicBezTo>
                <a:lnTo>
                  <a:pt x="80524" y="91861"/>
                </a:lnTo>
                <a:cubicBezTo>
                  <a:pt x="78231" y="91715"/>
                  <a:pt x="76175" y="93207"/>
                  <a:pt x="75575" y="95408"/>
                </a:cubicBezTo>
                <a:lnTo>
                  <a:pt x="74301" y="100175"/>
                </a:lnTo>
                <a:cubicBezTo>
                  <a:pt x="73719" y="102377"/>
                  <a:pt x="74756" y="104706"/>
                  <a:pt x="76812" y="105725"/>
                </a:cubicBezTo>
                <a:lnTo>
                  <a:pt x="83671" y="109109"/>
                </a:lnTo>
                <a:cubicBezTo>
                  <a:pt x="83799" y="110019"/>
                  <a:pt x="83962" y="110946"/>
                  <a:pt x="84217" y="111874"/>
                </a:cubicBezTo>
                <a:cubicBezTo>
                  <a:pt x="84472" y="112802"/>
                  <a:pt x="84781" y="113694"/>
                  <a:pt x="85127" y="114549"/>
                </a:cubicBezTo>
                <a:lnTo>
                  <a:pt x="80887" y="120917"/>
                </a:lnTo>
                <a:cubicBezTo>
                  <a:pt x="79614" y="122827"/>
                  <a:pt x="79869" y="125356"/>
                  <a:pt x="81488" y="126976"/>
                </a:cubicBezTo>
                <a:lnTo>
                  <a:pt x="84981" y="130469"/>
                </a:lnTo>
                <a:cubicBezTo>
                  <a:pt x="86600" y="132088"/>
                  <a:pt x="89129" y="132343"/>
                  <a:pt x="91040" y="131069"/>
                </a:cubicBezTo>
                <a:lnTo>
                  <a:pt x="97408" y="126830"/>
                </a:lnTo>
                <a:cubicBezTo>
                  <a:pt x="99136" y="127540"/>
                  <a:pt x="100974" y="128049"/>
                  <a:pt x="102848" y="128304"/>
                </a:cubicBezTo>
                <a:lnTo>
                  <a:pt x="106232" y="135145"/>
                </a:lnTo>
                <a:cubicBezTo>
                  <a:pt x="107251" y="137201"/>
                  <a:pt x="109562" y="138256"/>
                  <a:pt x="111781" y="137656"/>
                </a:cubicBezTo>
                <a:lnTo>
                  <a:pt x="116548" y="136382"/>
                </a:lnTo>
                <a:cubicBezTo>
                  <a:pt x="118750" y="135800"/>
                  <a:pt x="120242" y="133726"/>
                  <a:pt x="120096" y="131433"/>
                </a:cubicBezTo>
                <a:lnTo>
                  <a:pt x="119605" y="123810"/>
                </a:lnTo>
                <a:cubicBezTo>
                  <a:pt x="121115" y="122645"/>
                  <a:pt x="122443" y="121281"/>
                  <a:pt x="123590" y="119807"/>
                </a:cubicBezTo>
                <a:lnTo>
                  <a:pt x="131231" y="120298"/>
                </a:lnTo>
                <a:cubicBezTo>
                  <a:pt x="133524" y="120444"/>
                  <a:pt x="135580" y="118952"/>
                  <a:pt x="136180" y="116750"/>
                </a:cubicBezTo>
                <a:lnTo>
                  <a:pt x="137454" y="111983"/>
                </a:lnTo>
                <a:cubicBezTo>
                  <a:pt x="138054" y="109782"/>
                  <a:pt x="136999" y="107453"/>
                  <a:pt x="134943" y="106434"/>
                </a:cubicBezTo>
                <a:lnTo>
                  <a:pt x="128084" y="103050"/>
                </a:lnTo>
                <a:cubicBezTo>
                  <a:pt x="127956" y="102122"/>
                  <a:pt x="127793" y="101212"/>
                  <a:pt x="127538" y="100285"/>
                </a:cubicBezTo>
                <a:cubicBezTo>
                  <a:pt x="127283" y="99357"/>
                  <a:pt x="126974" y="98465"/>
                  <a:pt x="126628" y="97610"/>
                </a:cubicBezTo>
                <a:lnTo>
                  <a:pt x="130867" y="91260"/>
                </a:lnTo>
                <a:cubicBezTo>
                  <a:pt x="132141" y="89368"/>
                  <a:pt x="131886" y="86821"/>
                  <a:pt x="130267" y="85201"/>
                </a:cubicBezTo>
                <a:lnTo>
                  <a:pt x="126774" y="81708"/>
                </a:lnTo>
                <a:cubicBezTo>
                  <a:pt x="125154" y="80089"/>
                  <a:pt x="122625" y="79834"/>
                  <a:pt x="120715" y="81108"/>
                </a:cubicBezTo>
                <a:lnTo>
                  <a:pt x="114347" y="85347"/>
                </a:lnTo>
                <a:cubicBezTo>
                  <a:pt x="112618" y="84637"/>
                  <a:pt x="110781" y="84128"/>
                  <a:pt x="108907" y="83873"/>
                </a:cubicBezTo>
                <a:lnTo>
                  <a:pt x="105523" y="77032"/>
                </a:lnTo>
                <a:cubicBezTo>
                  <a:pt x="104522" y="74976"/>
                  <a:pt x="102193" y="73921"/>
                  <a:pt x="99973" y="74521"/>
                </a:cubicBezTo>
                <a:close/>
                <a:moveTo>
                  <a:pt x="59309" y="51505"/>
                </a:moveTo>
                <a:cubicBezTo>
                  <a:pt x="63730" y="51505"/>
                  <a:pt x="67314" y="55090"/>
                  <a:pt x="67314" y="59511"/>
                </a:cubicBezTo>
                <a:cubicBezTo>
                  <a:pt x="67314" y="63932"/>
                  <a:pt x="63730" y="67516"/>
                  <a:pt x="59309" y="67516"/>
                </a:cubicBezTo>
                <a:cubicBezTo>
                  <a:pt x="54888" y="67516"/>
                  <a:pt x="51303" y="63932"/>
                  <a:pt x="51303" y="59511"/>
                </a:cubicBezTo>
                <a:cubicBezTo>
                  <a:pt x="51303" y="55090"/>
                  <a:pt x="54888" y="51505"/>
                  <a:pt x="59309" y="51505"/>
                </a:cubicBezTo>
                <a:close/>
                <a:moveTo>
                  <a:pt x="65222" y="27944"/>
                </a:moveTo>
                <a:cubicBezTo>
                  <a:pt x="63002" y="27361"/>
                  <a:pt x="60692" y="28399"/>
                  <a:pt x="59673" y="30455"/>
                </a:cubicBezTo>
                <a:lnTo>
                  <a:pt x="56289" y="37296"/>
                </a:lnTo>
                <a:cubicBezTo>
                  <a:pt x="54415" y="37550"/>
                  <a:pt x="52577" y="38060"/>
                  <a:pt x="50849" y="38769"/>
                </a:cubicBezTo>
                <a:lnTo>
                  <a:pt x="44481" y="34530"/>
                </a:lnTo>
                <a:cubicBezTo>
                  <a:pt x="42570" y="33256"/>
                  <a:pt x="40041" y="33511"/>
                  <a:pt x="38422" y="35130"/>
                </a:cubicBezTo>
                <a:lnTo>
                  <a:pt x="34928" y="38624"/>
                </a:lnTo>
                <a:cubicBezTo>
                  <a:pt x="33309" y="40243"/>
                  <a:pt x="33054" y="42772"/>
                  <a:pt x="34328" y="44683"/>
                </a:cubicBezTo>
                <a:lnTo>
                  <a:pt x="38567" y="51032"/>
                </a:lnTo>
                <a:cubicBezTo>
                  <a:pt x="38203" y="51887"/>
                  <a:pt x="37912" y="52779"/>
                  <a:pt x="37658" y="53707"/>
                </a:cubicBezTo>
                <a:cubicBezTo>
                  <a:pt x="37421" y="54635"/>
                  <a:pt x="37239" y="55545"/>
                  <a:pt x="37112" y="56472"/>
                </a:cubicBezTo>
                <a:lnTo>
                  <a:pt x="30253" y="59857"/>
                </a:lnTo>
                <a:cubicBezTo>
                  <a:pt x="28197" y="60875"/>
                  <a:pt x="27159" y="63204"/>
                  <a:pt x="27742" y="65406"/>
                </a:cubicBezTo>
                <a:lnTo>
                  <a:pt x="29015" y="70173"/>
                </a:lnTo>
                <a:cubicBezTo>
                  <a:pt x="29616" y="72374"/>
                  <a:pt x="31690" y="73866"/>
                  <a:pt x="33964" y="73721"/>
                </a:cubicBezTo>
                <a:lnTo>
                  <a:pt x="41606" y="73229"/>
                </a:lnTo>
                <a:cubicBezTo>
                  <a:pt x="42752" y="74721"/>
                  <a:pt x="44080" y="76068"/>
                  <a:pt x="45590" y="77232"/>
                </a:cubicBezTo>
                <a:lnTo>
                  <a:pt x="45099" y="84856"/>
                </a:lnTo>
                <a:cubicBezTo>
                  <a:pt x="44954" y="87130"/>
                  <a:pt x="46427" y="89204"/>
                  <a:pt x="48647" y="89805"/>
                </a:cubicBezTo>
                <a:lnTo>
                  <a:pt x="53414" y="91078"/>
                </a:lnTo>
                <a:cubicBezTo>
                  <a:pt x="55615" y="91660"/>
                  <a:pt x="57944" y="90623"/>
                  <a:pt x="58963" y="88567"/>
                </a:cubicBezTo>
                <a:lnTo>
                  <a:pt x="62347" y="81726"/>
                </a:lnTo>
                <a:cubicBezTo>
                  <a:pt x="64221" y="81472"/>
                  <a:pt x="66059" y="80962"/>
                  <a:pt x="67788" y="80253"/>
                </a:cubicBezTo>
                <a:lnTo>
                  <a:pt x="74156" y="84492"/>
                </a:lnTo>
                <a:cubicBezTo>
                  <a:pt x="76066" y="85765"/>
                  <a:pt x="78595" y="85511"/>
                  <a:pt x="80214" y="83891"/>
                </a:cubicBezTo>
                <a:lnTo>
                  <a:pt x="83708" y="80398"/>
                </a:lnTo>
                <a:cubicBezTo>
                  <a:pt x="85327" y="78779"/>
                  <a:pt x="85582" y="76250"/>
                  <a:pt x="84308" y="74339"/>
                </a:cubicBezTo>
                <a:lnTo>
                  <a:pt x="80069" y="67971"/>
                </a:lnTo>
                <a:cubicBezTo>
                  <a:pt x="80414" y="67116"/>
                  <a:pt x="80742" y="66206"/>
                  <a:pt x="80978" y="65297"/>
                </a:cubicBezTo>
                <a:cubicBezTo>
                  <a:pt x="81215" y="64387"/>
                  <a:pt x="81397" y="63459"/>
                  <a:pt x="81524" y="62531"/>
                </a:cubicBezTo>
                <a:lnTo>
                  <a:pt x="88384" y="59147"/>
                </a:lnTo>
                <a:cubicBezTo>
                  <a:pt x="90439" y="58128"/>
                  <a:pt x="91477" y="55799"/>
                  <a:pt x="90894" y="53598"/>
                </a:cubicBezTo>
                <a:lnTo>
                  <a:pt x="89621" y="48831"/>
                </a:lnTo>
                <a:cubicBezTo>
                  <a:pt x="89020" y="46629"/>
                  <a:pt x="86946" y="45137"/>
                  <a:pt x="84672" y="45283"/>
                </a:cubicBezTo>
                <a:lnTo>
                  <a:pt x="77030" y="45774"/>
                </a:lnTo>
                <a:cubicBezTo>
                  <a:pt x="75884" y="44282"/>
                  <a:pt x="74556" y="42936"/>
                  <a:pt x="73046" y="41771"/>
                </a:cubicBezTo>
                <a:lnTo>
                  <a:pt x="73537" y="34166"/>
                </a:lnTo>
                <a:cubicBezTo>
                  <a:pt x="73682" y="31892"/>
                  <a:pt x="72191" y="29818"/>
                  <a:pt x="69989" y="29217"/>
                </a:cubicBezTo>
                <a:close/>
                <a:moveTo>
                  <a:pt x="82526" y="0"/>
                </a:moveTo>
                <a:cubicBezTo>
                  <a:pt x="128103" y="0"/>
                  <a:pt x="165051" y="37071"/>
                  <a:pt x="165051" y="82800"/>
                </a:cubicBezTo>
                <a:cubicBezTo>
                  <a:pt x="165051" y="128529"/>
                  <a:pt x="128103" y="165600"/>
                  <a:pt x="82526" y="165600"/>
                </a:cubicBezTo>
                <a:cubicBezTo>
                  <a:pt x="36948" y="165600"/>
                  <a:pt x="0" y="128529"/>
                  <a:pt x="0" y="82800"/>
                </a:cubicBezTo>
                <a:cubicBezTo>
                  <a:pt x="0" y="37071"/>
                  <a:pt x="36948" y="0"/>
                  <a:pt x="82526" y="0"/>
                </a:cubicBezTo>
                <a:close/>
              </a:path>
            </a:pathLst>
          </a:custGeom>
          <a:solidFill>
            <a:srgbClr val="FFC000"/>
          </a:solidFill>
          <a:ln w="179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87" name="Forma libre 86">
            <a:extLst>
              <a:ext uri="{FF2B5EF4-FFF2-40B4-BE49-F238E27FC236}">
                <a16:creationId xmlns:a16="http://schemas.microsoft.com/office/drawing/2014/main" id="{490D3E90-B142-16DE-543F-AF8D5C1AC46B}"/>
              </a:ext>
            </a:extLst>
          </p:cNvPr>
          <p:cNvSpPr/>
          <p:nvPr/>
        </p:nvSpPr>
        <p:spPr>
          <a:xfrm>
            <a:off x="4910110" y="4251240"/>
            <a:ext cx="162047" cy="162586"/>
          </a:xfrm>
          <a:custGeom>
            <a:avLst/>
            <a:gdLst>
              <a:gd name="connsiteX0" fmla="*/ 105887 w 165051"/>
              <a:gd name="connsiteY0" fmla="*/ 98083 h 165600"/>
              <a:gd name="connsiteX1" fmla="*/ 113910 w 165051"/>
              <a:gd name="connsiteY1" fmla="*/ 106089 h 165600"/>
              <a:gd name="connsiteX2" fmla="*/ 105905 w 165051"/>
              <a:gd name="connsiteY2" fmla="*/ 114094 h 165600"/>
              <a:gd name="connsiteX3" fmla="*/ 97899 w 165051"/>
              <a:gd name="connsiteY3" fmla="*/ 106107 h 165600"/>
              <a:gd name="connsiteX4" fmla="*/ 105887 w 165051"/>
              <a:gd name="connsiteY4" fmla="*/ 98083 h 165600"/>
              <a:gd name="connsiteX5" fmla="*/ 99955 w 165051"/>
              <a:gd name="connsiteY5" fmla="*/ 74521 h 165600"/>
              <a:gd name="connsiteX6" fmla="*/ 95188 w 165051"/>
              <a:gd name="connsiteY6" fmla="*/ 75795 h 165600"/>
              <a:gd name="connsiteX7" fmla="*/ 91640 w 165051"/>
              <a:gd name="connsiteY7" fmla="*/ 80744 h 165600"/>
              <a:gd name="connsiteX8" fmla="*/ 92132 w 165051"/>
              <a:gd name="connsiteY8" fmla="*/ 88349 h 165600"/>
              <a:gd name="connsiteX9" fmla="*/ 88147 w 165051"/>
              <a:gd name="connsiteY9" fmla="*/ 92352 h 165600"/>
              <a:gd name="connsiteX10" fmla="*/ 80524 w 165051"/>
              <a:gd name="connsiteY10" fmla="*/ 91861 h 165600"/>
              <a:gd name="connsiteX11" fmla="*/ 75575 w 165051"/>
              <a:gd name="connsiteY11" fmla="*/ 95408 h 165600"/>
              <a:gd name="connsiteX12" fmla="*/ 74301 w 165051"/>
              <a:gd name="connsiteY12" fmla="*/ 100175 h 165600"/>
              <a:gd name="connsiteX13" fmla="*/ 76812 w 165051"/>
              <a:gd name="connsiteY13" fmla="*/ 105725 h 165600"/>
              <a:gd name="connsiteX14" fmla="*/ 83671 w 165051"/>
              <a:gd name="connsiteY14" fmla="*/ 109109 h 165600"/>
              <a:gd name="connsiteX15" fmla="*/ 84217 w 165051"/>
              <a:gd name="connsiteY15" fmla="*/ 111874 h 165600"/>
              <a:gd name="connsiteX16" fmla="*/ 85127 w 165051"/>
              <a:gd name="connsiteY16" fmla="*/ 114549 h 165600"/>
              <a:gd name="connsiteX17" fmla="*/ 80887 w 165051"/>
              <a:gd name="connsiteY17" fmla="*/ 120917 h 165600"/>
              <a:gd name="connsiteX18" fmla="*/ 81488 w 165051"/>
              <a:gd name="connsiteY18" fmla="*/ 126976 h 165600"/>
              <a:gd name="connsiteX19" fmla="*/ 84981 w 165051"/>
              <a:gd name="connsiteY19" fmla="*/ 130469 h 165600"/>
              <a:gd name="connsiteX20" fmla="*/ 91040 w 165051"/>
              <a:gd name="connsiteY20" fmla="*/ 131069 h 165600"/>
              <a:gd name="connsiteX21" fmla="*/ 97408 w 165051"/>
              <a:gd name="connsiteY21" fmla="*/ 126830 h 165600"/>
              <a:gd name="connsiteX22" fmla="*/ 102848 w 165051"/>
              <a:gd name="connsiteY22" fmla="*/ 128304 h 165600"/>
              <a:gd name="connsiteX23" fmla="*/ 106232 w 165051"/>
              <a:gd name="connsiteY23" fmla="*/ 135145 h 165600"/>
              <a:gd name="connsiteX24" fmla="*/ 111781 w 165051"/>
              <a:gd name="connsiteY24" fmla="*/ 137656 h 165600"/>
              <a:gd name="connsiteX25" fmla="*/ 116548 w 165051"/>
              <a:gd name="connsiteY25" fmla="*/ 136382 h 165600"/>
              <a:gd name="connsiteX26" fmla="*/ 120096 w 165051"/>
              <a:gd name="connsiteY26" fmla="*/ 131433 h 165600"/>
              <a:gd name="connsiteX27" fmla="*/ 119605 w 165051"/>
              <a:gd name="connsiteY27" fmla="*/ 123810 h 165600"/>
              <a:gd name="connsiteX28" fmla="*/ 123590 w 165051"/>
              <a:gd name="connsiteY28" fmla="*/ 119807 h 165600"/>
              <a:gd name="connsiteX29" fmla="*/ 131231 w 165051"/>
              <a:gd name="connsiteY29" fmla="*/ 120298 h 165600"/>
              <a:gd name="connsiteX30" fmla="*/ 136180 w 165051"/>
              <a:gd name="connsiteY30" fmla="*/ 116750 h 165600"/>
              <a:gd name="connsiteX31" fmla="*/ 137454 w 165051"/>
              <a:gd name="connsiteY31" fmla="*/ 111983 h 165600"/>
              <a:gd name="connsiteX32" fmla="*/ 134943 w 165051"/>
              <a:gd name="connsiteY32" fmla="*/ 106434 h 165600"/>
              <a:gd name="connsiteX33" fmla="*/ 128084 w 165051"/>
              <a:gd name="connsiteY33" fmla="*/ 103050 h 165600"/>
              <a:gd name="connsiteX34" fmla="*/ 127538 w 165051"/>
              <a:gd name="connsiteY34" fmla="*/ 100285 h 165600"/>
              <a:gd name="connsiteX35" fmla="*/ 126628 w 165051"/>
              <a:gd name="connsiteY35" fmla="*/ 97610 h 165600"/>
              <a:gd name="connsiteX36" fmla="*/ 130867 w 165051"/>
              <a:gd name="connsiteY36" fmla="*/ 91260 h 165600"/>
              <a:gd name="connsiteX37" fmla="*/ 130267 w 165051"/>
              <a:gd name="connsiteY37" fmla="*/ 85201 h 165600"/>
              <a:gd name="connsiteX38" fmla="*/ 126774 w 165051"/>
              <a:gd name="connsiteY38" fmla="*/ 81708 h 165600"/>
              <a:gd name="connsiteX39" fmla="*/ 120715 w 165051"/>
              <a:gd name="connsiteY39" fmla="*/ 81108 h 165600"/>
              <a:gd name="connsiteX40" fmla="*/ 114347 w 165051"/>
              <a:gd name="connsiteY40" fmla="*/ 85347 h 165600"/>
              <a:gd name="connsiteX41" fmla="*/ 108907 w 165051"/>
              <a:gd name="connsiteY41" fmla="*/ 83873 h 165600"/>
              <a:gd name="connsiteX42" fmla="*/ 105523 w 165051"/>
              <a:gd name="connsiteY42" fmla="*/ 77032 h 165600"/>
              <a:gd name="connsiteX43" fmla="*/ 99973 w 165051"/>
              <a:gd name="connsiteY43" fmla="*/ 74521 h 165600"/>
              <a:gd name="connsiteX44" fmla="*/ 59309 w 165051"/>
              <a:gd name="connsiteY44" fmla="*/ 51505 h 165600"/>
              <a:gd name="connsiteX45" fmla="*/ 67314 w 165051"/>
              <a:gd name="connsiteY45" fmla="*/ 59511 h 165600"/>
              <a:gd name="connsiteX46" fmla="*/ 59309 w 165051"/>
              <a:gd name="connsiteY46" fmla="*/ 67516 h 165600"/>
              <a:gd name="connsiteX47" fmla="*/ 51303 w 165051"/>
              <a:gd name="connsiteY47" fmla="*/ 59511 h 165600"/>
              <a:gd name="connsiteX48" fmla="*/ 59309 w 165051"/>
              <a:gd name="connsiteY48" fmla="*/ 51505 h 165600"/>
              <a:gd name="connsiteX49" fmla="*/ 65222 w 165051"/>
              <a:gd name="connsiteY49" fmla="*/ 27944 h 165600"/>
              <a:gd name="connsiteX50" fmla="*/ 59673 w 165051"/>
              <a:gd name="connsiteY50" fmla="*/ 30455 h 165600"/>
              <a:gd name="connsiteX51" fmla="*/ 56289 w 165051"/>
              <a:gd name="connsiteY51" fmla="*/ 37296 h 165600"/>
              <a:gd name="connsiteX52" fmla="*/ 50849 w 165051"/>
              <a:gd name="connsiteY52" fmla="*/ 38769 h 165600"/>
              <a:gd name="connsiteX53" fmla="*/ 44481 w 165051"/>
              <a:gd name="connsiteY53" fmla="*/ 34530 h 165600"/>
              <a:gd name="connsiteX54" fmla="*/ 38422 w 165051"/>
              <a:gd name="connsiteY54" fmla="*/ 35130 h 165600"/>
              <a:gd name="connsiteX55" fmla="*/ 34928 w 165051"/>
              <a:gd name="connsiteY55" fmla="*/ 38624 h 165600"/>
              <a:gd name="connsiteX56" fmla="*/ 34328 w 165051"/>
              <a:gd name="connsiteY56" fmla="*/ 44683 h 165600"/>
              <a:gd name="connsiteX57" fmla="*/ 38567 w 165051"/>
              <a:gd name="connsiteY57" fmla="*/ 51032 h 165600"/>
              <a:gd name="connsiteX58" fmla="*/ 37658 w 165051"/>
              <a:gd name="connsiteY58" fmla="*/ 53707 h 165600"/>
              <a:gd name="connsiteX59" fmla="*/ 37112 w 165051"/>
              <a:gd name="connsiteY59" fmla="*/ 56472 h 165600"/>
              <a:gd name="connsiteX60" fmla="*/ 30253 w 165051"/>
              <a:gd name="connsiteY60" fmla="*/ 59857 h 165600"/>
              <a:gd name="connsiteX61" fmla="*/ 27742 w 165051"/>
              <a:gd name="connsiteY61" fmla="*/ 65406 h 165600"/>
              <a:gd name="connsiteX62" fmla="*/ 29015 w 165051"/>
              <a:gd name="connsiteY62" fmla="*/ 70173 h 165600"/>
              <a:gd name="connsiteX63" fmla="*/ 33964 w 165051"/>
              <a:gd name="connsiteY63" fmla="*/ 73721 h 165600"/>
              <a:gd name="connsiteX64" fmla="*/ 41606 w 165051"/>
              <a:gd name="connsiteY64" fmla="*/ 73229 h 165600"/>
              <a:gd name="connsiteX65" fmla="*/ 45590 w 165051"/>
              <a:gd name="connsiteY65" fmla="*/ 77232 h 165600"/>
              <a:gd name="connsiteX66" fmla="*/ 45099 w 165051"/>
              <a:gd name="connsiteY66" fmla="*/ 84856 h 165600"/>
              <a:gd name="connsiteX67" fmla="*/ 48647 w 165051"/>
              <a:gd name="connsiteY67" fmla="*/ 89805 h 165600"/>
              <a:gd name="connsiteX68" fmla="*/ 53414 w 165051"/>
              <a:gd name="connsiteY68" fmla="*/ 91078 h 165600"/>
              <a:gd name="connsiteX69" fmla="*/ 58963 w 165051"/>
              <a:gd name="connsiteY69" fmla="*/ 88567 h 165600"/>
              <a:gd name="connsiteX70" fmla="*/ 62347 w 165051"/>
              <a:gd name="connsiteY70" fmla="*/ 81726 h 165600"/>
              <a:gd name="connsiteX71" fmla="*/ 67788 w 165051"/>
              <a:gd name="connsiteY71" fmla="*/ 80253 h 165600"/>
              <a:gd name="connsiteX72" fmla="*/ 74156 w 165051"/>
              <a:gd name="connsiteY72" fmla="*/ 84492 h 165600"/>
              <a:gd name="connsiteX73" fmla="*/ 80214 w 165051"/>
              <a:gd name="connsiteY73" fmla="*/ 83891 h 165600"/>
              <a:gd name="connsiteX74" fmla="*/ 83708 w 165051"/>
              <a:gd name="connsiteY74" fmla="*/ 80398 h 165600"/>
              <a:gd name="connsiteX75" fmla="*/ 84308 w 165051"/>
              <a:gd name="connsiteY75" fmla="*/ 74339 h 165600"/>
              <a:gd name="connsiteX76" fmla="*/ 80069 w 165051"/>
              <a:gd name="connsiteY76" fmla="*/ 67971 h 165600"/>
              <a:gd name="connsiteX77" fmla="*/ 80978 w 165051"/>
              <a:gd name="connsiteY77" fmla="*/ 65297 h 165600"/>
              <a:gd name="connsiteX78" fmla="*/ 81524 w 165051"/>
              <a:gd name="connsiteY78" fmla="*/ 62531 h 165600"/>
              <a:gd name="connsiteX79" fmla="*/ 88384 w 165051"/>
              <a:gd name="connsiteY79" fmla="*/ 59147 h 165600"/>
              <a:gd name="connsiteX80" fmla="*/ 90894 w 165051"/>
              <a:gd name="connsiteY80" fmla="*/ 53598 h 165600"/>
              <a:gd name="connsiteX81" fmla="*/ 89621 w 165051"/>
              <a:gd name="connsiteY81" fmla="*/ 48831 h 165600"/>
              <a:gd name="connsiteX82" fmla="*/ 84672 w 165051"/>
              <a:gd name="connsiteY82" fmla="*/ 45283 h 165600"/>
              <a:gd name="connsiteX83" fmla="*/ 77030 w 165051"/>
              <a:gd name="connsiteY83" fmla="*/ 45774 h 165600"/>
              <a:gd name="connsiteX84" fmla="*/ 73046 w 165051"/>
              <a:gd name="connsiteY84" fmla="*/ 41771 h 165600"/>
              <a:gd name="connsiteX85" fmla="*/ 73537 w 165051"/>
              <a:gd name="connsiteY85" fmla="*/ 34166 h 165600"/>
              <a:gd name="connsiteX86" fmla="*/ 69989 w 165051"/>
              <a:gd name="connsiteY86" fmla="*/ 29217 h 165600"/>
              <a:gd name="connsiteX87" fmla="*/ 82526 w 165051"/>
              <a:gd name="connsiteY87" fmla="*/ 0 h 165600"/>
              <a:gd name="connsiteX88" fmla="*/ 165051 w 165051"/>
              <a:gd name="connsiteY88" fmla="*/ 82800 h 165600"/>
              <a:gd name="connsiteX89" fmla="*/ 82526 w 165051"/>
              <a:gd name="connsiteY89" fmla="*/ 165600 h 165600"/>
              <a:gd name="connsiteX90" fmla="*/ 0 w 165051"/>
              <a:gd name="connsiteY90" fmla="*/ 82800 h 165600"/>
              <a:gd name="connsiteX91" fmla="*/ 82526 w 165051"/>
              <a:gd name="connsiteY91" fmla="*/ 0 h 16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165051" h="165600">
                <a:moveTo>
                  <a:pt x="105887" y="98083"/>
                </a:moveTo>
                <a:cubicBezTo>
                  <a:pt x="110308" y="98083"/>
                  <a:pt x="113892" y="101649"/>
                  <a:pt x="113910" y="106089"/>
                </a:cubicBezTo>
                <a:cubicBezTo>
                  <a:pt x="113910" y="110510"/>
                  <a:pt x="110326" y="114094"/>
                  <a:pt x="105905" y="114094"/>
                </a:cubicBezTo>
                <a:cubicBezTo>
                  <a:pt x="101483" y="114094"/>
                  <a:pt x="97899" y="110528"/>
                  <a:pt x="97899" y="106107"/>
                </a:cubicBezTo>
                <a:cubicBezTo>
                  <a:pt x="97881" y="101667"/>
                  <a:pt x="101465" y="98083"/>
                  <a:pt x="105887" y="98083"/>
                </a:cubicBezTo>
                <a:close/>
                <a:moveTo>
                  <a:pt x="99955" y="74521"/>
                </a:moveTo>
                <a:lnTo>
                  <a:pt x="95188" y="75795"/>
                </a:lnTo>
                <a:cubicBezTo>
                  <a:pt x="92987" y="76377"/>
                  <a:pt x="91495" y="78451"/>
                  <a:pt x="91640" y="80744"/>
                </a:cubicBezTo>
                <a:lnTo>
                  <a:pt x="92132" y="88349"/>
                </a:lnTo>
                <a:cubicBezTo>
                  <a:pt x="90621" y="89513"/>
                  <a:pt x="89293" y="90878"/>
                  <a:pt x="88147" y="92352"/>
                </a:cubicBezTo>
                <a:lnTo>
                  <a:pt x="80524" y="91861"/>
                </a:lnTo>
                <a:cubicBezTo>
                  <a:pt x="78231" y="91715"/>
                  <a:pt x="76175" y="93207"/>
                  <a:pt x="75575" y="95408"/>
                </a:cubicBezTo>
                <a:lnTo>
                  <a:pt x="74301" y="100175"/>
                </a:lnTo>
                <a:cubicBezTo>
                  <a:pt x="73719" y="102377"/>
                  <a:pt x="74756" y="104706"/>
                  <a:pt x="76812" y="105725"/>
                </a:cubicBezTo>
                <a:lnTo>
                  <a:pt x="83671" y="109109"/>
                </a:lnTo>
                <a:cubicBezTo>
                  <a:pt x="83799" y="110019"/>
                  <a:pt x="83962" y="110946"/>
                  <a:pt x="84217" y="111874"/>
                </a:cubicBezTo>
                <a:cubicBezTo>
                  <a:pt x="84472" y="112802"/>
                  <a:pt x="84781" y="113694"/>
                  <a:pt x="85127" y="114549"/>
                </a:cubicBezTo>
                <a:lnTo>
                  <a:pt x="80887" y="120917"/>
                </a:lnTo>
                <a:cubicBezTo>
                  <a:pt x="79614" y="122827"/>
                  <a:pt x="79869" y="125356"/>
                  <a:pt x="81488" y="126976"/>
                </a:cubicBezTo>
                <a:lnTo>
                  <a:pt x="84981" y="130469"/>
                </a:lnTo>
                <a:cubicBezTo>
                  <a:pt x="86600" y="132088"/>
                  <a:pt x="89129" y="132343"/>
                  <a:pt x="91040" y="131069"/>
                </a:cubicBezTo>
                <a:lnTo>
                  <a:pt x="97408" y="126830"/>
                </a:lnTo>
                <a:cubicBezTo>
                  <a:pt x="99136" y="127540"/>
                  <a:pt x="100974" y="128049"/>
                  <a:pt x="102848" y="128304"/>
                </a:cubicBezTo>
                <a:lnTo>
                  <a:pt x="106232" y="135145"/>
                </a:lnTo>
                <a:cubicBezTo>
                  <a:pt x="107251" y="137201"/>
                  <a:pt x="109562" y="138256"/>
                  <a:pt x="111781" y="137656"/>
                </a:cubicBezTo>
                <a:lnTo>
                  <a:pt x="116548" y="136382"/>
                </a:lnTo>
                <a:cubicBezTo>
                  <a:pt x="118750" y="135800"/>
                  <a:pt x="120242" y="133726"/>
                  <a:pt x="120096" y="131433"/>
                </a:cubicBezTo>
                <a:lnTo>
                  <a:pt x="119605" y="123810"/>
                </a:lnTo>
                <a:cubicBezTo>
                  <a:pt x="121115" y="122645"/>
                  <a:pt x="122443" y="121281"/>
                  <a:pt x="123590" y="119807"/>
                </a:cubicBezTo>
                <a:lnTo>
                  <a:pt x="131231" y="120298"/>
                </a:lnTo>
                <a:cubicBezTo>
                  <a:pt x="133524" y="120444"/>
                  <a:pt x="135580" y="118952"/>
                  <a:pt x="136180" y="116750"/>
                </a:cubicBezTo>
                <a:lnTo>
                  <a:pt x="137454" y="111983"/>
                </a:lnTo>
                <a:cubicBezTo>
                  <a:pt x="138054" y="109782"/>
                  <a:pt x="136999" y="107453"/>
                  <a:pt x="134943" y="106434"/>
                </a:cubicBezTo>
                <a:lnTo>
                  <a:pt x="128084" y="103050"/>
                </a:lnTo>
                <a:cubicBezTo>
                  <a:pt x="127956" y="102122"/>
                  <a:pt x="127793" y="101212"/>
                  <a:pt x="127538" y="100285"/>
                </a:cubicBezTo>
                <a:cubicBezTo>
                  <a:pt x="127283" y="99357"/>
                  <a:pt x="126974" y="98465"/>
                  <a:pt x="126628" y="97610"/>
                </a:cubicBezTo>
                <a:lnTo>
                  <a:pt x="130867" y="91260"/>
                </a:lnTo>
                <a:cubicBezTo>
                  <a:pt x="132141" y="89368"/>
                  <a:pt x="131886" y="86821"/>
                  <a:pt x="130267" y="85201"/>
                </a:cubicBezTo>
                <a:lnTo>
                  <a:pt x="126774" y="81708"/>
                </a:lnTo>
                <a:cubicBezTo>
                  <a:pt x="125154" y="80089"/>
                  <a:pt x="122625" y="79834"/>
                  <a:pt x="120715" y="81108"/>
                </a:cubicBezTo>
                <a:lnTo>
                  <a:pt x="114347" y="85347"/>
                </a:lnTo>
                <a:cubicBezTo>
                  <a:pt x="112618" y="84637"/>
                  <a:pt x="110781" y="84128"/>
                  <a:pt x="108907" y="83873"/>
                </a:cubicBezTo>
                <a:lnTo>
                  <a:pt x="105523" y="77032"/>
                </a:lnTo>
                <a:cubicBezTo>
                  <a:pt x="104522" y="74976"/>
                  <a:pt x="102193" y="73921"/>
                  <a:pt x="99973" y="74521"/>
                </a:cubicBezTo>
                <a:close/>
                <a:moveTo>
                  <a:pt x="59309" y="51505"/>
                </a:moveTo>
                <a:cubicBezTo>
                  <a:pt x="63730" y="51505"/>
                  <a:pt x="67314" y="55090"/>
                  <a:pt x="67314" y="59511"/>
                </a:cubicBezTo>
                <a:cubicBezTo>
                  <a:pt x="67314" y="63932"/>
                  <a:pt x="63730" y="67516"/>
                  <a:pt x="59309" y="67516"/>
                </a:cubicBezTo>
                <a:cubicBezTo>
                  <a:pt x="54888" y="67516"/>
                  <a:pt x="51303" y="63932"/>
                  <a:pt x="51303" y="59511"/>
                </a:cubicBezTo>
                <a:cubicBezTo>
                  <a:pt x="51303" y="55090"/>
                  <a:pt x="54888" y="51505"/>
                  <a:pt x="59309" y="51505"/>
                </a:cubicBezTo>
                <a:close/>
                <a:moveTo>
                  <a:pt x="65222" y="27944"/>
                </a:moveTo>
                <a:cubicBezTo>
                  <a:pt x="63002" y="27361"/>
                  <a:pt x="60692" y="28399"/>
                  <a:pt x="59673" y="30455"/>
                </a:cubicBezTo>
                <a:lnTo>
                  <a:pt x="56289" y="37296"/>
                </a:lnTo>
                <a:cubicBezTo>
                  <a:pt x="54415" y="37550"/>
                  <a:pt x="52577" y="38060"/>
                  <a:pt x="50849" y="38769"/>
                </a:cubicBezTo>
                <a:lnTo>
                  <a:pt x="44481" y="34530"/>
                </a:lnTo>
                <a:cubicBezTo>
                  <a:pt x="42570" y="33256"/>
                  <a:pt x="40041" y="33511"/>
                  <a:pt x="38422" y="35130"/>
                </a:cubicBezTo>
                <a:lnTo>
                  <a:pt x="34928" y="38624"/>
                </a:lnTo>
                <a:cubicBezTo>
                  <a:pt x="33309" y="40243"/>
                  <a:pt x="33054" y="42772"/>
                  <a:pt x="34328" y="44683"/>
                </a:cubicBezTo>
                <a:lnTo>
                  <a:pt x="38567" y="51032"/>
                </a:lnTo>
                <a:cubicBezTo>
                  <a:pt x="38203" y="51887"/>
                  <a:pt x="37912" y="52779"/>
                  <a:pt x="37658" y="53707"/>
                </a:cubicBezTo>
                <a:cubicBezTo>
                  <a:pt x="37421" y="54635"/>
                  <a:pt x="37239" y="55545"/>
                  <a:pt x="37112" y="56472"/>
                </a:cubicBezTo>
                <a:lnTo>
                  <a:pt x="30253" y="59857"/>
                </a:lnTo>
                <a:cubicBezTo>
                  <a:pt x="28197" y="60875"/>
                  <a:pt x="27159" y="63204"/>
                  <a:pt x="27742" y="65406"/>
                </a:cubicBezTo>
                <a:lnTo>
                  <a:pt x="29015" y="70173"/>
                </a:lnTo>
                <a:cubicBezTo>
                  <a:pt x="29616" y="72374"/>
                  <a:pt x="31690" y="73866"/>
                  <a:pt x="33964" y="73721"/>
                </a:cubicBezTo>
                <a:lnTo>
                  <a:pt x="41606" y="73229"/>
                </a:lnTo>
                <a:cubicBezTo>
                  <a:pt x="42752" y="74721"/>
                  <a:pt x="44080" y="76068"/>
                  <a:pt x="45590" y="77232"/>
                </a:cubicBezTo>
                <a:lnTo>
                  <a:pt x="45099" y="84856"/>
                </a:lnTo>
                <a:cubicBezTo>
                  <a:pt x="44954" y="87130"/>
                  <a:pt x="46427" y="89204"/>
                  <a:pt x="48647" y="89805"/>
                </a:cubicBezTo>
                <a:lnTo>
                  <a:pt x="53414" y="91078"/>
                </a:lnTo>
                <a:cubicBezTo>
                  <a:pt x="55615" y="91660"/>
                  <a:pt x="57944" y="90623"/>
                  <a:pt x="58963" y="88567"/>
                </a:cubicBezTo>
                <a:lnTo>
                  <a:pt x="62347" y="81726"/>
                </a:lnTo>
                <a:cubicBezTo>
                  <a:pt x="64221" y="81472"/>
                  <a:pt x="66059" y="80962"/>
                  <a:pt x="67788" y="80253"/>
                </a:cubicBezTo>
                <a:lnTo>
                  <a:pt x="74156" y="84492"/>
                </a:lnTo>
                <a:cubicBezTo>
                  <a:pt x="76066" y="85765"/>
                  <a:pt x="78595" y="85511"/>
                  <a:pt x="80214" y="83891"/>
                </a:cubicBezTo>
                <a:lnTo>
                  <a:pt x="83708" y="80398"/>
                </a:lnTo>
                <a:cubicBezTo>
                  <a:pt x="85327" y="78779"/>
                  <a:pt x="85582" y="76250"/>
                  <a:pt x="84308" y="74339"/>
                </a:cubicBezTo>
                <a:lnTo>
                  <a:pt x="80069" y="67971"/>
                </a:lnTo>
                <a:cubicBezTo>
                  <a:pt x="80414" y="67116"/>
                  <a:pt x="80742" y="66206"/>
                  <a:pt x="80978" y="65297"/>
                </a:cubicBezTo>
                <a:cubicBezTo>
                  <a:pt x="81215" y="64387"/>
                  <a:pt x="81397" y="63459"/>
                  <a:pt x="81524" y="62531"/>
                </a:cubicBezTo>
                <a:lnTo>
                  <a:pt x="88384" y="59147"/>
                </a:lnTo>
                <a:cubicBezTo>
                  <a:pt x="90439" y="58128"/>
                  <a:pt x="91477" y="55799"/>
                  <a:pt x="90894" y="53598"/>
                </a:cubicBezTo>
                <a:lnTo>
                  <a:pt x="89621" y="48831"/>
                </a:lnTo>
                <a:cubicBezTo>
                  <a:pt x="89020" y="46629"/>
                  <a:pt x="86946" y="45137"/>
                  <a:pt x="84672" y="45283"/>
                </a:cubicBezTo>
                <a:lnTo>
                  <a:pt x="77030" y="45774"/>
                </a:lnTo>
                <a:cubicBezTo>
                  <a:pt x="75884" y="44282"/>
                  <a:pt x="74556" y="42936"/>
                  <a:pt x="73046" y="41771"/>
                </a:cubicBezTo>
                <a:lnTo>
                  <a:pt x="73537" y="34166"/>
                </a:lnTo>
                <a:cubicBezTo>
                  <a:pt x="73682" y="31892"/>
                  <a:pt x="72191" y="29818"/>
                  <a:pt x="69989" y="29217"/>
                </a:cubicBezTo>
                <a:close/>
                <a:moveTo>
                  <a:pt x="82526" y="0"/>
                </a:moveTo>
                <a:cubicBezTo>
                  <a:pt x="128103" y="0"/>
                  <a:pt x="165051" y="37071"/>
                  <a:pt x="165051" y="82800"/>
                </a:cubicBezTo>
                <a:cubicBezTo>
                  <a:pt x="165051" y="128529"/>
                  <a:pt x="128103" y="165600"/>
                  <a:pt x="82526" y="165600"/>
                </a:cubicBezTo>
                <a:cubicBezTo>
                  <a:pt x="36948" y="165600"/>
                  <a:pt x="0" y="128529"/>
                  <a:pt x="0" y="82800"/>
                </a:cubicBezTo>
                <a:cubicBezTo>
                  <a:pt x="0" y="37071"/>
                  <a:pt x="36948" y="0"/>
                  <a:pt x="82526" y="0"/>
                </a:cubicBezTo>
                <a:close/>
              </a:path>
            </a:pathLst>
          </a:custGeom>
          <a:solidFill>
            <a:srgbClr val="FFC000"/>
          </a:solidFill>
          <a:ln w="179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89" name="Forma libre 88">
            <a:extLst>
              <a:ext uri="{FF2B5EF4-FFF2-40B4-BE49-F238E27FC236}">
                <a16:creationId xmlns:a16="http://schemas.microsoft.com/office/drawing/2014/main" id="{025C2DEA-2AD5-C30A-D708-9C7BB4F87BCC}"/>
              </a:ext>
            </a:extLst>
          </p:cNvPr>
          <p:cNvSpPr/>
          <p:nvPr/>
        </p:nvSpPr>
        <p:spPr>
          <a:xfrm>
            <a:off x="4910110" y="3656950"/>
            <a:ext cx="162047" cy="162586"/>
          </a:xfrm>
          <a:custGeom>
            <a:avLst/>
            <a:gdLst>
              <a:gd name="connsiteX0" fmla="*/ 68948 w 165051"/>
              <a:gd name="connsiteY0" fmla="*/ 109953 h 165600"/>
              <a:gd name="connsiteX1" fmla="*/ 62159 w 165051"/>
              <a:gd name="connsiteY1" fmla="*/ 116742 h 165600"/>
              <a:gd name="connsiteX2" fmla="*/ 68948 w 165051"/>
              <a:gd name="connsiteY2" fmla="*/ 123530 h 165600"/>
              <a:gd name="connsiteX3" fmla="*/ 130044 w 165051"/>
              <a:gd name="connsiteY3" fmla="*/ 123530 h 165600"/>
              <a:gd name="connsiteX4" fmla="*/ 136833 w 165051"/>
              <a:gd name="connsiteY4" fmla="*/ 116742 h 165600"/>
              <a:gd name="connsiteX5" fmla="*/ 130044 w 165051"/>
              <a:gd name="connsiteY5" fmla="*/ 109953 h 165600"/>
              <a:gd name="connsiteX6" fmla="*/ 41794 w 165051"/>
              <a:gd name="connsiteY6" fmla="*/ 108256 h 165600"/>
              <a:gd name="connsiteX7" fmla="*/ 33308 w 165051"/>
              <a:gd name="connsiteY7" fmla="*/ 116742 h 165600"/>
              <a:gd name="connsiteX8" fmla="*/ 41794 w 165051"/>
              <a:gd name="connsiteY8" fmla="*/ 125227 h 165600"/>
              <a:gd name="connsiteX9" fmla="*/ 50279 w 165051"/>
              <a:gd name="connsiteY9" fmla="*/ 116742 h 165600"/>
              <a:gd name="connsiteX10" fmla="*/ 41794 w 165051"/>
              <a:gd name="connsiteY10" fmla="*/ 108256 h 165600"/>
              <a:gd name="connsiteX11" fmla="*/ 82525 w 165051"/>
              <a:gd name="connsiteY11" fmla="*/ 76011 h 165600"/>
              <a:gd name="connsiteX12" fmla="*/ 75736 w 165051"/>
              <a:gd name="connsiteY12" fmla="*/ 82799 h 165600"/>
              <a:gd name="connsiteX13" fmla="*/ 82525 w 165051"/>
              <a:gd name="connsiteY13" fmla="*/ 89588 h 165600"/>
              <a:gd name="connsiteX14" fmla="*/ 130044 w 165051"/>
              <a:gd name="connsiteY14" fmla="*/ 89588 h 165600"/>
              <a:gd name="connsiteX15" fmla="*/ 136833 w 165051"/>
              <a:gd name="connsiteY15" fmla="*/ 82799 h 165600"/>
              <a:gd name="connsiteX16" fmla="*/ 130044 w 165051"/>
              <a:gd name="connsiteY16" fmla="*/ 76011 h 165600"/>
              <a:gd name="connsiteX17" fmla="*/ 56601 w 165051"/>
              <a:gd name="connsiteY17" fmla="*/ 70134 h 165600"/>
              <a:gd name="connsiteX18" fmla="*/ 56580 w 165051"/>
              <a:gd name="connsiteY18" fmla="*/ 70156 h 165600"/>
              <a:gd name="connsiteX19" fmla="*/ 49494 w 165051"/>
              <a:gd name="connsiteY19" fmla="*/ 71407 h 165600"/>
              <a:gd name="connsiteX20" fmla="*/ 41094 w 165051"/>
              <a:gd name="connsiteY20" fmla="*/ 83414 h 165600"/>
              <a:gd name="connsiteX21" fmla="*/ 36893 w 165051"/>
              <a:gd name="connsiteY21" fmla="*/ 79214 h 165600"/>
              <a:gd name="connsiteX22" fmla="*/ 29702 w 165051"/>
              <a:gd name="connsiteY22" fmla="*/ 79214 h 165600"/>
              <a:gd name="connsiteX23" fmla="*/ 29702 w 165051"/>
              <a:gd name="connsiteY23" fmla="*/ 86406 h 165600"/>
              <a:gd name="connsiteX24" fmla="*/ 38187 w 165051"/>
              <a:gd name="connsiteY24" fmla="*/ 94891 h 165600"/>
              <a:gd name="connsiteX25" fmla="*/ 42239 w 165051"/>
              <a:gd name="connsiteY25" fmla="*/ 96334 h 165600"/>
              <a:gd name="connsiteX26" fmla="*/ 45973 w 165051"/>
              <a:gd name="connsiteY26" fmla="*/ 94191 h 165600"/>
              <a:gd name="connsiteX27" fmla="*/ 57853 w 165051"/>
              <a:gd name="connsiteY27" fmla="*/ 77220 h 165600"/>
              <a:gd name="connsiteX28" fmla="*/ 56601 w 165051"/>
              <a:gd name="connsiteY28" fmla="*/ 70134 h 165600"/>
              <a:gd name="connsiteX29" fmla="*/ 82525 w 165051"/>
              <a:gd name="connsiteY29" fmla="*/ 42068 h 165600"/>
              <a:gd name="connsiteX30" fmla="*/ 75736 w 165051"/>
              <a:gd name="connsiteY30" fmla="*/ 48857 h 165600"/>
              <a:gd name="connsiteX31" fmla="*/ 82525 w 165051"/>
              <a:gd name="connsiteY31" fmla="*/ 55645 h 165600"/>
              <a:gd name="connsiteX32" fmla="*/ 130044 w 165051"/>
              <a:gd name="connsiteY32" fmla="*/ 55645 h 165600"/>
              <a:gd name="connsiteX33" fmla="*/ 136833 w 165051"/>
              <a:gd name="connsiteY33" fmla="*/ 48857 h 165600"/>
              <a:gd name="connsiteX34" fmla="*/ 130044 w 165051"/>
              <a:gd name="connsiteY34" fmla="*/ 42068 h 165600"/>
              <a:gd name="connsiteX35" fmla="*/ 56601 w 165051"/>
              <a:gd name="connsiteY35" fmla="*/ 36192 h 165600"/>
              <a:gd name="connsiteX36" fmla="*/ 49516 w 165051"/>
              <a:gd name="connsiteY36" fmla="*/ 37444 h 165600"/>
              <a:gd name="connsiteX37" fmla="*/ 41115 w 165051"/>
              <a:gd name="connsiteY37" fmla="*/ 49451 h 165600"/>
              <a:gd name="connsiteX38" fmla="*/ 36914 w 165051"/>
              <a:gd name="connsiteY38" fmla="*/ 45250 h 165600"/>
              <a:gd name="connsiteX39" fmla="*/ 29702 w 165051"/>
              <a:gd name="connsiteY39" fmla="*/ 45250 h 165600"/>
              <a:gd name="connsiteX40" fmla="*/ 29702 w 165051"/>
              <a:gd name="connsiteY40" fmla="*/ 52463 h 165600"/>
              <a:gd name="connsiteX41" fmla="*/ 38187 w 165051"/>
              <a:gd name="connsiteY41" fmla="*/ 60949 h 165600"/>
              <a:gd name="connsiteX42" fmla="*/ 42239 w 165051"/>
              <a:gd name="connsiteY42" fmla="*/ 62391 h 165600"/>
              <a:gd name="connsiteX43" fmla="*/ 45973 w 165051"/>
              <a:gd name="connsiteY43" fmla="*/ 60249 h 165600"/>
              <a:gd name="connsiteX44" fmla="*/ 57853 w 165051"/>
              <a:gd name="connsiteY44" fmla="*/ 43277 h 165600"/>
              <a:gd name="connsiteX45" fmla="*/ 56601 w 165051"/>
              <a:gd name="connsiteY45" fmla="*/ 36192 h 165600"/>
              <a:gd name="connsiteX46" fmla="*/ 82526 w 165051"/>
              <a:gd name="connsiteY46" fmla="*/ 0 h 165600"/>
              <a:gd name="connsiteX47" fmla="*/ 165051 w 165051"/>
              <a:gd name="connsiteY47" fmla="*/ 82800 h 165600"/>
              <a:gd name="connsiteX48" fmla="*/ 82526 w 165051"/>
              <a:gd name="connsiteY48" fmla="*/ 165600 h 165600"/>
              <a:gd name="connsiteX49" fmla="*/ 0 w 165051"/>
              <a:gd name="connsiteY49" fmla="*/ 82800 h 165600"/>
              <a:gd name="connsiteX50" fmla="*/ 82526 w 165051"/>
              <a:gd name="connsiteY50" fmla="*/ 0 h 16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165051" h="165600">
                <a:moveTo>
                  <a:pt x="68948" y="109953"/>
                </a:moveTo>
                <a:cubicBezTo>
                  <a:pt x="65193" y="109953"/>
                  <a:pt x="62159" y="112987"/>
                  <a:pt x="62159" y="116742"/>
                </a:cubicBezTo>
                <a:cubicBezTo>
                  <a:pt x="62159" y="120497"/>
                  <a:pt x="65193" y="123530"/>
                  <a:pt x="68948" y="123530"/>
                </a:cubicBezTo>
                <a:lnTo>
                  <a:pt x="130044" y="123530"/>
                </a:lnTo>
                <a:cubicBezTo>
                  <a:pt x="133799" y="123530"/>
                  <a:pt x="136833" y="120497"/>
                  <a:pt x="136833" y="116742"/>
                </a:cubicBezTo>
                <a:cubicBezTo>
                  <a:pt x="136833" y="112987"/>
                  <a:pt x="133799" y="109953"/>
                  <a:pt x="130044" y="109953"/>
                </a:cubicBezTo>
                <a:close/>
                <a:moveTo>
                  <a:pt x="41794" y="108256"/>
                </a:moveTo>
                <a:cubicBezTo>
                  <a:pt x="37105" y="108256"/>
                  <a:pt x="33308" y="112053"/>
                  <a:pt x="33308" y="116742"/>
                </a:cubicBezTo>
                <a:cubicBezTo>
                  <a:pt x="33308" y="121430"/>
                  <a:pt x="37105" y="125227"/>
                  <a:pt x="41794" y="125227"/>
                </a:cubicBezTo>
                <a:cubicBezTo>
                  <a:pt x="46482" y="125227"/>
                  <a:pt x="50279" y="121430"/>
                  <a:pt x="50279" y="116742"/>
                </a:cubicBezTo>
                <a:cubicBezTo>
                  <a:pt x="50279" y="112053"/>
                  <a:pt x="46482" y="108256"/>
                  <a:pt x="41794" y="108256"/>
                </a:cubicBezTo>
                <a:close/>
                <a:moveTo>
                  <a:pt x="82525" y="76011"/>
                </a:moveTo>
                <a:cubicBezTo>
                  <a:pt x="78770" y="76011"/>
                  <a:pt x="75736" y="79044"/>
                  <a:pt x="75736" y="82799"/>
                </a:cubicBezTo>
                <a:cubicBezTo>
                  <a:pt x="75736" y="86554"/>
                  <a:pt x="78770" y="89588"/>
                  <a:pt x="82525" y="89588"/>
                </a:cubicBezTo>
                <a:lnTo>
                  <a:pt x="130044" y="89588"/>
                </a:lnTo>
                <a:cubicBezTo>
                  <a:pt x="133799" y="89588"/>
                  <a:pt x="136833" y="86554"/>
                  <a:pt x="136833" y="82799"/>
                </a:cubicBezTo>
                <a:cubicBezTo>
                  <a:pt x="136833" y="79044"/>
                  <a:pt x="133799" y="76011"/>
                  <a:pt x="130044" y="76011"/>
                </a:cubicBezTo>
                <a:close/>
                <a:moveTo>
                  <a:pt x="56601" y="70134"/>
                </a:moveTo>
                <a:lnTo>
                  <a:pt x="56580" y="70156"/>
                </a:lnTo>
                <a:cubicBezTo>
                  <a:pt x="54289" y="68543"/>
                  <a:pt x="51107" y="69095"/>
                  <a:pt x="49494" y="71407"/>
                </a:cubicBezTo>
                <a:lnTo>
                  <a:pt x="41094" y="83414"/>
                </a:lnTo>
                <a:lnTo>
                  <a:pt x="36893" y="79214"/>
                </a:lnTo>
                <a:cubicBezTo>
                  <a:pt x="34920" y="77220"/>
                  <a:pt x="31696" y="77241"/>
                  <a:pt x="29702" y="79214"/>
                </a:cubicBezTo>
                <a:cubicBezTo>
                  <a:pt x="27707" y="81187"/>
                  <a:pt x="27707" y="84412"/>
                  <a:pt x="29702" y="86406"/>
                </a:cubicBezTo>
                <a:lnTo>
                  <a:pt x="38187" y="94891"/>
                </a:lnTo>
                <a:cubicBezTo>
                  <a:pt x="39248" y="95952"/>
                  <a:pt x="40733" y="96461"/>
                  <a:pt x="42239" y="96334"/>
                </a:cubicBezTo>
                <a:cubicBezTo>
                  <a:pt x="43745" y="96207"/>
                  <a:pt x="45103" y="95422"/>
                  <a:pt x="45973" y="94191"/>
                </a:cubicBezTo>
                <a:lnTo>
                  <a:pt x="57853" y="77220"/>
                </a:lnTo>
                <a:cubicBezTo>
                  <a:pt x="59465" y="74929"/>
                  <a:pt x="58913" y="71747"/>
                  <a:pt x="56601" y="70134"/>
                </a:cubicBezTo>
                <a:close/>
                <a:moveTo>
                  <a:pt x="82525" y="42068"/>
                </a:moveTo>
                <a:cubicBezTo>
                  <a:pt x="78770" y="42068"/>
                  <a:pt x="75736" y="45102"/>
                  <a:pt x="75736" y="48857"/>
                </a:cubicBezTo>
                <a:cubicBezTo>
                  <a:pt x="75736" y="52612"/>
                  <a:pt x="78770" y="55645"/>
                  <a:pt x="82525" y="55645"/>
                </a:cubicBezTo>
                <a:lnTo>
                  <a:pt x="130044" y="55645"/>
                </a:lnTo>
                <a:cubicBezTo>
                  <a:pt x="133799" y="55645"/>
                  <a:pt x="136833" y="52612"/>
                  <a:pt x="136833" y="48857"/>
                </a:cubicBezTo>
                <a:cubicBezTo>
                  <a:pt x="136833" y="45102"/>
                  <a:pt x="133799" y="42068"/>
                  <a:pt x="130044" y="42068"/>
                </a:cubicBezTo>
                <a:close/>
                <a:moveTo>
                  <a:pt x="56601" y="36192"/>
                </a:moveTo>
                <a:cubicBezTo>
                  <a:pt x="54310" y="34580"/>
                  <a:pt x="51128" y="35131"/>
                  <a:pt x="49516" y="37444"/>
                </a:cubicBezTo>
                <a:lnTo>
                  <a:pt x="41115" y="49451"/>
                </a:lnTo>
                <a:lnTo>
                  <a:pt x="36914" y="45250"/>
                </a:lnTo>
                <a:cubicBezTo>
                  <a:pt x="34920" y="43277"/>
                  <a:pt x="31675" y="43256"/>
                  <a:pt x="29702" y="45250"/>
                </a:cubicBezTo>
                <a:cubicBezTo>
                  <a:pt x="27729" y="47245"/>
                  <a:pt x="27729" y="50469"/>
                  <a:pt x="29702" y="52463"/>
                </a:cubicBezTo>
                <a:lnTo>
                  <a:pt x="38187" y="60949"/>
                </a:lnTo>
                <a:cubicBezTo>
                  <a:pt x="39248" y="62009"/>
                  <a:pt x="40733" y="62519"/>
                  <a:pt x="42239" y="62391"/>
                </a:cubicBezTo>
                <a:cubicBezTo>
                  <a:pt x="43745" y="62264"/>
                  <a:pt x="45103" y="61479"/>
                  <a:pt x="45973" y="60249"/>
                </a:cubicBezTo>
                <a:lnTo>
                  <a:pt x="57853" y="43277"/>
                </a:lnTo>
                <a:cubicBezTo>
                  <a:pt x="59465" y="40986"/>
                  <a:pt x="58913" y="37804"/>
                  <a:pt x="56601" y="36192"/>
                </a:cubicBezTo>
                <a:close/>
                <a:moveTo>
                  <a:pt x="82526" y="0"/>
                </a:moveTo>
                <a:cubicBezTo>
                  <a:pt x="128103" y="0"/>
                  <a:pt x="165051" y="37071"/>
                  <a:pt x="165051" y="82800"/>
                </a:cubicBezTo>
                <a:cubicBezTo>
                  <a:pt x="165051" y="128529"/>
                  <a:pt x="128103" y="165600"/>
                  <a:pt x="82526" y="165600"/>
                </a:cubicBezTo>
                <a:cubicBezTo>
                  <a:pt x="36948" y="165600"/>
                  <a:pt x="0" y="128529"/>
                  <a:pt x="0" y="82800"/>
                </a:cubicBezTo>
                <a:cubicBezTo>
                  <a:pt x="0" y="37071"/>
                  <a:pt x="36948" y="0"/>
                  <a:pt x="82526" y="0"/>
                </a:cubicBezTo>
                <a:close/>
              </a:path>
            </a:pathLst>
          </a:custGeom>
          <a:solidFill>
            <a:schemeClr val="accent1"/>
          </a:solidFill>
          <a:ln w="208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90" name="Forma libre 89">
            <a:extLst>
              <a:ext uri="{FF2B5EF4-FFF2-40B4-BE49-F238E27FC236}">
                <a16:creationId xmlns:a16="http://schemas.microsoft.com/office/drawing/2014/main" id="{D214C1D4-75CB-9FE1-F86F-9A6062B8DF18}"/>
              </a:ext>
            </a:extLst>
          </p:cNvPr>
          <p:cNvSpPr/>
          <p:nvPr/>
        </p:nvSpPr>
        <p:spPr>
          <a:xfrm>
            <a:off x="4910110" y="4053143"/>
            <a:ext cx="162047" cy="162586"/>
          </a:xfrm>
          <a:custGeom>
            <a:avLst/>
            <a:gdLst>
              <a:gd name="connsiteX0" fmla="*/ 68948 w 165051"/>
              <a:gd name="connsiteY0" fmla="*/ 109953 h 165600"/>
              <a:gd name="connsiteX1" fmla="*/ 62159 w 165051"/>
              <a:gd name="connsiteY1" fmla="*/ 116742 h 165600"/>
              <a:gd name="connsiteX2" fmla="*/ 68948 w 165051"/>
              <a:gd name="connsiteY2" fmla="*/ 123530 h 165600"/>
              <a:gd name="connsiteX3" fmla="*/ 130044 w 165051"/>
              <a:gd name="connsiteY3" fmla="*/ 123530 h 165600"/>
              <a:gd name="connsiteX4" fmla="*/ 136833 w 165051"/>
              <a:gd name="connsiteY4" fmla="*/ 116742 h 165600"/>
              <a:gd name="connsiteX5" fmla="*/ 130044 w 165051"/>
              <a:gd name="connsiteY5" fmla="*/ 109953 h 165600"/>
              <a:gd name="connsiteX6" fmla="*/ 41794 w 165051"/>
              <a:gd name="connsiteY6" fmla="*/ 108256 h 165600"/>
              <a:gd name="connsiteX7" fmla="*/ 33308 w 165051"/>
              <a:gd name="connsiteY7" fmla="*/ 116742 h 165600"/>
              <a:gd name="connsiteX8" fmla="*/ 41794 w 165051"/>
              <a:gd name="connsiteY8" fmla="*/ 125227 h 165600"/>
              <a:gd name="connsiteX9" fmla="*/ 50279 w 165051"/>
              <a:gd name="connsiteY9" fmla="*/ 116742 h 165600"/>
              <a:gd name="connsiteX10" fmla="*/ 41794 w 165051"/>
              <a:gd name="connsiteY10" fmla="*/ 108256 h 165600"/>
              <a:gd name="connsiteX11" fmla="*/ 82525 w 165051"/>
              <a:gd name="connsiteY11" fmla="*/ 76011 h 165600"/>
              <a:gd name="connsiteX12" fmla="*/ 75736 w 165051"/>
              <a:gd name="connsiteY12" fmla="*/ 82799 h 165600"/>
              <a:gd name="connsiteX13" fmla="*/ 82525 w 165051"/>
              <a:gd name="connsiteY13" fmla="*/ 89588 h 165600"/>
              <a:gd name="connsiteX14" fmla="*/ 130044 w 165051"/>
              <a:gd name="connsiteY14" fmla="*/ 89588 h 165600"/>
              <a:gd name="connsiteX15" fmla="*/ 136833 w 165051"/>
              <a:gd name="connsiteY15" fmla="*/ 82799 h 165600"/>
              <a:gd name="connsiteX16" fmla="*/ 130044 w 165051"/>
              <a:gd name="connsiteY16" fmla="*/ 76011 h 165600"/>
              <a:gd name="connsiteX17" fmla="*/ 56601 w 165051"/>
              <a:gd name="connsiteY17" fmla="*/ 70134 h 165600"/>
              <a:gd name="connsiteX18" fmla="*/ 56580 w 165051"/>
              <a:gd name="connsiteY18" fmla="*/ 70156 h 165600"/>
              <a:gd name="connsiteX19" fmla="*/ 49494 w 165051"/>
              <a:gd name="connsiteY19" fmla="*/ 71407 h 165600"/>
              <a:gd name="connsiteX20" fmla="*/ 41094 w 165051"/>
              <a:gd name="connsiteY20" fmla="*/ 83414 h 165600"/>
              <a:gd name="connsiteX21" fmla="*/ 36893 w 165051"/>
              <a:gd name="connsiteY21" fmla="*/ 79214 h 165600"/>
              <a:gd name="connsiteX22" fmla="*/ 29702 w 165051"/>
              <a:gd name="connsiteY22" fmla="*/ 79214 h 165600"/>
              <a:gd name="connsiteX23" fmla="*/ 29702 w 165051"/>
              <a:gd name="connsiteY23" fmla="*/ 86406 h 165600"/>
              <a:gd name="connsiteX24" fmla="*/ 38187 w 165051"/>
              <a:gd name="connsiteY24" fmla="*/ 94891 h 165600"/>
              <a:gd name="connsiteX25" fmla="*/ 42239 w 165051"/>
              <a:gd name="connsiteY25" fmla="*/ 96334 h 165600"/>
              <a:gd name="connsiteX26" fmla="*/ 45973 w 165051"/>
              <a:gd name="connsiteY26" fmla="*/ 94191 h 165600"/>
              <a:gd name="connsiteX27" fmla="*/ 57853 w 165051"/>
              <a:gd name="connsiteY27" fmla="*/ 77220 h 165600"/>
              <a:gd name="connsiteX28" fmla="*/ 56601 w 165051"/>
              <a:gd name="connsiteY28" fmla="*/ 70134 h 165600"/>
              <a:gd name="connsiteX29" fmla="*/ 82525 w 165051"/>
              <a:gd name="connsiteY29" fmla="*/ 42068 h 165600"/>
              <a:gd name="connsiteX30" fmla="*/ 75736 w 165051"/>
              <a:gd name="connsiteY30" fmla="*/ 48857 h 165600"/>
              <a:gd name="connsiteX31" fmla="*/ 82525 w 165051"/>
              <a:gd name="connsiteY31" fmla="*/ 55645 h 165600"/>
              <a:gd name="connsiteX32" fmla="*/ 130044 w 165051"/>
              <a:gd name="connsiteY32" fmla="*/ 55645 h 165600"/>
              <a:gd name="connsiteX33" fmla="*/ 136833 w 165051"/>
              <a:gd name="connsiteY33" fmla="*/ 48857 h 165600"/>
              <a:gd name="connsiteX34" fmla="*/ 130044 w 165051"/>
              <a:gd name="connsiteY34" fmla="*/ 42068 h 165600"/>
              <a:gd name="connsiteX35" fmla="*/ 56601 w 165051"/>
              <a:gd name="connsiteY35" fmla="*/ 36192 h 165600"/>
              <a:gd name="connsiteX36" fmla="*/ 49516 w 165051"/>
              <a:gd name="connsiteY36" fmla="*/ 37444 h 165600"/>
              <a:gd name="connsiteX37" fmla="*/ 41115 w 165051"/>
              <a:gd name="connsiteY37" fmla="*/ 49451 h 165600"/>
              <a:gd name="connsiteX38" fmla="*/ 36914 w 165051"/>
              <a:gd name="connsiteY38" fmla="*/ 45250 h 165600"/>
              <a:gd name="connsiteX39" fmla="*/ 29702 w 165051"/>
              <a:gd name="connsiteY39" fmla="*/ 45250 h 165600"/>
              <a:gd name="connsiteX40" fmla="*/ 29702 w 165051"/>
              <a:gd name="connsiteY40" fmla="*/ 52463 h 165600"/>
              <a:gd name="connsiteX41" fmla="*/ 38187 w 165051"/>
              <a:gd name="connsiteY41" fmla="*/ 60949 h 165600"/>
              <a:gd name="connsiteX42" fmla="*/ 42239 w 165051"/>
              <a:gd name="connsiteY42" fmla="*/ 62391 h 165600"/>
              <a:gd name="connsiteX43" fmla="*/ 45973 w 165051"/>
              <a:gd name="connsiteY43" fmla="*/ 60249 h 165600"/>
              <a:gd name="connsiteX44" fmla="*/ 57853 w 165051"/>
              <a:gd name="connsiteY44" fmla="*/ 43277 h 165600"/>
              <a:gd name="connsiteX45" fmla="*/ 56601 w 165051"/>
              <a:gd name="connsiteY45" fmla="*/ 36192 h 165600"/>
              <a:gd name="connsiteX46" fmla="*/ 82526 w 165051"/>
              <a:gd name="connsiteY46" fmla="*/ 0 h 165600"/>
              <a:gd name="connsiteX47" fmla="*/ 165051 w 165051"/>
              <a:gd name="connsiteY47" fmla="*/ 82800 h 165600"/>
              <a:gd name="connsiteX48" fmla="*/ 82526 w 165051"/>
              <a:gd name="connsiteY48" fmla="*/ 165600 h 165600"/>
              <a:gd name="connsiteX49" fmla="*/ 0 w 165051"/>
              <a:gd name="connsiteY49" fmla="*/ 82800 h 165600"/>
              <a:gd name="connsiteX50" fmla="*/ 82526 w 165051"/>
              <a:gd name="connsiteY50" fmla="*/ 0 h 16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165051" h="165600">
                <a:moveTo>
                  <a:pt x="68948" y="109953"/>
                </a:moveTo>
                <a:cubicBezTo>
                  <a:pt x="65193" y="109953"/>
                  <a:pt x="62159" y="112987"/>
                  <a:pt x="62159" y="116742"/>
                </a:cubicBezTo>
                <a:cubicBezTo>
                  <a:pt x="62159" y="120497"/>
                  <a:pt x="65193" y="123530"/>
                  <a:pt x="68948" y="123530"/>
                </a:cubicBezTo>
                <a:lnTo>
                  <a:pt x="130044" y="123530"/>
                </a:lnTo>
                <a:cubicBezTo>
                  <a:pt x="133799" y="123530"/>
                  <a:pt x="136833" y="120497"/>
                  <a:pt x="136833" y="116742"/>
                </a:cubicBezTo>
                <a:cubicBezTo>
                  <a:pt x="136833" y="112987"/>
                  <a:pt x="133799" y="109953"/>
                  <a:pt x="130044" y="109953"/>
                </a:cubicBezTo>
                <a:close/>
                <a:moveTo>
                  <a:pt x="41794" y="108256"/>
                </a:moveTo>
                <a:cubicBezTo>
                  <a:pt x="37105" y="108256"/>
                  <a:pt x="33308" y="112053"/>
                  <a:pt x="33308" y="116742"/>
                </a:cubicBezTo>
                <a:cubicBezTo>
                  <a:pt x="33308" y="121430"/>
                  <a:pt x="37105" y="125227"/>
                  <a:pt x="41794" y="125227"/>
                </a:cubicBezTo>
                <a:cubicBezTo>
                  <a:pt x="46482" y="125227"/>
                  <a:pt x="50279" y="121430"/>
                  <a:pt x="50279" y="116742"/>
                </a:cubicBezTo>
                <a:cubicBezTo>
                  <a:pt x="50279" y="112053"/>
                  <a:pt x="46482" y="108256"/>
                  <a:pt x="41794" y="108256"/>
                </a:cubicBezTo>
                <a:close/>
                <a:moveTo>
                  <a:pt x="82525" y="76011"/>
                </a:moveTo>
                <a:cubicBezTo>
                  <a:pt x="78770" y="76011"/>
                  <a:pt x="75736" y="79044"/>
                  <a:pt x="75736" y="82799"/>
                </a:cubicBezTo>
                <a:cubicBezTo>
                  <a:pt x="75736" y="86554"/>
                  <a:pt x="78770" y="89588"/>
                  <a:pt x="82525" y="89588"/>
                </a:cubicBezTo>
                <a:lnTo>
                  <a:pt x="130044" y="89588"/>
                </a:lnTo>
                <a:cubicBezTo>
                  <a:pt x="133799" y="89588"/>
                  <a:pt x="136833" y="86554"/>
                  <a:pt x="136833" y="82799"/>
                </a:cubicBezTo>
                <a:cubicBezTo>
                  <a:pt x="136833" y="79044"/>
                  <a:pt x="133799" y="76011"/>
                  <a:pt x="130044" y="76011"/>
                </a:cubicBezTo>
                <a:close/>
                <a:moveTo>
                  <a:pt x="56601" y="70134"/>
                </a:moveTo>
                <a:lnTo>
                  <a:pt x="56580" y="70156"/>
                </a:lnTo>
                <a:cubicBezTo>
                  <a:pt x="54289" y="68543"/>
                  <a:pt x="51107" y="69095"/>
                  <a:pt x="49494" y="71407"/>
                </a:cubicBezTo>
                <a:lnTo>
                  <a:pt x="41094" y="83414"/>
                </a:lnTo>
                <a:lnTo>
                  <a:pt x="36893" y="79214"/>
                </a:lnTo>
                <a:cubicBezTo>
                  <a:pt x="34920" y="77220"/>
                  <a:pt x="31696" y="77241"/>
                  <a:pt x="29702" y="79214"/>
                </a:cubicBezTo>
                <a:cubicBezTo>
                  <a:pt x="27707" y="81187"/>
                  <a:pt x="27707" y="84412"/>
                  <a:pt x="29702" y="86406"/>
                </a:cubicBezTo>
                <a:lnTo>
                  <a:pt x="38187" y="94891"/>
                </a:lnTo>
                <a:cubicBezTo>
                  <a:pt x="39248" y="95952"/>
                  <a:pt x="40733" y="96461"/>
                  <a:pt x="42239" y="96334"/>
                </a:cubicBezTo>
                <a:cubicBezTo>
                  <a:pt x="43745" y="96207"/>
                  <a:pt x="45103" y="95422"/>
                  <a:pt x="45973" y="94191"/>
                </a:cubicBezTo>
                <a:lnTo>
                  <a:pt x="57853" y="77220"/>
                </a:lnTo>
                <a:cubicBezTo>
                  <a:pt x="59465" y="74929"/>
                  <a:pt x="58913" y="71747"/>
                  <a:pt x="56601" y="70134"/>
                </a:cubicBezTo>
                <a:close/>
                <a:moveTo>
                  <a:pt x="82525" y="42068"/>
                </a:moveTo>
                <a:cubicBezTo>
                  <a:pt x="78770" y="42068"/>
                  <a:pt x="75736" y="45102"/>
                  <a:pt x="75736" y="48857"/>
                </a:cubicBezTo>
                <a:cubicBezTo>
                  <a:pt x="75736" y="52612"/>
                  <a:pt x="78770" y="55645"/>
                  <a:pt x="82525" y="55645"/>
                </a:cubicBezTo>
                <a:lnTo>
                  <a:pt x="130044" y="55645"/>
                </a:lnTo>
                <a:cubicBezTo>
                  <a:pt x="133799" y="55645"/>
                  <a:pt x="136833" y="52612"/>
                  <a:pt x="136833" y="48857"/>
                </a:cubicBezTo>
                <a:cubicBezTo>
                  <a:pt x="136833" y="45102"/>
                  <a:pt x="133799" y="42068"/>
                  <a:pt x="130044" y="42068"/>
                </a:cubicBezTo>
                <a:close/>
                <a:moveTo>
                  <a:pt x="56601" y="36192"/>
                </a:moveTo>
                <a:cubicBezTo>
                  <a:pt x="54310" y="34580"/>
                  <a:pt x="51128" y="35131"/>
                  <a:pt x="49516" y="37444"/>
                </a:cubicBezTo>
                <a:lnTo>
                  <a:pt x="41115" y="49451"/>
                </a:lnTo>
                <a:lnTo>
                  <a:pt x="36914" y="45250"/>
                </a:lnTo>
                <a:cubicBezTo>
                  <a:pt x="34920" y="43277"/>
                  <a:pt x="31675" y="43256"/>
                  <a:pt x="29702" y="45250"/>
                </a:cubicBezTo>
                <a:cubicBezTo>
                  <a:pt x="27729" y="47245"/>
                  <a:pt x="27729" y="50469"/>
                  <a:pt x="29702" y="52463"/>
                </a:cubicBezTo>
                <a:lnTo>
                  <a:pt x="38187" y="60949"/>
                </a:lnTo>
                <a:cubicBezTo>
                  <a:pt x="39248" y="62009"/>
                  <a:pt x="40733" y="62519"/>
                  <a:pt x="42239" y="62391"/>
                </a:cubicBezTo>
                <a:cubicBezTo>
                  <a:pt x="43745" y="62264"/>
                  <a:pt x="45103" y="61479"/>
                  <a:pt x="45973" y="60249"/>
                </a:cubicBezTo>
                <a:lnTo>
                  <a:pt x="57853" y="43277"/>
                </a:lnTo>
                <a:cubicBezTo>
                  <a:pt x="59465" y="40986"/>
                  <a:pt x="58913" y="37804"/>
                  <a:pt x="56601" y="36192"/>
                </a:cubicBezTo>
                <a:close/>
                <a:moveTo>
                  <a:pt x="82526" y="0"/>
                </a:moveTo>
                <a:cubicBezTo>
                  <a:pt x="128103" y="0"/>
                  <a:pt x="165051" y="37071"/>
                  <a:pt x="165051" y="82800"/>
                </a:cubicBezTo>
                <a:cubicBezTo>
                  <a:pt x="165051" y="128529"/>
                  <a:pt x="128103" y="165600"/>
                  <a:pt x="82526" y="165600"/>
                </a:cubicBezTo>
                <a:cubicBezTo>
                  <a:pt x="36948" y="165600"/>
                  <a:pt x="0" y="128529"/>
                  <a:pt x="0" y="82800"/>
                </a:cubicBezTo>
                <a:cubicBezTo>
                  <a:pt x="0" y="37071"/>
                  <a:pt x="36948" y="0"/>
                  <a:pt x="82526" y="0"/>
                </a:cubicBezTo>
                <a:close/>
              </a:path>
            </a:pathLst>
          </a:custGeom>
          <a:solidFill>
            <a:schemeClr val="accent1"/>
          </a:solidFill>
          <a:ln w="208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119" name="Rectángulo redondeado 118">
            <a:extLst>
              <a:ext uri="{FF2B5EF4-FFF2-40B4-BE49-F238E27FC236}">
                <a16:creationId xmlns:a16="http://schemas.microsoft.com/office/drawing/2014/main" id="{51FD385A-61F1-022C-4123-61DBE4DD0141}"/>
              </a:ext>
            </a:extLst>
          </p:cNvPr>
          <p:cNvSpPr/>
          <p:nvPr/>
        </p:nvSpPr>
        <p:spPr>
          <a:xfrm>
            <a:off x="6557808" y="2210540"/>
            <a:ext cx="1951932" cy="1574289"/>
          </a:xfrm>
          <a:prstGeom prst="roundRect">
            <a:avLst>
              <a:gd name="adj" fmla="val 9936"/>
            </a:avLst>
          </a:prstGeom>
          <a:noFill/>
          <a:ln w="12700" cap="rnd" cmpd="sng">
            <a:solidFill>
              <a:schemeClr val="bg2"/>
            </a:solidFill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bg2"/>
              </a:solidFill>
            </a:endParaRPr>
          </a:p>
        </p:txBody>
      </p:sp>
      <p:sp>
        <p:nvSpPr>
          <p:cNvPr id="145" name="Rectángulo 144">
            <a:extLst>
              <a:ext uri="{FF2B5EF4-FFF2-40B4-BE49-F238E27FC236}">
                <a16:creationId xmlns:a16="http://schemas.microsoft.com/office/drawing/2014/main" id="{EAF5F1C5-56ED-DBD3-0BBF-1D8A1DFAECF8}"/>
              </a:ext>
            </a:extLst>
          </p:cNvPr>
          <p:cNvSpPr/>
          <p:nvPr/>
        </p:nvSpPr>
        <p:spPr>
          <a:xfrm>
            <a:off x="6752621" y="2406570"/>
            <a:ext cx="1562301" cy="1242328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/>
          <a:p>
            <a:pPr marL="176213" indent="-171450" defTabSz="685739">
              <a:lnSpc>
                <a:spcPct val="150000"/>
              </a:lnSpc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s-AR" sz="1100" spc="-8">
                <a:solidFill>
                  <a:schemeClr val="bg2"/>
                </a:solidFill>
                <a:latin typeface="Pulso" pitchFamily="2" charset="0"/>
              </a:rPr>
              <a:t>Flexibilidad </a:t>
            </a:r>
          </a:p>
          <a:p>
            <a:pPr marL="176213" indent="-171450" defTabSz="685739">
              <a:lnSpc>
                <a:spcPct val="150000"/>
              </a:lnSpc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s-AR" sz="1100" spc="-8">
                <a:solidFill>
                  <a:schemeClr val="bg2"/>
                </a:solidFill>
                <a:latin typeface="Pulso" pitchFamily="2" charset="0"/>
              </a:rPr>
              <a:t>Escalabilidad</a:t>
            </a:r>
          </a:p>
          <a:p>
            <a:pPr marL="176213" indent="-171450" defTabSz="685739">
              <a:lnSpc>
                <a:spcPct val="150000"/>
              </a:lnSpc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s-AR" sz="1100" spc="-8">
                <a:solidFill>
                  <a:schemeClr val="bg2"/>
                </a:solidFill>
                <a:latin typeface="Pulso" pitchFamily="2" charset="0"/>
              </a:rPr>
              <a:t>Abierta y componible</a:t>
            </a:r>
          </a:p>
          <a:p>
            <a:pPr marL="176213" indent="-171450" defTabSz="685739">
              <a:lnSpc>
                <a:spcPct val="150000"/>
              </a:lnSpc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s-AR" sz="1100" spc="-8">
                <a:solidFill>
                  <a:schemeClr val="bg2"/>
                </a:solidFill>
                <a:latin typeface="Pulso" pitchFamily="2" charset="0"/>
              </a:rPr>
              <a:t> Time </a:t>
            </a:r>
            <a:r>
              <a:rPr lang="es-AR" sz="1100" spc="-8" err="1">
                <a:solidFill>
                  <a:schemeClr val="bg2"/>
                </a:solidFill>
                <a:latin typeface="Pulso" pitchFamily="2" charset="0"/>
              </a:rPr>
              <a:t>To</a:t>
            </a:r>
            <a:r>
              <a:rPr lang="es-AR" sz="1100" spc="-8">
                <a:solidFill>
                  <a:schemeClr val="bg2"/>
                </a:solidFill>
                <a:latin typeface="Pulso" pitchFamily="2" charset="0"/>
              </a:rPr>
              <a:t> </a:t>
            </a:r>
            <a:r>
              <a:rPr lang="es-AR" sz="1100" spc="-8" err="1">
                <a:solidFill>
                  <a:schemeClr val="bg2"/>
                </a:solidFill>
                <a:latin typeface="Pulso" pitchFamily="2" charset="0"/>
              </a:rPr>
              <a:t>Market</a:t>
            </a:r>
            <a:endParaRPr lang="es-AR" sz="1100" spc="-8">
              <a:solidFill>
                <a:schemeClr val="bg2"/>
              </a:solidFill>
              <a:latin typeface="Pulso" pitchFamily="2" charset="0"/>
            </a:endParaRPr>
          </a:p>
          <a:p>
            <a:pPr marL="176213" indent="-171450" defTabSz="685739">
              <a:lnSpc>
                <a:spcPct val="150000"/>
              </a:lnSpc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s-AR" sz="1100" spc="-8">
                <a:solidFill>
                  <a:schemeClr val="bg2"/>
                </a:solidFill>
                <a:latin typeface="Pulso" pitchFamily="2" charset="0"/>
              </a:rPr>
              <a:t> </a:t>
            </a:r>
            <a:r>
              <a:rPr lang="es-AR" sz="1100" spc="-8" err="1">
                <a:solidFill>
                  <a:schemeClr val="bg2"/>
                </a:solidFill>
                <a:latin typeface="Pulso" pitchFamily="2" charset="0"/>
              </a:rPr>
              <a:t>APIs</a:t>
            </a:r>
            <a:r>
              <a:rPr lang="es-AR" sz="1100" spc="-8">
                <a:solidFill>
                  <a:schemeClr val="bg2"/>
                </a:solidFill>
                <a:latin typeface="Pulso" pitchFamily="2" charset="0"/>
              </a:rPr>
              <a:t> y microservicio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96E968D7-F7F1-8A10-F081-0059C45D0FB4}"/>
              </a:ext>
            </a:extLst>
          </p:cNvPr>
          <p:cNvSpPr txBox="1">
            <a:spLocks/>
          </p:cNvSpPr>
          <p:nvPr/>
        </p:nvSpPr>
        <p:spPr>
          <a:xfrm>
            <a:off x="540657" y="528532"/>
            <a:ext cx="2830903" cy="384721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ts val="3200"/>
              </a:lnSpc>
              <a:spcAft>
                <a:spcPts val="0"/>
              </a:spcAft>
              <a:buNone/>
              <a:defRPr sz="2800" b="0" i="0" spc="-70" baseline="0">
                <a:solidFill>
                  <a:schemeClr val="tx2"/>
                </a:solidFill>
                <a:latin typeface="Pulso Light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500">
                <a:solidFill>
                  <a:schemeClr val="bg2"/>
                </a:solidFill>
                <a:latin typeface="Pulso Light" pitchFamily="2" charset="0"/>
              </a:rPr>
              <a:t>Plataformización E2E</a:t>
            </a:r>
          </a:p>
        </p:txBody>
      </p:sp>
      <p:sp>
        <p:nvSpPr>
          <p:cNvPr id="26" name="Marcador de texto 8">
            <a:extLst>
              <a:ext uri="{FF2B5EF4-FFF2-40B4-BE49-F238E27FC236}">
                <a16:creationId xmlns:a16="http://schemas.microsoft.com/office/drawing/2014/main" id="{7D934BA7-BA29-0125-69AE-FD4FDAFA44D6}"/>
              </a:ext>
            </a:extLst>
          </p:cNvPr>
          <p:cNvSpPr txBox="1">
            <a:spLocks/>
          </p:cNvSpPr>
          <p:nvPr/>
        </p:nvSpPr>
        <p:spPr>
          <a:xfrm>
            <a:off x="540658" y="969787"/>
            <a:ext cx="5192877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000" noProof="0">
                <a:solidFill>
                  <a:srgbClr val="150958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Asegurar la </a:t>
            </a:r>
            <a:r>
              <a:rPr lang="es-ES_tradnl" sz="1000" noProof="0" err="1">
                <a:solidFill>
                  <a:srgbClr val="150958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disponibilización</a:t>
            </a:r>
            <a:r>
              <a:rPr lang="es-ES_tradnl" sz="1000" noProof="0">
                <a:solidFill>
                  <a:srgbClr val="150958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 de plataformas habilitadoras para negocios y mercados, que nos permita lograr escalabilidad, regionalización y eficiencias operativas.</a:t>
            </a:r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7B973E08-D6A7-0C9D-2F2F-0D0D386DA8A5}"/>
              </a:ext>
            </a:extLst>
          </p:cNvPr>
          <p:cNvGrpSpPr/>
          <p:nvPr/>
        </p:nvGrpSpPr>
        <p:grpSpPr>
          <a:xfrm>
            <a:off x="6352578" y="4455978"/>
            <a:ext cx="2283356" cy="123022"/>
            <a:chOff x="6332769" y="4446159"/>
            <a:chExt cx="2465627" cy="132843"/>
          </a:xfrm>
        </p:grpSpPr>
        <p:sp>
          <p:nvSpPr>
            <p:cNvPr id="88" name="CuadroTexto 87">
              <a:extLst>
                <a:ext uri="{FF2B5EF4-FFF2-40B4-BE49-F238E27FC236}">
                  <a16:creationId xmlns:a16="http://schemas.microsoft.com/office/drawing/2014/main" id="{58B00872-A3EF-638F-1BEF-30B4DF4B9B90}"/>
                </a:ext>
              </a:extLst>
            </p:cNvPr>
            <p:cNvSpPr txBox="1"/>
            <p:nvPr/>
          </p:nvSpPr>
          <p:spPr>
            <a:xfrm>
              <a:off x="6501824" y="4458719"/>
              <a:ext cx="602376" cy="10801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500"/>
                </a:spcAft>
                <a:defRPr/>
              </a:pPr>
              <a:r>
                <a:rPr lang="es-AR" sz="650">
                  <a:solidFill>
                    <a:schemeClr val="bg1">
                      <a:lumMod val="50000"/>
                    </a:schemeClr>
                  </a:solidFill>
                  <a:latin typeface="Pulso Light" pitchFamily="2" charset="0"/>
                  <a:ea typeface="Roboto Light" panose="02000000000000000000" pitchFamily="2" charset="0"/>
                  <a:cs typeface="Open Sans Light" panose="020B0306030504020204" pitchFamily="34" charset="0"/>
                </a:rPr>
                <a:t>Implementado</a:t>
              </a:r>
            </a:p>
          </p:txBody>
        </p:sp>
        <p:sp>
          <p:nvSpPr>
            <p:cNvPr id="120" name="Forma libre 195">
              <a:extLst>
                <a:ext uri="{FF2B5EF4-FFF2-40B4-BE49-F238E27FC236}">
                  <a16:creationId xmlns:a16="http://schemas.microsoft.com/office/drawing/2014/main" id="{0A70E382-4583-8A9A-0D75-B2F079599EC7}"/>
                </a:ext>
              </a:extLst>
            </p:cNvPr>
            <p:cNvSpPr>
              <a:spLocks/>
            </p:cNvSpPr>
            <p:nvPr/>
          </p:nvSpPr>
          <p:spPr>
            <a:xfrm>
              <a:off x="6332769" y="4446379"/>
              <a:ext cx="132403" cy="132403"/>
            </a:xfrm>
            <a:custGeom>
              <a:avLst/>
              <a:gdLst>
                <a:gd name="connsiteX0" fmla="*/ 337563 w 455568"/>
                <a:gd name="connsiteY0" fmla="*/ 127269 h 455568"/>
                <a:gd name="connsiteX1" fmla="*/ 318227 w 455568"/>
                <a:gd name="connsiteY1" fmla="*/ 135288 h 455568"/>
                <a:gd name="connsiteX2" fmla="*/ 191314 w 455568"/>
                <a:gd name="connsiteY2" fmla="*/ 262199 h 455568"/>
                <a:gd name="connsiteX3" fmla="*/ 137575 w 455568"/>
                <a:gd name="connsiteY3" fmla="*/ 208463 h 455568"/>
                <a:gd name="connsiteX4" fmla="*/ 98816 w 455568"/>
                <a:gd name="connsiteY4" fmla="*/ 208463 h 455568"/>
                <a:gd name="connsiteX5" fmla="*/ 98816 w 455568"/>
                <a:gd name="connsiteY5" fmla="*/ 247223 h 455568"/>
                <a:gd name="connsiteX6" fmla="*/ 171990 w 455568"/>
                <a:gd name="connsiteY6" fmla="*/ 320398 h 455568"/>
                <a:gd name="connsiteX7" fmla="*/ 210749 w 455568"/>
                <a:gd name="connsiteY7" fmla="*/ 320398 h 455568"/>
                <a:gd name="connsiteX8" fmla="*/ 356986 w 455568"/>
                <a:gd name="connsiteY8" fmla="*/ 174048 h 455568"/>
                <a:gd name="connsiteX9" fmla="*/ 356986 w 455568"/>
                <a:gd name="connsiteY9" fmla="*/ 135288 h 455568"/>
                <a:gd name="connsiteX10" fmla="*/ 337563 w 455568"/>
                <a:gd name="connsiteY10" fmla="*/ 127269 h 455568"/>
                <a:gd name="connsiteX11" fmla="*/ 227784 w 455568"/>
                <a:gd name="connsiteY11" fmla="*/ 0 h 455568"/>
                <a:gd name="connsiteX12" fmla="*/ 455568 w 455568"/>
                <a:gd name="connsiteY12" fmla="*/ 227784 h 455568"/>
                <a:gd name="connsiteX13" fmla="*/ 227784 w 455568"/>
                <a:gd name="connsiteY13" fmla="*/ 455568 h 455568"/>
                <a:gd name="connsiteX14" fmla="*/ 0 w 455568"/>
                <a:gd name="connsiteY14" fmla="*/ 227784 h 455568"/>
                <a:gd name="connsiteX15" fmla="*/ 227784 w 455568"/>
                <a:gd name="connsiteY15" fmla="*/ 0 h 4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568" h="455568">
                  <a:moveTo>
                    <a:pt x="337563" y="127269"/>
                  </a:moveTo>
                  <a:cubicBezTo>
                    <a:pt x="330545" y="127255"/>
                    <a:pt x="323543" y="129914"/>
                    <a:pt x="318227" y="135288"/>
                  </a:cubicBezTo>
                  <a:lnTo>
                    <a:pt x="191314" y="262199"/>
                  </a:lnTo>
                  <a:lnTo>
                    <a:pt x="137575" y="208463"/>
                  </a:lnTo>
                  <a:cubicBezTo>
                    <a:pt x="126827" y="197715"/>
                    <a:pt x="109448" y="197715"/>
                    <a:pt x="98816" y="208463"/>
                  </a:cubicBezTo>
                  <a:cubicBezTo>
                    <a:pt x="88184" y="219211"/>
                    <a:pt x="88068" y="236591"/>
                    <a:pt x="98816" y="247223"/>
                  </a:cubicBezTo>
                  <a:lnTo>
                    <a:pt x="171990" y="320398"/>
                  </a:lnTo>
                  <a:cubicBezTo>
                    <a:pt x="182738" y="331146"/>
                    <a:pt x="200117" y="331146"/>
                    <a:pt x="210749" y="320398"/>
                  </a:cubicBezTo>
                  <a:lnTo>
                    <a:pt x="356986" y="174048"/>
                  </a:lnTo>
                  <a:cubicBezTo>
                    <a:pt x="367734" y="163300"/>
                    <a:pt x="367734" y="145920"/>
                    <a:pt x="356986" y="135288"/>
                  </a:cubicBezTo>
                  <a:cubicBezTo>
                    <a:pt x="351612" y="129970"/>
                    <a:pt x="344580" y="127283"/>
                    <a:pt x="337563" y="127269"/>
                  </a:cubicBezTo>
                  <a:close/>
                  <a:moveTo>
                    <a:pt x="227784" y="0"/>
                  </a:moveTo>
                  <a:cubicBezTo>
                    <a:pt x="353586" y="0"/>
                    <a:pt x="455568" y="101982"/>
                    <a:pt x="455568" y="227784"/>
                  </a:cubicBezTo>
                  <a:cubicBezTo>
                    <a:pt x="455568" y="353586"/>
                    <a:pt x="353586" y="455568"/>
                    <a:pt x="227784" y="455568"/>
                  </a:cubicBezTo>
                  <a:cubicBezTo>
                    <a:pt x="101982" y="455568"/>
                    <a:pt x="0" y="353586"/>
                    <a:pt x="0" y="227784"/>
                  </a:cubicBezTo>
                  <a:cubicBezTo>
                    <a:pt x="0" y="101982"/>
                    <a:pt x="101982" y="0"/>
                    <a:pt x="227784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8100" cap="rnd" cmpd="sng">
              <a:noFill/>
              <a:prstDash val="sys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 defTabSz="685748" fontAlgn="auto">
                <a:spcBef>
                  <a:spcPts val="1000"/>
                </a:spcBef>
                <a:spcAft>
                  <a:spcPts val="0"/>
                </a:spcAft>
                <a:defRPr/>
              </a:pPr>
              <a:endParaRPr lang="en-US" sz="650" b="1">
                <a:solidFill>
                  <a:srgbClr val="24272A"/>
                </a:solidFill>
                <a:latin typeface="Pulso" pitchFamily="2" charset="0"/>
              </a:endParaRPr>
            </a:p>
          </p:txBody>
        </p:sp>
        <p:sp>
          <p:nvSpPr>
            <p:cNvPr id="121" name="Forma libre 120">
              <a:extLst>
                <a:ext uri="{FF2B5EF4-FFF2-40B4-BE49-F238E27FC236}">
                  <a16:creationId xmlns:a16="http://schemas.microsoft.com/office/drawing/2014/main" id="{2F3D4634-FEA2-602C-0CE2-021173BEFEBD}"/>
                </a:ext>
              </a:extLst>
            </p:cNvPr>
            <p:cNvSpPr/>
            <p:nvPr/>
          </p:nvSpPr>
          <p:spPr>
            <a:xfrm>
              <a:off x="7170489" y="4446159"/>
              <a:ext cx="132403" cy="132843"/>
            </a:xfrm>
            <a:custGeom>
              <a:avLst/>
              <a:gdLst>
                <a:gd name="connsiteX0" fmla="*/ 105887 w 165051"/>
                <a:gd name="connsiteY0" fmla="*/ 98083 h 165600"/>
                <a:gd name="connsiteX1" fmla="*/ 113910 w 165051"/>
                <a:gd name="connsiteY1" fmla="*/ 106089 h 165600"/>
                <a:gd name="connsiteX2" fmla="*/ 105905 w 165051"/>
                <a:gd name="connsiteY2" fmla="*/ 114094 h 165600"/>
                <a:gd name="connsiteX3" fmla="*/ 97899 w 165051"/>
                <a:gd name="connsiteY3" fmla="*/ 106107 h 165600"/>
                <a:gd name="connsiteX4" fmla="*/ 105887 w 165051"/>
                <a:gd name="connsiteY4" fmla="*/ 98083 h 165600"/>
                <a:gd name="connsiteX5" fmla="*/ 99955 w 165051"/>
                <a:gd name="connsiteY5" fmla="*/ 74521 h 165600"/>
                <a:gd name="connsiteX6" fmla="*/ 95188 w 165051"/>
                <a:gd name="connsiteY6" fmla="*/ 75795 h 165600"/>
                <a:gd name="connsiteX7" fmla="*/ 91640 w 165051"/>
                <a:gd name="connsiteY7" fmla="*/ 80744 h 165600"/>
                <a:gd name="connsiteX8" fmla="*/ 92132 w 165051"/>
                <a:gd name="connsiteY8" fmla="*/ 88349 h 165600"/>
                <a:gd name="connsiteX9" fmla="*/ 88147 w 165051"/>
                <a:gd name="connsiteY9" fmla="*/ 92352 h 165600"/>
                <a:gd name="connsiteX10" fmla="*/ 80524 w 165051"/>
                <a:gd name="connsiteY10" fmla="*/ 91861 h 165600"/>
                <a:gd name="connsiteX11" fmla="*/ 75575 w 165051"/>
                <a:gd name="connsiteY11" fmla="*/ 95408 h 165600"/>
                <a:gd name="connsiteX12" fmla="*/ 74301 w 165051"/>
                <a:gd name="connsiteY12" fmla="*/ 100175 h 165600"/>
                <a:gd name="connsiteX13" fmla="*/ 76812 w 165051"/>
                <a:gd name="connsiteY13" fmla="*/ 105725 h 165600"/>
                <a:gd name="connsiteX14" fmla="*/ 83671 w 165051"/>
                <a:gd name="connsiteY14" fmla="*/ 109109 h 165600"/>
                <a:gd name="connsiteX15" fmla="*/ 84217 w 165051"/>
                <a:gd name="connsiteY15" fmla="*/ 111874 h 165600"/>
                <a:gd name="connsiteX16" fmla="*/ 85127 w 165051"/>
                <a:gd name="connsiteY16" fmla="*/ 114549 h 165600"/>
                <a:gd name="connsiteX17" fmla="*/ 80887 w 165051"/>
                <a:gd name="connsiteY17" fmla="*/ 120917 h 165600"/>
                <a:gd name="connsiteX18" fmla="*/ 81488 w 165051"/>
                <a:gd name="connsiteY18" fmla="*/ 126976 h 165600"/>
                <a:gd name="connsiteX19" fmla="*/ 84981 w 165051"/>
                <a:gd name="connsiteY19" fmla="*/ 130469 h 165600"/>
                <a:gd name="connsiteX20" fmla="*/ 91040 w 165051"/>
                <a:gd name="connsiteY20" fmla="*/ 131069 h 165600"/>
                <a:gd name="connsiteX21" fmla="*/ 97408 w 165051"/>
                <a:gd name="connsiteY21" fmla="*/ 126830 h 165600"/>
                <a:gd name="connsiteX22" fmla="*/ 102848 w 165051"/>
                <a:gd name="connsiteY22" fmla="*/ 128304 h 165600"/>
                <a:gd name="connsiteX23" fmla="*/ 106232 w 165051"/>
                <a:gd name="connsiteY23" fmla="*/ 135145 h 165600"/>
                <a:gd name="connsiteX24" fmla="*/ 111781 w 165051"/>
                <a:gd name="connsiteY24" fmla="*/ 137656 h 165600"/>
                <a:gd name="connsiteX25" fmla="*/ 116548 w 165051"/>
                <a:gd name="connsiteY25" fmla="*/ 136382 h 165600"/>
                <a:gd name="connsiteX26" fmla="*/ 120096 w 165051"/>
                <a:gd name="connsiteY26" fmla="*/ 131433 h 165600"/>
                <a:gd name="connsiteX27" fmla="*/ 119605 w 165051"/>
                <a:gd name="connsiteY27" fmla="*/ 123810 h 165600"/>
                <a:gd name="connsiteX28" fmla="*/ 123590 w 165051"/>
                <a:gd name="connsiteY28" fmla="*/ 119807 h 165600"/>
                <a:gd name="connsiteX29" fmla="*/ 131231 w 165051"/>
                <a:gd name="connsiteY29" fmla="*/ 120298 h 165600"/>
                <a:gd name="connsiteX30" fmla="*/ 136180 w 165051"/>
                <a:gd name="connsiteY30" fmla="*/ 116750 h 165600"/>
                <a:gd name="connsiteX31" fmla="*/ 137454 w 165051"/>
                <a:gd name="connsiteY31" fmla="*/ 111983 h 165600"/>
                <a:gd name="connsiteX32" fmla="*/ 134943 w 165051"/>
                <a:gd name="connsiteY32" fmla="*/ 106434 h 165600"/>
                <a:gd name="connsiteX33" fmla="*/ 128084 w 165051"/>
                <a:gd name="connsiteY33" fmla="*/ 103050 h 165600"/>
                <a:gd name="connsiteX34" fmla="*/ 127538 w 165051"/>
                <a:gd name="connsiteY34" fmla="*/ 100285 h 165600"/>
                <a:gd name="connsiteX35" fmla="*/ 126628 w 165051"/>
                <a:gd name="connsiteY35" fmla="*/ 97610 h 165600"/>
                <a:gd name="connsiteX36" fmla="*/ 130867 w 165051"/>
                <a:gd name="connsiteY36" fmla="*/ 91260 h 165600"/>
                <a:gd name="connsiteX37" fmla="*/ 130267 w 165051"/>
                <a:gd name="connsiteY37" fmla="*/ 85201 h 165600"/>
                <a:gd name="connsiteX38" fmla="*/ 126774 w 165051"/>
                <a:gd name="connsiteY38" fmla="*/ 81708 h 165600"/>
                <a:gd name="connsiteX39" fmla="*/ 120715 w 165051"/>
                <a:gd name="connsiteY39" fmla="*/ 81108 h 165600"/>
                <a:gd name="connsiteX40" fmla="*/ 114347 w 165051"/>
                <a:gd name="connsiteY40" fmla="*/ 85347 h 165600"/>
                <a:gd name="connsiteX41" fmla="*/ 108907 w 165051"/>
                <a:gd name="connsiteY41" fmla="*/ 83873 h 165600"/>
                <a:gd name="connsiteX42" fmla="*/ 105523 w 165051"/>
                <a:gd name="connsiteY42" fmla="*/ 77032 h 165600"/>
                <a:gd name="connsiteX43" fmla="*/ 99973 w 165051"/>
                <a:gd name="connsiteY43" fmla="*/ 74521 h 165600"/>
                <a:gd name="connsiteX44" fmla="*/ 59309 w 165051"/>
                <a:gd name="connsiteY44" fmla="*/ 51505 h 165600"/>
                <a:gd name="connsiteX45" fmla="*/ 67314 w 165051"/>
                <a:gd name="connsiteY45" fmla="*/ 59511 h 165600"/>
                <a:gd name="connsiteX46" fmla="*/ 59309 w 165051"/>
                <a:gd name="connsiteY46" fmla="*/ 67516 h 165600"/>
                <a:gd name="connsiteX47" fmla="*/ 51303 w 165051"/>
                <a:gd name="connsiteY47" fmla="*/ 59511 h 165600"/>
                <a:gd name="connsiteX48" fmla="*/ 59309 w 165051"/>
                <a:gd name="connsiteY48" fmla="*/ 51505 h 165600"/>
                <a:gd name="connsiteX49" fmla="*/ 65222 w 165051"/>
                <a:gd name="connsiteY49" fmla="*/ 27944 h 165600"/>
                <a:gd name="connsiteX50" fmla="*/ 59673 w 165051"/>
                <a:gd name="connsiteY50" fmla="*/ 30455 h 165600"/>
                <a:gd name="connsiteX51" fmla="*/ 56289 w 165051"/>
                <a:gd name="connsiteY51" fmla="*/ 37296 h 165600"/>
                <a:gd name="connsiteX52" fmla="*/ 50849 w 165051"/>
                <a:gd name="connsiteY52" fmla="*/ 38769 h 165600"/>
                <a:gd name="connsiteX53" fmla="*/ 44481 w 165051"/>
                <a:gd name="connsiteY53" fmla="*/ 34530 h 165600"/>
                <a:gd name="connsiteX54" fmla="*/ 38422 w 165051"/>
                <a:gd name="connsiteY54" fmla="*/ 35130 h 165600"/>
                <a:gd name="connsiteX55" fmla="*/ 34928 w 165051"/>
                <a:gd name="connsiteY55" fmla="*/ 38624 h 165600"/>
                <a:gd name="connsiteX56" fmla="*/ 34328 w 165051"/>
                <a:gd name="connsiteY56" fmla="*/ 44683 h 165600"/>
                <a:gd name="connsiteX57" fmla="*/ 38567 w 165051"/>
                <a:gd name="connsiteY57" fmla="*/ 51032 h 165600"/>
                <a:gd name="connsiteX58" fmla="*/ 37658 w 165051"/>
                <a:gd name="connsiteY58" fmla="*/ 53707 h 165600"/>
                <a:gd name="connsiteX59" fmla="*/ 37112 w 165051"/>
                <a:gd name="connsiteY59" fmla="*/ 56472 h 165600"/>
                <a:gd name="connsiteX60" fmla="*/ 30253 w 165051"/>
                <a:gd name="connsiteY60" fmla="*/ 59857 h 165600"/>
                <a:gd name="connsiteX61" fmla="*/ 27742 w 165051"/>
                <a:gd name="connsiteY61" fmla="*/ 65406 h 165600"/>
                <a:gd name="connsiteX62" fmla="*/ 29015 w 165051"/>
                <a:gd name="connsiteY62" fmla="*/ 70173 h 165600"/>
                <a:gd name="connsiteX63" fmla="*/ 33964 w 165051"/>
                <a:gd name="connsiteY63" fmla="*/ 73721 h 165600"/>
                <a:gd name="connsiteX64" fmla="*/ 41606 w 165051"/>
                <a:gd name="connsiteY64" fmla="*/ 73229 h 165600"/>
                <a:gd name="connsiteX65" fmla="*/ 45590 w 165051"/>
                <a:gd name="connsiteY65" fmla="*/ 77232 h 165600"/>
                <a:gd name="connsiteX66" fmla="*/ 45099 w 165051"/>
                <a:gd name="connsiteY66" fmla="*/ 84856 h 165600"/>
                <a:gd name="connsiteX67" fmla="*/ 48647 w 165051"/>
                <a:gd name="connsiteY67" fmla="*/ 89805 h 165600"/>
                <a:gd name="connsiteX68" fmla="*/ 53414 w 165051"/>
                <a:gd name="connsiteY68" fmla="*/ 91078 h 165600"/>
                <a:gd name="connsiteX69" fmla="*/ 58963 w 165051"/>
                <a:gd name="connsiteY69" fmla="*/ 88567 h 165600"/>
                <a:gd name="connsiteX70" fmla="*/ 62347 w 165051"/>
                <a:gd name="connsiteY70" fmla="*/ 81726 h 165600"/>
                <a:gd name="connsiteX71" fmla="*/ 67788 w 165051"/>
                <a:gd name="connsiteY71" fmla="*/ 80253 h 165600"/>
                <a:gd name="connsiteX72" fmla="*/ 74156 w 165051"/>
                <a:gd name="connsiteY72" fmla="*/ 84492 h 165600"/>
                <a:gd name="connsiteX73" fmla="*/ 80214 w 165051"/>
                <a:gd name="connsiteY73" fmla="*/ 83891 h 165600"/>
                <a:gd name="connsiteX74" fmla="*/ 83708 w 165051"/>
                <a:gd name="connsiteY74" fmla="*/ 80398 h 165600"/>
                <a:gd name="connsiteX75" fmla="*/ 84308 w 165051"/>
                <a:gd name="connsiteY75" fmla="*/ 74339 h 165600"/>
                <a:gd name="connsiteX76" fmla="*/ 80069 w 165051"/>
                <a:gd name="connsiteY76" fmla="*/ 67971 h 165600"/>
                <a:gd name="connsiteX77" fmla="*/ 80978 w 165051"/>
                <a:gd name="connsiteY77" fmla="*/ 65297 h 165600"/>
                <a:gd name="connsiteX78" fmla="*/ 81524 w 165051"/>
                <a:gd name="connsiteY78" fmla="*/ 62531 h 165600"/>
                <a:gd name="connsiteX79" fmla="*/ 88384 w 165051"/>
                <a:gd name="connsiteY79" fmla="*/ 59147 h 165600"/>
                <a:gd name="connsiteX80" fmla="*/ 90894 w 165051"/>
                <a:gd name="connsiteY80" fmla="*/ 53598 h 165600"/>
                <a:gd name="connsiteX81" fmla="*/ 89621 w 165051"/>
                <a:gd name="connsiteY81" fmla="*/ 48831 h 165600"/>
                <a:gd name="connsiteX82" fmla="*/ 84672 w 165051"/>
                <a:gd name="connsiteY82" fmla="*/ 45283 h 165600"/>
                <a:gd name="connsiteX83" fmla="*/ 77030 w 165051"/>
                <a:gd name="connsiteY83" fmla="*/ 45774 h 165600"/>
                <a:gd name="connsiteX84" fmla="*/ 73046 w 165051"/>
                <a:gd name="connsiteY84" fmla="*/ 41771 h 165600"/>
                <a:gd name="connsiteX85" fmla="*/ 73537 w 165051"/>
                <a:gd name="connsiteY85" fmla="*/ 34166 h 165600"/>
                <a:gd name="connsiteX86" fmla="*/ 69989 w 165051"/>
                <a:gd name="connsiteY86" fmla="*/ 29217 h 165600"/>
                <a:gd name="connsiteX87" fmla="*/ 82526 w 165051"/>
                <a:gd name="connsiteY87" fmla="*/ 0 h 165600"/>
                <a:gd name="connsiteX88" fmla="*/ 165051 w 165051"/>
                <a:gd name="connsiteY88" fmla="*/ 82800 h 165600"/>
                <a:gd name="connsiteX89" fmla="*/ 82526 w 165051"/>
                <a:gd name="connsiteY89" fmla="*/ 165600 h 165600"/>
                <a:gd name="connsiteX90" fmla="*/ 0 w 165051"/>
                <a:gd name="connsiteY90" fmla="*/ 82800 h 165600"/>
                <a:gd name="connsiteX91" fmla="*/ 82526 w 165051"/>
                <a:gd name="connsiteY91" fmla="*/ 0 h 16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5051" h="165600">
                  <a:moveTo>
                    <a:pt x="105887" y="98083"/>
                  </a:moveTo>
                  <a:cubicBezTo>
                    <a:pt x="110308" y="98083"/>
                    <a:pt x="113892" y="101649"/>
                    <a:pt x="113910" y="106089"/>
                  </a:cubicBezTo>
                  <a:cubicBezTo>
                    <a:pt x="113910" y="110510"/>
                    <a:pt x="110326" y="114094"/>
                    <a:pt x="105905" y="114094"/>
                  </a:cubicBezTo>
                  <a:cubicBezTo>
                    <a:pt x="101483" y="114094"/>
                    <a:pt x="97899" y="110528"/>
                    <a:pt x="97899" y="106107"/>
                  </a:cubicBezTo>
                  <a:cubicBezTo>
                    <a:pt x="97881" y="101667"/>
                    <a:pt x="101465" y="98083"/>
                    <a:pt x="105887" y="98083"/>
                  </a:cubicBezTo>
                  <a:close/>
                  <a:moveTo>
                    <a:pt x="99955" y="74521"/>
                  </a:moveTo>
                  <a:lnTo>
                    <a:pt x="95188" y="75795"/>
                  </a:lnTo>
                  <a:cubicBezTo>
                    <a:pt x="92987" y="76377"/>
                    <a:pt x="91495" y="78451"/>
                    <a:pt x="91640" y="80744"/>
                  </a:cubicBezTo>
                  <a:lnTo>
                    <a:pt x="92132" y="88349"/>
                  </a:lnTo>
                  <a:cubicBezTo>
                    <a:pt x="90621" y="89513"/>
                    <a:pt x="89293" y="90878"/>
                    <a:pt x="88147" y="92352"/>
                  </a:cubicBezTo>
                  <a:lnTo>
                    <a:pt x="80524" y="91861"/>
                  </a:lnTo>
                  <a:cubicBezTo>
                    <a:pt x="78231" y="91715"/>
                    <a:pt x="76175" y="93207"/>
                    <a:pt x="75575" y="95408"/>
                  </a:cubicBezTo>
                  <a:lnTo>
                    <a:pt x="74301" y="100175"/>
                  </a:lnTo>
                  <a:cubicBezTo>
                    <a:pt x="73719" y="102377"/>
                    <a:pt x="74756" y="104706"/>
                    <a:pt x="76812" y="105725"/>
                  </a:cubicBezTo>
                  <a:lnTo>
                    <a:pt x="83671" y="109109"/>
                  </a:lnTo>
                  <a:cubicBezTo>
                    <a:pt x="83799" y="110019"/>
                    <a:pt x="83962" y="110946"/>
                    <a:pt x="84217" y="111874"/>
                  </a:cubicBezTo>
                  <a:cubicBezTo>
                    <a:pt x="84472" y="112802"/>
                    <a:pt x="84781" y="113694"/>
                    <a:pt x="85127" y="114549"/>
                  </a:cubicBezTo>
                  <a:lnTo>
                    <a:pt x="80887" y="120917"/>
                  </a:lnTo>
                  <a:cubicBezTo>
                    <a:pt x="79614" y="122827"/>
                    <a:pt x="79869" y="125356"/>
                    <a:pt x="81488" y="126976"/>
                  </a:cubicBezTo>
                  <a:lnTo>
                    <a:pt x="84981" y="130469"/>
                  </a:lnTo>
                  <a:cubicBezTo>
                    <a:pt x="86600" y="132088"/>
                    <a:pt x="89129" y="132343"/>
                    <a:pt x="91040" y="131069"/>
                  </a:cubicBezTo>
                  <a:lnTo>
                    <a:pt x="97408" y="126830"/>
                  </a:lnTo>
                  <a:cubicBezTo>
                    <a:pt x="99136" y="127540"/>
                    <a:pt x="100974" y="128049"/>
                    <a:pt x="102848" y="128304"/>
                  </a:cubicBezTo>
                  <a:lnTo>
                    <a:pt x="106232" y="135145"/>
                  </a:lnTo>
                  <a:cubicBezTo>
                    <a:pt x="107251" y="137201"/>
                    <a:pt x="109562" y="138256"/>
                    <a:pt x="111781" y="137656"/>
                  </a:cubicBezTo>
                  <a:lnTo>
                    <a:pt x="116548" y="136382"/>
                  </a:lnTo>
                  <a:cubicBezTo>
                    <a:pt x="118750" y="135800"/>
                    <a:pt x="120242" y="133726"/>
                    <a:pt x="120096" y="131433"/>
                  </a:cubicBezTo>
                  <a:lnTo>
                    <a:pt x="119605" y="123810"/>
                  </a:lnTo>
                  <a:cubicBezTo>
                    <a:pt x="121115" y="122645"/>
                    <a:pt x="122443" y="121281"/>
                    <a:pt x="123590" y="119807"/>
                  </a:cubicBezTo>
                  <a:lnTo>
                    <a:pt x="131231" y="120298"/>
                  </a:lnTo>
                  <a:cubicBezTo>
                    <a:pt x="133524" y="120444"/>
                    <a:pt x="135580" y="118952"/>
                    <a:pt x="136180" y="116750"/>
                  </a:cubicBezTo>
                  <a:lnTo>
                    <a:pt x="137454" y="111983"/>
                  </a:lnTo>
                  <a:cubicBezTo>
                    <a:pt x="138054" y="109782"/>
                    <a:pt x="136999" y="107453"/>
                    <a:pt x="134943" y="106434"/>
                  </a:cubicBezTo>
                  <a:lnTo>
                    <a:pt x="128084" y="103050"/>
                  </a:lnTo>
                  <a:cubicBezTo>
                    <a:pt x="127956" y="102122"/>
                    <a:pt x="127793" y="101212"/>
                    <a:pt x="127538" y="100285"/>
                  </a:cubicBezTo>
                  <a:cubicBezTo>
                    <a:pt x="127283" y="99357"/>
                    <a:pt x="126974" y="98465"/>
                    <a:pt x="126628" y="97610"/>
                  </a:cubicBezTo>
                  <a:lnTo>
                    <a:pt x="130867" y="91260"/>
                  </a:lnTo>
                  <a:cubicBezTo>
                    <a:pt x="132141" y="89368"/>
                    <a:pt x="131886" y="86821"/>
                    <a:pt x="130267" y="85201"/>
                  </a:cubicBezTo>
                  <a:lnTo>
                    <a:pt x="126774" y="81708"/>
                  </a:lnTo>
                  <a:cubicBezTo>
                    <a:pt x="125154" y="80089"/>
                    <a:pt x="122625" y="79834"/>
                    <a:pt x="120715" y="81108"/>
                  </a:cubicBezTo>
                  <a:lnTo>
                    <a:pt x="114347" y="85347"/>
                  </a:lnTo>
                  <a:cubicBezTo>
                    <a:pt x="112618" y="84637"/>
                    <a:pt x="110781" y="84128"/>
                    <a:pt x="108907" y="83873"/>
                  </a:cubicBezTo>
                  <a:lnTo>
                    <a:pt x="105523" y="77032"/>
                  </a:lnTo>
                  <a:cubicBezTo>
                    <a:pt x="104522" y="74976"/>
                    <a:pt x="102193" y="73921"/>
                    <a:pt x="99973" y="74521"/>
                  </a:cubicBezTo>
                  <a:close/>
                  <a:moveTo>
                    <a:pt x="59309" y="51505"/>
                  </a:moveTo>
                  <a:cubicBezTo>
                    <a:pt x="63730" y="51505"/>
                    <a:pt x="67314" y="55090"/>
                    <a:pt x="67314" y="59511"/>
                  </a:cubicBezTo>
                  <a:cubicBezTo>
                    <a:pt x="67314" y="63932"/>
                    <a:pt x="63730" y="67516"/>
                    <a:pt x="59309" y="67516"/>
                  </a:cubicBezTo>
                  <a:cubicBezTo>
                    <a:pt x="54888" y="67516"/>
                    <a:pt x="51303" y="63932"/>
                    <a:pt x="51303" y="59511"/>
                  </a:cubicBezTo>
                  <a:cubicBezTo>
                    <a:pt x="51303" y="55090"/>
                    <a:pt x="54888" y="51505"/>
                    <a:pt x="59309" y="51505"/>
                  </a:cubicBezTo>
                  <a:close/>
                  <a:moveTo>
                    <a:pt x="65222" y="27944"/>
                  </a:moveTo>
                  <a:cubicBezTo>
                    <a:pt x="63002" y="27361"/>
                    <a:pt x="60692" y="28399"/>
                    <a:pt x="59673" y="30455"/>
                  </a:cubicBezTo>
                  <a:lnTo>
                    <a:pt x="56289" y="37296"/>
                  </a:lnTo>
                  <a:cubicBezTo>
                    <a:pt x="54415" y="37550"/>
                    <a:pt x="52577" y="38060"/>
                    <a:pt x="50849" y="38769"/>
                  </a:cubicBezTo>
                  <a:lnTo>
                    <a:pt x="44481" y="34530"/>
                  </a:lnTo>
                  <a:cubicBezTo>
                    <a:pt x="42570" y="33256"/>
                    <a:pt x="40041" y="33511"/>
                    <a:pt x="38422" y="35130"/>
                  </a:cubicBezTo>
                  <a:lnTo>
                    <a:pt x="34928" y="38624"/>
                  </a:lnTo>
                  <a:cubicBezTo>
                    <a:pt x="33309" y="40243"/>
                    <a:pt x="33054" y="42772"/>
                    <a:pt x="34328" y="44683"/>
                  </a:cubicBezTo>
                  <a:lnTo>
                    <a:pt x="38567" y="51032"/>
                  </a:lnTo>
                  <a:cubicBezTo>
                    <a:pt x="38203" y="51887"/>
                    <a:pt x="37912" y="52779"/>
                    <a:pt x="37658" y="53707"/>
                  </a:cubicBezTo>
                  <a:cubicBezTo>
                    <a:pt x="37421" y="54635"/>
                    <a:pt x="37239" y="55545"/>
                    <a:pt x="37112" y="56472"/>
                  </a:cubicBezTo>
                  <a:lnTo>
                    <a:pt x="30253" y="59857"/>
                  </a:lnTo>
                  <a:cubicBezTo>
                    <a:pt x="28197" y="60875"/>
                    <a:pt x="27159" y="63204"/>
                    <a:pt x="27742" y="65406"/>
                  </a:cubicBezTo>
                  <a:lnTo>
                    <a:pt x="29015" y="70173"/>
                  </a:lnTo>
                  <a:cubicBezTo>
                    <a:pt x="29616" y="72374"/>
                    <a:pt x="31690" y="73866"/>
                    <a:pt x="33964" y="73721"/>
                  </a:cubicBezTo>
                  <a:lnTo>
                    <a:pt x="41606" y="73229"/>
                  </a:lnTo>
                  <a:cubicBezTo>
                    <a:pt x="42752" y="74721"/>
                    <a:pt x="44080" y="76068"/>
                    <a:pt x="45590" y="77232"/>
                  </a:cubicBezTo>
                  <a:lnTo>
                    <a:pt x="45099" y="84856"/>
                  </a:lnTo>
                  <a:cubicBezTo>
                    <a:pt x="44954" y="87130"/>
                    <a:pt x="46427" y="89204"/>
                    <a:pt x="48647" y="89805"/>
                  </a:cubicBezTo>
                  <a:lnTo>
                    <a:pt x="53414" y="91078"/>
                  </a:lnTo>
                  <a:cubicBezTo>
                    <a:pt x="55615" y="91660"/>
                    <a:pt x="57944" y="90623"/>
                    <a:pt x="58963" y="88567"/>
                  </a:cubicBezTo>
                  <a:lnTo>
                    <a:pt x="62347" y="81726"/>
                  </a:lnTo>
                  <a:cubicBezTo>
                    <a:pt x="64221" y="81472"/>
                    <a:pt x="66059" y="80962"/>
                    <a:pt x="67788" y="80253"/>
                  </a:cubicBezTo>
                  <a:lnTo>
                    <a:pt x="74156" y="84492"/>
                  </a:lnTo>
                  <a:cubicBezTo>
                    <a:pt x="76066" y="85765"/>
                    <a:pt x="78595" y="85511"/>
                    <a:pt x="80214" y="83891"/>
                  </a:cubicBezTo>
                  <a:lnTo>
                    <a:pt x="83708" y="80398"/>
                  </a:lnTo>
                  <a:cubicBezTo>
                    <a:pt x="85327" y="78779"/>
                    <a:pt x="85582" y="76250"/>
                    <a:pt x="84308" y="74339"/>
                  </a:cubicBezTo>
                  <a:lnTo>
                    <a:pt x="80069" y="67971"/>
                  </a:lnTo>
                  <a:cubicBezTo>
                    <a:pt x="80414" y="67116"/>
                    <a:pt x="80742" y="66206"/>
                    <a:pt x="80978" y="65297"/>
                  </a:cubicBezTo>
                  <a:cubicBezTo>
                    <a:pt x="81215" y="64387"/>
                    <a:pt x="81397" y="63459"/>
                    <a:pt x="81524" y="62531"/>
                  </a:cubicBezTo>
                  <a:lnTo>
                    <a:pt x="88384" y="59147"/>
                  </a:lnTo>
                  <a:cubicBezTo>
                    <a:pt x="90439" y="58128"/>
                    <a:pt x="91477" y="55799"/>
                    <a:pt x="90894" y="53598"/>
                  </a:cubicBezTo>
                  <a:lnTo>
                    <a:pt x="89621" y="48831"/>
                  </a:lnTo>
                  <a:cubicBezTo>
                    <a:pt x="89020" y="46629"/>
                    <a:pt x="86946" y="45137"/>
                    <a:pt x="84672" y="45283"/>
                  </a:cubicBezTo>
                  <a:lnTo>
                    <a:pt x="77030" y="45774"/>
                  </a:lnTo>
                  <a:cubicBezTo>
                    <a:pt x="75884" y="44282"/>
                    <a:pt x="74556" y="42936"/>
                    <a:pt x="73046" y="41771"/>
                  </a:cubicBezTo>
                  <a:lnTo>
                    <a:pt x="73537" y="34166"/>
                  </a:lnTo>
                  <a:cubicBezTo>
                    <a:pt x="73682" y="31892"/>
                    <a:pt x="72191" y="29818"/>
                    <a:pt x="69989" y="29217"/>
                  </a:cubicBezTo>
                  <a:close/>
                  <a:moveTo>
                    <a:pt x="82526" y="0"/>
                  </a:moveTo>
                  <a:cubicBezTo>
                    <a:pt x="128103" y="0"/>
                    <a:pt x="165051" y="37071"/>
                    <a:pt x="165051" y="82800"/>
                  </a:cubicBezTo>
                  <a:cubicBezTo>
                    <a:pt x="165051" y="128529"/>
                    <a:pt x="128103" y="165600"/>
                    <a:pt x="82526" y="165600"/>
                  </a:cubicBezTo>
                  <a:cubicBezTo>
                    <a:pt x="36948" y="165600"/>
                    <a:pt x="0" y="128529"/>
                    <a:pt x="0" y="82800"/>
                  </a:cubicBezTo>
                  <a:cubicBezTo>
                    <a:pt x="0" y="37071"/>
                    <a:pt x="36948" y="0"/>
                    <a:pt x="82526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es-ES_tradnl" sz="650"/>
            </a:p>
          </p:txBody>
        </p:sp>
        <p:sp>
          <p:nvSpPr>
            <p:cNvPr id="122" name="Forma libre 121">
              <a:extLst>
                <a:ext uri="{FF2B5EF4-FFF2-40B4-BE49-F238E27FC236}">
                  <a16:creationId xmlns:a16="http://schemas.microsoft.com/office/drawing/2014/main" id="{87DBAEAA-997A-961C-A5F4-141E7AB9098A}"/>
                </a:ext>
              </a:extLst>
            </p:cNvPr>
            <p:cNvSpPr/>
            <p:nvPr/>
          </p:nvSpPr>
          <p:spPr>
            <a:xfrm>
              <a:off x="7838290" y="4446159"/>
              <a:ext cx="132403" cy="132843"/>
            </a:xfrm>
            <a:custGeom>
              <a:avLst/>
              <a:gdLst>
                <a:gd name="connsiteX0" fmla="*/ 68948 w 165051"/>
                <a:gd name="connsiteY0" fmla="*/ 109953 h 165600"/>
                <a:gd name="connsiteX1" fmla="*/ 62159 w 165051"/>
                <a:gd name="connsiteY1" fmla="*/ 116742 h 165600"/>
                <a:gd name="connsiteX2" fmla="*/ 68948 w 165051"/>
                <a:gd name="connsiteY2" fmla="*/ 123530 h 165600"/>
                <a:gd name="connsiteX3" fmla="*/ 130044 w 165051"/>
                <a:gd name="connsiteY3" fmla="*/ 123530 h 165600"/>
                <a:gd name="connsiteX4" fmla="*/ 136833 w 165051"/>
                <a:gd name="connsiteY4" fmla="*/ 116742 h 165600"/>
                <a:gd name="connsiteX5" fmla="*/ 130044 w 165051"/>
                <a:gd name="connsiteY5" fmla="*/ 109953 h 165600"/>
                <a:gd name="connsiteX6" fmla="*/ 41794 w 165051"/>
                <a:gd name="connsiteY6" fmla="*/ 108256 h 165600"/>
                <a:gd name="connsiteX7" fmla="*/ 33308 w 165051"/>
                <a:gd name="connsiteY7" fmla="*/ 116742 h 165600"/>
                <a:gd name="connsiteX8" fmla="*/ 41794 w 165051"/>
                <a:gd name="connsiteY8" fmla="*/ 125227 h 165600"/>
                <a:gd name="connsiteX9" fmla="*/ 50279 w 165051"/>
                <a:gd name="connsiteY9" fmla="*/ 116742 h 165600"/>
                <a:gd name="connsiteX10" fmla="*/ 41794 w 165051"/>
                <a:gd name="connsiteY10" fmla="*/ 108256 h 165600"/>
                <a:gd name="connsiteX11" fmla="*/ 82525 w 165051"/>
                <a:gd name="connsiteY11" fmla="*/ 76011 h 165600"/>
                <a:gd name="connsiteX12" fmla="*/ 75736 w 165051"/>
                <a:gd name="connsiteY12" fmla="*/ 82799 h 165600"/>
                <a:gd name="connsiteX13" fmla="*/ 82525 w 165051"/>
                <a:gd name="connsiteY13" fmla="*/ 89588 h 165600"/>
                <a:gd name="connsiteX14" fmla="*/ 130044 w 165051"/>
                <a:gd name="connsiteY14" fmla="*/ 89588 h 165600"/>
                <a:gd name="connsiteX15" fmla="*/ 136833 w 165051"/>
                <a:gd name="connsiteY15" fmla="*/ 82799 h 165600"/>
                <a:gd name="connsiteX16" fmla="*/ 130044 w 165051"/>
                <a:gd name="connsiteY16" fmla="*/ 76011 h 165600"/>
                <a:gd name="connsiteX17" fmla="*/ 56601 w 165051"/>
                <a:gd name="connsiteY17" fmla="*/ 70134 h 165600"/>
                <a:gd name="connsiteX18" fmla="*/ 56580 w 165051"/>
                <a:gd name="connsiteY18" fmla="*/ 70156 h 165600"/>
                <a:gd name="connsiteX19" fmla="*/ 49494 w 165051"/>
                <a:gd name="connsiteY19" fmla="*/ 71407 h 165600"/>
                <a:gd name="connsiteX20" fmla="*/ 41094 w 165051"/>
                <a:gd name="connsiteY20" fmla="*/ 83414 h 165600"/>
                <a:gd name="connsiteX21" fmla="*/ 36893 w 165051"/>
                <a:gd name="connsiteY21" fmla="*/ 79214 h 165600"/>
                <a:gd name="connsiteX22" fmla="*/ 29702 w 165051"/>
                <a:gd name="connsiteY22" fmla="*/ 79214 h 165600"/>
                <a:gd name="connsiteX23" fmla="*/ 29702 w 165051"/>
                <a:gd name="connsiteY23" fmla="*/ 86406 h 165600"/>
                <a:gd name="connsiteX24" fmla="*/ 38187 w 165051"/>
                <a:gd name="connsiteY24" fmla="*/ 94891 h 165600"/>
                <a:gd name="connsiteX25" fmla="*/ 42239 w 165051"/>
                <a:gd name="connsiteY25" fmla="*/ 96334 h 165600"/>
                <a:gd name="connsiteX26" fmla="*/ 45973 w 165051"/>
                <a:gd name="connsiteY26" fmla="*/ 94191 h 165600"/>
                <a:gd name="connsiteX27" fmla="*/ 57853 w 165051"/>
                <a:gd name="connsiteY27" fmla="*/ 77220 h 165600"/>
                <a:gd name="connsiteX28" fmla="*/ 56601 w 165051"/>
                <a:gd name="connsiteY28" fmla="*/ 70134 h 165600"/>
                <a:gd name="connsiteX29" fmla="*/ 82525 w 165051"/>
                <a:gd name="connsiteY29" fmla="*/ 42068 h 165600"/>
                <a:gd name="connsiteX30" fmla="*/ 75736 w 165051"/>
                <a:gd name="connsiteY30" fmla="*/ 48857 h 165600"/>
                <a:gd name="connsiteX31" fmla="*/ 82525 w 165051"/>
                <a:gd name="connsiteY31" fmla="*/ 55645 h 165600"/>
                <a:gd name="connsiteX32" fmla="*/ 130044 w 165051"/>
                <a:gd name="connsiteY32" fmla="*/ 55645 h 165600"/>
                <a:gd name="connsiteX33" fmla="*/ 136833 w 165051"/>
                <a:gd name="connsiteY33" fmla="*/ 48857 h 165600"/>
                <a:gd name="connsiteX34" fmla="*/ 130044 w 165051"/>
                <a:gd name="connsiteY34" fmla="*/ 42068 h 165600"/>
                <a:gd name="connsiteX35" fmla="*/ 56601 w 165051"/>
                <a:gd name="connsiteY35" fmla="*/ 36192 h 165600"/>
                <a:gd name="connsiteX36" fmla="*/ 49516 w 165051"/>
                <a:gd name="connsiteY36" fmla="*/ 37444 h 165600"/>
                <a:gd name="connsiteX37" fmla="*/ 41115 w 165051"/>
                <a:gd name="connsiteY37" fmla="*/ 49451 h 165600"/>
                <a:gd name="connsiteX38" fmla="*/ 36914 w 165051"/>
                <a:gd name="connsiteY38" fmla="*/ 45250 h 165600"/>
                <a:gd name="connsiteX39" fmla="*/ 29702 w 165051"/>
                <a:gd name="connsiteY39" fmla="*/ 45250 h 165600"/>
                <a:gd name="connsiteX40" fmla="*/ 29702 w 165051"/>
                <a:gd name="connsiteY40" fmla="*/ 52463 h 165600"/>
                <a:gd name="connsiteX41" fmla="*/ 38187 w 165051"/>
                <a:gd name="connsiteY41" fmla="*/ 60949 h 165600"/>
                <a:gd name="connsiteX42" fmla="*/ 42239 w 165051"/>
                <a:gd name="connsiteY42" fmla="*/ 62391 h 165600"/>
                <a:gd name="connsiteX43" fmla="*/ 45973 w 165051"/>
                <a:gd name="connsiteY43" fmla="*/ 60249 h 165600"/>
                <a:gd name="connsiteX44" fmla="*/ 57853 w 165051"/>
                <a:gd name="connsiteY44" fmla="*/ 43277 h 165600"/>
                <a:gd name="connsiteX45" fmla="*/ 56601 w 165051"/>
                <a:gd name="connsiteY45" fmla="*/ 36192 h 165600"/>
                <a:gd name="connsiteX46" fmla="*/ 82526 w 165051"/>
                <a:gd name="connsiteY46" fmla="*/ 0 h 165600"/>
                <a:gd name="connsiteX47" fmla="*/ 165051 w 165051"/>
                <a:gd name="connsiteY47" fmla="*/ 82800 h 165600"/>
                <a:gd name="connsiteX48" fmla="*/ 82526 w 165051"/>
                <a:gd name="connsiteY48" fmla="*/ 165600 h 165600"/>
                <a:gd name="connsiteX49" fmla="*/ 0 w 165051"/>
                <a:gd name="connsiteY49" fmla="*/ 82800 h 165600"/>
                <a:gd name="connsiteX50" fmla="*/ 82526 w 165051"/>
                <a:gd name="connsiteY50" fmla="*/ 0 h 16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65051" h="165600">
                  <a:moveTo>
                    <a:pt x="68948" y="109953"/>
                  </a:moveTo>
                  <a:cubicBezTo>
                    <a:pt x="65193" y="109953"/>
                    <a:pt x="62159" y="112987"/>
                    <a:pt x="62159" y="116742"/>
                  </a:cubicBezTo>
                  <a:cubicBezTo>
                    <a:pt x="62159" y="120497"/>
                    <a:pt x="65193" y="123530"/>
                    <a:pt x="68948" y="123530"/>
                  </a:cubicBezTo>
                  <a:lnTo>
                    <a:pt x="130044" y="123530"/>
                  </a:lnTo>
                  <a:cubicBezTo>
                    <a:pt x="133799" y="123530"/>
                    <a:pt x="136833" y="120497"/>
                    <a:pt x="136833" y="116742"/>
                  </a:cubicBezTo>
                  <a:cubicBezTo>
                    <a:pt x="136833" y="112987"/>
                    <a:pt x="133799" y="109953"/>
                    <a:pt x="130044" y="109953"/>
                  </a:cubicBezTo>
                  <a:close/>
                  <a:moveTo>
                    <a:pt x="41794" y="108256"/>
                  </a:moveTo>
                  <a:cubicBezTo>
                    <a:pt x="37105" y="108256"/>
                    <a:pt x="33308" y="112053"/>
                    <a:pt x="33308" y="116742"/>
                  </a:cubicBezTo>
                  <a:cubicBezTo>
                    <a:pt x="33308" y="121430"/>
                    <a:pt x="37105" y="125227"/>
                    <a:pt x="41794" y="125227"/>
                  </a:cubicBezTo>
                  <a:cubicBezTo>
                    <a:pt x="46482" y="125227"/>
                    <a:pt x="50279" y="121430"/>
                    <a:pt x="50279" y="116742"/>
                  </a:cubicBezTo>
                  <a:cubicBezTo>
                    <a:pt x="50279" y="112053"/>
                    <a:pt x="46482" y="108256"/>
                    <a:pt x="41794" y="108256"/>
                  </a:cubicBezTo>
                  <a:close/>
                  <a:moveTo>
                    <a:pt x="82525" y="76011"/>
                  </a:moveTo>
                  <a:cubicBezTo>
                    <a:pt x="78770" y="76011"/>
                    <a:pt x="75736" y="79044"/>
                    <a:pt x="75736" y="82799"/>
                  </a:cubicBezTo>
                  <a:cubicBezTo>
                    <a:pt x="75736" y="86554"/>
                    <a:pt x="78770" y="89588"/>
                    <a:pt x="82525" y="89588"/>
                  </a:cubicBezTo>
                  <a:lnTo>
                    <a:pt x="130044" y="89588"/>
                  </a:lnTo>
                  <a:cubicBezTo>
                    <a:pt x="133799" y="89588"/>
                    <a:pt x="136833" y="86554"/>
                    <a:pt x="136833" y="82799"/>
                  </a:cubicBezTo>
                  <a:cubicBezTo>
                    <a:pt x="136833" y="79044"/>
                    <a:pt x="133799" y="76011"/>
                    <a:pt x="130044" y="76011"/>
                  </a:cubicBezTo>
                  <a:close/>
                  <a:moveTo>
                    <a:pt x="56601" y="70134"/>
                  </a:moveTo>
                  <a:lnTo>
                    <a:pt x="56580" y="70156"/>
                  </a:lnTo>
                  <a:cubicBezTo>
                    <a:pt x="54289" y="68543"/>
                    <a:pt x="51107" y="69095"/>
                    <a:pt x="49494" y="71407"/>
                  </a:cubicBezTo>
                  <a:lnTo>
                    <a:pt x="41094" y="83414"/>
                  </a:lnTo>
                  <a:lnTo>
                    <a:pt x="36893" y="79214"/>
                  </a:lnTo>
                  <a:cubicBezTo>
                    <a:pt x="34920" y="77220"/>
                    <a:pt x="31696" y="77241"/>
                    <a:pt x="29702" y="79214"/>
                  </a:cubicBezTo>
                  <a:cubicBezTo>
                    <a:pt x="27707" y="81187"/>
                    <a:pt x="27707" y="84412"/>
                    <a:pt x="29702" y="86406"/>
                  </a:cubicBezTo>
                  <a:lnTo>
                    <a:pt x="38187" y="94891"/>
                  </a:lnTo>
                  <a:cubicBezTo>
                    <a:pt x="39248" y="95952"/>
                    <a:pt x="40733" y="96461"/>
                    <a:pt x="42239" y="96334"/>
                  </a:cubicBezTo>
                  <a:cubicBezTo>
                    <a:pt x="43745" y="96207"/>
                    <a:pt x="45103" y="95422"/>
                    <a:pt x="45973" y="94191"/>
                  </a:cubicBezTo>
                  <a:lnTo>
                    <a:pt x="57853" y="77220"/>
                  </a:lnTo>
                  <a:cubicBezTo>
                    <a:pt x="59465" y="74929"/>
                    <a:pt x="58913" y="71747"/>
                    <a:pt x="56601" y="70134"/>
                  </a:cubicBezTo>
                  <a:close/>
                  <a:moveTo>
                    <a:pt x="82525" y="42068"/>
                  </a:moveTo>
                  <a:cubicBezTo>
                    <a:pt x="78770" y="42068"/>
                    <a:pt x="75736" y="45102"/>
                    <a:pt x="75736" y="48857"/>
                  </a:cubicBezTo>
                  <a:cubicBezTo>
                    <a:pt x="75736" y="52612"/>
                    <a:pt x="78770" y="55645"/>
                    <a:pt x="82525" y="55645"/>
                  </a:cubicBezTo>
                  <a:lnTo>
                    <a:pt x="130044" y="55645"/>
                  </a:lnTo>
                  <a:cubicBezTo>
                    <a:pt x="133799" y="55645"/>
                    <a:pt x="136833" y="52612"/>
                    <a:pt x="136833" y="48857"/>
                  </a:cubicBezTo>
                  <a:cubicBezTo>
                    <a:pt x="136833" y="45102"/>
                    <a:pt x="133799" y="42068"/>
                    <a:pt x="130044" y="42068"/>
                  </a:cubicBezTo>
                  <a:close/>
                  <a:moveTo>
                    <a:pt x="56601" y="36192"/>
                  </a:moveTo>
                  <a:cubicBezTo>
                    <a:pt x="54310" y="34580"/>
                    <a:pt x="51128" y="35131"/>
                    <a:pt x="49516" y="37444"/>
                  </a:cubicBezTo>
                  <a:lnTo>
                    <a:pt x="41115" y="49451"/>
                  </a:lnTo>
                  <a:lnTo>
                    <a:pt x="36914" y="45250"/>
                  </a:lnTo>
                  <a:cubicBezTo>
                    <a:pt x="34920" y="43277"/>
                    <a:pt x="31675" y="43256"/>
                    <a:pt x="29702" y="45250"/>
                  </a:cubicBezTo>
                  <a:cubicBezTo>
                    <a:pt x="27729" y="47245"/>
                    <a:pt x="27729" y="50469"/>
                    <a:pt x="29702" y="52463"/>
                  </a:cubicBezTo>
                  <a:lnTo>
                    <a:pt x="38187" y="60949"/>
                  </a:lnTo>
                  <a:cubicBezTo>
                    <a:pt x="39248" y="62009"/>
                    <a:pt x="40733" y="62519"/>
                    <a:pt x="42239" y="62391"/>
                  </a:cubicBezTo>
                  <a:cubicBezTo>
                    <a:pt x="43745" y="62264"/>
                    <a:pt x="45103" y="61479"/>
                    <a:pt x="45973" y="60249"/>
                  </a:cubicBezTo>
                  <a:lnTo>
                    <a:pt x="57853" y="43277"/>
                  </a:lnTo>
                  <a:cubicBezTo>
                    <a:pt x="59465" y="40986"/>
                    <a:pt x="58913" y="37804"/>
                    <a:pt x="56601" y="36192"/>
                  </a:cubicBezTo>
                  <a:close/>
                  <a:moveTo>
                    <a:pt x="82526" y="0"/>
                  </a:moveTo>
                  <a:cubicBezTo>
                    <a:pt x="128103" y="0"/>
                    <a:pt x="165051" y="37071"/>
                    <a:pt x="165051" y="82800"/>
                  </a:cubicBezTo>
                  <a:cubicBezTo>
                    <a:pt x="165051" y="128529"/>
                    <a:pt x="128103" y="165600"/>
                    <a:pt x="82526" y="165600"/>
                  </a:cubicBezTo>
                  <a:cubicBezTo>
                    <a:pt x="36948" y="165600"/>
                    <a:pt x="0" y="128529"/>
                    <a:pt x="0" y="82800"/>
                  </a:cubicBezTo>
                  <a:cubicBezTo>
                    <a:pt x="0" y="37071"/>
                    <a:pt x="36948" y="0"/>
                    <a:pt x="82526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2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es-ES_tradnl" sz="650"/>
            </a:p>
          </p:txBody>
        </p:sp>
        <p:sp>
          <p:nvSpPr>
            <p:cNvPr id="124" name="CuadroTexto 123">
              <a:extLst>
                <a:ext uri="{FF2B5EF4-FFF2-40B4-BE49-F238E27FC236}">
                  <a16:creationId xmlns:a16="http://schemas.microsoft.com/office/drawing/2014/main" id="{29AF6127-6A0E-E815-C5C7-913004330B32}"/>
                </a:ext>
              </a:extLst>
            </p:cNvPr>
            <p:cNvSpPr txBox="1"/>
            <p:nvPr/>
          </p:nvSpPr>
          <p:spPr>
            <a:xfrm>
              <a:off x="8007343" y="4458719"/>
              <a:ext cx="791053" cy="10801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500"/>
                </a:spcAft>
                <a:defRPr/>
              </a:pPr>
              <a:r>
                <a:rPr lang="es-AR" sz="650">
                  <a:solidFill>
                    <a:schemeClr val="bg1">
                      <a:lumMod val="50000"/>
                    </a:schemeClr>
                  </a:solidFill>
                  <a:latin typeface="Pulso Light" pitchFamily="2" charset="0"/>
                  <a:ea typeface="Roboto Light" panose="02000000000000000000" pitchFamily="2" charset="0"/>
                  <a:cs typeface="Open Sans Light" panose="020B0306030504020204" pitchFamily="34" charset="0"/>
                </a:rPr>
                <a:t>En implementación</a:t>
              </a:r>
            </a:p>
          </p:txBody>
        </p:sp>
        <p:sp>
          <p:nvSpPr>
            <p:cNvPr id="16" name="CuadroTexto 15">
              <a:extLst>
                <a:ext uri="{FF2B5EF4-FFF2-40B4-BE49-F238E27FC236}">
                  <a16:creationId xmlns:a16="http://schemas.microsoft.com/office/drawing/2014/main" id="{6AA29A66-FFFC-4F97-827D-55B87650DEB1}"/>
                </a:ext>
              </a:extLst>
            </p:cNvPr>
            <p:cNvSpPr txBox="1"/>
            <p:nvPr/>
          </p:nvSpPr>
          <p:spPr>
            <a:xfrm>
              <a:off x="7339544" y="4458719"/>
              <a:ext cx="427549" cy="10801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500"/>
                </a:spcAft>
                <a:defRPr/>
              </a:pPr>
              <a:r>
                <a:rPr lang="es-AR" sz="650">
                  <a:solidFill>
                    <a:schemeClr val="bg1">
                      <a:lumMod val="50000"/>
                    </a:schemeClr>
                  </a:solidFill>
                  <a:latin typeface="Pulso Light" pitchFamily="2" charset="0"/>
                  <a:ea typeface="Roboto Light" panose="02000000000000000000" pitchFamily="2" charset="0"/>
                  <a:cs typeface="Open Sans Light" panose="020B0306030504020204" pitchFamily="34" charset="0"/>
                </a:rPr>
                <a:t>En análisis</a:t>
              </a:r>
            </a:p>
          </p:txBody>
        </p:sp>
      </p:grpSp>
      <p:sp>
        <p:nvSpPr>
          <p:cNvPr id="8" name="Forma libre 88">
            <a:extLst>
              <a:ext uri="{FF2B5EF4-FFF2-40B4-BE49-F238E27FC236}">
                <a16:creationId xmlns:a16="http://schemas.microsoft.com/office/drawing/2014/main" id="{D01ECE17-E22F-06B1-74B0-6E7F4CB3FADD}"/>
              </a:ext>
            </a:extLst>
          </p:cNvPr>
          <p:cNvSpPr/>
          <p:nvPr/>
        </p:nvSpPr>
        <p:spPr>
          <a:xfrm>
            <a:off x="4910110" y="3862616"/>
            <a:ext cx="162047" cy="162586"/>
          </a:xfrm>
          <a:custGeom>
            <a:avLst/>
            <a:gdLst>
              <a:gd name="connsiteX0" fmla="*/ 68948 w 165051"/>
              <a:gd name="connsiteY0" fmla="*/ 109953 h 165600"/>
              <a:gd name="connsiteX1" fmla="*/ 62159 w 165051"/>
              <a:gd name="connsiteY1" fmla="*/ 116742 h 165600"/>
              <a:gd name="connsiteX2" fmla="*/ 68948 w 165051"/>
              <a:gd name="connsiteY2" fmla="*/ 123530 h 165600"/>
              <a:gd name="connsiteX3" fmla="*/ 130044 w 165051"/>
              <a:gd name="connsiteY3" fmla="*/ 123530 h 165600"/>
              <a:gd name="connsiteX4" fmla="*/ 136833 w 165051"/>
              <a:gd name="connsiteY4" fmla="*/ 116742 h 165600"/>
              <a:gd name="connsiteX5" fmla="*/ 130044 w 165051"/>
              <a:gd name="connsiteY5" fmla="*/ 109953 h 165600"/>
              <a:gd name="connsiteX6" fmla="*/ 41794 w 165051"/>
              <a:gd name="connsiteY6" fmla="*/ 108256 h 165600"/>
              <a:gd name="connsiteX7" fmla="*/ 33308 w 165051"/>
              <a:gd name="connsiteY7" fmla="*/ 116742 h 165600"/>
              <a:gd name="connsiteX8" fmla="*/ 41794 w 165051"/>
              <a:gd name="connsiteY8" fmla="*/ 125227 h 165600"/>
              <a:gd name="connsiteX9" fmla="*/ 50279 w 165051"/>
              <a:gd name="connsiteY9" fmla="*/ 116742 h 165600"/>
              <a:gd name="connsiteX10" fmla="*/ 41794 w 165051"/>
              <a:gd name="connsiteY10" fmla="*/ 108256 h 165600"/>
              <a:gd name="connsiteX11" fmla="*/ 82525 w 165051"/>
              <a:gd name="connsiteY11" fmla="*/ 76011 h 165600"/>
              <a:gd name="connsiteX12" fmla="*/ 75736 w 165051"/>
              <a:gd name="connsiteY12" fmla="*/ 82799 h 165600"/>
              <a:gd name="connsiteX13" fmla="*/ 82525 w 165051"/>
              <a:gd name="connsiteY13" fmla="*/ 89588 h 165600"/>
              <a:gd name="connsiteX14" fmla="*/ 130044 w 165051"/>
              <a:gd name="connsiteY14" fmla="*/ 89588 h 165600"/>
              <a:gd name="connsiteX15" fmla="*/ 136833 w 165051"/>
              <a:gd name="connsiteY15" fmla="*/ 82799 h 165600"/>
              <a:gd name="connsiteX16" fmla="*/ 130044 w 165051"/>
              <a:gd name="connsiteY16" fmla="*/ 76011 h 165600"/>
              <a:gd name="connsiteX17" fmla="*/ 56601 w 165051"/>
              <a:gd name="connsiteY17" fmla="*/ 70134 h 165600"/>
              <a:gd name="connsiteX18" fmla="*/ 56580 w 165051"/>
              <a:gd name="connsiteY18" fmla="*/ 70156 h 165600"/>
              <a:gd name="connsiteX19" fmla="*/ 49494 w 165051"/>
              <a:gd name="connsiteY19" fmla="*/ 71407 h 165600"/>
              <a:gd name="connsiteX20" fmla="*/ 41094 w 165051"/>
              <a:gd name="connsiteY20" fmla="*/ 83414 h 165600"/>
              <a:gd name="connsiteX21" fmla="*/ 36893 w 165051"/>
              <a:gd name="connsiteY21" fmla="*/ 79214 h 165600"/>
              <a:gd name="connsiteX22" fmla="*/ 29702 w 165051"/>
              <a:gd name="connsiteY22" fmla="*/ 79214 h 165600"/>
              <a:gd name="connsiteX23" fmla="*/ 29702 w 165051"/>
              <a:gd name="connsiteY23" fmla="*/ 86406 h 165600"/>
              <a:gd name="connsiteX24" fmla="*/ 38187 w 165051"/>
              <a:gd name="connsiteY24" fmla="*/ 94891 h 165600"/>
              <a:gd name="connsiteX25" fmla="*/ 42239 w 165051"/>
              <a:gd name="connsiteY25" fmla="*/ 96334 h 165600"/>
              <a:gd name="connsiteX26" fmla="*/ 45973 w 165051"/>
              <a:gd name="connsiteY26" fmla="*/ 94191 h 165600"/>
              <a:gd name="connsiteX27" fmla="*/ 57853 w 165051"/>
              <a:gd name="connsiteY27" fmla="*/ 77220 h 165600"/>
              <a:gd name="connsiteX28" fmla="*/ 56601 w 165051"/>
              <a:gd name="connsiteY28" fmla="*/ 70134 h 165600"/>
              <a:gd name="connsiteX29" fmla="*/ 82525 w 165051"/>
              <a:gd name="connsiteY29" fmla="*/ 42068 h 165600"/>
              <a:gd name="connsiteX30" fmla="*/ 75736 w 165051"/>
              <a:gd name="connsiteY30" fmla="*/ 48857 h 165600"/>
              <a:gd name="connsiteX31" fmla="*/ 82525 w 165051"/>
              <a:gd name="connsiteY31" fmla="*/ 55645 h 165600"/>
              <a:gd name="connsiteX32" fmla="*/ 130044 w 165051"/>
              <a:gd name="connsiteY32" fmla="*/ 55645 h 165600"/>
              <a:gd name="connsiteX33" fmla="*/ 136833 w 165051"/>
              <a:gd name="connsiteY33" fmla="*/ 48857 h 165600"/>
              <a:gd name="connsiteX34" fmla="*/ 130044 w 165051"/>
              <a:gd name="connsiteY34" fmla="*/ 42068 h 165600"/>
              <a:gd name="connsiteX35" fmla="*/ 56601 w 165051"/>
              <a:gd name="connsiteY35" fmla="*/ 36192 h 165600"/>
              <a:gd name="connsiteX36" fmla="*/ 49516 w 165051"/>
              <a:gd name="connsiteY36" fmla="*/ 37444 h 165600"/>
              <a:gd name="connsiteX37" fmla="*/ 41115 w 165051"/>
              <a:gd name="connsiteY37" fmla="*/ 49451 h 165600"/>
              <a:gd name="connsiteX38" fmla="*/ 36914 w 165051"/>
              <a:gd name="connsiteY38" fmla="*/ 45250 h 165600"/>
              <a:gd name="connsiteX39" fmla="*/ 29702 w 165051"/>
              <a:gd name="connsiteY39" fmla="*/ 45250 h 165600"/>
              <a:gd name="connsiteX40" fmla="*/ 29702 w 165051"/>
              <a:gd name="connsiteY40" fmla="*/ 52463 h 165600"/>
              <a:gd name="connsiteX41" fmla="*/ 38187 w 165051"/>
              <a:gd name="connsiteY41" fmla="*/ 60949 h 165600"/>
              <a:gd name="connsiteX42" fmla="*/ 42239 w 165051"/>
              <a:gd name="connsiteY42" fmla="*/ 62391 h 165600"/>
              <a:gd name="connsiteX43" fmla="*/ 45973 w 165051"/>
              <a:gd name="connsiteY43" fmla="*/ 60249 h 165600"/>
              <a:gd name="connsiteX44" fmla="*/ 57853 w 165051"/>
              <a:gd name="connsiteY44" fmla="*/ 43277 h 165600"/>
              <a:gd name="connsiteX45" fmla="*/ 56601 w 165051"/>
              <a:gd name="connsiteY45" fmla="*/ 36192 h 165600"/>
              <a:gd name="connsiteX46" fmla="*/ 82526 w 165051"/>
              <a:gd name="connsiteY46" fmla="*/ 0 h 165600"/>
              <a:gd name="connsiteX47" fmla="*/ 165051 w 165051"/>
              <a:gd name="connsiteY47" fmla="*/ 82800 h 165600"/>
              <a:gd name="connsiteX48" fmla="*/ 82526 w 165051"/>
              <a:gd name="connsiteY48" fmla="*/ 165600 h 165600"/>
              <a:gd name="connsiteX49" fmla="*/ 0 w 165051"/>
              <a:gd name="connsiteY49" fmla="*/ 82800 h 165600"/>
              <a:gd name="connsiteX50" fmla="*/ 82526 w 165051"/>
              <a:gd name="connsiteY50" fmla="*/ 0 h 16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165051" h="165600">
                <a:moveTo>
                  <a:pt x="68948" y="109953"/>
                </a:moveTo>
                <a:cubicBezTo>
                  <a:pt x="65193" y="109953"/>
                  <a:pt x="62159" y="112987"/>
                  <a:pt x="62159" y="116742"/>
                </a:cubicBezTo>
                <a:cubicBezTo>
                  <a:pt x="62159" y="120497"/>
                  <a:pt x="65193" y="123530"/>
                  <a:pt x="68948" y="123530"/>
                </a:cubicBezTo>
                <a:lnTo>
                  <a:pt x="130044" y="123530"/>
                </a:lnTo>
                <a:cubicBezTo>
                  <a:pt x="133799" y="123530"/>
                  <a:pt x="136833" y="120497"/>
                  <a:pt x="136833" y="116742"/>
                </a:cubicBezTo>
                <a:cubicBezTo>
                  <a:pt x="136833" y="112987"/>
                  <a:pt x="133799" y="109953"/>
                  <a:pt x="130044" y="109953"/>
                </a:cubicBezTo>
                <a:close/>
                <a:moveTo>
                  <a:pt x="41794" y="108256"/>
                </a:moveTo>
                <a:cubicBezTo>
                  <a:pt x="37105" y="108256"/>
                  <a:pt x="33308" y="112053"/>
                  <a:pt x="33308" y="116742"/>
                </a:cubicBezTo>
                <a:cubicBezTo>
                  <a:pt x="33308" y="121430"/>
                  <a:pt x="37105" y="125227"/>
                  <a:pt x="41794" y="125227"/>
                </a:cubicBezTo>
                <a:cubicBezTo>
                  <a:pt x="46482" y="125227"/>
                  <a:pt x="50279" y="121430"/>
                  <a:pt x="50279" y="116742"/>
                </a:cubicBezTo>
                <a:cubicBezTo>
                  <a:pt x="50279" y="112053"/>
                  <a:pt x="46482" y="108256"/>
                  <a:pt x="41794" y="108256"/>
                </a:cubicBezTo>
                <a:close/>
                <a:moveTo>
                  <a:pt x="82525" y="76011"/>
                </a:moveTo>
                <a:cubicBezTo>
                  <a:pt x="78770" y="76011"/>
                  <a:pt x="75736" y="79044"/>
                  <a:pt x="75736" y="82799"/>
                </a:cubicBezTo>
                <a:cubicBezTo>
                  <a:pt x="75736" y="86554"/>
                  <a:pt x="78770" y="89588"/>
                  <a:pt x="82525" y="89588"/>
                </a:cubicBezTo>
                <a:lnTo>
                  <a:pt x="130044" y="89588"/>
                </a:lnTo>
                <a:cubicBezTo>
                  <a:pt x="133799" y="89588"/>
                  <a:pt x="136833" y="86554"/>
                  <a:pt x="136833" y="82799"/>
                </a:cubicBezTo>
                <a:cubicBezTo>
                  <a:pt x="136833" y="79044"/>
                  <a:pt x="133799" y="76011"/>
                  <a:pt x="130044" y="76011"/>
                </a:cubicBezTo>
                <a:close/>
                <a:moveTo>
                  <a:pt x="56601" y="70134"/>
                </a:moveTo>
                <a:lnTo>
                  <a:pt x="56580" y="70156"/>
                </a:lnTo>
                <a:cubicBezTo>
                  <a:pt x="54289" y="68543"/>
                  <a:pt x="51107" y="69095"/>
                  <a:pt x="49494" y="71407"/>
                </a:cubicBezTo>
                <a:lnTo>
                  <a:pt x="41094" y="83414"/>
                </a:lnTo>
                <a:lnTo>
                  <a:pt x="36893" y="79214"/>
                </a:lnTo>
                <a:cubicBezTo>
                  <a:pt x="34920" y="77220"/>
                  <a:pt x="31696" y="77241"/>
                  <a:pt x="29702" y="79214"/>
                </a:cubicBezTo>
                <a:cubicBezTo>
                  <a:pt x="27707" y="81187"/>
                  <a:pt x="27707" y="84412"/>
                  <a:pt x="29702" y="86406"/>
                </a:cubicBezTo>
                <a:lnTo>
                  <a:pt x="38187" y="94891"/>
                </a:lnTo>
                <a:cubicBezTo>
                  <a:pt x="39248" y="95952"/>
                  <a:pt x="40733" y="96461"/>
                  <a:pt x="42239" y="96334"/>
                </a:cubicBezTo>
                <a:cubicBezTo>
                  <a:pt x="43745" y="96207"/>
                  <a:pt x="45103" y="95422"/>
                  <a:pt x="45973" y="94191"/>
                </a:cubicBezTo>
                <a:lnTo>
                  <a:pt x="57853" y="77220"/>
                </a:lnTo>
                <a:cubicBezTo>
                  <a:pt x="59465" y="74929"/>
                  <a:pt x="58913" y="71747"/>
                  <a:pt x="56601" y="70134"/>
                </a:cubicBezTo>
                <a:close/>
                <a:moveTo>
                  <a:pt x="82525" y="42068"/>
                </a:moveTo>
                <a:cubicBezTo>
                  <a:pt x="78770" y="42068"/>
                  <a:pt x="75736" y="45102"/>
                  <a:pt x="75736" y="48857"/>
                </a:cubicBezTo>
                <a:cubicBezTo>
                  <a:pt x="75736" y="52612"/>
                  <a:pt x="78770" y="55645"/>
                  <a:pt x="82525" y="55645"/>
                </a:cubicBezTo>
                <a:lnTo>
                  <a:pt x="130044" y="55645"/>
                </a:lnTo>
                <a:cubicBezTo>
                  <a:pt x="133799" y="55645"/>
                  <a:pt x="136833" y="52612"/>
                  <a:pt x="136833" y="48857"/>
                </a:cubicBezTo>
                <a:cubicBezTo>
                  <a:pt x="136833" y="45102"/>
                  <a:pt x="133799" y="42068"/>
                  <a:pt x="130044" y="42068"/>
                </a:cubicBezTo>
                <a:close/>
                <a:moveTo>
                  <a:pt x="56601" y="36192"/>
                </a:moveTo>
                <a:cubicBezTo>
                  <a:pt x="54310" y="34580"/>
                  <a:pt x="51128" y="35131"/>
                  <a:pt x="49516" y="37444"/>
                </a:cubicBezTo>
                <a:lnTo>
                  <a:pt x="41115" y="49451"/>
                </a:lnTo>
                <a:lnTo>
                  <a:pt x="36914" y="45250"/>
                </a:lnTo>
                <a:cubicBezTo>
                  <a:pt x="34920" y="43277"/>
                  <a:pt x="31675" y="43256"/>
                  <a:pt x="29702" y="45250"/>
                </a:cubicBezTo>
                <a:cubicBezTo>
                  <a:pt x="27729" y="47245"/>
                  <a:pt x="27729" y="50469"/>
                  <a:pt x="29702" y="52463"/>
                </a:cubicBezTo>
                <a:lnTo>
                  <a:pt x="38187" y="60949"/>
                </a:lnTo>
                <a:cubicBezTo>
                  <a:pt x="39248" y="62009"/>
                  <a:pt x="40733" y="62519"/>
                  <a:pt x="42239" y="62391"/>
                </a:cubicBezTo>
                <a:cubicBezTo>
                  <a:pt x="43745" y="62264"/>
                  <a:pt x="45103" y="61479"/>
                  <a:pt x="45973" y="60249"/>
                </a:cubicBezTo>
                <a:lnTo>
                  <a:pt x="57853" y="43277"/>
                </a:lnTo>
                <a:cubicBezTo>
                  <a:pt x="59465" y="40986"/>
                  <a:pt x="58913" y="37804"/>
                  <a:pt x="56601" y="36192"/>
                </a:cubicBezTo>
                <a:close/>
                <a:moveTo>
                  <a:pt x="82526" y="0"/>
                </a:moveTo>
                <a:cubicBezTo>
                  <a:pt x="128103" y="0"/>
                  <a:pt x="165051" y="37071"/>
                  <a:pt x="165051" y="82800"/>
                </a:cubicBezTo>
                <a:cubicBezTo>
                  <a:pt x="165051" y="128529"/>
                  <a:pt x="128103" y="165600"/>
                  <a:pt x="82526" y="165600"/>
                </a:cubicBezTo>
                <a:cubicBezTo>
                  <a:pt x="36948" y="165600"/>
                  <a:pt x="0" y="128529"/>
                  <a:pt x="0" y="82800"/>
                </a:cubicBezTo>
                <a:cubicBezTo>
                  <a:pt x="0" y="37071"/>
                  <a:pt x="36948" y="0"/>
                  <a:pt x="82526" y="0"/>
                </a:cubicBezTo>
                <a:close/>
              </a:path>
            </a:pathLst>
          </a:custGeom>
          <a:solidFill>
            <a:schemeClr val="accent1"/>
          </a:solidFill>
          <a:ln w="208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21" name="Forma libre 78">
            <a:extLst>
              <a:ext uri="{FF2B5EF4-FFF2-40B4-BE49-F238E27FC236}">
                <a16:creationId xmlns:a16="http://schemas.microsoft.com/office/drawing/2014/main" id="{0C27EAF9-2A16-80B6-8688-BB14EE6DE7A8}"/>
              </a:ext>
            </a:extLst>
          </p:cNvPr>
          <p:cNvSpPr/>
          <p:nvPr/>
        </p:nvSpPr>
        <p:spPr>
          <a:xfrm>
            <a:off x="3657226" y="2664644"/>
            <a:ext cx="162047" cy="162586"/>
          </a:xfrm>
          <a:custGeom>
            <a:avLst/>
            <a:gdLst>
              <a:gd name="connsiteX0" fmla="*/ 105887 w 165051"/>
              <a:gd name="connsiteY0" fmla="*/ 98083 h 165600"/>
              <a:gd name="connsiteX1" fmla="*/ 113910 w 165051"/>
              <a:gd name="connsiteY1" fmla="*/ 106089 h 165600"/>
              <a:gd name="connsiteX2" fmla="*/ 105905 w 165051"/>
              <a:gd name="connsiteY2" fmla="*/ 114094 h 165600"/>
              <a:gd name="connsiteX3" fmla="*/ 97899 w 165051"/>
              <a:gd name="connsiteY3" fmla="*/ 106107 h 165600"/>
              <a:gd name="connsiteX4" fmla="*/ 105887 w 165051"/>
              <a:gd name="connsiteY4" fmla="*/ 98083 h 165600"/>
              <a:gd name="connsiteX5" fmla="*/ 99955 w 165051"/>
              <a:gd name="connsiteY5" fmla="*/ 74521 h 165600"/>
              <a:gd name="connsiteX6" fmla="*/ 95188 w 165051"/>
              <a:gd name="connsiteY6" fmla="*/ 75795 h 165600"/>
              <a:gd name="connsiteX7" fmla="*/ 91640 w 165051"/>
              <a:gd name="connsiteY7" fmla="*/ 80744 h 165600"/>
              <a:gd name="connsiteX8" fmla="*/ 92132 w 165051"/>
              <a:gd name="connsiteY8" fmla="*/ 88349 h 165600"/>
              <a:gd name="connsiteX9" fmla="*/ 88147 w 165051"/>
              <a:gd name="connsiteY9" fmla="*/ 92352 h 165600"/>
              <a:gd name="connsiteX10" fmla="*/ 80524 w 165051"/>
              <a:gd name="connsiteY10" fmla="*/ 91861 h 165600"/>
              <a:gd name="connsiteX11" fmla="*/ 75575 w 165051"/>
              <a:gd name="connsiteY11" fmla="*/ 95408 h 165600"/>
              <a:gd name="connsiteX12" fmla="*/ 74301 w 165051"/>
              <a:gd name="connsiteY12" fmla="*/ 100175 h 165600"/>
              <a:gd name="connsiteX13" fmla="*/ 76812 w 165051"/>
              <a:gd name="connsiteY13" fmla="*/ 105725 h 165600"/>
              <a:gd name="connsiteX14" fmla="*/ 83671 w 165051"/>
              <a:gd name="connsiteY14" fmla="*/ 109109 h 165600"/>
              <a:gd name="connsiteX15" fmla="*/ 84217 w 165051"/>
              <a:gd name="connsiteY15" fmla="*/ 111874 h 165600"/>
              <a:gd name="connsiteX16" fmla="*/ 85127 w 165051"/>
              <a:gd name="connsiteY16" fmla="*/ 114549 h 165600"/>
              <a:gd name="connsiteX17" fmla="*/ 80887 w 165051"/>
              <a:gd name="connsiteY17" fmla="*/ 120917 h 165600"/>
              <a:gd name="connsiteX18" fmla="*/ 81488 w 165051"/>
              <a:gd name="connsiteY18" fmla="*/ 126976 h 165600"/>
              <a:gd name="connsiteX19" fmla="*/ 84981 w 165051"/>
              <a:gd name="connsiteY19" fmla="*/ 130469 h 165600"/>
              <a:gd name="connsiteX20" fmla="*/ 91040 w 165051"/>
              <a:gd name="connsiteY20" fmla="*/ 131069 h 165600"/>
              <a:gd name="connsiteX21" fmla="*/ 97408 w 165051"/>
              <a:gd name="connsiteY21" fmla="*/ 126830 h 165600"/>
              <a:gd name="connsiteX22" fmla="*/ 102848 w 165051"/>
              <a:gd name="connsiteY22" fmla="*/ 128304 h 165600"/>
              <a:gd name="connsiteX23" fmla="*/ 106232 w 165051"/>
              <a:gd name="connsiteY23" fmla="*/ 135145 h 165600"/>
              <a:gd name="connsiteX24" fmla="*/ 111781 w 165051"/>
              <a:gd name="connsiteY24" fmla="*/ 137656 h 165600"/>
              <a:gd name="connsiteX25" fmla="*/ 116548 w 165051"/>
              <a:gd name="connsiteY25" fmla="*/ 136382 h 165600"/>
              <a:gd name="connsiteX26" fmla="*/ 120096 w 165051"/>
              <a:gd name="connsiteY26" fmla="*/ 131433 h 165600"/>
              <a:gd name="connsiteX27" fmla="*/ 119605 w 165051"/>
              <a:gd name="connsiteY27" fmla="*/ 123810 h 165600"/>
              <a:gd name="connsiteX28" fmla="*/ 123590 w 165051"/>
              <a:gd name="connsiteY28" fmla="*/ 119807 h 165600"/>
              <a:gd name="connsiteX29" fmla="*/ 131231 w 165051"/>
              <a:gd name="connsiteY29" fmla="*/ 120298 h 165600"/>
              <a:gd name="connsiteX30" fmla="*/ 136180 w 165051"/>
              <a:gd name="connsiteY30" fmla="*/ 116750 h 165600"/>
              <a:gd name="connsiteX31" fmla="*/ 137454 w 165051"/>
              <a:gd name="connsiteY31" fmla="*/ 111983 h 165600"/>
              <a:gd name="connsiteX32" fmla="*/ 134943 w 165051"/>
              <a:gd name="connsiteY32" fmla="*/ 106434 h 165600"/>
              <a:gd name="connsiteX33" fmla="*/ 128084 w 165051"/>
              <a:gd name="connsiteY33" fmla="*/ 103050 h 165600"/>
              <a:gd name="connsiteX34" fmla="*/ 127538 w 165051"/>
              <a:gd name="connsiteY34" fmla="*/ 100285 h 165600"/>
              <a:gd name="connsiteX35" fmla="*/ 126628 w 165051"/>
              <a:gd name="connsiteY35" fmla="*/ 97610 h 165600"/>
              <a:gd name="connsiteX36" fmla="*/ 130867 w 165051"/>
              <a:gd name="connsiteY36" fmla="*/ 91260 h 165600"/>
              <a:gd name="connsiteX37" fmla="*/ 130267 w 165051"/>
              <a:gd name="connsiteY37" fmla="*/ 85201 h 165600"/>
              <a:gd name="connsiteX38" fmla="*/ 126774 w 165051"/>
              <a:gd name="connsiteY38" fmla="*/ 81708 h 165600"/>
              <a:gd name="connsiteX39" fmla="*/ 120715 w 165051"/>
              <a:gd name="connsiteY39" fmla="*/ 81108 h 165600"/>
              <a:gd name="connsiteX40" fmla="*/ 114347 w 165051"/>
              <a:gd name="connsiteY40" fmla="*/ 85347 h 165600"/>
              <a:gd name="connsiteX41" fmla="*/ 108907 w 165051"/>
              <a:gd name="connsiteY41" fmla="*/ 83873 h 165600"/>
              <a:gd name="connsiteX42" fmla="*/ 105523 w 165051"/>
              <a:gd name="connsiteY42" fmla="*/ 77032 h 165600"/>
              <a:gd name="connsiteX43" fmla="*/ 99973 w 165051"/>
              <a:gd name="connsiteY43" fmla="*/ 74521 h 165600"/>
              <a:gd name="connsiteX44" fmla="*/ 59309 w 165051"/>
              <a:gd name="connsiteY44" fmla="*/ 51505 h 165600"/>
              <a:gd name="connsiteX45" fmla="*/ 67314 w 165051"/>
              <a:gd name="connsiteY45" fmla="*/ 59511 h 165600"/>
              <a:gd name="connsiteX46" fmla="*/ 59309 w 165051"/>
              <a:gd name="connsiteY46" fmla="*/ 67516 h 165600"/>
              <a:gd name="connsiteX47" fmla="*/ 51303 w 165051"/>
              <a:gd name="connsiteY47" fmla="*/ 59511 h 165600"/>
              <a:gd name="connsiteX48" fmla="*/ 59309 w 165051"/>
              <a:gd name="connsiteY48" fmla="*/ 51505 h 165600"/>
              <a:gd name="connsiteX49" fmla="*/ 65222 w 165051"/>
              <a:gd name="connsiteY49" fmla="*/ 27944 h 165600"/>
              <a:gd name="connsiteX50" fmla="*/ 59673 w 165051"/>
              <a:gd name="connsiteY50" fmla="*/ 30455 h 165600"/>
              <a:gd name="connsiteX51" fmla="*/ 56289 w 165051"/>
              <a:gd name="connsiteY51" fmla="*/ 37296 h 165600"/>
              <a:gd name="connsiteX52" fmla="*/ 50849 w 165051"/>
              <a:gd name="connsiteY52" fmla="*/ 38769 h 165600"/>
              <a:gd name="connsiteX53" fmla="*/ 44481 w 165051"/>
              <a:gd name="connsiteY53" fmla="*/ 34530 h 165600"/>
              <a:gd name="connsiteX54" fmla="*/ 38422 w 165051"/>
              <a:gd name="connsiteY54" fmla="*/ 35130 h 165600"/>
              <a:gd name="connsiteX55" fmla="*/ 34928 w 165051"/>
              <a:gd name="connsiteY55" fmla="*/ 38624 h 165600"/>
              <a:gd name="connsiteX56" fmla="*/ 34328 w 165051"/>
              <a:gd name="connsiteY56" fmla="*/ 44683 h 165600"/>
              <a:gd name="connsiteX57" fmla="*/ 38567 w 165051"/>
              <a:gd name="connsiteY57" fmla="*/ 51032 h 165600"/>
              <a:gd name="connsiteX58" fmla="*/ 37658 w 165051"/>
              <a:gd name="connsiteY58" fmla="*/ 53707 h 165600"/>
              <a:gd name="connsiteX59" fmla="*/ 37112 w 165051"/>
              <a:gd name="connsiteY59" fmla="*/ 56472 h 165600"/>
              <a:gd name="connsiteX60" fmla="*/ 30253 w 165051"/>
              <a:gd name="connsiteY60" fmla="*/ 59857 h 165600"/>
              <a:gd name="connsiteX61" fmla="*/ 27742 w 165051"/>
              <a:gd name="connsiteY61" fmla="*/ 65406 h 165600"/>
              <a:gd name="connsiteX62" fmla="*/ 29015 w 165051"/>
              <a:gd name="connsiteY62" fmla="*/ 70173 h 165600"/>
              <a:gd name="connsiteX63" fmla="*/ 33964 w 165051"/>
              <a:gd name="connsiteY63" fmla="*/ 73721 h 165600"/>
              <a:gd name="connsiteX64" fmla="*/ 41606 w 165051"/>
              <a:gd name="connsiteY64" fmla="*/ 73229 h 165600"/>
              <a:gd name="connsiteX65" fmla="*/ 45590 w 165051"/>
              <a:gd name="connsiteY65" fmla="*/ 77232 h 165600"/>
              <a:gd name="connsiteX66" fmla="*/ 45099 w 165051"/>
              <a:gd name="connsiteY66" fmla="*/ 84856 h 165600"/>
              <a:gd name="connsiteX67" fmla="*/ 48647 w 165051"/>
              <a:gd name="connsiteY67" fmla="*/ 89805 h 165600"/>
              <a:gd name="connsiteX68" fmla="*/ 53414 w 165051"/>
              <a:gd name="connsiteY68" fmla="*/ 91078 h 165600"/>
              <a:gd name="connsiteX69" fmla="*/ 58963 w 165051"/>
              <a:gd name="connsiteY69" fmla="*/ 88567 h 165600"/>
              <a:gd name="connsiteX70" fmla="*/ 62347 w 165051"/>
              <a:gd name="connsiteY70" fmla="*/ 81726 h 165600"/>
              <a:gd name="connsiteX71" fmla="*/ 67788 w 165051"/>
              <a:gd name="connsiteY71" fmla="*/ 80253 h 165600"/>
              <a:gd name="connsiteX72" fmla="*/ 74156 w 165051"/>
              <a:gd name="connsiteY72" fmla="*/ 84492 h 165600"/>
              <a:gd name="connsiteX73" fmla="*/ 80214 w 165051"/>
              <a:gd name="connsiteY73" fmla="*/ 83891 h 165600"/>
              <a:gd name="connsiteX74" fmla="*/ 83708 w 165051"/>
              <a:gd name="connsiteY74" fmla="*/ 80398 h 165600"/>
              <a:gd name="connsiteX75" fmla="*/ 84308 w 165051"/>
              <a:gd name="connsiteY75" fmla="*/ 74339 h 165600"/>
              <a:gd name="connsiteX76" fmla="*/ 80069 w 165051"/>
              <a:gd name="connsiteY76" fmla="*/ 67971 h 165600"/>
              <a:gd name="connsiteX77" fmla="*/ 80978 w 165051"/>
              <a:gd name="connsiteY77" fmla="*/ 65297 h 165600"/>
              <a:gd name="connsiteX78" fmla="*/ 81524 w 165051"/>
              <a:gd name="connsiteY78" fmla="*/ 62531 h 165600"/>
              <a:gd name="connsiteX79" fmla="*/ 88384 w 165051"/>
              <a:gd name="connsiteY79" fmla="*/ 59147 h 165600"/>
              <a:gd name="connsiteX80" fmla="*/ 90894 w 165051"/>
              <a:gd name="connsiteY80" fmla="*/ 53598 h 165600"/>
              <a:gd name="connsiteX81" fmla="*/ 89621 w 165051"/>
              <a:gd name="connsiteY81" fmla="*/ 48831 h 165600"/>
              <a:gd name="connsiteX82" fmla="*/ 84672 w 165051"/>
              <a:gd name="connsiteY82" fmla="*/ 45283 h 165600"/>
              <a:gd name="connsiteX83" fmla="*/ 77030 w 165051"/>
              <a:gd name="connsiteY83" fmla="*/ 45774 h 165600"/>
              <a:gd name="connsiteX84" fmla="*/ 73046 w 165051"/>
              <a:gd name="connsiteY84" fmla="*/ 41771 h 165600"/>
              <a:gd name="connsiteX85" fmla="*/ 73537 w 165051"/>
              <a:gd name="connsiteY85" fmla="*/ 34166 h 165600"/>
              <a:gd name="connsiteX86" fmla="*/ 69989 w 165051"/>
              <a:gd name="connsiteY86" fmla="*/ 29217 h 165600"/>
              <a:gd name="connsiteX87" fmla="*/ 82526 w 165051"/>
              <a:gd name="connsiteY87" fmla="*/ 0 h 165600"/>
              <a:gd name="connsiteX88" fmla="*/ 165051 w 165051"/>
              <a:gd name="connsiteY88" fmla="*/ 82800 h 165600"/>
              <a:gd name="connsiteX89" fmla="*/ 82526 w 165051"/>
              <a:gd name="connsiteY89" fmla="*/ 165600 h 165600"/>
              <a:gd name="connsiteX90" fmla="*/ 0 w 165051"/>
              <a:gd name="connsiteY90" fmla="*/ 82800 h 165600"/>
              <a:gd name="connsiteX91" fmla="*/ 82526 w 165051"/>
              <a:gd name="connsiteY91" fmla="*/ 0 h 16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165051" h="165600">
                <a:moveTo>
                  <a:pt x="105887" y="98083"/>
                </a:moveTo>
                <a:cubicBezTo>
                  <a:pt x="110308" y="98083"/>
                  <a:pt x="113892" y="101649"/>
                  <a:pt x="113910" y="106089"/>
                </a:cubicBezTo>
                <a:cubicBezTo>
                  <a:pt x="113910" y="110510"/>
                  <a:pt x="110326" y="114094"/>
                  <a:pt x="105905" y="114094"/>
                </a:cubicBezTo>
                <a:cubicBezTo>
                  <a:pt x="101483" y="114094"/>
                  <a:pt x="97899" y="110528"/>
                  <a:pt x="97899" y="106107"/>
                </a:cubicBezTo>
                <a:cubicBezTo>
                  <a:pt x="97881" y="101667"/>
                  <a:pt x="101465" y="98083"/>
                  <a:pt x="105887" y="98083"/>
                </a:cubicBezTo>
                <a:close/>
                <a:moveTo>
                  <a:pt x="99955" y="74521"/>
                </a:moveTo>
                <a:lnTo>
                  <a:pt x="95188" y="75795"/>
                </a:lnTo>
                <a:cubicBezTo>
                  <a:pt x="92987" y="76377"/>
                  <a:pt x="91495" y="78451"/>
                  <a:pt x="91640" y="80744"/>
                </a:cubicBezTo>
                <a:lnTo>
                  <a:pt x="92132" y="88349"/>
                </a:lnTo>
                <a:cubicBezTo>
                  <a:pt x="90621" y="89513"/>
                  <a:pt x="89293" y="90878"/>
                  <a:pt x="88147" y="92352"/>
                </a:cubicBezTo>
                <a:lnTo>
                  <a:pt x="80524" y="91861"/>
                </a:lnTo>
                <a:cubicBezTo>
                  <a:pt x="78231" y="91715"/>
                  <a:pt x="76175" y="93207"/>
                  <a:pt x="75575" y="95408"/>
                </a:cubicBezTo>
                <a:lnTo>
                  <a:pt x="74301" y="100175"/>
                </a:lnTo>
                <a:cubicBezTo>
                  <a:pt x="73719" y="102377"/>
                  <a:pt x="74756" y="104706"/>
                  <a:pt x="76812" y="105725"/>
                </a:cubicBezTo>
                <a:lnTo>
                  <a:pt x="83671" y="109109"/>
                </a:lnTo>
                <a:cubicBezTo>
                  <a:pt x="83799" y="110019"/>
                  <a:pt x="83962" y="110946"/>
                  <a:pt x="84217" y="111874"/>
                </a:cubicBezTo>
                <a:cubicBezTo>
                  <a:pt x="84472" y="112802"/>
                  <a:pt x="84781" y="113694"/>
                  <a:pt x="85127" y="114549"/>
                </a:cubicBezTo>
                <a:lnTo>
                  <a:pt x="80887" y="120917"/>
                </a:lnTo>
                <a:cubicBezTo>
                  <a:pt x="79614" y="122827"/>
                  <a:pt x="79869" y="125356"/>
                  <a:pt x="81488" y="126976"/>
                </a:cubicBezTo>
                <a:lnTo>
                  <a:pt x="84981" y="130469"/>
                </a:lnTo>
                <a:cubicBezTo>
                  <a:pt x="86600" y="132088"/>
                  <a:pt x="89129" y="132343"/>
                  <a:pt x="91040" y="131069"/>
                </a:cubicBezTo>
                <a:lnTo>
                  <a:pt x="97408" y="126830"/>
                </a:lnTo>
                <a:cubicBezTo>
                  <a:pt x="99136" y="127540"/>
                  <a:pt x="100974" y="128049"/>
                  <a:pt x="102848" y="128304"/>
                </a:cubicBezTo>
                <a:lnTo>
                  <a:pt x="106232" y="135145"/>
                </a:lnTo>
                <a:cubicBezTo>
                  <a:pt x="107251" y="137201"/>
                  <a:pt x="109562" y="138256"/>
                  <a:pt x="111781" y="137656"/>
                </a:cubicBezTo>
                <a:lnTo>
                  <a:pt x="116548" y="136382"/>
                </a:lnTo>
                <a:cubicBezTo>
                  <a:pt x="118750" y="135800"/>
                  <a:pt x="120242" y="133726"/>
                  <a:pt x="120096" y="131433"/>
                </a:cubicBezTo>
                <a:lnTo>
                  <a:pt x="119605" y="123810"/>
                </a:lnTo>
                <a:cubicBezTo>
                  <a:pt x="121115" y="122645"/>
                  <a:pt x="122443" y="121281"/>
                  <a:pt x="123590" y="119807"/>
                </a:cubicBezTo>
                <a:lnTo>
                  <a:pt x="131231" y="120298"/>
                </a:lnTo>
                <a:cubicBezTo>
                  <a:pt x="133524" y="120444"/>
                  <a:pt x="135580" y="118952"/>
                  <a:pt x="136180" y="116750"/>
                </a:cubicBezTo>
                <a:lnTo>
                  <a:pt x="137454" y="111983"/>
                </a:lnTo>
                <a:cubicBezTo>
                  <a:pt x="138054" y="109782"/>
                  <a:pt x="136999" y="107453"/>
                  <a:pt x="134943" y="106434"/>
                </a:cubicBezTo>
                <a:lnTo>
                  <a:pt x="128084" y="103050"/>
                </a:lnTo>
                <a:cubicBezTo>
                  <a:pt x="127956" y="102122"/>
                  <a:pt x="127793" y="101212"/>
                  <a:pt x="127538" y="100285"/>
                </a:cubicBezTo>
                <a:cubicBezTo>
                  <a:pt x="127283" y="99357"/>
                  <a:pt x="126974" y="98465"/>
                  <a:pt x="126628" y="97610"/>
                </a:cubicBezTo>
                <a:lnTo>
                  <a:pt x="130867" y="91260"/>
                </a:lnTo>
                <a:cubicBezTo>
                  <a:pt x="132141" y="89368"/>
                  <a:pt x="131886" y="86821"/>
                  <a:pt x="130267" y="85201"/>
                </a:cubicBezTo>
                <a:lnTo>
                  <a:pt x="126774" y="81708"/>
                </a:lnTo>
                <a:cubicBezTo>
                  <a:pt x="125154" y="80089"/>
                  <a:pt x="122625" y="79834"/>
                  <a:pt x="120715" y="81108"/>
                </a:cubicBezTo>
                <a:lnTo>
                  <a:pt x="114347" y="85347"/>
                </a:lnTo>
                <a:cubicBezTo>
                  <a:pt x="112618" y="84637"/>
                  <a:pt x="110781" y="84128"/>
                  <a:pt x="108907" y="83873"/>
                </a:cubicBezTo>
                <a:lnTo>
                  <a:pt x="105523" y="77032"/>
                </a:lnTo>
                <a:cubicBezTo>
                  <a:pt x="104522" y="74976"/>
                  <a:pt x="102193" y="73921"/>
                  <a:pt x="99973" y="74521"/>
                </a:cubicBezTo>
                <a:close/>
                <a:moveTo>
                  <a:pt x="59309" y="51505"/>
                </a:moveTo>
                <a:cubicBezTo>
                  <a:pt x="63730" y="51505"/>
                  <a:pt x="67314" y="55090"/>
                  <a:pt x="67314" y="59511"/>
                </a:cubicBezTo>
                <a:cubicBezTo>
                  <a:pt x="67314" y="63932"/>
                  <a:pt x="63730" y="67516"/>
                  <a:pt x="59309" y="67516"/>
                </a:cubicBezTo>
                <a:cubicBezTo>
                  <a:pt x="54888" y="67516"/>
                  <a:pt x="51303" y="63932"/>
                  <a:pt x="51303" y="59511"/>
                </a:cubicBezTo>
                <a:cubicBezTo>
                  <a:pt x="51303" y="55090"/>
                  <a:pt x="54888" y="51505"/>
                  <a:pt x="59309" y="51505"/>
                </a:cubicBezTo>
                <a:close/>
                <a:moveTo>
                  <a:pt x="65222" y="27944"/>
                </a:moveTo>
                <a:cubicBezTo>
                  <a:pt x="63002" y="27361"/>
                  <a:pt x="60692" y="28399"/>
                  <a:pt x="59673" y="30455"/>
                </a:cubicBezTo>
                <a:lnTo>
                  <a:pt x="56289" y="37296"/>
                </a:lnTo>
                <a:cubicBezTo>
                  <a:pt x="54415" y="37550"/>
                  <a:pt x="52577" y="38060"/>
                  <a:pt x="50849" y="38769"/>
                </a:cubicBezTo>
                <a:lnTo>
                  <a:pt x="44481" y="34530"/>
                </a:lnTo>
                <a:cubicBezTo>
                  <a:pt x="42570" y="33256"/>
                  <a:pt x="40041" y="33511"/>
                  <a:pt x="38422" y="35130"/>
                </a:cubicBezTo>
                <a:lnTo>
                  <a:pt x="34928" y="38624"/>
                </a:lnTo>
                <a:cubicBezTo>
                  <a:pt x="33309" y="40243"/>
                  <a:pt x="33054" y="42772"/>
                  <a:pt x="34328" y="44683"/>
                </a:cubicBezTo>
                <a:lnTo>
                  <a:pt x="38567" y="51032"/>
                </a:lnTo>
                <a:cubicBezTo>
                  <a:pt x="38203" y="51887"/>
                  <a:pt x="37912" y="52779"/>
                  <a:pt x="37658" y="53707"/>
                </a:cubicBezTo>
                <a:cubicBezTo>
                  <a:pt x="37421" y="54635"/>
                  <a:pt x="37239" y="55545"/>
                  <a:pt x="37112" y="56472"/>
                </a:cubicBezTo>
                <a:lnTo>
                  <a:pt x="30253" y="59857"/>
                </a:lnTo>
                <a:cubicBezTo>
                  <a:pt x="28197" y="60875"/>
                  <a:pt x="27159" y="63204"/>
                  <a:pt x="27742" y="65406"/>
                </a:cubicBezTo>
                <a:lnTo>
                  <a:pt x="29015" y="70173"/>
                </a:lnTo>
                <a:cubicBezTo>
                  <a:pt x="29616" y="72374"/>
                  <a:pt x="31690" y="73866"/>
                  <a:pt x="33964" y="73721"/>
                </a:cubicBezTo>
                <a:lnTo>
                  <a:pt x="41606" y="73229"/>
                </a:lnTo>
                <a:cubicBezTo>
                  <a:pt x="42752" y="74721"/>
                  <a:pt x="44080" y="76068"/>
                  <a:pt x="45590" y="77232"/>
                </a:cubicBezTo>
                <a:lnTo>
                  <a:pt x="45099" y="84856"/>
                </a:lnTo>
                <a:cubicBezTo>
                  <a:pt x="44954" y="87130"/>
                  <a:pt x="46427" y="89204"/>
                  <a:pt x="48647" y="89805"/>
                </a:cubicBezTo>
                <a:lnTo>
                  <a:pt x="53414" y="91078"/>
                </a:lnTo>
                <a:cubicBezTo>
                  <a:pt x="55615" y="91660"/>
                  <a:pt x="57944" y="90623"/>
                  <a:pt x="58963" y="88567"/>
                </a:cubicBezTo>
                <a:lnTo>
                  <a:pt x="62347" y="81726"/>
                </a:lnTo>
                <a:cubicBezTo>
                  <a:pt x="64221" y="81472"/>
                  <a:pt x="66059" y="80962"/>
                  <a:pt x="67788" y="80253"/>
                </a:cubicBezTo>
                <a:lnTo>
                  <a:pt x="74156" y="84492"/>
                </a:lnTo>
                <a:cubicBezTo>
                  <a:pt x="76066" y="85765"/>
                  <a:pt x="78595" y="85511"/>
                  <a:pt x="80214" y="83891"/>
                </a:cubicBezTo>
                <a:lnTo>
                  <a:pt x="83708" y="80398"/>
                </a:lnTo>
                <a:cubicBezTo>
                  <a:pt x="85327" y="78779"/>
                  <a:pt x="85582" y="76250"/>
                  <a:pt x="84308" y="74339"/>
                </a:cubicBezTo>
                <a:lnTo>
                  <a:pt x="80069" y="67971"/>
                </a:lnTo>
                <a:cubicBezTo>
                  <a:pt x="80414" y="67116"/>
                  <a:pt x="80742" y="66206"/>
                  <a:pt x="80978" y="65297"/>
                </a:cubicBezTo>
                <a:cubicBezTo>
                  <a:pt x="81215" y="64387"/>
                  <a:pt x="81397" y="63459"/>
                  <a:pt x="81524" y="62531"/>
                </a:cubicBezTo>
                <a:lnTo>
                  <a:pt x="88384" y="59147"/>
                </a:lnTo>
                <a:cubicBezTo>
                  <a:pt x="90439" y="58128"/>
                  <a:pt x="91477" y="55799"/>
                  <a:pt x="90894" y="53598"/>
                </a:cubicBezTo>
                <a:lnTo>
                  <a:pt x="89621" y="48831"/>
                </a:lnTo>
                <a:cubicBezTo>
                  <a:pt x="89020" y="46629"/>
                  <a:pt x="86946" y="45137"/>
                  <a:pt x="84672" y="45283"/>
                </a:cubicBezTo>
                <a:lnTo>
                  <a:pt x="77030" y="45774"/>
                </a:lnTo>
                <a:cubicBezTo>
                  <a:pt x="75884" y="44282"/>
                  <a:pt x="74556" y="42936"/>
                  <a:pt x="73046" y="41771"/>
                </a:cubicBezTo>
                <a:lnTo>
                  <a:pt x="73537" y="34166"/>
                </a:lnTo>
                <a:cubicBezTo>
                  <a:pt x="73682" y="31892"/>
                  <a:pt x="72191" y="29818"/>
                  <a:pt x="69989" y="29217"/>
                </a:cubicBezTo>
                <a:close/>
                <a:moveTo>
                  <a:pt x="82526" y="0"/>
                </a:moveTo>
                <a:cubicBezTo>
                  <a:pt x="128103" y="0"/>
                  <a:pt x="165051" y="37071"/>
                  <a:pt x="165051" y="82800"/>
                </a:cubicBezTo>
                <a:cubicBezTo>
                  <a:pt x="165051" y="128529"/>
                  <a:pt x="128103" y="165600"/>
                  <a:pt x="82526" y="165600"/>
                </a:cubicBezTo>
                <a:cubicBezTo>
                  <a:pt x="36948" y="165600"/>
                  <a:pt x="0" y="128529"/>
                  <a:pt x="0" y="82800"/>
                </a:cubicBezTo>
                <a:cubicBezTo>
                  <a:pt x="0" y="37071"/>
                  <a:pt x="36948" y="0"/>
                  <a:pt x="82526" y="0"/>
                </a:cubicBezTo>
                <a:close/>
              </a:path>
            </a:pathLst>
          </a:custGeom>
          <a:solidFill>
            <a:srgbClr val="FFC000"/>
          </a:solidFill>
          <a:ln w="179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9947D394-77D1-B40D-D86A-03F4F71CE96A}"/>
              </a:ext>
            </a:extLst>
          </p:cNvPr>
          <p:cNvSpPr txBox="1"/>
          <p:nvPr/>
        </p:nvSpPr>
        <p:spPr>
          <a:xfrm>
            <a:off x="6867591" y="1964647"/>
            <a:ext cx="1332363" cy="410369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marL="5954" indent="1191" algn="ctr" defTabSz="685739">
              <a:lnSpc>
                <a:spcPct val="150000"/>
              </a:lnSpc>
            </a:pPr>
            <a:r>
              <a:rPr lang="es-AR" sz="1600" spc="-8">
                <a:solidFill>
                  <a:schemeClr val="bg2"/>
                </a:solidFill>
                <a:latin typeface="Pulso" pitchFamily="2" charset="0"/>
              </a:rPr>
              <a:t>Plataformas</a:t>
            </a:r>
          </a:p>
        </p:txBody>
      </p:sp>
      <p:sp>
        <p:nvSpPr>
          <p:cNvPr id="25" name="Forma libre 67">
            <a:extLst>
              <a:ext uri="{FF2B5EF4-FFF2-40B4-BE49-F238E27FC236}">
                <a16:creationId xmlns:a16="http://schemas.microsoft.com/office/drawing/2014/main" id="{A804A5FE-2112-7D09-D4D0-412F5A70BB5D}"/>
              </a:ext>
            </a:extLst>
          </p:cNvPr>
          <p:cNvSpPr/>
          <p:nvPr/>
        </p:nvSpPr>
        <p:spPr>
          <a:xfrm>
            <a:off x="3657226" y="3244480"/>
            <a:ext cx="162047" cy="162586"/>
          </a:xfrm>
          <a:custGeom>
            <a:avLst/>
            <a:gdLst>
              <a:gd name="connsiteX0" fmla="*/ 68948 w 165051"/>
              <a:gd name="connsiteY0" fmla="*/ 109953 h 165600"/>
              <a:gd name="connsiteX1" fmla="*/ 62159 w 165051"/>
              <a:gd name="connsiteY1" fmla="*/ 116742 h 165600"/>
              <a:gd name="connsiteX2" fmla="*/ 68948 w 165051"/>
              <a:gd name="connsiteY2" fmla="*/ 123530 h 165600"/>
              <a:gd name="connsiteX3" fmla="*/ 130044 w 165051"/>
              <a:gd name="connsiteY3" fmla="*/ 123530 h 165600"/>
              <a:gd name="connsiteX4" fmla="*/ 136833 w 165051"/>
              <a:gd name="connsiteY4" fmla="*/ 116742 h 165600"/>
              <a:gd name="connsiteX5" fmla="*/ 130044 w 165051"/>
              <a:gd name="connsiteY5" fmla="*/ 109953 h 165600"/>
              <a:gd name="connsiteX6" fmla="*/ 41794 w 165051"/>
              <a:gd name="connsiteY6" fmla="*/ 108256 h 165600"/>
              <a:gd name="connsiteX7" fmla="*/ 33308 w 165051"/>
              <a:gd name="connsiteY7" fmla="*/ 116742 h 165600"/>
              <a:gd name="connsiteX8" fmla="*/ 41794 w 165051"/>
              <a:gd name="connsiteY8" fmla="*/ 125227 h 165600"/>
              <a:gd name="connsiteX9" fmla="*/ 50279 w 165051"/>
              <a:gd name="connsiteY9" fmla="*/ 116742 h 165600"/>
              <a:gd name="connsiteX10" fmla="*/ 41794 w 165051"/>
              <a:gd name="connsiteY10" fmla="*/ 108256 h 165600"/>
              <a:gd name="connsiteX11" fmla="*/ 82525 w 165051"/>
              <a:gd name="connsiteY11" fmla="*/ 76011 h 165600"/>
              <a:gd name="connsiteX12" fmla="*/ 75736 w 165051"/>
              <a:gd name="connsiteY12" fmla="*/ 82799 h 165600"/>
              <a:gd name="connsiteX13" fmla="*/ 82525 w 165051"/>
              <a:gd name="connsiteY13" fmla="*/ 89588 h 165600"/>
              <a:gd name="connsiteX14" fmla="*/ 130044 w 165051"/>
              <a:gd name="connsiteY14" fmla="*/ 89588 h 165600"/>
              <a:gd name="connsiteX15" fmla="*/ 136833 w 165051"/>
              <a:gd name="connsiteY15" fmla="*/ 82799 h 165600"/>
              <a:gd name="connsiteX16" fmla="*/ 130044 w 165051"/>
              <a:gd name="connsiteY16" fmla="*/ 76011 h 165600"/>
              <a:gd name="connsiteX17" fmla="*/ 56601 w 165051"/>
              <a:gd name="connsiteY17" fmla="*/ 70134 h 165600"/>
              <a:gd name="connsiteX18" fmla="*/ 56580 w 165051"/>
              <a:gd name="connsiteY18" fmla="*/ 70156 h 165600"/>
              <a:gd name="connsiteX19" fmla="*/ 49494 w 165051"/>
              <a:gd name="connsiteY19" fmla="*/ 71407 h 165600"/>
              <a:gd name="connsiteX20" fmla="*/ 41094 w 165051"/>
              <a:gd name="connsiteY20" fmla="*/ 83414 h 165600"/>
              <a:gd name="connsiteX21" fmla="*/ 36893 w 165051"/>
              <a:gd name="connsiteY21" fmla="*/ 79214 h 165600"/>
              <a:gd name="connsiteX22" fmla="*/ 29702 w 165051"/>
              <a:gd name="connsiteY22" fmla="*/ 79214 h 165600"/>
              <a:gd name="connsiteX23" fmla="*/ 29702 w 165051"/>
              <a:gd name="connsiteY23" fmla="*/ 86406 h 165600"/>
              <a:gd name="connsiteX24" fmla="*/ 38187 w 165051"/>
              <a:gd name="connsiteY24" fmla="*/ 94891 h 165600"/>
              <a:gd name="connsiteX25" fmla="*/ 42239 w 165051"/>
              <a:gd name="connsiteY25" fmla="*/ 96334 h 165600"/>
              <a:gd name="connsiteX26" fmla="*/ 45973 w 165051"/>
              <a:gd name="connsiteY26" fmla="*/ 94191 h 165600"/>
              <a:gd name="connsiteX27" fmla="*/ 57853 w 165051"/>
              <a:gd name="connsiteY27" fmla="*/ 77220 h 165600"/>
              <a:gd name="connsiteX28" fmla="*/ 56601 w 165051"/>
              <a:gd name="connsiteY28" fmla="*/ 70134 h 165600"/>
              <a:gd name="connsiteX29" fmla="*/ 82525 w 165051"/>
              <a:gd name="connsiteY29" fmla="*/ 42068 h 165600"/>
              <a:gd name="connsiteX30" fmla="*/ 75736 w 165051"/>
              <a:gd name="connsiteY30" fmla="*/ 48857 h 165600"/>
              <a:gd name="connsiteX31" fmla="*/ 82525 w 165051"/>
              <a:gd name="connsiteY31" fmla="*/ 55645 h 165600"/>
              <a:gd name="connsiteX32" fmla="*/ 130044 w 165051"/>
              <a:gd name="connsiteY32" fmla="*/ 55645 h 165600"/>
              <a:gd name="connsiteX33" fmla="*/ 136833 w 165051"/>
              <a:gd name="connsiteY33" fmla="*/ 48857 h 165600"/>
              <a:gd name="connsiteX34" fmla="*/ 130044 w 165051"/>
              <a:gd name="connsiteY34" fmla="*/ 42068 h 165600"/>
              <a:gd name="connsiteX35" fmla="*/ 56601 w 165051"/>
              <a:gd name="connsiteY35" fmla="*/ 36192 h 165600"/>
              <a:gd name="connsiteX36" fmla="*/ 49516 w 165051"/>
              <a:gd name="connsiteY36" fmla="*/ 37444 h 165600"/>
              <a:gd name="connsiteX37" fmla="*/ 41115 w 165051"/>
              <a:gd name="connsiteY37" fmla="*/ 49451 h 165600"/>
              <a:gd name="connsiteX38" fmla="*/ 36914 w 165051"/>
              <a:gd name="connsiteY38" fmla="*/ 45250 h 165600"/>
              <a:gd name="connsiteX39" fmla="*/ 29702 w 165051"/>
              <a:gd name="connsiteY39" fmla="*/ 45250 h 165600"/>
              <a:gd name="connsiteX40" fmla="*/ 29702 w 165051"/>
              <a:gd name="connsiteY40" fmla="*/ 52463 h 165600"/>
              <a:gd name="connsiteX41" fmla="*/ 38187 w 165051"/>
              <a:gd name="connsiteY41" fmla="*/ 60949 h 165600"/>
              <a:gd name="connsiteX42" fmla="*/ 42239 w 165051"/>
              <a:gd name="connsiteY42" fmla="*/ 62391 h 165600"/>
              <a:gd name="connsiteX43" fmla="*/ 45973 w 165051"/>
              <a:gd name="connsiteY43" fmla="*/ 60249 h 165600"/>
              <a:gd name="connsiteX44" fmla="*/ 57853 w 165051"/>
              <a:gd name="connsiteY44" fmla="*/ 43277 h 165600"/>
              <a:gd name="connsiteX45" fmla="*/ 56601 w 165051"/>
              <a:gd name="connsiteY45" fmla="*/ 36192 h 165600"/>
              <a:gd name="connsiteX46" fmla="*/ 82526 w 165051"/>
              <a:gd name="connsiteY46" fmla="*/ 0 h 165600"/>
              <a:gd name="connsiteX47" fmla="*/ 165051 w 165051"/>
              <a:gd name="connsiteY47" fmla="*/ 82800 h 165600"/>
              <a:gd name="connsiteX48" fmla="*/ 82526 w 165051"/>
              <a:gd name="connsiteY48" fmla="*/ 165600 h 165600"/>
              <a:gd name="connsiteX49" fmla="*/ 0 w 165051"/>
              <a:gd name="connsiteY49" fmla="*/ 82800 h 165600"/>
              <a:gd name="connsiteX50" fmla="*/ 82526 w 165051"/>
              <a:gd name="connsiteY50" fmla="*/ 0 h 16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165051" h="165600">
                <a:moveTo>
                  <a:pt x="68948" y="109953"/>
                </a:moveTo>
                <a:cubicBezTo>
                  <a:pt x="65193" y="109953"/>
                  <a:pt x="62159" y="112987"/>
                  <a:pt x="62159" y="116742"/>
                </a:cubicBezTo>
                <a:cubicBezTo>
                  <a:pt x="62159" y="120497"/>
                  <a:pt x="65193" y="123530"/>
                  <a:pt x="68948" y="123530"/>
                </a:cubicBezTo>
                <a:lnTo>
                  <a:pt x="130044" y="123530"/>
                </a:lnTo>
                <a:cubicBezTo>
                  <a:pt x="133799" y="123530"/>
                  <a:pt x="136833" y="120497"/>
                  <a:pt x="136833" y="116742"/>
                </a:cubicBezTo>
                <a:cubicBezTo>
                  <a:pt x="136833" y="112987"/>
                  <a:pt x="133799" y="109953"/>
                  <a:pt x="130044" y="109953"/>
                </a:cubicBezTo>
                <a:close/>
                <a:moveTo>
                  <a:pt x="41794" y="108256"/>
                </a:moveTo>
                <a:cubicBezTo>
                  <a:pt x="37105" y="108256"/>
                  <a:pt x="33308" y="112053"/>
                  <a:pt x="33308" y="116742"/>
                </a:cubicBezTo>
                <a:cubicBezTo>
                  <a:pt x="33308" y="121430"/>
                  <a:pt x="37105" y="125227"/>
                  <a:pt x="41794" y="125227"/>
                </a:cubicBezTo>
                <a:cubicBezTo>
                  <a:pt x="46482" y="125227"/>
                  <a:pt x="50279" y="121430"/>
                  <a:pt x="50279" y="116742"/>
                </a:cubicBezTo>
                <a:cubicBezTo>
                  <a:pt x="50279" y="112053"/>
                  <a:pt x="46482" y="108256"/>
                  <a:pt x="41794" y="108256"/>
                </a:cubicBezTo>
                <a:close/>
                <a:moveTo>
                  <a:pt x="82525" y="76011"/>
                </a:moveTo>
                <a:cubicBezTo>
                  <a:pt x="78770" y="76011"/>
                  <a:pt x="75736" y="79044"/>
                  <a:pt x="75736" y="82799"/>
                </a:cubicBezTo>
                <a:cubicBezTo>
                  <a:pt x="75736" y="86554"/>
                  <a:pt x="78770" y="89588"/>
                  <a:pt x="82525" y="89588"/>
                </a:cubicBezTo>
                <a:lnTo>
                  <a:pt x="130044" y="89588"/>
                </a:lnTo>
                <a:cubicBezTo>
                  <a:pt x="133799" y="89588"/>
                  <a:pt x="136833" y="86554"/>
                  <a:pt x="136833" y="82799"/>
                </a:cubicBezTo>
                <a:cubicBezTo>
                  <a:pt x="136833" y="79044"/>
                  <a:pt x="133799" y="76011"/>
                  <a:pt x="130044" y="76011"/>
                </a:cubicBezTo>
                <a:close/>
                <a:moveTo>
                  <a:pt x="56601" y="70134"/>
                </a:moveTo>
                <a:lnTo>
                  <a:pt x="56580" y="70156"/>
                </a:lnTo>
                <a:cubicBezTo>
                  <a:pt x="54289" y="68543"/>
                  <a:pt x="51107" y="69095"/>
                  <a:pt x="49494" y="71407"/>
                </a:cubicBezTo>
                <a:lnTo>
                  <a:pt x="41094" y="83414"/>
                </a:lnTo>
                <a:lnTo>
                  <a:pt x="36893" y="79214"/>
                </a:lnTo>
                <a:cubicBezTo>
                  <a:pt x="34920" y="77220"/>
                  <a:pt x="31696" y="77241"/>
                  <a:pt x="29702" y="79214"/>
                </a:cubicBezTo>
                <a:cubicBezTo>
                  <a:pt x="27707" y="81187"/>
                  <a:pt x="27707" y="84412"/>
                  <a:pt x="29702" y="86406"/>
                </a:cubicBezTo>
                <a:lnTo>
                  <a:pt x="38187" y="94891"/>
                </a:lnTo>
                <a:cubicBezTo>
                  <a:pt x="39248" y="95952"/>
                  <a:pt x="40733" y="96461"/>
                  <a:pt x="42239" y="96334"/>
                </a:cubicBezTo>
                <a:cubicBezTo>
                  <a:pt x="43745" y="96207"/>
                  <a:pt x="45103" y="95422"/>
                  <a:pt x="45973" y="94191"/>
                </a:cubicBezTo>
                <a:lnTo>
                  <a:pt x="57853" y="77220"/>
                </a:lnTo>
                <a:cubicBezTo>
                  <a:pt x="59465" y="74929"/>
                  <a:pt x="58913" y="71747"/>
                  <a:pt x="56601" y="70134"/>
                </a:cubicBezTo>
                <a:close/>
                <a:moveTo>
                  <a:pt x="82525" y="42068"/>
                </a:moveTo>
                <a:cubicBezTo>
                  <a:pt x="78770" y="42068"/>
                  <a:pt x="75736" y="45102"/>
                  <a:pt x="75736" y="48857"/>
                </a:cubicBezTo>
                <a:cubicBezTo>
                  <a:pt x="75736" y="52612"/>
                  <a:pt x="78770" y="55645"/>
                  <a:pt x="82525" y="55645"/>
                </a:cubicBezTo>
                <a:lnTo>
                  <a:pt x="130044" y="55645"/>
                </a:lnTo>
                <a:cubicBezTo>
                  <a:pt x="133799" y="55645"/>
                  <a:pt x="136833" y="52612"/>
                  <a:pt x="136833" y="48857"/>
                </a:cubicBezTo>
                <a:cubicBezTo>
                  <a:pt x="136833" y="45102"/>
                  <a:pt x="133799" y="42068"/>
                  <a:pt x="130044" y="42068"/>
                </a:cubicBezTo>
                <a:close/>
                <a:moveTo>
                  <a:pt x="56601" y="36192"/>
                </a:moveTo>
                <a:cubicBezTo>
                  <a:pt x="54310" y="34580"/>
                  <a:pt x="51128" y="35131"/>
                  <a:pt x="49516" y="37444"/>
                </a:cubicBezTo>
                <a:lnTo>
                  <a:pt x="41115" y="49451"/>
                </a:lnTo>
                <a:lnTo>
                  <a:pt x="36914" y="45250"/>
                </a:lnTo>
                <a:cubicBezTo>
                  <a:pt x="34920" y="43277"/>
                  <a:pt x="31675" y="43256"/>
                  <a:pt x="29702" y="45250"/>
                </a:cubicBezTo>
                <a:cubicBezTo>
                  <a:pt x="27729" y="47245"/>
                  <a:pt x="27729" y="50469"/>
                  <a:pt x="29702" y="52463"/>
                </a:cubicBezTo>
                <a:lnTo>
                  <a:pt x="38187" y="60949"/>
                </a:lnTo>
                <a:cubicBezTo>
                  <a:pt x="39248" y="62009"/>
                  <a:pt x="40733" y="62519"/>
                  <a:pt x="42239" y="62391"/>
                </a:cubicBezTo>
                <a:cubicBezTo>
                  <a:pt x="43745" y="62264"/>
                  <a:pt x="45103" y="61479"/>
                  <a:pt x="45973" y="60249"/>
                </a:cubicBezTo>
                <a:lnTo>
                  <a:pt x="57853" y="43277"/>
                </a:lnTo>
                <a:cubicBezTo>
                  <a:pt x="59465" y="40986"/>
                  <a:pt x="58913" y="37804"/>
                  <a:pt x="56601" y="36192"/>
                </a:cubicBezTo>
                <a:close/>
                <a:moveTo>
                  <a:pt x="82526" y="0"/>
                </a:moveTo>
                <a:cubicBezTo>
                  <a:pt x="128103" y="0"/>
                  <a:pt x="165051" y="37071"/>
                  <a:pt x="165051" y="82800"/>
                </a:cubicBezTo>
                <a:cubicBezTo>
                  <a:pt x="165051" y="128529"/>
                  <a:pt x="128103" y="165600"/>
                  <a:pt x="82526" y="165600"/>
                </a:cubicBezTo>
                <a:cubicBezTo>
                  <a:pt x="36948" y="165600"/>
                  <a:pt x="0" y="128529"/>
                  <a:pt x="0" y="82800"/>
                </a:cubicBezTo>
                <a:cubicBezTo>
                  <a:pt x="0" y="37071"/>
                  <a:pt x="36948" y="0"/>
                  <a:pt x="82526" y="0"/>
                </a:cubicBezTo>
                <a:close/>
              </a:path>
            </a:pathLst>
          </a:custGeom>
          <a:solidFill>
            <a:schemeClr val="accent1"/>
          </a:solidFill>
          <a:ln w="208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pic>
        <p:nvPicPr>
          <p:cNvPr id="2050" name="Picture 2" descr="Movistar condenada a $ 500.000 de daño punitivo por mandar a Veraz ...">
            <a:extLst>
              <a:ext uri="{FF2B5EF4-FFF2-40B4-BE49-F238E27FC236}">
                <a16:creationId xmlns:a16="http://schemas.microsoft.com/office/drawing/2014/main" id="{4311B1B6-5A97-2D7E-8E0C-1E076A5459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514"/>
          <a:stretch>
            <a:fillRect/>
          </a:stretch>
        </p:blipFill>
        <p:spPr bwMode="auto">
          <a:xfrm>
            <a:off x="4859111" y="1449746"/>
            <a:ext cx="264043" cy="197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0598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848E751B-A657-168F-7EE0-82A40F94F01D}"/>
              </a:ext>
            </a:extLst>
          </p:cNvPr>
          <p:cNvSpPr>
            <a:spLocks/>
          </p:cNvSpPr>
          <p:nvPr/>
        </p:nvSpPr>
        <p:spPr>
          <a:xfrm>
            <a:off x="4669865" y="1561951"/>
            <a:ext cx="3992088" cy="2953937"/>
          </a:xfrm>
          <a:prstGeom prst="roundRect">
            <a:avLst>
              <a:gd name="adj" fmla="val 2809"/>
            </a:avLst>
          </a:prstGeom>
          <a:solidFill>
            <a:srgbClr val="FFFFFF"/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Rectángulo redondeado 16">
            <a:extLst>
              <a:ext uri="{FF2B5EF4-FFF2-40B4-BE49-F238E27FC236}">
                <a16:creationId xmlns:a16="http://schemas.microsoft.com/office/drawing/2014/main" id="{3B4FE437-855F-7F0A-C2BD-50ADD3226D04}"/>
              </a:ext>
            </a:extLst>
          </p:cNvPr>
          <p:cNvSpPr>
            <a:spLocks/>
          </p:cNvSpPr>
          <p:nvPr/>
        </p:nvSpPr>
        <p:spPr>
          <a:xfrm>
            <a:off x="540657" y="1561951"/>
            <a:ext cx="4013877" cy="2953937"/>
          </a:xfrm>
          <a:prstGeom prst="roundRect">
            <a:avLst>
              <a:gd name="adj" fmla="val 3012"/>
            </a:avLst>
          </a:prstGeom>
          <a:solidFill>
            <a:srgbClr val="FFFFFF"/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E6BE06D-C57F-E917-2E19-1381A7AF8C0B}"/>
              </a:ext>
            </a:extLst>
          </p:cNvPr>
          <p:cNvSpPr txBox="1">
            <a:spLocks/>
          </p:cNvSpPr>
          <p:nvPr/>
        </p:nvSpPr>
        <p:spPr>
          <a:xfrm>
            <a:off x="726902" y="1707960"/>
            <a:ext cx="3698108" cy="169277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100" b="0" spc="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 Light" pitchFamily="2" charset="0"/>
              </a:rPr>
              <a:t>Firma </a:t>
            </a:r>
            <a:r>
              <a:rPr lang="es-ES_tradnl" sz="1100" spc="0" noProof="0">
                <a:solidFill>
                  <a:schemeClr val="tx2">
                    <a:lumMod val="75000"/>
                    <a:lumOff val="25000"/>
                  </a:schemeClr>
                </a:solidFill>
              </a:rPr>
              <a:t>acuerdos particulares </a:t>
            </a:r>
            <a:r>
              <a:rPr lang="es-ES_tradnl" sz="1100" b="0" spc="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 Light" pitchFamily="2" charset="0"/>
              </a:rPr>
              <a:t>con los principales </a:t>
            </a:r>
            <a:r>
              <a:rPr lang="es-ES_tradnl" sz="1100" b="0" spc="0" noProof="0" err="1">
                <a:solidFill>
                  <a:schemeClr val="tx2">
                    <a:lumMod val="75000"/>
                    <a:lumOff val="25000"/>
                  </a:schemeClr>
                </a:solidFill>
                <a:latin typeface="Pulso Light" pitchFamily="2" charset="0"/>
              </a:rPr>
              <a:t>partners</a:t>
            </a:r>
            <a:endParaRPr lang="es-ES_tradnl" sz="1100" b="0" spc="0" noProof="0">
              <a:solidFill>
                <a:schemeClr val="tx2">
                  <a:lumMod val="75000"/>
                  <a:lumOff val="25000"/>
                </a:schemeClr>
              </a:solidFill>
              <a:latin typeface="Pulso Light" pitchFamily="2" charset="0"/>
            </a:endParaRPr>
          </a:p>
        </p:txBody>
      </p:sp>
      <p:grpSp>
        <p:nvGrpSpPr>
          <p:cNvPr id="75" name="Grupo 74">
            <a:extLst>
              <a:ext uri="{FF2B5EF4-FFF2-40B4-BE49-F238E27FC236}">
                <a16:creationId xmlns:a16="http://schemas.microsoft.com/office/drawing/2014/main" id="{C835AB11-BB24-85B7-CF62-84A21485BF66}"/>
              </a:ext>
            </a:extLst>
          </p:cNvPr>
          <p:cNvGrpSpPr/>
          <p:nvPr/>
        </p:nvGrpSpPr>
        <p:grpSpPr>
          <a:xfrm>
            <a:off x="726901" y="2127728"/>
            <a:ext cx="2796596" cy="236930"/>
            <a:chOff x="841843" y="3190295"/>
            <a:chExt cx="3661847" cy="310238"/>
          </a:xfrm>
        </p:grpSpPr>
        <p:sp>
          <p:nvSpPr>
            <p:cNvPr id="35" name="Forma libre 34">
              <a:extLst>
                <a:ext uri="{FF2B5EF4-FFF2-40B4-BE49-F238E27FC236}">
                  <a16:creationId xmlns:a16="http://schemas.microsoft.com/office/drawing/2014/main" id="{B83187E5-3FE4-AA61-9099-6C02B9BD43D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626838" y="3295033"/>
              <a:ext cx="900000" cy="100762"/>
            </a:xfrm>
            <a:custGeom>
              <a:avLst/>
              <a:gdLst>
                <a:gd name="connsiteX0" fmla="*/ 432822 w 7773916"/>
                <a:gd name="connsiteY0" fmla="*/ 227203 h 870347"/>
                <a:gd name="connsiteX1" fmla="*/ 317708 w 7773916"/>
                <a:gd name="connsiteY1" fmla="*/ 522929 h 870347"/>
                <a:gd name="connsiteX2" fmla="*/ 547939 w 7773916"/>
                <a:gd name="connsiteY2" fmla="*/ 522929 h 870347"/>
                <a:gd name="connsiteX3" fmla="*/ 5815962 w 7773916"/>
                <a:gd name="connsiteY3" fmla="*/ 176713 h 870347"/>
                <a:gd name="connsiteX4" fmla="*/ 5815962 w 7773916"/>
                <a:gd name="connsiteY4" fmla="*/ 388289 h 870347"/>
                <a:gd name="connsiteX5" fmla="*/ 6039001 w 7773916"/>
                <a:gd name="connsiteY5" fmla="*/ 388289 h 870347"/>
                <a:gd name="connsiteX6" fmla="*/ 6175238 w 7773916"/>
                <a:gd name="connsiteY6" fmla="*/ 282501 h 870347"/>
                <a:gd name="connsiteX7" fmla="*/ 6039001 w 7773916"/>
                <a:gd name="connsiteY7" fmla="*/ 176713 h 870347"/>
                <a:gd name="connsiteX8" fmla="*/ 3958086 w 7773916"/>
                <a:gd name="connsiteY8" fmla="*/ 176709 h 870347"/>
                <a:gd name="connsiteX9" fmla="*/ 3958086 w 7773916"/>
                <a:gd name="connsiteY9" fmla="*/ 364250 h 870347"/>
                <a:gd name="connsiteX10" fmla="*/ 4181125 w 7773916"/>
                <a:gd name="connsiteY10" fmla="*/ 364250 h 870347"/>
                <a:gd name="connsiteX11" fmla="*/ 4317362 w 7773916"/>
                <a:gd name="connsiteY11" fmla="*/ 270480 h 870347"/>
                <a:gd name="connsiteX12" fmla="*/ 4181125 w 7773916"/>
                <a:gd name="connsiteY12" fmla="*/ 176709 h 870347"/>
                <a:gd name="connsiteX13" fmla="*/ 5052803 w 7773916"/>
                <a:gd name="connsiteY13" fmla="*/ 168299 h 870347"/>
                <a:gd name="connsiteX14" fmla="*/ 4823730 w 7773916"/>
                <a:gd name="connsiteY14" fmla="*/ 436375 h 870347"/>
                <a:gd name="connsiteX15" fmla="*/ 5052803 w 7773916"/>
                <a:gd name="connsiteY15" fmla="*/ 702048 h 870347"/>
                <a:gd name="connsiteX16" fmla="*/ 5279455 w 7773916"/>
                <a:gd name="connsiteY16" fmla="*/ 436375 h 870347"/>
                <a:gd name="connsiteX17" fmla="*/ 5052803 w 7773916"/>
                <a:gd name="connsiteY17" fmla="*/ 168299 h 870347"/>
                <a:gd name="connsiteX18" fmla="*/ 6428426 w 7773916"/>
                <a:gd name="connsiteY18" fmla="*/ 14425 h 870347"/>
                <a:gd name="connsiteX19" fmla="*/ 6612884 w 7773916"/>
                <a:gd name="connsiteY19" fmla="*/ 14425 h 870347"/>
                <a:gd name="connsiteX20" fmla="*/ 6949253 w 7773916"/>
                <a:gd name="connsiteY20" fmla="*/ 855921 h 870347"/>
                <a:gd name="connsiteX21" fmla="*/ 6764795 w 7773916"/>
                <a:gd name="connsiteY21" fmla="*/ 855921 h 870347"/>
                <a:gd name="connsiteX22" fmla="*/ 5635117 w 7773916"/>
                <a:gd name="connsiteY22" fmla="*/ 14425 h 870347"/>
                <a:gd name="connsiteX23" fmla="*/ 6047441 w 7773916"/>
                <a:gd name="connsiteY23" fmla="*/ 14425 h 870347"/>
                <a:gd name="connsiteX24" fmla="*/ 6356083 w 7773916"/>
                <a:gd name="connsiteY24" fmla="*/ 282501 h 870347"/>
                <a:gd name="connsiteX25" fmla="*/ 6047441 w 7773916"/>
                <a:gd name="connsiteY25" fmla="*/ 550578 h 870347"/>
                <a:gd name="connsiteX26" fmla="*/ 5815962 w 7773916"/>
                <a:gd name="connsiteY26" fmla="*/ 550578 h 870347"/>
                <a:gd name="connsiteX27" fmla="*/ 5815962 w 7773916"/>
                <a:gd name="connsiteY27" fmla="*/ 855921 h 870347"/>
                <a:gd name="connsiteX28" fmla="*/ 5635117 w 7773916"/>
                <a:gd name="connsiteY28" fmla="*/ 855921 h 870347"/>
                <a:gd name="connsiteX29" fmla="*/ 3777241 w 7773916"/>
                <a:gd name="connsiteY29" fmla="*/ 14425 h 870347"/>
                <a:gd name="connsiteX30" fmla="*/ 4189566 w 7773916"/>
                <a:gd name="connsiteY30" fmla="*/ 14425 h 870347"/>
                <a:gd name="connsiteX31" fmla="*/ 4498207 w 7773916"/>
                <a:gd name="connsiteY31" fmla="*/ 270480 h 870347"/>
                <a:gd name="connsiteX32" fmla="*/ 4340148 w 7773916"/>
                <a:gd name="connsiteY32" fmla="*/ 501446 h 870347"/>
                <a:gd name="connsiteX33" fmla="*/ 4540409 w 7773916"/>
                <a:gd name="connsiteY33" fmla="*/ 855921 h 870347"/>
                <a:gd name="connsiteX34" fmla="*/ 4340270 w 7773916"/>
                <a:gd name="connsiteY34" fmla="*/ 855921 h 870347"/>
                <a:gd name="connsiteX35" fmla="*/ 4159417 w 7773916"/>
                <a:gd name="connsiteY35" fmla="*/ 526535 h 870347"/>
                <a:gd name="connsiteX36" fmla="*/ 3958086 w 7773916"/>
                <a:gd name="connsiteY36" fmla="*/ 526535 h 870347"/>
                <a:gd name="connsiteX37" fmla="*/ 3958086 w 7773916"/>
                <a:gd name="connsiteY37" fmla="*/ 855921 h 870347"/>
                <a:gd name="connsiteX38" fmla="*/ 3777241 w 7773916"/>
                <a:gd name="connsiteY38" fmla="*/ 855921 h 870347"/>
                <a:gd name="connsiteX39" fmla="*/ 2794655 w 7773916"/>
                <a:gd name="connsiteY39" fmla="*/ 14425 h 870347"/>
                <a:gd name="connsiteX40" fmla="*/ 2975500 w 7773916"/>
                <a:gd name="connsiteY40" fmla="*/ 14425 h 870347"/>
                <a:gd name="connsiteX41" fmla="*/ 2975500 w 7773916"/>
                <a:gd name="connsiteY41" fmla="*/ 349821 h 870347"/>
                <a:gd name="connsiteX42" fmla="*/ 3373358 w 7773916"/>
                <a:gd name="connsiteY42" fmla="*/ 349821 h 870347"/>
                <a:gd name="connsiteX43" fmla="*/ 3373358 w 7773916"/>
                <a:gd name="connsiteY43" fmla="*/ 14425 h 870347"/>
                <a:gd name="connsiteX44" fmla="*/ 3554203 w 7773916"/>
                <a:gd name="connsiteY44" fmla="*/ 14425 h 870347"/>
                <a:gd name="connsiteX45" fmla="*/ 3554203 w 7773916"/>
                <a:gd name="connsiteY45" fmla="*/ 855921 h 870347"/>
                <a:gd name="connsiteX46" fmla="*/ 3373358 w 7773916"/>
                <a:gd name="connsiteY46" fmla="*/ 855921 h 870347"/>
                <a:gd name="connsiteX47" fmla="*/ 3373358 w 7773916"/>
                <a:gd name="connsiteY47" fmla="*/ 512109 h 870347"/>
                <a:gd name="connsiteX48" fmla="*/ 2975500 w 7773916"/>
                <a:gd name="connsiteY48" fmla="*/ 512109 h 870347"/>
                <a:gd name="connsiteX49" fmla="*/ 2975500 w 7773916"/>
                <a:gd name="connsiteY49" fmla="*/ 855921 h 870347"/>
                <a:gd name="connsiteX50" fmla="*/ 2794655 w 7773916"/>
                <a:gd name="connsiteY50" fmla="*/ 855921 h 870347"/>
                <a:gd name="connsiteX51" fmla="*/ 1902484 w 7773916"/>
                <a:gd name="connsiteY51" fmla="*/ 14425 h 870347"/>
                <a:gd name="connsiteX52" fmla="*/ 2649978 w 7773916"/>
                <a:gd name="connsiteY52" fmla="*/ 14425 h 870347"/>
                <a:gd name="connsiteX53" fmla="*/ 2649978 w 7773916"/>
                <a:gd name="connsiteY53" fmla="*/ 176713 h 870347"/>
                <a:gd name="connsiteX54" fmla="*/ 2366650 w 7773916"/>
                <a:gd name="connsiteY54" fmla="*/ 176713 h 870347"/>
                <a:gd name="connsiteX55" fmla="*/ 2366650 w 7773916"/>
                <a:gd name="connsiteY55" fmla="*/ 855921 h 870347"/>
                <a:gd name="connsiteX56" fmla="*/ 2185811 w 7773916"/>
                <a:gd name="connsiteY56" fmla="*/ 855921 h 870347"/>
                <a:gd name="connsiteX57" fmla="*/ 2185811 w 7773916"/>
                <a:gd name="connsiteY57" fmla="*/ 176713 h 870347"/>
                <a:gd name="connsiteX58" fmla="*/ 1902484 w 7773916"/>
                <a:gd name="connsiteY58" fmla="*/ 176713 h 870347"/>
                <a:gd name="connsiteX59" fmla="*/ 998260 w 7773916"/>
                <a:gd name="connsiteY59" fmla="*/ 14425 h 870347"/>
                <a:gd name="connsiteX60" fmla="*/ 1203219 w 7773916"/>
                <a:gd name="connsiteY60" fmla="*/ 14425 h 870347"/>
                <a:gd name="connsiteX61" fmla="*/ 1582997 w 7773916"/>
                <a:gd name="connsiteY61" fmla="*/ 603472 h 870347"/>
                <a:gd name="connsiteX62" fmla="*/ 1582997 w 7773916"/>
                <a:gd name="connsiteY62" fmla="*/ 14425 h 870347"/>
                <a:gd name="connsiteX63" fmla="*/ 1757807 w 7773916"/>
                <a:gd name="connsiteY63" fmla="*/ 14425 h 870347"/>
                <a:gd name="connsiteX64" fmla="*/ 1757807 w 7773916"/>
                <a:gd name="connsiteY64" fmla="*/ 855921 h 870347"/>
                <a:gd name="connsiteX65" fmla="*/ 1552855 w 7773916"/>
                <a:gd name="connsiteY65" fmla="*/ 855921 h 870347"/>
                <a:gd name="connsiteX66" fmla="*/ 1173078 w 7773916"/>
                <a:gd name="connsiteY66" fmla="*/ 266873 h 870347"/>
                <a:gd name="connsiteX67" fmla="*/ 1173078 w 7773916"/>
                <a:gd name="connsiteY67" fmla="*/ 855921 h 870347"/>
                <a:gd name="connsiteX68" fmla="*/ 998260 w 7773916"/>
                <a:gd name="connsiteY68" fmla="*/ 855921 h 870347"/>
                <a:gd name="connsiteX69" fmla="*/ 336371 w 7773916"/>
                <a:gd name="connsiteY69" fmla="*/ 14425 h 870347"/>
                <a:gd name="connsiteX70" fmla="*/ 529271 w 7773916"/>
                <a:gd name="connsiteY70" fmla="*/ 14425 h 870347"/>
                <a:gd name="connsiteX71" fmla="*/ 865643 w 7773916"/>
                <a:gd name="connsiteY71" fmla="*/ 855921 h 870347"/>
                <a:gd name="connsiteX72" fmla="*/ 677565 w 7773916"/>
                <a:gd name="connsiteY72" fmla="*/ 855921 h 870347"/>
                <a:gd name="connsiteX73" fmla="*/ 608783 w 7773916"/>
                <a:gd name="connsiteY73" fmla="*/ 679207 h 870347"/>
                <a:gd name="connsiteX74" fmla="*/ 256872 w 7773916"/>
                <a:gd name="connsiteY74" fmla="*/ 679207 h 870347"/>
                <a:gd name="connsiteX75" fmla="*/ 188078 w 7773916"/>
                <a:gd name="connsiteY75" fmla="*/ 855921 h 870347"/>
                <a:gd name="connsiteX76" fmla="*/ 0 w 7773916"/>
                <a:gd name="connsiteY76" fmla="*/ 855921 h 870347"/>
                <a:gd name="connsiteX77" fmla="*/ 7401365 w 7773916"/>
                <a:gd name="connsiteY77" fmla="*/ 0 h 870347"/>
                <a:gd name="connsiteX78" fmla="*/ 7772703 w 7773916"/>
                <a:gd name="connsiteY78" fmla="*/ 296928 h 870347"/>
                <a:gd name="connsiteX79" fmla="*/ 7581011 w 7773916"/>
                <a:gd name="connsiteY79" fmla="*/ 296928 h 870347"/>
                <a:gd name="connsiteX80" fmla="*/ 7401365 w 7773916"/>
                <a:gd name="connsiteY80" fmla="*/ 168299 h 870347"/>
                <a:gd name="connsiteX81" fmla="*/ 7172300 w 7773916"/>
                <a:gd name="connsiteY81" fmla="*/ 436375 h 870347"/>
                <a:gd name="connsiteX82" fmla="*/ 7401365 w 7773916"/>
                <a:gd name="connsiteY82" fmla="*/ 702048 h 870347"/>
                <a:gd name="connsiteX83" fmla="*/ 7581011 w 7773916"/>
                <a:gd name="connsiteY83" fmla="*/ 573419 h 870347"/>
                <a:gd name="connsiteX84" fmla="*/ 7773916 w 7773916"/>
                <a:gd name="connsiteY84" fmla="*/ 573419 h 870347"/>
                <a:gd name="connsiteX85" fmla="*/ 7401365 w 7773916"/>
                <a:gd name="connsiteY85" fmla="*/ 870347 h 870347"/>
                <a:gd name="connsiteX86" fmla="*/ 6985428 w 7773916"/>
                <a:gd name="connsiteY86" fmla="*/ 436375 h 870347"/>
                <a:gd name="connsiteX87" fmla="*/ 7401365 w 7773916"/>
                <a:gd name="connsiteY87" fmla="*/ 0 h 870347"/>
                <a:gd name="connsiteX88" fmla="*/ 5052803 w 7773916"/>
                <a:gd name="connsiteY88" fmla="*/ 0 h 870347"/>
                <a:gd name="connsiteX89" fmla="*/ 5466334 w 7773916"/>
                <a:gd name="connsiteY89" fmla="*/ 436375 h 870347"/>
                <a:gd name="connsiteX90" fmla="*/ 5052803 w 7773916"/>
                <a:gd name="connsiteY90" fmla="*/ 870347 h 870347"/>
                <a:gd name="connsiteX91" fmla="*/ 4636858 w 7773916"/>
                <a:gd name="connsiteY91" fmla="*/ 436375 h 870347"/>
                <a:gd name="connsiteX92" fmla="*/ 5052803 w 7773916"/>
                <a:gd name="connsiteY92" fmla="*/ 0 h 870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7773916" h="870347">
                  <a:moveTo>
                    <a:pt x="432822" y="227203"/>
                  </a:moveTo>
                  <a:lnTo>
                    <a:pt x="317708" y="522929"/>
                  </a:lnTo>
                  <a:lnTo>
                    <a:pt x="547939" y="522929"/>
                  </a:lnTo>
                  <a:close/>
                  <a:moveTo>
                    <a:pt x="5815962" y="176713"/>
                  </a:moveTo>
                  <a:lnTo>
                    <a:pt x="5815962" y="388289"/>
                  </a:lnTo>
                  <a:lnTo>
                    <a:pt x="6039001" y="388289"/>
                  </a:lnTo>
                  <a:cubicBezTo>
                    <a:pt x="6128224" y="388289"/>
                    <a:pt x="6175238" y="352225"/>
                    <a:pt x="6175238" y="282501"/>
                  </a:cubicBezTo>
                  <a:cubicBezTo>
                    <a:pt x="6175238" y="212777"/>
                    <a:pt x="6128224" y="176713"/>
                    <a:pt x="6039001" y="176713"/>
                  </a:cubicBezTo>
                  <a:close/>
                  <a:moveTo>
                    <a:pt x="3958086" y="176709"/>
                  </a:moveTo>
                  <a:lnTo>
                    <a:pt x="3958086" y="364250"/>
                  </a:lnTo>
                  <a:lnTo>
                    <a:pt x="4181125" y="364250"/>
                  </a:lnTo>
                  <a:cubicBezTo>
                    <a:pt x="4270341" y="364250"/>
                    <a:pt x="4317362" y="331792"/>
                    <a:pt x="4317362" y="270480"/>
                  </a:cubicBezTo>
                  <a:cubicBezTo>
                    <a:pt x="4317362" y="209167"/>
                    <a:pt x="4270341" y="176709"/>
                    <a:pt x="4181125" y="176709"/>
                  </a:cubicBezTo>
                  <a:close/>
                  <a:moveTo>
                    <a:pt x="5052803" y="168299"/>
                  </a:moveTo>
                  <a:cubicBezTo>
                    <a:pt x="4910531" y="168299"/>
                    <a:pt x="4823730" y="269279"/>
                    <a:pt x="4823730" y="436375"/>
                  </a:cubicBezTo>
                  <a:cubicBezTo>
                    <a:pt x="4823730" y="601068"/>
                    <a:pt x="4910531" y="702048"/>
                    <a:pt x="5052803" y="702048"/>
                  </a:cubicBezTo>
                  <a:cubicBezTo>
                    <a:pt x="5193860" y="702048"/>
                    <a:pt x="5279455" y="601069"/>
                    <a:pt x="5279455" y="436375"/>
                  </a:cubicBezTo>
                  <a:cubicBezTo>
                    <a:pt x="5279455" y="269279"/>
                    <a:pt x="5193860" y="168299"/>
                    <a:pt x="5052803" y="168299"/>
                  </a:cubicBezTo>
                  <a:close/>
                  <a:moveTo>
                    <a:pt x="6428426" y="14425"/>
                  </a:moveTo>
                  <a:lnTo>
                    <a:pt x="6612884" y="14425"/>
                  </a:lnTo>
                  <a:lnTo>
                    <a:pt x="6949253" y="855921"/>
                  </a:lnTo>
                  <a:lnTo>
                    <a:pt x="6764795" y="855921"/>
                  </a:lnTo>
                  <a:close/>
                  <a:moveTo>
                    <a:pt x="5635117" y="14425"/>
                  </a:moveTo>
                  <a:lnTo>
                    <a:pt x="6047441" y="14425"/>
                  </a:lnTo>
                  <a:cubicBezTo>
                    <a:pt x="6239140" y="14425"/>
                    <a:pt x="6356083" y="115403"/>
                    <a:pt x="6356083" y="282501"/>
                  </a:cubicBezTo>
                  <a:cubicBezTo>
                    <a:pt x="6356083" y="449599"/>
                    <a:pt x="6239140" y="550578"/>
                    <a:pt x="6047441" y="550578"/>
                  </a:cubicBezTo>
                  <a:lnTo>
                    <a:pt x="5815962" y="550578"/>
                  </a:lnTo>
                  <a:lnTo>
                    <a:pt x="5815962" y="855921"/>
                  </a:lnTo>
                  <a:lnTo>
                    <a:pt x="5635117" y="855921"/>
                  </a:lnTo>
                  <a:close/>
                  <a:moveTo>
                    <a:pt x="3777241" y="14425"/>
                  </a:moveTo>
                  <a:lnTo>
                    <a:pt x="4189566" y="14425"/>
                  </a:lnTo>
                  <a:cubicBezTo>
                    <a:pt x="4381264" y="14425"/>
                    <a:pt x="4498207" y="111798"/>
                    <a:pt x="4498207" y="270480"/>
                  </a:cubicBezTo>
                  <a:cubicBezTo>
                    <a:pt x="4498207" y="381786"/>
                    <a:pt x="4440665" y="462918"/>
                    <a:pt x="4340148" y="501446"/>
                  </a:cubicBezTo>
                  <a:lnTo>
                    <a:pt x="4540409" y="855921"/>
                  </a:lnTo>
                  <a:lnTo>
                    <a:pt x="4340270" y="855921"/>
                  </a:lnTo>
                  <a:lnTo>
                    <a:pt x="4159417" y="526535"/>
                  </a:lnTo>
                  <a:lnTo>
                    <a:pt x="3958086" y="526535"/>
                  </a:lnTo>
                  <a:lnTo>
                    <a:pt x="3958086" y="855921"/>
                  </a:lnTo>
                  <a:lnTo>
                    <a:pt x="3777241" y="855921"/>
                  </a:lnTo>
                  <a:close/>
                  <a:moveTo>
                    <a:pt x="2794655" y="14425"/>
                  </a:moveTo>
                  <a:lnTo>
                    <a:pt x="2975500" y="14425"/>
                  </a:lnTo>
                  <a:lnTo>
                    <a:pt x="2975500" y="349821"/>
                  </a:lnTo>
                  <a:lnTo>
                    <a:pt x="3373358" y="349821"/>
                  </a:lnTo>
                  <a:lnTo>
                    <a:pt x="3373358" y="14425"/>
                  </a:lnTo>
                  <a:lnTo>
                    <a:pt x="3554203" y="14425"/>
                  </a:lnTo>
                  <a:lnTo>
                    <a:pt x="3554203" y="855921"/>
                  </a:lnTo>
                  <a:lnTo>
                    <a:pt x="3373358" y="855921"/>
                  </a:lnTo>
                  <a:lnTo>
                    <a:pt x="3373358" y="512109"/>
                  </a:lnTo>
                  <a:lnTo>
                    <a:pt x="2975500" y="512109"/>
                  </a:lnTo>
                  <a:lnTo>
                    <a:pt x="2975500" y="855921"/>
                  </a:lnTo>
                  <a:lnTo>
                    <a:pt x="2794655" y="855921"/>
                  </a:lnTo>
                  <a:close/>
                  <a:moveTo>
                    <a:pt x="1902484" y="14425"/>
                  </a:moveTo>
                  <a:lnTo>
                    <a:pt x="2649978" y="14425"/>
                  </a:lnTo>
                  <a:lnTo>
                    <a:pt x="2649978" y="176713"/>
                  </a:lnTo>
                  <a:lnTo>
                    <a:pt x="2366650" y="176713"/>
                  </a:lnTo>
                  <a:lnTo>
                    <a:pt x="2366650" y="855921"/>
                  </a:lnTo>
                  <a:lnTo>
                    <a:pt x="2185811" y="855921"/>
                  </a:lnTo>
                  <a:lnTo>
                    <a:pt x="2185811" y="176713"/>
                  </a:lnTo>
                  <a:lnTo>
                    <a:pt x="1902484" y="176713"/>
                  </a:lnTo>
                  <a:close/>
                  <a:moveTo>
                    <a:pt x="998260" y="14425"/>
                  </a:moveTo>
                  <a:lnTo>
                    <a:pt x="1203219" y="14425"/>
                  </a:lnTo>
                  <a:lnTo>
                    <a:pt x="1582997" y="603472"/>
                  </a:lnTo>
                  <a:lnTo>
                    <a:pt x="1582997" y="14425"/>
                  </a:lnTo>
                  <a:lnTo>
                    <a:pt x="1757807" y="14425"/>
                  </a:lnTo>
                  <a:lnTo>
                    <a:pt x="1757807" y="855921"/>
                  </a:lnTo>
                  <a:lnTo>
                    <a:pt x="1552855" y="855921"/>
                  </a:lnTo>
                  <a:lnTo>
                    <a:pt x="1173078" y="266873"/>
                  </a:lnTo>
                  <a:lnTo>
                    <a:pt x="1173078" y="855921"/>
                  </a:lnTo>
                  <a:lnTo>
                    <a:pt x="998260" y="855921"/>
                  </a:lnTo>
                  <a:close/>
                  <a:moveTo>
                    <a:pt x="336371" y="14425"/>
                  </a:moveTo>
                  <a:lnTo>
                    <a:pt x="529271" y="14425"/>
                  </a:lnTo>
                  <a:lnTo>
                    <a:pt x="865643" y="855921"/>
                  </a:lnTo>
                  <a:lnTo>
                    <a:pt x="677565" y="855921"/>
                  </a:lnTo>
                  <a:lnTo>
                    <a:pt x="608783" y="679207"/>
                  </a:lnTo>
                  <a:lnTo>
                    <a:pt x="256872" y="679207"/>
                  </a:lnTo>
                  <a:lnTo>
                    <a:pt x="188078" y="855921"/>
                  </a:lnTo>
                  <a:lnTo>
                    <a:pt x="0" y="855921"/>
                  </a:lnTo>
                  <a:close/>
                  <a:moveTo>
                    <a:pt x="7401365" y="0"/>
                  </a:moveTo>
                  <a:cubicBezTo>
                    <a:pt x="7584624" y="0"/>
                    <a:pt x="7725719" y="116608"/>
                    <a:pt x="7772703" y="296928"/>
                  </a:cubicBezTo>
                  <a:lnTo>
                    <a:pt x="7581011" y="296928"/>
                  </a:lnTo>
                  <a:cubicBezTo>
                    <a:pt x="7549664" y="215182"/>
                    <a:pt x="7486968" y="168299"/>
                    <a:pt x="7401365" y="168299"/>
                  </a:cubicBezTo>
                  <a:cubicBezTo>
                    <a:pt x="7259102" y="168299"/>
                    <a:pt x="7172300" y="269279"/>
                    <a:pt x="7172300" y="436375"/>
                  </a:cubicBezTo>
                  <a:cubicBezTo>
                    <a:pt x="7172300" y="601068"/>
                    <a:pt x="7259102" y="702048"/>
                    <a:pt x="7401365" y="702048"/>
                  </a:cubicBezTo>
                  <a:cubicBezTo>
                    <a:pt x="7486968" y="702048"/>
                    <a:pt x="7549664" y="655165"/>
                    <a:pt x="7581011" y="573419"/>
                  </a:cubicBezTo>
                  <a:lnTo>
                    <a:pt x="7773916" y="573419"/>
                  </a:lnTo>
                  <a:cubicBezTo>
                    <a:pt x="7726857" y="752538"/>
                    <a:pt x="7585831" y="870347"/>
                    <a:pt x="7401365" y="870347"/>
                  </a:cubicBezTo>
                  <a:cubicBezTo>
                    <a:pt x="7157833" y="870347"/>
                    <a:pt x="6985428" y="690026"/>
                    <a:pt x="6985428" y="436375"/>
                  </a:cubicBezTo>
                  <a:cubicBezTo>
                    <a:pt x="6985428" y="180321"/>
                    <a:pt x="7157833" y="0"/>
                    <a:pt x="7401365" y="0"/>
                  </a:cubicBezTo>
                  <a:close/>
                  <a:moveTo>
                    <a:pt x="5052803" y="0"/>
                  </a:moveTo>
                  <a:cubicBezTo>
                    <a:pt x="5295129" y="0"/>
                    <a:pt x="5466334" y="180321"/>
                    <a:pt x="5466334" y="436375"/>
                  </a:cubicBezTo>
                  <a:cubicBezTo>
                    <a:pt x="5466334" y="690026"/>
                    <a:pt x="5295129" y="870347"/>
                    <a:pt x="5052803" y="870347"/>
                  </a:cubicBezTo>
                  <a:cubicBezTo>
                    <a:pt x="4809263" y="870347"/>
                    <a:pt x="4636858" y="690026"/>
                    <a:pt x="4636858" y="436375"/>
                  </a:cubicBezTo>
                  <a:cubicBezTo>
                    <a:pt x="4636858" y="180321"/>
                    <a:pt x="4809263" y="0"/>
                    <a:pt x="5052803" y="0"/>
                  </a:cubicBezTo>
                  <a:close/>
                </a:path>
              </a:pathLst>
            </a:custGeom>
            <a:solidFill>
              <a:srgbClr val="1F1F1E"/>
            </a:solidFill>
            <a:ln w="75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es-ES_tradnl"/>
            </a:p>
          </p:txBody>
        </p:sp>
        <p:grpSp>
          <p:nvGrpSpPr>
            <p:cNvPr id="44" name="Grupo 43">
              <a:extLst>
                <a:ext uri="{FF2B5EF4-FFF2-40B4-BE49-F238E27FC236}">
                  <a16:creationId xmlns:a16="http://schemas.microsoft.com/office/drawing/2014/main" id="{28683869-B8CD-EF68-B9E7-6A3DF36C637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747692" y="3280243"/>
              <a:ext cx="755998" cy="130343"/>
              <a:chOff x="4017935" y="2476500"/>
              <a:chExt cx="1104937" cy="190504"/>
            </a:xfrm>
          </p:grpSpPr>
          <p:grpSp>
            <p:nvGrpSpPr>
              <p:cNvPr id="39" name="Gráfico 36">
                <a:extLst>
                  <a:ext uri="{FF2B5EF4-FFF2-40B4-BE49-F238E27FC236}">
                    <a16:creationId xmlns:a16="http://schemas.microsoft.com/office/drawing/2014/main" id="{6AC920DC-C735-3C60-ED40-B682E0DC9B20}"/>
                  </a:ext>
                </a:extLst>
              </p:cNvPr>
              <p:cNvGrpSpPr/>
              <p:nvPr/>
            </p:nvGrpSpPr>
            <p:grpSpPr>
              <a:xfrm>
                <a:off x="4017935" y="2476500"/>
                <a:ext cx="184753" cy="190504"/>
                <a:chOff x="4017935" y="2476500"/>
                <a:chExt cx="184753" cy="190504"/>
              </a:xfrm>
            </p:grpSpPr>
            <p:sp>
              <p:nvSpPr>
                <p:cNvPr id="40" name="Forma libre 39">
                  <a:extLst>
                    <a:ext uri="{FF2B5EF4-FFF2-40B4-BE49-F238E27FC236}">
                      <a16:creationId xmlns:a16="http://schemas.microsoft.com/office/drawing/2014/main" id="{278C57C3-0E45-9B1D-76AC-0C7E90E98B76}"/>
                    </a:ext>
                  </a:extLst>
                </p:cNvPr>
                <p:cNvSpPr/>
                <p:nvPr/>
              </p:nvSpPr>
              <p:spPr>
                <a:xfrm>
                  <a:off x="4017935" y="2476500"/>
                  <a:ext cx="181893" cy="113424"/>
                </a:xfrm>
                <a:custGeom>
                  <a:avLst/>
                  <a:gdLst>
                    <a:gd name="connsiteX0" fmla="*/ 59855 w 181893"/>
                    <a:gd name="connsiteY0" fmla="*/ 113425 h 113424"/>
                    <a:gd name="connsiteX1" fmla="*/ 88392 w 181893"/>
                    <a:gd name="connsiteY1" fmla="*/ 107339 h 113424"/>
                    <a:gd name="connsiteX2" fmla="*/ 158891 w 181893"/>
                    <a:gd name="connsiteY2" fmla="*/ 75683 h 113424"/>
                    <a:gd name="connsiteX3" fmla="*/ 181893 w 181893"/>
                    <a:gd name="connsiteY3" fmla="*/ 39483 h 113424"/>
                    <a:gd name="connsiteX4" fmla="*/ 143603 w 181893"/>
                    <a:gd name="connsiteY4" fmla="*/ 0 h 113424"/>
                    <a:gd name="connsiteX5" fmla="*/ 55000 w 181893"/>
                    <a:gd name="connsiteY5" fmla="*/ 0 h 113424"/>
                    <a:gd name="connsiteX6" fmla="*/ 0 w 181893"/>
                    <a:gd name="connsiteY6" fmla="*/ 56712 h 113424"/>
                    <a:gd name="connsiteX7" fmla="*/ 59855 w 181893"/>
                    <a:gd name="connsiteY7" fmla="*/ 113425 h 113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81893" h="113424">
                      <a:moveTo>
                        <a:pt x="59855" y="113425"/>
                      </a:moveTo>
                      <a:cubicBezTo>
                        <a:pt x="64828" y="113425"/>
                        <a:pt x="74719" y="113143"/>
                        <a:pt x="88392" y="107339"/>
                      </a:cubicBezTo>
                      <a:cubicBezTo>
                        <a:pt x="104324" y="100574"/>
                        <a:pt x="136024" y="88296"/>
                        <a:pt x="158891" y="75683"/>
                      </a:cubicBezTo>
                      <a:cubicBezTo>
                        <a:pt x="174884" y="66862"/>
                        <a:pt x="181893" y="55195"/>
                        <a:pt x="181893" y="39483"/>
                      </a:cubicBezTo>
                      <a:cubicBezTo>
                        <a:pt x="181894" y="17677"/>
                        <a:pt x="164750" y="0"/>
                        <a:pt x="143603" y="0"/>
                      </a:cubicBezTo>
                      <a:lnTo>
                        <a:pt x="55000" y="0"/>
                      </a:lnTo>
                      <a:cubicBezTo>
                        <a:pt x="24624" y="0"/>
                        <a:pt x="0" y="25391"/>
                        <a:pt x="0" y="56712"/>
                      </a:cubicBezTo>
                      <a:cubicBezTo>
                        <a:pt x="0" y="88034"/>
                        <a:pt x="23055" y="113425"/>
                        <a:pt x="59855" y="113425"/>
                      </a:cubicBezTo>
                      <a:close/>
                    </a:path>
                  </a:pathLst>
                </a:custGeom>
                <a:solidFill>
                  <a:srgbClr val="355146"/>
                </a:solidFill>
                <a:ln w="94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algn="ctr"/>
                  <a:endParaRPr lang="es-ES_tradnl"/>
                </a:p>
              </p:txBody>
            </p:sp>
            <p:sp>
              <p:nvSpPr>
                <p:cNvPr id="41" name="Forma libre 40">
                  <a:extLst>
                    <a:ext uri="{FF2B5EF4-FFF2-40B4-BE49-F238E27FC236}">
                      <a16:creationId xmlns:a16="http://schemas.microsoft.com/office/drawing/2014/main" id="{31BE1D52-1ED6-869F-916C-A19868E9FF61}"/>
                    </a:ext>
                  </a:extLst>
                </p:cNvPr>
                <p:cNvSpPr/>
                <p:nvPr/>
              </p:nvSpPr>
              <p:spPr>
                <a:xfrm>
                  <a:off x="4092780" y="2578559"/>
                  <a:ext cx="109908" cy="88435"/>
                </a:xfrm>
                <a:custGeom>
                  <a:avLst/>
                  <a:gdLst>
                    <a:gd name="connsiteX0" fmla="*/ 0 w 109908"/>
                    <a:gd name="connsiteY0" fmla="*/ 50444 h 88435"/>
                    <a:gd name="connsiteX1" fmla="*/ 22716 w 109908"/>
                    <a:gd name="connsiteY1" fmla="*/ 15362 h 88435"/>
                    <a:gd name="connsiteX2" fmla="*/ 50619 w 109908"/>
                    <a:gd name="connsiteY2" fmla="*/ 3422 h 88435"/>
                    <a:gd name="connsiteX3" fmla="*/ 109909 w 109908"/>
                    <a:gd name="connsiteY3" fmla="*/ 44240 h 88435"/>
                    <a:gd name="connsiteX4" fmla="*/ 67037 w 109908"/>
                    <a:gd name="connsiteY4" fmla="*/ 88435 h 88435"/>
                    <a:gd name="connsiteX5" fmla="*/ 36826 w 109908"/>
                    <a:gd name="connsiteY5" fmla="*/ 88427 h 88435"/>
                    <a:gd name="connsiteX6" fmla="*/ 0 w 109908"/>
                    <a:gd name="connsiteY6" fmla="*/ 50444 h 884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908" h="88435">
                      <a:moveTo>
                        <a:pt x="0" y="50444"/>
                      </a:moveTo>
                      <a:cubicBezTo>
                        <a:pt x="0" y="35090"/>
                        <a:pt x="8964" y="21248"/>
                        <a:pt x="22716" y="15362"/>
                      </a:cubicBezTo>
                      <a:lnTo>
                        <a:pt x="50619" y="3422"/>
                      </a:lnTo>
                      <a:cubicBezTo>
                        <a:pt x="78843" y="-8657"/>
                        <a:pt x="109909" y="12730"/>
                        <a:pt x="109909" y="44240"/>
                      </a:cubicBezTo>
                      <a:cubicBezTo>
                        <a:pt x="109909" y="68654"/>
                        <a:pt x="90713" y="88442"/>
                        <a:pt x="67037" y="88435"/>
                      </a:cubicBezTo>
                      <a:lnTo>
                        <a:pt x="36826" y="88427"/>
                      </a:lnTo>
                      <a:cubicBezTo>
                        <a:pt x="16486" y="88422"/>
                        <a:pt x="0" y="71418"/>
                        <a:pt x="0" y="50444"/>
                      </a:cubicBezTo>
                      <a:close/>
                    </a:path>
                  </a:pathLst>
                </a:custGeom>
                <a:solidFill>
                  <a:srgbClr val="D18EE2"/>
                </a:solidFill>
                <a:ln w="94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algn="ctr"/>
                  <a:endParaRPr lang="es-ES_tradnl"/>
                </a:p>
              </p:txBody>
            </p:sp>
            <p:sp>
              <p:nvSpPr>
                <p:cNvPr id="42" name="Forma libre 41">
                  <a:extLst>
                    <a:ext uri="{FF2B5EF4-FFF2-40B4-BE49-F238E27FC236}">
                      <a16:creationId xmlns:a16="http://schemas.microsoft.com/office/drawing/2014/main" id="{2DBB506A-48A1-93F4-6AD3-13ECD98F3B1C}"/>
                    </a:ext>
                  </a:extLst>
                </p:cNvPr>
                <p:cNvSpPr/>
                <p:nvPr/>
              </p:nvSpPr>
              <p:spPr>
                <a:xfrm>
                  <a:off x="4017935" y="2597385"/>
                  <a:ext cx="63410" cy="69619"/>
                </a:xfrm>
                <a:custGeom>
                  <a:avLst/>
                  <a:gdLst>
                    <a:gd name="connsiteX0" fmla="*/ 31706 w 63410"/>
                    <a:gd name="connsiteY0" fmla="*/ 0 h 69619"/>
                    <a:gd name="connsiteX1" fmla="*/ 31705 w 63410"/>
                    <a:gd name="connsiteY1" fmla="*/ 0 h 69619"/>
                    <a:gd name="connsiteX2" fmla="*/ 0 w 63410"/>
                    <a:gd name="connsiteY2" fmla="*/ 32693 h 69619"/>
                    <a:gd name="connsiteX3" fmla="*/ 0 w 63410"/>
                    <a:gd name="connsiteY3" fmla="*/ 36927 h 69619"/>
                    <a:gd name="connsiteX4" fmla="*/ 31705 w 63410"/>
                    <a:gd name="connsiteY4" fmla="*/ 69619 h 69619"/>
                    <a:gd name="connsiteX5" fmla="*/ 31706 w 63410"/>
                    <a:gd name="connsiteY5" fmla="*/ 69619 h 69619"/>
                    <a:gd name="connsiteX6" fmla="*/ 63411 w 63410"/>
                    <a:gd name="connsiteY6" fmla="*/ 36927 h 69619"/>
                    <a:gd name="connsiteX7" fmla="*/ 63411 w 63410"/>
                    <a:gd name="connsiteY7" fmla="*/ 32693 h 69619"/>
                    <a:gd name="connsiteX8" fmla="*/ 31706 w 63410"/>
                    <a:gd name="connsiteY8" fmla="*/ 0 h 696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3410" h="69619">
                      <a:moveTo>
                        <a:pt x="31706" y="0"/>
                      </a:moveTo>
                      <a:lnTo>
                        <a:pt x="31705" y="0"/>
                      </a:lnTo>
                      <a:cubicBezTo>
                        <a:pt x="14195" y="0"/>
                        <a:pt x="0" y="14637"/>
                        <a:pt x="0" y="32693"/>
                      </a:cubicBezTo>
                      <a:lnTo>
                        <a:pt x="0" y="36927"/>
                      </a:lnTo>
                      <a:cubicBezTo>
                        <a:pt x="0" y="54983"/>
                        <a:pt x="14195" y="69619"/>
                        <a:pt x="31705" y="69619"/>
                      </a:cubicBezTo>
                      <a:lnTo>
                        <a:pt x="31706" y="69619"/>
                      </a:lnTo>
                      <a:cubicBezTo>
                        <a:pt x="49216" y="69619"/>
                        <a:pt x="63411" y="54983"/>
                        <a:pt x="63411" y="36927"/>
                      </a:cubicBezTo>
                      <a:lnTo>
                        <a:pt x="63411" y="32693"/>
                      </a:lnTo>
                      <a:cubicBezTo>
                        <a:pt x="63411" y="14637"/>
                        <a:pt x="49216" y="0"/>
                        <a:pt x="31706" y="0"/>
                      </a:cubicBezTo>
                      <a:close/>
                    </a:path>
                  </a:pathLst>
                </a:custGeom>
                <a:solidFill>
                  <a:srgbClr val="FF7759"/>
                </a:solidFill>
                <a:ln w="94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algn="ctr"/>
                  <a:endParaRPr lang="es-ES_tradnl"/>
                </a:p>
              </p:txBody>
            </p:sp>
          </p:grpSp>
          <p:sp>
            <p:nvSpPr>
              <p:cNvPr id="43" name="Forma libre 42">
                <a:extLst>
                  <a:ext uri="{FF2B5EF4-FFF2-40B4-BE49-F238E27FC236}">
                    <a16:creationId xmlns:a16="http://schemas.microsoft.com/office/drawing/2014/main" id="{069145F1-D6E6-5303-A9AA-0C440669E781}"/>
                  </a:ext>
                </a:extLst>
              </p:cNvPr>
              <p:cNvSpPr/>
              <p:nvPr/>
            </p:nvSpPr>
            <p:spPr>
              <a:xfrm>
                <a:off x="4260745" y="2476500"/>
                <a:ext cx="862127" cy="190500"/>
              </a:xfrm>
              <a:custGeom>
                <a:avLst/>
                <a:gdLst>
                  <a:gd name="connsiteX0" fmla="*/ 66764 w 862127"/>
                  <a:gd name="connsiteY0" fmla="*/ 190462 h 190500"/>
                  <a:gd name="connsiteX1" fmla="*/ 127720 w 862127"/>
                  <a:gd name="connsiteY1" fmla="*/ 147746 h 190500"/>
                  <a:gd name="connsiteX2" fmla="*/ 121651 w 862127"/>
                  <a:gd name="connsiteY2" fmla="*/ 138224 h 190500"/>
                  <a:gd name="connsiteX3" fmla="*/ 111355 w 862127"/>
                  <a:gd name="connsiteY3" fmla="*/ 138224 h 190500"/>
                  <a:gd name="connsiteX4" fmla="*/ 101319 w 862127"/>
                  <a:gd name="connsiteY4" fmla="*/ 145020 h 190500"/>
                  <a:gd name="connsiteX5" fmla="*/ 67547 w 862127"/>
                  <a:gd name="connsiteY5" fmla="*/ 167597 h 190500"/>
                  <a:gd name="connsiteX6" fmla="*/ 26642 w 862127"/>
                  <a:gd name="connsiteY6" fmla="*/ 118892 h 190500"/>
                  <a:gd name="connsiteX7" fmla="*/ 67007 w 862127"/>
                  <a:gd name="connsiteY7" fmla="*/ 70187 h 190500"/>
                  <a:gd name="connsiteX8" fmla="*/ 101580 w 862127"/>
                  <a:gd name="connsiteY8" fmla="*/ 92226 h 190500"/>
                  <a:gd name="connsiteX9" fmla="*/ 111615 w 862127"/>
                  <a:gd name="connsiteY9" fmla="*/ 99022 h 190500"/>
                  <a:gd name="connsiteX10" fmla="*/ 121911 w 862127"/>
                  <a:gd name="connsiteY10" fmla="*/ 99022 h 190500"/>
                  <a:gd name="connsiteX11" fmla="*/ 127980 w 862127"/>
                  <a:gd name="connsiteY11" fmla="*/ 90307 h 190500"/>
                  <a:gd name="connsiteX12" fmla="*/ 66764 w 862127"/>
                  <a:gd name="connsiteY12" fmla="*/ 47323 h 190500"/>
                  <a:gd name="connsiteX13" fmla="*/ 0 w 862127"/>
                  <a:gd name="connsiteY13" fmla="*/ 118892 h 190500"/>
                  <a:gd name="connsiteX14" fmla="*/ 66764 w 862127"/>
                  <a:gd name="connsiteY14" fmla="*/ 190462 h 190500"/>
                  <a:gd name="connsiteX15" fmla="*/ 757328 w 862127"/>
                  <a:gd name="connsiteY15" fmla="*/ 106375 h 190500"/>
                  <a:gd name="connsiteX16" fmla="*/ 796909 w 862127"/>
                  <a:gd name="connsiteY16" fmla="*/ 68824 h 190500"/>
                  <a:gd name="connsiteX17" fmla="*/ 835163 w 862127"/>
                  <a:gd name="connsiteY17" fmla="*/ 106375 h 190500"/>
                  <a:gd name="connsiteX18" fmla="*/ 757328 w 862127"/>
                  <a:gd name="connsiteY18" fmla="*/ 106375 h 190500"/>
                  <a:gd name="connsiteX19" fmla="*/ 797969 w 862127"/>
                  <a:gd name="connsiteY19" fmla="*/ 190462 h 190500"/>
                  <a:gd name="connsiteX20" fmla="*/ 858405 w 862127"/>
                  <a:gd name="connsiteY20" fmla="*/ 152373 h 190500"/>
                  <a:gd name="connsiteX21" fmla="*/ 853395 w 862127"/>
                  <a:gd name="connsiteY21" fmla="*/ 141757 h 190500"/>
                  <a:gd name="connsiteX22" fmla="*/ 843639 w 862127"/>
                  <a:gd name="connsiteY22" fmla="*/ 141757 h 190500"/>
                  <a:gd name="connsiteX23" fmla="*/ 833600 w 862127"/>
                  <a:gd name="connsiteY23" fmla="*/ 148284 h 190500"/>
                  <a:gd name="connsiteX24" fmla="*/ 797988 w 862127"/>
                  <a:gd name="connsiteY24" fmla="*/ 168692 h 190500"/>
                  <a:gd name="connsiteX25" fmla="*/ 756561 w 862127"/>
                  <a:gd name="connsiteY25" fmla="*/ 124344 h 190500"/>
                  <a:gd name="connsiteX26" fmla="*/ 853414 w 862127"/>
                  <a:gd name="connsiteY26" fmla="*/ 124344 h 190500"/>
                  <a:gd name="connsiteX27" fmla="*/ 862127 w 862127"/>
                  <a:gd name="connsiteY27" fmla="*/ 115629 h 190500"/>
                  <a:gd name="connsiteX28" fmla="*/ 796946 w 862127"/>
                  <a:gd name="connsiteY28" fmla="*/ 47342 h 190500"/>
                  <a:gd name="connsiteX29" fmla="*/ 730184 w 862127"/>
                  <a:gd name="connsiteY29" fmla="*/ 118911 h 190500"/>
                  <a:gd name="connsiteX30" fmla="*/ 798007 w 862127"/>
                  <a:gd name="connsiteY30" fmla="*/ 190481 h 190500"/>
                  <a:gd name="connsiteX31" fmla="*/ 797969 w 862127"/>
                  <a:gd name="connsiteY31" fmla="*/ 190462 h 190500"/>
                  <a:gd name="connsiteX32" fmla="*/ 644388 w 862127"/>
                  <a:gd name="connsiteY32" fmla="*/ 122444 h 190500"/>
                  <a:gd name="connsiteX33" fmla="*/ 653102 w 862127"/>
                  <a:gd name="connsiteY33" fmla="*/ 122444 h 190500"/>
                  <a:gd name="connsiteX34" fmla="*/ 662076 w 862127"/>
                  <a:gd name="connsiteY34" fmla="*/ 113728 h 190500"/>
                  <a:gd name="connsiteX35" fmla="*/ 710162 w 862127"/>
                  <a:gd name="connsiteY35" fmla="*/ 73182 h 190500"/>
                  <a:gd name="connsiteX36" fmla="*/ 718809 w 862127"/>
                  <a:gd name="connsiteY36" fmla="*/ 64735 h 190500"/>
                  <a:gd name="connsiteX37" fmla="*/ 718809 w 862127"/>
                  <a:gd name="connsiteY37" fmla="*/ 56307 h 190500"/>
                  <a:gd name="connsiteX38" fmla="*/ 710891 w 862127"/>
                  <a:gd name="connsiteY38" fmla="*/ 47323 h 190500"/>
                  <a:gd name="connsiteX39" fmla="*/ 663603 w 862127"/>
                  <a:gd name="connsiteY39" fmla="*/ 73182 h 190500"/>
                  <a:gd name="connsiteX40" fmla="*/ 661349 w 862127"/>
                  <a:gd name="connsiteY40" fmla="*/ 72760 h 190500"/>
                  <a:gd name="connsiteX41" fmla="*/ 659711 w 862127"/>
                  <a:gd name="connsiteY41" fmla="*/ 57920 h 190500"/>
                  <a:gd name="connsiteX42" fmla="*/ 650998 w 862127"/>
                  <a:gd name="connsiteY42" fmla="*/ 49761 h 190500"/>
                  <a:gd name="connsiteX43" fmla="*/ 611156 w 862127"/>
                  <a:gd name="connsiteY43" fmla="*/ 49761 h 190500"/>
                  <a:gd name="connsiteX44" fmla="*/ 602703 w 862127"/>
                  <a:gd name="connsiteY44" fmla="*/ 58477 h 190500"/>
                  <a:gd name="connsiteX45" fmla="*/ 602703 w 862127"/>
                  <a:gd name="connsiteY45" fmla="*/ 63103 h 190500"/>
                  <a:gd name="connsiteX46" fmla="*/ 611156 w 862127"/>
                  <a:gd name="connsiteY46" fmla="*/ 71819 h 190500"/>
                  <a:gd name="connsiteX47" fmla="*/ 627520 w 862127"/>
                  <a:gd name="connsiteY47" fmla="*/ 71819 h 190500"/>
                  <a:gd name="connsiteX48" fmla="*/ 635973 w 862127"/>
                  <a:gd name="connsiteY48" fmla="*/ 80535 h 190500"/>
                  <a:gd name="connsiteX49" fmla="*/ 635973 w 862127"/>
                  <a:gd name="connsiteY49" fmla="*/ 113728 h 190500"/>
                  <a:gd name="connsiteX50" fmla="*/ 644425 w 862127"/>
                  <a:gd name="connsiteY50" fmla="*/ 122444 h 190500"/>
                  <a:gd name="connsiteX51" fmla="*/ 644388 w 862127"/>
                  <a:gd name="connsiteY51" fmla="*/ 122444 h 190500"/>
                  <a:gd name="connsiteX52" fmla="*/ 608772 w 862127"/>
                  <a:gd name="connsiteY52" fmla="*/ 187755 h 190500"/>
                  <a:gd name="connsiteX53" fmla="*/ 691362 w 862127"/>
                  <a:gd name="connsiteY53" fmla="*/ 187755 h 190500"/>
                  <a:gd name="connsiteX54" fmla="*/ 699810 w 862127"/>
                  <a:gd name="connsiteY54" fmla="*/ 179039 h 190500"/>
                  <a:gd name="connsiteX55" fmla="*/ 699810 w 862127"/>
                  <a:gd name="connsiteY55" fmla="*/ 174412 h 190500"/>
                  <a:gd name="connsiteX56" fmla="*/ 691362 w 862127"/>
                  <a:gd name="connsiteY56" fmla="*/ 165696 h 190500"/>
                  <a:gd name="connsiteX57" fmla="*/ 670248 w 862127"/>
                  <a:gd name="connsiteY57" fmla="*/ 165696 h 190500"/>
                  <a:gd name="connsiteX58" fmla="*/ 661796 w 862127"/>
                  <a:gd name="connsiteY58" fmla="*/ 156981 h 190500"/>
                  <a:gd name="connsiteX59" fmla="*/ 661796 w 862127"/>
                  <a:gd name="connsiteY59" fmla="*/ 142006 h 190500"/>
                  <a:gd name="connsiteX60" fmla="*/ 653343 w 862127"/>
                  <a:gd name="connsiteY60" fmla="*/ 133291 h 190500"/>
                  <a:gd name="connsiteX61" fmla="*/ 644369 w 862127"/>
                  <a:gd name="connsiteY61" fmla="*/ 133291 h 190500"/>
                  <a:gd name="connsiteX62" fmla="*/ 635917 w 862127"/>
                  <a:gd name="connsiteY62" fmla="*/ 142006 h 190500"/>
                  <a:gd name="connsiteX63" fmla="*/ 635917 w 862127"/>
                  <a:gd name="connsiteY63" fmla="*/ 156981 h 190500"/>
                  <a:gd name="connsiteX64" fmla="*/ 627465 w 862127"/>
                  <a:gd name="connsiteY64" fmla="*/ 165696 h 190500"/>
                  <a:gd name="connsiteX65" fmla="*/ 608735 w 862127"/>
                  <a:gd name="connsiteY65" fmla="*/ 165696 h 190500"/>
                  <a:gd name="connsiteX66" fmla="*/ 600282 w 862127"/>
                  <a:gd name="connsiteY66" fmla="*/ 174412 h 190500"/>
                  <a:gd name="connsiteX67" fmla="*/ 600282 w 862127"/>
                  <a:gd name="connsiteY67" fmla="*/ 179039 h 190500"/>
                  <a:gd name="connsiteX68" fmla="*/ 608735 w 862127"/>
                  <a:gd name="connsiteY68" fmla="*/ 187755 h 190500"/>
                  <a:gd name="connsiteX69" fmla="*/ 608772 w 862127"/>
                  <a:gd name="connsiteY69" fmla="*/ 187755 h 190500"/>
                  <a:gd name="connsiteX70" fmla="*/ 481313 w 862127"/>
                  <a:gd name="connsiteY70" fmla="*/ 106394 h 190500"/>
                  <a:gd name="connsiteX71" fmla="*/ 520895 w 862127"/>
                  <a:gd name="connsiteY71" fmla="*/ 68843 h 190500"/>
                  <a:gd name="connsiteX72" fmla="*/ 559155 w 862127"/>
                  <a:gd name="connsiteY72" fmla="*/ 106394 h 190500"/>
                  <a:gd name="connsiteX73" fmla="*/ 481313 w 862127"/>
                  <a:gd name="connsiteY73" fmla="*/ 106394 h 190500"/>
                  <a:gd name="connsiteX74" fmla="*/ 521956 w 862127"/>
                  <a:gd name="connsiteY74" fmla="*/ 190481 h 190500"/>
                  <a:gd name="connsiteX75" fmla="*/ 582391 w 862127"/>
                  <a:gd name="connsiteY75" fmla="*/ 152392 h 190500"/>
                  <a:gd name="connsiteX76" fmla="*/ 577383 w 862127"/>
                  <a:gd name="connsiteY76" fmla="*/ 141776 h 190500"/>
                  <a:gd name="connsiteX77" fmla="*/ 567626 w 862127"/>
                  <a:gd name="connsiteY77" fmla="*/ 141776 h 190500"/>
                  <a:gd name="connsiteX78" fmla="*/ 557592 w 862127"/>
                  <a:gd name="connsiteY78" fmla="*/ 148303 h 190500"/>
                  <a:gd name="connsiteX79" fmla="*/ 521975 w 862127"/>
                  <a:gd name="connsiteY79" fmla="*/ 168711 h 190500"/>
                  <a:gd name="connsiteX80" fmla="*/ 480550 w 862127"/>
                  <a:gd name="connsiteY80" fmla="*/ 124363 h 190500"/>
                  <a:gd name="connsiteX81" fmla="*/ 577401 w 862127"/>
                  <a:gd name="connsiteY81" fmla="*/ 124363 h 190500"/>
                  <a:gd name="connsiteX82" fmla="*/ 586114 w 862127"/>
                  <a:gd name="connsiteY82" fmla="*/ 115648 h 190500"/>
                  <a:gd name="connsiteX83" fmla="*/ 520932 w 862127"/>
                  <a:gd name="connsiteY83" fmla="*/ 47361 h 190500"/>
                  <a:gd name="connsiteX84" fmla="*/ 454168 w 862127"/>
                  <a:gd name="connsiteY84" fmla="*/ 118930 h 190500"/>
                  <a:gd name="connsiteX85" fmla="*/ 521993 w 862127"/>
                  <a:gd name="connsiteY85" fmla="*/ 190500 h 190500"/>
                  <a:gd name="connsiteX86" fmla="*/ 521956 w 862127"/>
                  <a:gd name="connsiteY86" fmla="*/ 190481 h 190500"/>
                  <a:gd name="connsiteX87" fmla="*/ 216658 w 862127"/>
                  <a:gd name="connsiteY87" fmla="*/ 190481 h 190500"/>
                  <a:gd name="connsiteX88" fmla="*/ 284483 w 862127"/>
                  <a:gd name="connsiteY88" fmla="*/ 118911 h 190500"/>
                  <a:gd name="connsiteX89" fmla="*/ 216658 w 862127"/>
                  <a:gd name="connsiteY89" fmla="*/ 47342 h 190500"/>
                  <a:gd name="connsiteX90" fmla="*/ 148833 w 862127"/>
                  <a:gd name="connsiteY90" fmla="*/ 118911 h 190500"/>
                  <a:gd name="connsiteX91" fmla="*/ 155163 w 862127"/>
                  <a:gd name="connsiteY91" fmla="*/ 150742 h 190500"/>
                  <a:gd name="connsiteX92" fmla="*/ 166780 w 862127"/>
                  <a:gd name="connsiteY92" fmla="*/ 153736 h 190500"/>
                  <a:gd name="connsiteX93" fmla="*/ 174433 w 862127"/>
                  <a:gd name="connsiteY93" fmla="*/ 148016 h 190500"/>
                  <a:gd name="connsiteX94" fmla="*/ 178119 w 862127"/>
                  <a:gd name="connsiteY94" fmla="*/ 136324 h 190500"/>
                  <a:gd name="connsiteX95" fmla="*/ 175475 w 862127"/>
                  <a:gd name="connsiteY95" fmla="*/ 118374 h 190500"/>
                  <a:gd name="connsiteX96" fmla="*/ 216639 w 862127"/>
                  <a:gd name="connsiteY96" fmla="*/ 70206 h 190500"/>
                  <a:gd name="connsiteX97" fmla="*/ 257804 w 862127"/>
                  <a:gd name="connsiteY97" fmla="*/ 118911 h 190500"/>
                  <a:gd name="connsiteX98" fmla="*/ 217161 w 862127"/>
                  <a:gd name="connsiteY98" fmla="*/ 167616 h 190500"/>
                  <a:gd name="connsiteX99" fmla="*/ 191300 w 862127"/>
                  <a:gd name="connsiteY99" fmla="*/ 158631 h 190500"/>
                  <a:gd name="connsiteX100" fmla="*/ 179422 w 862127"/>
                  <a:gd name="connsiteY100" fmla="*/ 158094 h 190500"/>
                  <a:gd name="connsiteX101" fmla="*/ 173613 w 862127"/>
                  <a:gd name="connsiteY101" fmla="*/ 162452 h 190500"/>
                  <a:gd name="connsiteX102" fmla="*/ 172812 w 862127"/>
                  <a:gd name="connsiteY102" fmla="*/ 174700 h 190500"/>
                  <a:gd name="connsiteX103" fmla="*/ 216621 w 862127"/>
                  <a:gd name="connsiteY103" fmla="*/ 190481 h 190500"/>
                  <a:gd name="connsiteX104" fmla="*/ 216658 w 862127"/>
                  <a:gd name="connsiteY104" fmla="*/ 190481 h 190500"/>
                  <a:gd name="connsiteX105" fmla="*/ 317977 w 862127"/>
                  <a:gd name="connsiteY105" fmla="*/ 187755 h 190500"/>
                  <a:gd name="connsiteX106" fmla="*/ 326691 w 862127"/>
                  <a:gd name="connsiteY106" fmla="*/ 187755 h 190500"/>
                  <a:gd name="connsiteX107" fmla="*/ 335143 w 862127"/>
                  <a:gd name="connsiteY107" fmla="*/ 179039 h 190500"/>
                  <a:gd name="connsiteX108" fmla="*/ 335143 w 862127"/>
                  <a:gd name="connsiteY108" fmla="*/ 114016 h 190500"/>
                  <a:gd name="connsiteX109" fmla="*/ 371560 w 862127"/>
                  <a:gd name="connsiteY109" fmla="*/ 70206 h 190500"/>
                  <a:gd name="connsiteX110" fmla="*/ 403229 w 862127"/>
                  <a:gd name="connsiteY110" fmla="*/ 108852 h 190500"/>
                  <a:gd name="connsiteX111" fmla="*/ 403229 w 862127"/>
                  <a:gd name="connsiteY111" fmla="*/ 179058 h 190500"/>
                  <a:gd name="connsiteX112" fmla="*/ 411682 w 862127"/>
                  <a:gd name="connsiteY112" fmla="*/ 187774 h 190500"/>
                  <a:gd name="connsiteX113" fmla="*/ 420656 w 862127"/>
                  <a:gd name="connsiteY113" fmla="*/ 187774 h 190500"/>
                  <a:gd name="connsiteX114" fmla="*/ 429108 w 862127"/>
                  <a:gd name="connsiteY114" fmla="*/ 179058 h 190500"/>
                  <a:gd name="connsiteX115" fmla="*/ 429108 w 862127"/>
                  <a:gd name="connsiteY115" fmla="*/ 104494 h 190500"/>
                  <a:gd name="connsiteX116" fmla="*/ 380031 w 862127"/>
                  <a:gd name="connsiteY116" fmla="*/ 47361 h 190500"/>
                  <a:gd name="connsiteX117" fmla="*/ 337321 w 862127"/>
                  <a:gd name="connsiteY117" fmla="*/ 68575 h 190500"/>
                  <a:gd name="connsiteX118" fmla="*/ 335181 w 862127"/>
                  <a:gd name="connsiteY118" fmla="*/ 67826 h 190500"/>
                  <a:gd name="connsiteX119" fmla="*/ 335181 w 862127"/>
                  <a:gd name="connsiteY119" fmla="*/ 8716 h 190500"/>
                  <a:gd name="connsiteX120" fmla="*/ 326691 w 862127"/>
                  <a:gd name="connsiteY120" fmla="*/ 0 h 190500"/>
                  <a:gd name="connsiteX121" fmla="*/ 317977 w 862127"/>
                  <a:gd name="connsiteY121" fmla="*/ 0 h 190500"/>
                  <a:gd name="connsiteX122" fmla="*/ 309525 w 862127"/>
                  <a:gd name="connsiteY122" fmla="*/ 8716 h 190500"/>
                  <a:gd name="connsiteX123" fmla="*/ 309525 w 862127"/>
                  <a:gd name="connsiteY123" fmla="*/ 179039 h 190500"/>
                  <a:gd name="connsiteX124" fmla="*/ 317977 w 862127"/>
                  <a:gd name="connsiteY124" fmla="*/ 187755 h 190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</a:cxnLst>
                <a:rect l="l" t="t" r="r" b="b"/>
                <a:pathLst>
                  <a:path w="862127" h="190500">
                    <a:moveTo>
                      <a:pt x="66764" y="190462"/>
                    </a:moveTo>
                    <a:cubicBezTo>
                      <a:pt x="94207" y="190462"/>
                      <a:pt x="118225" y="176313"/>
                      <a:pt x="127720" y="147746"/>
                    </a:cubicBezTo>
                    <a:cubicBezTo>
                      <a:pt x="129563" y="142025"/>
                      <a:pt x="126920" y="138224"/>
                      <a:pt x="121651" y="138224"/>
                    </a:cubicBezTo>
                    <a:lnTo>
                      <a:pt x="111355" y="138224"/>
                    </a:lnTo>
                    <a:cubicBezTo>
                      <a:pt x="106607" y="138224"/>
                      <a:pt x="103441" y="140394"/>
                      <a:pt x="101319" y="145020"/>
                    </a:cubicBezTo>
                    <a:cubicBezTo>
                      <a:pt x="93146" y="161627"/>
                      <a:pt x="81789" y="167597"/>
                      <a:pt x="67547" y="167597"/>
                    </a:cubicBezTo>
                    <a:cubicBezTo>
                      <a:pt x="42207" y="167597"/>
                      <a:pt x="26642" y="149359"/>
                      <a:pt x="26642" y="118892"/>
                    </a:cubicBezTo>
                    <a:cubicBezTo>
                      <a:pt x="26642" y="88425"/>
                      <a:pt x="42747" y="70187"/>
                      <a:pt x="67007" y="70187"/>
                    </a:cubicBezTo>
                    <a:cubicBezTo>
                      <a:pt x="81789" y="70187"/>
                      <a:pt x="93928" y="76715"/>
                      <a:pt x="101580" y="92226"/>
                    </a:cubicBezTo>
                    <a:cubicBezTo>
                      <a:pt x="103963" y="96853"/>
                      <a:pt x="106849" y="99022"/>
                      <a:pt x="111615" y="99022"/>
                    </a:cubicBezTo>
                    <a:lnTo>
                      <a:pt x="121911" y="99022"/>
                    </a:lnTo>
                    <a:cubicBezTo>
                      <a:pt x="127180" y="99022"/>
                      <a:pt x="129823" y="95490"/>
                      <a:pt x="127980" y="90307"/>
                    </a:cubicBezTo>
                    <a:cubicBezTo>
                      <a:pt x="116903" y="59283"/>
                      <a:pt x="92085" y="47323"/>
                      <a:pt x="66764" y="47323"/>
                    </a:cubicBezTo>
                    <a:cubicBezTo>
                      <a:pt x="28504" y="47323"/>
                      <a:pt x="0" y="76446"/>
                      <a:pt x="0" y="118892"/>
                    </a:cubicBezTo>
                    <a:cubicBezTo>
                      <a:pt x="0" y="161338"/>
                      <a:pt x="27182" y="190462"/>
                      <a:pt x="66764" y="190462"/>
                    </a:cubicBezTo>
                    <a:close/>
                    <a:moveTo>
                      <a:pt x="757328" y="106375"/>
                    </a:moveTo>
                    <a:cubicBezTo>
                      <a:pt x="760748" y="83242"/>
                      <a:pt x="776053" y="68824"/>
                      <a:pt x="796909" y="68824"/>
                    </a:cubicBezTo>
                    <a:cubicBezTo>
                      <a:pt x="817764" y="68824"/>
                      <a:pt x="833325" y="83511"/>
                      <a:pt x="835163" y="106375"/>
                    </a:cubicBezTo>
                    <a:lnTo>
                      <a:pt x="757328" y="106375"/>
                    </a:lnTo>
                    <a:close/>
                    <a:moveTo>
                      <a:pt x="797969" y="190462"/>
                    </a:moveTo>
                    <a:cubicBezTo>
                      <a:pt x="822244" y="190462"/>
                      <a:pt x="846528" y="178770"/>
                      <a:pt x="858405" y="152373"/>
                    </a:cubicBezTo>
                    <a:cubicBezTo>
                      <a:pt x="861303" y="146114"/>
                      <a:pt x="858661" y="141757"/>
                      <a:pt x="853395" y="141757"/>
                    </a:cubicBezTo>
                    <a:lnTo>
                      <a:pt x="843639" y="141757"/>
                    </a:lnTo>
                    <a:cubicBezTo>
                      <a:pt x="838894" y="141757"/>
                      <a:pt x="835987" y="143926"/>
                      <a:pt x="833600" y="148284"/>
                    </a:cubicBezTo>
                    <a:cubicBezTo>
                      <a:pt x="825691" y="162701"/>
                      <a:pt x="811968" y="168692"/>
                      <a:pt x="797988" y="168692"/>
                    </a:cubicBezTo>
                    <a:cubicBezTo>
                      <a:pt x="773969" y="168692"/>
                      <a:pt x="758408" y="151816"/>
                      <a:pt x="756561" y="124344"/>
                    </a:cubicBezTo>
                    <a:lnTo>
                      <a:pt x="853414" y="124344"/>
                    </a:lnTo>
                    <a:cubicBezTo>
                      <a:pt x="858680" y="124344"/>
                      <a:pt x="862127" y="121349"/>
                      <a:pt x="862127" y="115629"/>
                    </a:cubicBezTo>
                    <a:cubicBezTo>
                      <a:pt x="861066" y="72913"/>
                      <a:pt x="834159" y="47342"/>
                      <a:pt x="796946" y="47342"/>
                    </a:cubicBezTo>
                    <a:cubicBezTo>
                      <a:pt x="759725" y="47342"/>
                      <a:pt x="730184" y="75102"/>
                      <a:pt x="730184" y="118911"/>
                    </a:cubicBezTo>
                    <a:cubicBezTo>
                      <a:pt x="730184" y="162720"/>
                      <a:pt x="758948" y="190481"/>
                      <a:pt x="798007" y="190481"/>
                    </a:cubicBezTo>
                    <a:lnTo>
                      <a:pt x="797969" y="190462"/>
                    </a:lnTo>
                    <a:close/>
                    <a:moveTo>
                      <a:pt x="644388" y="122444"/>
                    </a:moveTo>
                    <a:lnTo>
                      <a:pt x="653102" y="122444"/>
                    </a:lnTo>
                    <a:cubicBezTo>
                      <a:pt x="658371" y="122444"/>
                      <a:pt x="661275" y="119449"/>
                      <a:pt x="662076" y="113728"/>
                    </a:cubicBezTo>
                    <a:cubicBezTo>
                      <a:pt x="667102" y="76964"/>
                      <a:pt x="687973" y="72088"/>
                      <a:pt x="710162" y="73182"/>
                    </a:cubicBezTo>
                    <a:cubicBezTo>
                      <a:pt x="714916" y="73413"/>
                      <a:pt x="718809" y="69650"/>
                      <a:pt x="718809" y="64735"/>
                    </a:cubicBezTo>
                    <a:lnTo>
                      <a:pt x="718809" y="56307"/>
                    </a:lnTo>
                    <a:cubicBezTo>
                      <a:pt x="718809" y="50874"/>
                      <a:pt x="716157" y="47591"/>
                      <a:pt x="710891" y="47323"/>
                    </a:cubicBezTo>
                    <a:cubicBezTo>
                      <a:pt x="691250" y="46555"/>
                      <a:pt x="673730" y="53504"/>
                      <a:pt x="663603" y="73182"/>
                    </a:cubicBezTo>
                    <a:cubicBezTo>
                      <a:pt x="663044" y="74257"/>
                      <a:pt x="661480" y="73969"/>
                      <a:pt x="661349" y="72760"/>
                    </a:cubicBezTo>
                    <a:lnTo>
                      <a:pt x="659711" y="57920"/>
                    </a:lnTo>
                    <a:cubicBezTo>
                      <a:pt x="659190" y="52487"/>
                      <a:pt x="656285" y="49761"/>
                      <a:pt x="650998" y="49761"/>
                    </a:cubicBezTo>
                    <a:lnTo>
                      <a:pt x="611156" y="49761"/>
                    </a:lnTo>
                    <a:cubicBezTo>
                      <a:pt x="606501" y="49761"/>
                      <a:pt x="602703" y="53658"/>
                      <a:pt x="602703" y="58477"/>
                    </a:cubicBezTo>
                    <a:lnTo>
                      <a:pt x="602703" y="63103"/>
                    </a:lnTo>
                    <a:cubicBezTo>
                      <a:pt x="602703" y="67903"/>
                      <a:pt x="606482" y="71819"/>
                      <a:pt x="611156" y="71819"/>
                    </a:cubicBezTo>
                    <a:lnTo>
                      <a:pt x="627520" y="71819"/>
                    </a:lnTo>
                    <a:cubicBezTo>
                      <a:pt x="632175" y="71819"/>
                      <a:pt x="635973" y="75716"/>
                      <a:pt x="635973" y="80535"/>
                    </a:cubicBezTo>
                    <a:lnTo>
                      <a:pt x="635973" y="113728"/>
                    </a:lnTo>
                    <a:cubicBezTo>
                      <a:pt x="635973" y="118527"/>
                      <a:pt x="639752" y="122444"/>
                      <a:pt x="644425" y="122444"/>
                    </a:cubicBezTo>
                    <a:lnTo>
                      <a:pt x="644388" y="122444"/>
                    </a:lnTo>
                    <a:close/>
                    <a:moveTo>
                      <a:pt x="608772" y="187755"/>
                    </a:moveTo>
                    <a:lnTo>
                      <a:pt x="691362" y="187755"/>
                    </a:lnTo>
                    <a:cubicBezTo>
                      <a:pt x="696630" y="187755"/>
                      <a:pt x="699810" y="184491"/>
                      <a:pt x="699810" y="179039"/>
                    </a:cubicBezTo>
                    <a:lnTo>
                      <a:pt x="699810" y="174412"/>
                    </a:lnTo>
                    <a:cubicBezTo>
                      <a:pt x="699810" y="168979"/>
                      <a:pt x="696649" y="165696"/>
                      <a:pt x="691362" y="165696"/>
                    </a:cubicBezTo>
                    <a:lnTo>
                      <a:pt x="670248" y="165696"/>
                    </a:lnTo>
                    <a:cubicBezTo>
                      <a:pt x="664980" y="165696"/>
                      <a:pt x="661796" y="162433"/>
                      <a:pt x="661796" y="156981"/>
                    </a:cubicBezTo>
                    <a:lnTo>
                      <a:pt x="661796" y="142006"/>
                    </a:lnTo>
                    <a:cubicBezTo>
                      <a:pt x="661796" y="136573"/>
                      <a:pt x="658631" y="133291"/>
                      <a:pt x="653343" y="133291"/>
                    </a:cubicBezTo>
                    <a:lnTo>
                      <a:pt x="644369" y="133291"/>
                    </a:lnTo>
                    <a:cubicBezTo>
                      <a:pt x="639101" y="133291"/>
                      <a:pt x="635917" y="136554"/>
                      <a:pt x="635917" y="142006"/>
                    </a:cubicBezTo>
                    <a:lnTo>
                      <a:pt x="635917" y="156981"/>
                    </a:lnTo>
                    <a:cubicBezTo>
                      <a:pt x="635917" y="162414"/>
                      <a:pt x="632752" y="165696"/>
                      <a:pt x="627465" y="165696"/>
                    </a:cubicBezTo>
                    <a:lnTo>
                      <a:pt x="608735" y="165696"/>
                    </a:lnTo>
                    <a:cubicBezTo>
                      <a:pt x="603466" y="165696"/>
                      <a:pt x="600282" y="168960"/>
                      <a:pt x="600282" y="174412"/>
                    </a:cubicBezTo>
                    <a:lnTo>
                      <a:pt x="600282" y="179039"/>
                    </a:lnTo>
                    <a:cubicBezTo>
                      <a:pt x="600282" y="184472"/>
                      <a:pt x="603447" y="187755"/>
                      <a:pt x="608735" y="187755"/>
                    </a:cubicBezTo>
                    <a:lnTo>
                      <a:pt x="608772" y="187755"/>
                    </a:lnTo>
                    <a:close/>
                    <a:moveTo>
                      <a:pt x="481313" y="106394"/>
                    </a:moveTo>
                    <a:cubicBezTo>
                      <a:pt x="484739" y="83261"/>
                      <a:pt x="500043" y="68843"/>
                      <a:pt x="520895" y="68843"/>
                    </a:cubicBezTo>
                    <a:cubicBezTo>
                      <a:pt x="541747" y="68843"/>
                      <a:pt x="557312" y="83530"/>
                      <a:pt x="559155" y="106394"/>
                    </a:cubicBezTo>
                    <a:lnTo>
                      <a:pt x="481313" y="106394"/>
                    </a:lnTo>
                    <a:close/>
                    <a:moveTo>
                      <a:pt x="521956" y="190481"/>
                    </a:moveTo>
                    <a:cubicBezTo>
                      <a:pt x="546235" y="190481"/>
                      <a:pt x="570512" y="178789"/>
                      <a:pt x="582391" y="152392"/>
                    </a:cubicBezTo>
                    <a:cubicBezTo>
                      <a:pt x="585295" y="146134"/>
                      <a:pt x="582651" y="141776"/>
                      <a:pt x="577383" y="141776"/>
                    </a:cubicBezTo>
                    <a:lnTo>
                      <a:pt x="567626" y="141776"/>
                    </a:lnTo>
                    <a:cubicBezTo>
                      <a:pt x="562878" y="141776"/>
                      <a:pt x="559974" y="143946"/>
                      <a:pt x="557592" y="148303"/>
                    </a:cubicBezTo>
                    <a:cubicBezTo>
                      <a:pt x="549678" y="162720"/>
                      <a:pt x="535957" y="168711"/>
                      <a:pt x="521975" y="168711"/>
                    </a:cubicBezTo>
                    <a:cubicBezTo>
                      <a:pt x="497958" y="168711"/>
                      <a:pt x="482393" y="151835"/>
                      <a:pt x="480550" y="124363"/>
                    </a:cubicBezTo>
                    <a:lnTo>
                      <a:pt x="577401" y="124363"/>
                    </a:lnTo>
                    <a:cubicBezTo>
                      <a:pt x="582669" y="124363"/>
                      <a:pt x="586114" y="121369"/>
                      <a:pt x="586114" y="115648"/>
                    </a:cubicBezTo>
                    <a:cubicBezTo>
                      <a:pt x="585053" y="72933"/>
                      <a:pt x="558149" y="47361"/>
                      <a:pt x="520932" y="47361"/>
                    </a:cubicBezTo>
                    <a:cubicBezTo>
                      <a:pt x="483715" y="47361"/>
                      <a:pt x="454168" y="75121"/>
                      <a:pt x="454168" y="118930"/>
                    </a:cubicBezTo>
                    <a:cubicBezTo>
                      <a:pt x="454168" y="162740"/>
                      <a:pt x="482933" y="190500"/>
                      <a:pt x="521993" y="190500"/>
                    </a:cubicBezTo>
                    <a:lnTo>
                      <a:pt x="521956" y="190481"/>
                    </a:lnTo>
                    <a:close/>
                    <a:moveTo>
                      <a:pt x="216658" y="190481"/>
                    </a:moveTo>
                    <a:cubicBezTo>
                      <a:pt x="256240" y="190481"/>
                      <a:pt x="284483" y="160283"/>
                      <a:pt x="284483" y="118911"/>
                    </a:cubicBezTo>
                    <a:cubicBezTo>
                      <a:pt x="284483" y="77540"/>
                      <a:pt x="256240" y="47342"/>
                      <a:pt x="216658" y="47342"/>
                    </a:cubicBezTo>
                    <a:cubicBezTo>
                      <a:pt x="177076" y="47342"/>
                      <a:pt x="148833" y="78097"/>
                      <a:pt x="148833" y="118911"/>
                    </a:cubicBezTo>
                    <a:cubicBezTo>
                      <a:pt x="148833" y="128433"/>
                      <a:pt x="150415" y="139050"/>
                      <a:pt x="155163" y="150742"/>
                    </a:cubicBezTo>
                    <a:cubicBezTo>
                      <a:pt x="157546" y="156462"/>
                      <a:pt x="162033" y="157268"/>
                      <a:pt x="166780" y="153736"/>
                    </a:cubicBezTo>
                    <a:lnTo>
                      <a:pt x="174433" y="148016"/>
                    </a:lnTo>
                    <a:cubicBezTo>
                      <a:pt x="178398" y="145020"/>
                      <a:pt x="179441" y="141488"/>
                      <a:pt x="178119" y="136324"/>
                    </a:cubicBezTo>
                    <a:cubicBezTo>
                      <a:pt x="176015" y="129528"/>
                      <a:pt x="175475" y="123538"/>
                      <a:pt x="175475" y="118374"/>
                    </a:cubicBezTo>
                    <a:cubicBezTo>
                      <a:pt x="175475" y="89807"/>
                      <a:pt x="192101" y="70206"/>
                      <a:pt x="216639" y="70206"/>
                    </a:cubicBezTo>
                    <a:cubicBezTo>
                      <a:pt x="241178" y="70206"/>
                      <a:pt x="257804" y="89519"/>
                      <a:pt x="257804" y="118911"/>
                    </a:cubicBezTo>
                    <a:cubicBezTo>
                      <a:pt x="257804" y="148303"/>
                      <a:pt x="241439" y="167616"/>
                      <a:pt x="217161" y="167616"/>
                    </a:cubicBezTo>
                    <a:cubicBezTo>
                      <a:pt x="208708" y="167616"/>
                      <a:pt x="200796" y="165985"/>
                      <a:pt x="191300" y="158631"/>
                    </a:cubicBezTo>
                    <a:cubicBezTo>
                      <a:pt x="187334" y="155368"/>
                      <a:pt x="183648" y="154831"/>
                      <a:pt x="179422" y="158094"/>
                    </a:cubicBezTo>
                    <a:lnTo>
                      <a:pt x="173613" y="162452"/>
                    </a:lnTo>
                    <a:cubicBezTo>
                      <a:pt x="168866" y="165985"/>
                      <a:pt x="168345" y="170879"/>
                      <a:pt x="172812" y="174700"/>
                    </a:cubicBezTo>
                    <a:cubicBezTo>
                      <a:pt x="186534" y="186123"/>
                      <a:pt x="202359" y="190481"/>
                      <a:pt x="216621" y="190481"/>
                    </a:cubicBezTo>
                    <a:lnTo>
                      <a:pt x="216658" y="190481"/>
                    </a:lnTo>
                    <a:close/>
                    <a:moveTo>
                      <a:pt x="317977" y="187755"/>
                    </a:moveTo>
                    <a:lnTo>
                      <a:pt x="326691" y="187755"/>
                    </a:lnTo>
                    <a:cubicBezTo>
                      <a:pt x="331345" y="187755"/>
                      <a:pt x="335143" y="183857"/>
                      <a:pt x="335143" y="179039"/>
                    </a:cubicBezTo>
                    <a:lnTo>
                      <a:pt x="335143" y="114016"/>
                    </a:lnTo>
                    <a:cubicBezTo>
                      <a:pt x="335143" y="86544"/>
                      <a:pt x="349386" y="70206"/>
                      <a:pt x="371560" y="70206"/>
                    </a:cubicBezTo>
                    <a:cubicBezTo>
                      <a:pt x="391612" y="70206"/>
                      <a:pt x="403229" y="83818"/>
                      <a:pt x="403229" y="108852"/>
                    </a:cubicBezTo>
                    <a:lnTo>
                      <a:pt x="403229" y="179058"/>
                    </a:lnTo>
                    <a:cubicBezTo>
                      <a:pt x="403229" y="183857"/>
                      <a:pt x="407009" y="187774"/>
                      <a:pt x="411682" y="187774"/>
                    </a:cubicBezTo>
                    <a:lnTo>
                      <a:pt x="420656" y="187774"/>
                    </a:lnTo>
                    <a:cubicBezTo>
                      <a:pt x="425310" y="187774"/>
                      <a:pt x="429108" y="183876"/>
                      <a:pt x="429108" y="179058"/>
                    </a:cubicBezTo>
                    <a:lnTo>
                      <a:pt x="429108" y="104494"/>
                    </a:lnTo>
                    <a:cubicBezTo>
                      <a:pt x="429108" y="67768"/>
                      <a:pt x="410900" y="47361"/>
                      <a:pt x="380031" y="47361"/>
                    </a:cubicBezTo>
                    <a:cubicBezTo>
                      <a:pt x="359011" y="47361"/>
                      <a:pt x="346593" y="56230"/>
                      <a:pt x="337321" y="68575"/>
                    </a:cubicBezTo>
                    <a:cubicBezTo>
                      <a:pt x="336614" y="69515"/>
                      <a:pt x="335181" y="68997"/>
                      <a:pt x="335181" y="67826"/>
                    </a:cubicBezTo>
                    <a:lnTo>
                      <a:pt x="335181" y="8716"/>
                    </a:lnTo>
                    <a:cubicBezTo>
                      <a:pt x="335125" y="3897"/>
                      <a:pt x="331345" y="0"/>
                      <a:pt x="326691" y="0"/>
                    </a:cubicBezTo>
                    <a:lnTo>
                      <a:pt x="317977" y="0"/>
                    </a:lnTo>
                    <a:cubicBezTo>
                      <a:pt x="313323" y="0"/>
                      <a:pt x="309525" y="3897"/>
                      <a:pt x="309525" y="8716"/>
                    </a:cubicBezTo>
                    <a:lnTo>
                      <a:pt x="309525" y="179039"/>
                    </a:lnTo>
                    <a:cubicBezTo>
                      <a:pt x="309525" y="183838"/>
                      <a:pt x="313304" y="187755"/>
                      <a:pt x="317977" y="187755"/>
                    </a:cubicBezTo>
                    <a:close/>
                  </a:path>
                </a:pathLst>
              </a:custGeom>
              <a:solidFill>
                <a:srgbClr val="355146"/>
              </a:solidFill>
              <a:ln w="94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s-ES_tradnl"/>
              </a:p>
            </p:txBody>
          </p:sp>
        </p:grpSp>
        <p:grpSp>
          <p:nvGrpSpPr>
            <p:cNvPr id="62" name="Grupo 61">
              <a:extLst>
                <a:ext uri="{FF2B5EF4-FFF2-40B4-BE49-F238E27FC236}">
                  <a16:creationId xmlns:a16="http://schemas.microsoft.com/office/drawing/2014/main" id="{FD4937A0-C842-459E-BE32-9913EA7B8000}"/>
                </a:ext>
              </a:extLst>
            </p:cNvPr>
            <p:cNvGrpSpPr/>
            <p:nvPr/>
          </p:nvGrpSpPr>
          <p:grpSpPr>
            <a:xfrm>
              <a:off x="841843" y="3215148"/>
              <a:ext cx="437277" cy="260532"/>
              <a:chOff x="5445137" y="2696403"/>
              <a:chExt cx="2863890" cy="1706321"/>
            </a:xfrm>
          </p:grpSpPr>
          <p:sp>
            <p:nvSpPr>
              <p:cNvPr id="58" name="Forma libre 57">
                <a:extLst>
                  <a:ext uri="{FF2B5EF4-FFF2-40B4-BE49-F238E27FC236}">
                    <a16:creationId xmlns:a16="http://schemas.microsoft.com/office/drawing/2014/main" id="{F7B0743E-36FF-4456-4C3D-410B29773E5B}"/>
                  </a:ext>
                </a:extLst>
              </p:cNvPr>
              <p:cNvSpPr/>
              <p:nvPr/>
            </p:nvSpPr>
            <p:spPr>
              <a:xfrm>
                <a:off x="5563552" y="2696403"/>
                <a:ext cx="2626994" cy="892070"/>
              </a:xfrm>
              <a:custGeom>
                <a:avLst/>
                <a:gdLst>
                  <a:gd name="connsiteX0" fmla="*/ 688658 w 2626994"/>
                  <a:gd name="connsiteY0" fmla="*/ 619704 h 892070"/>
                  <a:gd name="connsiteX1" fmla="*/ 699135 w 2626994"/>
                  <a:gd name="connsiteY1" fmla="*/ 704166 h 892070"/>
                  <a:gd name="connsiteX2" fmla="*/ 729615 w 2626994"/>
                  <a:gd name="connsiteY2" fmla="*/ 772495 h 892070"/>
                  <a:gd name="connsiteX3" fmla="*/ 736283 w 2626994"/>
                  <a:gd name="connsiteY3" fmla="*/ 794322 h 892070"/>
                  <a:gd name="connsiteX4" fmla="*/ 718185 w 2626994"/>
                  <a:gd name="connsiteY4" fmla="*/ 822793 h 892070"/>
                  <a:gd name="connsiteX5" fmla="*/ 658177 w 2626994"/>
                  <a:gd name="connsiteY5" fmla="*/ 862651 h 892070"/>
                  <a:gd name="connsiteX6" fmla="*/ 633413 w 2626994"/>
                  <a:gd name="connsiteY6" fmla="*/ 871192 h 892070"/>
                  <a:gd name="connsiteX7" fmla="*/ 604838 w 2626994"/>
                  <a:gd name="connsiteY7" fmla="*/ 857906 h 892070"/>
                  <a:gd name="connsiteX8" fmla="*/ 570548 w 2626994"/>
                  <a:gd name="connsiteY8" fmla="*/ 813302 h 892070"/>
                  <a:gd name="connsiteX9" fmla="*/ 541020 w 2626994"/>
                  <a:gd name="connsiteY9" fmla="*/ 757311 h 892070"/>
                  <a:gd name="connsiteX10" fmla="*/ 260985 w 2626994"/>
                  <a:gd name="connsiteY10" fmla="*/ 888274 h 892070"/>
                  <a:gd name="connsiteX11" fmla="*/ 70485 w 2626994"/>
                  <a:gd name="connsiteY11" fmla="*/ 819946 h 892070"/>
                  <a:gd name="connsiteX12" fmla="*/ 0 w 2626994"/>
                  <a:gd name="connsiteY12" fmla="*/ 637735 h 892070"/>
                  <a:gd name="connsiteX13" fmla="*/ 86678 w 2626994"/>
                  <a:gd name="connsiteY13" fmla="*/ 442239 h 892070"/>
                  <a:gd name="connsiteX14" fmla="*/ 320040 w 2626994"/>
                  <a:gd name="connsiteY14" fmla="*/ 368216 h 892070"/>
                  <a:gd name="connsiteX15" fmla="*/ 421005 w 2626994"/>
                  <a:gd name="connsiteY15" fmla="*/ 375808 h 892070"/>
                  <a:gd name="connsiteX16" fmla="*/ 530543 w 2626994"/>
                  <a:gd name="connsiteY16" fmla="*/ 396687 h 892070"/>
                  <a:gd name="connsiteX17" fmla="*/ 530543 w 2626994"/>
                  <a:gd name="connsiteY17" fmla="*/ 327409 h 892070"/>
                  <a:gd name="connsiteX18" fmla="*/ 485775 w 2626994"/>
                  <a:gd name="connsiteY18" fmla="*/ 175567 h 892070"/>
                  <a:gd name="connsiteX19" fmla="*/ 330518 w 2626994"/>
                  <a:gd name="connsiteY19" fmla="*/ 131913 h 892070"/>
                  <a:gd name="connsiteX20" fmla="*/ 227648 w 2626994"/>
                  <a:gd name="connsiteY20" fmla="*/ 144250 h 892070"/>
                  <a:gd name="connsiteX21" fmla="*/ 124778 w 2626994"/>
                  <a:gd name="connsiteY21" fmla="*/ 176516 h 892070"/>
                  <a:gd name="connsiteX22" fmla="*/ 91440 w 2626994"/>
                  <a:gd name="connsiteY22" fmla="*/ 188853 h 892070"/>
                  <a:gd name="connsiteX23" fmla="*/ 76200 w 2626994"/>
                  <a:gd name="connsiteY23" fmla="*/ 191700 h 892070"/>
                  <a:gd name="connsiteX24" fmla="*/ 56197 w 2626994"/>
                  <a:gd name="connsiteY24" fmla="*/ 162281 h 892070"/>
                  <a:gd name="connsiteX25" fmla="*/ 56197 w 2626994"/>
                  <a:gd name="connsiteY25" fmla="*/ 115779 h 892070"/>
                  <a:gd name="connsiteX26" fmla="*/ 62865 w 2626994"/>
                  <a:gd name="connsiteY26" fmla="*/ 82564 h 892070"/>
                  <a:gd name="connsiteX27" fmla="*/ 89535 w 2626994"/>
                  <a:gd name="connsiteY27" fmla="*/ 62635 h 892070"/>
                  <a:gd name="connsiteX28" fmla="*/ 209550 w 2626994"/>
                  <a:gd name="connsiteY28" fmla="*/ 19929 h 892070"/>
                  <a:gd name="connsiteX29" fmla="*/ 358140 w 2626994"/>
                  <a:gd name="connsiteY29" fmla="*/ 1898 h 892070"/>
                  <a:gd name="connsiteX30" fmla="*/ 607695 w 2626994"/>
                  <a:gd name="connsiteY30" fmla="*/ 78768 h 892070"/>
                  <a:gd name="connsiteX31" fmla="*/ 686752 w 2626994"/>
                  <a:gd name="connsiteY31" fmla="*/ 312225 h 892070"/>
                  <a:gd name="connsiteX32" fmla="*/ 686752 w 2626994"/>
                  <a:gd name="connsiteY32" fmla="*/ 619704 h 892070"/>
                  <a:gd name="connsiteX33" fmla="*/ 301943 w 2626994"/>
                  <a:gd name="connsiteY33" fmla="*/ 763954 h 892070"/>
                  <a:gd name="connsiteX34" fmla="*/ 400050 w 2626994"/>
                  <a:gd name="connsiteY34" fmla="*/ 746872 h 892070"/>
                  <a:gd name="connsiteX35" fmla="*/ 490537 w 2626994"/>
                  <a:gd name="connsiteY35" fmla="*/ 686135 h 892070"/>
                  <a:gd name="connsiteX36" fmla="*/ 522923 w 2626994"/>
                  <a:gd name="connsiteY36" fmla="*/ 625398 h 892070"/>
                  <a:gd name="connsiteX37" fmla="*/ 532448 w 2626994"/>
                  <a:gd name="connsiteY37" fmla="*/ 542834 h 892070"/>
                  <a:gd name="connsiteX38" fmla="*/ 532448 w 2626994"/>
                  <a:gd name="connsiteY38" fmla="*/ 502976 h 892070"/>
                  <a:gd name="connsiteX39" fmla="*/ 444818 w 2626994"/>
                  <a:gd name="connsiteY39" fmla="*/ 486843 h 892070"/>
                  <a:gd name="connsiteX40" fmla="*/ 355283 w 2626994"/>
                  <a:gd name="connsiteY40" fmla="*/ 481149 h 892070"/>
                  <a:gd name="connsiteX41" fmla="*/ 213360 w 2626994"/>
                  <a:gd name="connsiteY41" fmla="*/ 519109 h 892070"/>
                  <a:gd name="connsiteX42" fmla="*/ 166688 w 2626994"/>
                  <a:gd name="connsiteY42" fmla="*/ 628245 h 892070"/>
                  <a:gd name="connsiteX43" fmla="*/ 201930 w 2626994"/>
                  <a:gd name="connsiteY43" fmla="*/ 728840 h 892070"/>
                  <a:gd name="connsiteX44" fmla="*/ 301943 w 2626994"/>
                  <a:gd name="connsiteY44" fmla="*/ 763954 h 892070"/>
                  <a:gd name="connsiteX45" fmla="*/ 1066800 w 2626994"/>
                  <a:gd name="connsiteY45" fmla="*/ 866447 h 892070"/>
                  <a:gd name="connsiteX46" fmla="*/ 1030605 w 2626994"/>
                  <a:gd name="connsiteY46" fmla="*/ 856957 h 892070"/>
                  <a:gd name="connsiteX47" fmla="*/ 1010602 w 2626994"/>
                  <a:gd name="connsiteY47" fmla="*/ 819946 h 892070"/>
                  <a:gd name="connsiteX48" fmla="*/ 786765 w 2626994"/>
                  <a:gd name="connsiteY48" fmla="*/ 86360 h 892070"/>
                  <a:gd name="connsiteX49" fmla="*/ 778193 w 2626994"/>
                  <a:gd name="connsiteY49" fmla="*/ 48400 h 892070"/>
                  <a:gd name="connsiteX50" fmla="*/ 801052 w 2626994"/>
                  <a:gd name="connsiteY50" fmla="*/ 24674 h 892070"/>
                  <a:gd name="connsiteX51" fmla="*/ 894398 w 2626994"/>
                  <a:gd name="connsiteY51" fmla="*/ 24674 h 892070"/>
                  <a:gd name="connsiteX52" fmla="*/ 931545 w 2626994"/>
                  <a:gd name="connsiteY52" fmla="*/ 34164 h 892070"/>
                  <a:gd name="connsiteX53" fmla="*/ 950595 w 2626994"/>
                  <a:gd name="connsiteY53" fmla="*/ 71176 h 892070"/>
                  <a:gd name="connsiteX54" fmla="*/ 1110615 w 2626994"/>
                  <a:gd name="connsiteY54" fmla="*/ 699421 h 892070"/>
                  <a:gd name="connsiteX55" fmla="*/ 1259205 w 2626994"/>
                  <a:gd name="connsiteY55" fmla="*/ 71176 h 892070"/>
                  <a:gd name="connsiteX56" fmla="*/ 1277303 w 2626994"/>
                  <a:gd name="connsiteY56" fmla="*/ 34164 h 892070"/>
                  <a:gd name="connsiteX57" fmla="*/ 1315403 w 2626994"/>
                  <a:gd name="connsiteY57" fmla="*/ 24674 h 892070"/>
                  <a:gd name="connsiteX58" fmla="*/ 1391603 w 2626994"/>
                  <a:gd name="connsiteY58" fmla="*/ 24674 h 892070"/>
                  <a:gd name="connsiteX59" fmla="*/ 1429703 w 2626994"/>
                  <a:gd name="connsiteY59" fmla="*/ 34164 h 892070"/>
                  <a:gd name="connsiteX60" fmla="*/ 1447800 w 2626994"/>
                  <a:gd name="connsiteY60" fmla="*/ 71176 h 892070"/>
                  <a:gd name="connsiteX61" fmla="*/ 1598295 w 2626994"/>
                  <a:gd name="connsiteY61" fmla="*/ 707013 h 892070"/>
                  <a:gd name="connsiteX62" fmla="*/ 1763078 w 2626994"/>
                  <a:gd name="connsiteY62" fmla="*/ 71176 h 892070"/>
                  <a:gd name="connsiteX63" fmla="*/ 1782128 w 2626994"/>
                  <a:gd name="connsiteY63" fmla="*/ 34164 h 892070"/>
                  <a:gd name="connsiteX64" fmla="*/ 1819275 w 2626994"/>
                  <a:gd name="connsiteY64" fmla="*/ 24674 h 892070"/>
                  <a:gd name="connsiteX65" fmla="*/ 1907858 w 2626994"/>
                  <a:gd name="connsiteY65" fmla="*/ 24674 h 892070"/>
                  <a:gd name="connsiteX66" fmla="*/ 1931670 w 2626994"/>
                  <a:gd name="connsiteY66" fmla="*/ 48400 h 892070"/>
                  <a:gd name="connsiteX67" fmla="*/ 1929765 w 2626994"/>
                  <a:gd name="connsiteY67" fmla="*/ 63584 h 892070"/>
                  <a:gd name="connsiteX68" fmla="*/ 1923098 w 2626994"/>
                  <a:gd name="connsiteY68" fmla="*/ 87309 h 892070"/>
                  <a:gd name="connsiteX69" fmla="*/ 1693545 w 2626994"/>
                  <a:gd name="connsiteY69" fmla="*/ 820895 h 892070"/>
                  <a:gd name="connsiteX70" fmla="*/ 1673543 w 2626994"/>
                  <a:gd name="connsiteY70" fmla="*/ 857906 h 892070"/>
                  <a:gd name="connsiteX71" fmla="*/ 1637348 w 2626994"/>
                  <a:gd name="connsiteY71" fmla="*/ 867396 h 892070"/>
                  <a:gd name="connsiteX72" fmla="*/ 1555433 w 2626994"/>
                  <a:gd name="connsiteY72" fmla="*/ 867396 h 892070"/>
                  <a:gd name="connsiteX73" fmla="*/ 1517333 w 2626994"/>
                  <a:gd name="connsiteY73" fmla="*/ 857906 h 892070"/>
                  <a:gd name="connsiteX74" fmla="*/ 1499235 w 2626994"/>
                  <a:gd name="connsiteY74" fmla="*/ 819946 h 892070"/>
                  <a:gd name="connsiteX75" fmla="*/ 1351598 w 2626994"/>
                  <a:gd name="connsiteY75" fmla="*/ 207833 h 892070"/>
                  <a:gd name="connsiteX76" fmla="*/ 1204913 w 2626994"/>
                  <a:gd name="connsiteY76" fmla="*/ 818997 h 892070"/>
                  <a:gd name="connsiteX77" fmla="*/ 1186815 w 2626994"/>
                  <a:gd name="connsiteY77" fmla="*/ 856957 h 892070"/>
                  <a:gd name="connsiteX78" fmla="*/ 1148715 w 2626994"/>
                  <a:gd name="connsiteY78" fmla="*/ 866447 h 892070"/>
                  <a:gd name="connsiteX79" fmla="*/ 1066800 w 2626994"/>
                  <a:gd name="connsiteY79" fmla="*/ 866447 h 892070"/>
                  <a:gd name="connsiteX80" fmla="*/ 2290763 w 2626994"/>
                  <a:gd name="connsiteY80" fmla="*/ 892070 h 892070"/>
                  <a:gd name="connsiteX81" fmla="*/ 2144078 w 2626994"/>
                  <a:gd name="connsiteY81" fmla="*/ 874988 h 892070"/>
                  <a:gd name="connsiteX82" fmla="*/ 2034540 w 2626994"/>
                  <a:gd name="connsiteY82" fmla="*/ 837028 h 892070"/>
                  <a:gd name="connsiteX83" fmla="*/ 2005013 w 2626994"/>
                  <a:gd name="connsiteY83" fmla="*/ 810455 h 892070"/>
                  <a:gd name="connsiteX84" fmla="*/ 1999298 w 2626994"/>
                  <a:gd name="connsiteY84" fmla="*/ 783883 h 892070"/>
                  <a:gd name="connsiteX85" fmla="*/ 1999298 w 2626994"/>
                  <a:gd name="connsiteY85" fmla="*/ 735484 h 892070"/>
                  <a:gd name="connsiteX86" fmla="*/ 2021205 w 2626994"/>
                  <a:gd name="connsiteY86" fmla="*/ 706064 h 892070"/>
                  <a:gd name="connsiteX87" fmla="*/ 2038350 w 2626994"/>
                  <a:gd name="connsiteY87" fmla="*/ 708911 h 892070"/>
                  <a:gd name="connsiteX88" fmla="*/ 2062163 w 2626994"/>
                  <a:gd name="connsiteY88" fmla="*/ 718401 h 892070"/>
                  <a:gd name="connsiteX89" fmla="*/ 2166938 w 2626994"/>
                  <a:gd name="connsiteY89" fmla="*/ 751617 h 892070"/>
                  <a:gd name="connsiteX90" fmla="*/ 2280285 w 2626994"/>
                  <a:gd name="connsiteY90" fmla="*/ 763005 h 892070"/>
                  <a:gd name="connsiteX91" fmla="*/ 2419350 w 2626994"/>
                  <a:gd name="connsiteY91" fmla="*/ 731687 h 892070"/>
                  <a:gd name="connsiteX92" fmla="*/ 2468880 w 2626994"/>
                  <a:gd name="connsiteY92" fmla="*/ 641531 h 892070"/>
                  <a:gd name="connsiteX93" fmla="*/ 2443163 w 2626994"/>
                  <a:gd name="connsiteY93" fmla="*/ 575101 h 892070"/>
                  <a:gd name="connsiteX94" fmla="*/ 2346960 w 2626994"/>
                  <a:gd name="connsiteY94" fmla="*/ 525752 h 892070"/>
                  <a:gd name="connsiteX95" fmla="*/ 2208848 w 2626994"/>
                  <a:gd name="connsiteY95" fmla="*/ 483047 h 892070"/>
                  <a:gd name="connsiteX96" fmla="*/ 2056448 w 2626994"/>
                  <a:gd name="connsiteY96" fmla="*/ 386247 h 892070"/>
                  <a:gd name="connsiteX97" fmla="*/ 2008823 w 2626994"/>
                  <a:gd name="connsiteY97" fmla="*/ 248641 h 892070"/>
                  <a:gd name="connsiteX98" fmla="*/ 2034540 w 2626994"/>
                  <a:gd name="connsiteY98" fmla="*/ 143301 h 892070"/>
                  <a:gd name="connsiteX99" fmla="*/ 2103120 w 2626994"/>
                  <a:gd name="connsiteY99" fmla="*/ 65482 h 892070"/>
                  <a:gd name="connsiteX100" fmla="*/ 2202180 w 2626994"/>
                  <a:gd name="connsiteY100" fmla="*/ 16133 h 892070"/>
                  <a:gd name="connsiteX101" fmla="*/ 2322195 w 2626994"/>
                  <a:gd name="connsiteY101" fmla="*/ 0 h 892070"/>
                  <a:gd name="connsiteX102" fmla="*/ 2386013 w 2626994"/>
                  <a:gd name="connsiteY102" fmla="*/ 3796 h 892070"/>
                  <a:gd name="connsiteX103" fmla="*/ 2447925 w 2626994"/>
                  <a:gd name="connsiteY103" fmla="*/ 14235 h 892070"/>
                  <a:gd name="connsiteX104" fmla="*/ 2502218 w 2626994"/>
                  <a:gd name="connsiteY104" fmla="*/ 29419 h 892070"/>
                  <a:gd name="connsiteX105" fmla="*/ 2542223 w 2626994"/>
                  <a:gd name="connsiteY105" fmla="*/ 46502 h 892070"/>
                  <a:gd name="connsiteX106" fmla="*/ 2570798 w 2626994"/>
                  <a:gd name="connsiteY106" fmla="*/ 70227 h 892070"/>
                  <a:gd name="connsiteX107" fmla="*/ 2579370 w 2626994"/>
                  <a:gd name="connsiteY107" fmla="*/ 101544 h 892070"/>
                  <a:gd name="connsiteX108" fmla="*/ 2579370 w 2626994"/>
                  <a:gd name="connsiteY108" fmla="*/ 146148 h 892070"/>
                  <a:gd name="connsiteX109" fmla="*/ 2557463 w 2626994"/>
                  <a:gd name="connsiteY109" fmla="*/ 176516 h 892070"/>
                  <a:gd name="connsiteX110" fmla="*/ 2521268 w 2626994"/>
                  <a:gd name="connsiteY110" fmla="*/ 165128 h 892070"/>
                  <a:gd name="connsiteX111" fmla="*/ 2338388 w 2626994"/>
                  <a:gd name="connsiteY111" fmla="*/ 128116 h 892070"/>
                  <a:gd name="connsiteX112" fmla="*/ 2211705 w 2626994"/>
                  <a:gd name="connsiteY112" fmla="*/ 154689 h 892070"/>
                  <a:gd name="connsiteX113" fmla="*/ 2166938 w 2626994"/>
                  <a:gd name="connsiteY113" fmla="*/ 239151 h 892070"/>
                  <a:gd name="connsiteX114" fmla="*/ 2195513 w 2626994"/>
                  <a:gd name="connsiteY114" fmla="*/ 306531 h 892070"/>
                  <a:gd name="connsiteX115" fmla="*/ 2300288 w 2626994"/>
                  <a:gd name="connsiteY115" fmla="*/ 358726 h 892070"/>
                  <a:gd name="connsiteX116" fmla="*/ 2435543 w 2626994"/>
                  <a:gd name="connsiteY116" fmla="*/ 401432 h 892070"/>
                  <a:gd name="connsiteX117" fmla="*/ 2583180 w 2626994"/>
                  <a:gd name="connsiteY117" fmla="*/ 492537 h 892070"/>
                  <a:gd name="connsiteX118" fmla="*/ 2626995 w 2626994"/>
                  <a:gd name="connsiteY118" fmla="*/ 625398 h 892070"/>
                  <a:gd name="connsiteX119" fmla="*/ 2602230 w 2626994"/>
                  <a:gd name="connsiteY119" fmla="*/ 735484 h 892070"/>
                  <a:gd name="connsiteX120" fmla="*/ 2532698 w 2626994"/>
                  <a:gd name="connsiteY120" fmla="*/ 818997 h 892070"/>
                  <a:gd name="connsiteX121" fmla="*/ 2426970 w 2626994"/>
                  <a:gd name="connsiteY121" fmla="*/ 872141 h 892070"/>
                  <a:gd name="connsiteX122" fmla="*/ 2290763 w 2626994"/>
                  <a:gd name="connsiteY122" fmla="*/ 892070 h 892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2626994" h="892070">
                    <a:moveTo>
                      <a:pt x="688658" y="619704"/>
                    </a:moveTo>
                    <a:cubicBezTo>
                      <a:pt x="688658" y="654818"/>
                      <a:pt x="692468" y="683288"/>
                      <a:pt x="699135" y="704166"/>
                    </a:cubicBezTo>
                    <a:cubicBezTo>
                      <a:pt x="706755" y="725044"/>
                      <a:pt x="716280" y="747821"/>
                      <a:pt x="729615" y="772495"/>
                    </a:cubicBezTo>
                    <a:cubicBezTo>
                      <a:pt x="734377" y="780087"/>
                      <a:pt x="736283" y="787679"/>
                      <a:pt x="736283" y="794322"/>
                    </a:cubicBezTo>
                    <a:cubicBezTo>
                      <a:pt x="736283" y="803812"/>
                      <a:pt x="730568" y="813302"/>
                      <a:pt x="718185" y="822793"/>
                    </a:cubicBezTo>
                    <a:lnTo>
                      <a:pt x="658177" y="862651"/>
                    </a:lnTo>
                    <a:cubicBezTo>
                      <a:pt x="649605" y="868345"/>
                      <a:pt x="641033" y="871192"/>
                      <a:pt x="633413" y="871192"/>
                    </a:cubicBezTo>
                    <a:cubicBezTo>
                      <a:pt x="623888" y="871192"/>
                      <a:pt x="614363" y="866447"/>
                      <a:pt x="604838" y="857906"/>
                    </a:cubicBezTo>
                    <a:cubicBezTo>
                      <a:pt x="591502" y="843671"/>
                      <a:pt x="580073" y="828487"/>
                      <a:pt x="570548" y="813302"/>
                    </a:cubicBezTo>
                    <a:cubicBezTo>
                      <a:pt x="561023" y="797169"/>
                      <a:pt x="551498" y="779138"/>
                      <a:pt x="541020" y="757311"/>
                    </a:cubicBezTo>
                    <a:cubicBezTo>
                      <a:pt x="466725" y="844620"/>
                      <a:pt x="373380" y="888274"/>
                      <a:pt x="260985" y="888274"/>
                    </a:cubicBezTo>
                    <a:cubicBezTo>
                      <a:pt x="180975" y="888274"/>
                      <a:pt x="117157" y="865498"/>
                      <a:pt x="70485" y="819946"/>
                    </a:cubicBezTo>
                    <a:cubicBezTo>
                      <a:pt x="23813" y="774393"/>
                      <a:pt x="0" y="713656"/>
                      <a:pt x="0" y="637735"/>
                    </a:cubicBezTo>
                    <a:cubicBezTo>
                      <a:pt x="0" y="557069"/>
                      <a:pt x="28575" y="491588"/>
                      <a:pt x="86678" y="442239"/>
                    </a:cubicBezTo>
                    <a:cubicBezTo>
                      <a:pt x="144780" y="392891"/>
                      <a:pt x="221933" y="368216"/>
                      <a:pt x="320040" y="368216"/>
                    </a:cubicBezTo>
                    <a:cubicBezTo>
                      <a:pt x="352425" y="368216"/>
                      <a:pt x="385762" y="371063"/>
                      <a:pt x="421005" y="375808"/>
                    </a:cubicBezTo>
                    <a:cubicBezTo>
                      <a:pt x="456248" y="380553"/>
                      <a:pt x="492443" y="388146"/>
                      <a:pt x="530543" y="396687"/>
                    </a:cubicBezTo>
                    <a:lnTo>
                      <a:pt x="530543" y="327409"/>
                    </a:lnTo>
                    <a:cubicBezTo>
                      <a:pt x="530543" y="255284"/>
                      <a:pt x="515302" y="204986"/>
                      <a:pt x="485775" y="175567"/>
                    </a:cubicBezTo>
                    <a:cubicBezTo>
                      <a:pt x="455295" y="146148"/>
                      <a:pt x="403860" y="131913"/>
                      <a:pt x="330518" y="131913"/>
                    </a:cubicBezTo>
                    <a:cubicBezTo>
                      <a:pt x="297180" y="131913"/>
                      <a:pt x="262890" y="135709"/>
                      <a:pt x="227648" y="144250"/>
                    </a:cubicBezTo>
                    <a:cubicBezTo>
                      <a:pt x="192405" y="152791"/>
                      <a:pt x="158115" y="163230"/>
                      <a:pt x="124778" y="176516"/>
                    </a:cubicBezTo>
                    <a:cubicBezTo>
                      <a:pt x="109538" y="183159"/>
                      <a:pt x="98107" y="186955"/>
                      <a:pt x="91440" y="188853"/>
                    </a:cubicBezTo>
                    <a:cubicBezTo>
                      <a:pt x="84773" y="190751"/>
                      <a:pt x="80010" y="191700"/>
                      <a:pt x="76200" y="191700"/>
                    </a:cubicBezTo>
                    <a:cubicBezTo>
                      <a:pt x="62865" y="191700"/>
                      <a:pt x="56197" y="182210"/>
                      <a:pt x="56197" y="162281"/>
                    </a:cubicBezTo>
                    <a:lnTo>
                      <a:pt x="56197" y="115779"/>
                    </a:lnTo>
                    <a:cubicBezTo>
                      <a:pt x="56197" y="100595"/>
                      <a:pt x="58103" y="89207"/>
                      <a:pt x="62865" y="82564"/>
                    </a:cubicBezTo>
                    <a:cubicBezTo>
                      <a:pt x="67628" y="75921"/>
                      <a:pt x="76200" y="69278"/>
                      <a:pt x="89535" y="62635"/>
                    </a:cubicBezTo>
                    <a:cubicBezTo>
                      <a:pt x="122873" y="45553"/>
                      <a:pt x="162878" y="31317"/>
                      <a:pt x="209550" y="19929"/>
                    </a:cubicBezTo>
                    <a:cubicBezTo>
                      <a:pt x="256223" y="7592"/>
                      <a:pt x="305753" y="1898"/>
                      <a:pt x="358140" y="1898"/>
                    </a:cubicBezTo>
                    <a:cubicBezTo>
                      <a:pt x="471487" y="1898"/>
                      <a:pt x="554355" y="27521"/>
                      <a:pt x="607695" y="78768"/>
                    </a:cubicBezTo>
                    <a:cubicBezTo>
                      <a:pt x="660083" y="130015"/>
                      <a:pt x="686752" y="207833"/>
                      <a:pt x="686752" y="312225"/>
                    </a:cubicBezTo>
                    <a:lnTo>
                      <a:pt x="686752" y="619704"/>
                    </a:lnTo>
                    <a:close/>
                    <a:moveTo>
                      <a:pt x="301943" y="763954"/>
                    </a:moveTo>
                    <a:cubicBezTo>
                      <a:pt x="333375" y="763954"/>
                      <a:pt x="365760" y="758260"/>
                      <a:pt x="400050" y="746872"/>
                    </a:cubicBezTo>
                    <a:cubicBezTo>
                      <a:pt x="434340" y="735484"/>
                      <a:pt x="464820" y="714605"/>
                      <a:pt x="490537" y="686135"/>
                    </a:cubicBezTo>
                    <a:cubicBezTo>
                      <a:pt x="505777" y="668104"/>
                      <a:pt x="517208" y="648175"/>
                      <a:pt x="522923" y="625398"/>
                    </a:cubicBezTo>
                    <a:cubicBezTo>
                      <a:pt x="528638" y="602622"/>
                      <a:pt x="532448" y="575101"/>
                      <a:pt x="532448" y="542834"/>
                    </a:cubicBezTo>
                    <a:lnTo>
                      <a:pt x="532448" y="502976"/>
                    </a:lnTo>
                    <a:cubicBezTo>
                      <a:pt x="504825" y="496333"/>
                      <a:pt x="475298" y="490639"/>
                      <a:pt x="444818" y="486843"/>
                    </a:cubicBezTo>
                    <a:cubicBezTo>
                      <a:pt x="414337" y="483047"/>
                      <a:pt x="384810" y="481149"/>
                      <a:pt x="355283" y="481149"/>
                    </a:cubicBezTo>
                    <a:cubicBezTo>
                      <a:pt x="291465" y="481149"/>
                      <a:pt x="244792" y="493486"/>
                      <a:pt x="213360" y="519109"/>
                    </a:cubicBezTo>
                    <a:cubicBezTo>
                      <a:pt x="181928" y="544732"/>
                      <a:pt x="166688" y="580795"/>
                      <a:pt x="166688" y="628245"/>
                    </a:cubicBezTo>
                    <a:cubicBezTo>
                      <a:pt x="166688" y="672849"/>
                      <a:pt x="178117" y="706064"/>
                      <a:pt x="201930" y="728840"/>
                    </a:cubicBezTo>
                    <a:cubicBezTo>
                      <a:pt x="224790" y="752566"/>
                      <a:pt x="258128" y="763954"/>
                      <a:pt x="301943" y="763954"/>
                    </a:cubicBezTo>
                    <a:close/>
                    <a:moveTo>
                      <a:pt x="1066800" y="866447"/>
                    </a:moveTo>
                    <a:cubicBezTo>
                      <a:pt x="1049655" y="866447"/>
                      <a:pt x="1038225" y="863600"/>
                      <a:pt x="1030605" y="856957"/>
                    </a:cubicBezTo>
                    <a:cubicBezTo>
                      <a:pt x="1022985" y="851263"/>
                      <a:pt x="1016318" y="837977"/>
                      <a:pt x="1010602" y="819946"/>
                    </a:cubicBezTo>
                    <a:lnTo>
                      <a:pt x="786765" y="86360"/>
                    </a:lnTo>
                    <a:cubicBezTo>
                      <a:pt x="781050" y="67380"/>
                      <a:pt x="778193" y="55043"/>
                      <a:pt x="778193" y="48400"/>
                    </a:cubicBezTo>
                    <a:cubicBezTo>
                      <a:pt x="778193" y="33215"/>
                      <a:pt x="785813" y="24674"/>
                      <a:pt x="801052" y="24674"/>
                    </a:cubicBezTo>
                    <a:lnTo>
                      <a:pt x="894398" y="24674"/>
                    </a:lnTo>
                    <a:cubicBezTo>
                      <a:pt x="912495" y="24674"/>
                      <a:pt x="924877" y="27521"/>
                      <a:pt x="931545" y="34164"/>
                    </a:cubicBezTo>
                    <a:cubicBezTo>
                      <a:pt x="939165" y="39858"/>
                      <a:pt x="944880" y="53145"/>
                      <a:pt x="950595" y="71176"/>
                    </a:cubicBezTo>
                    <a:lnTo>
                      <a:pt x="1110615" y="699421"/>
                    </a:lnTo>
                    <a:lnTo>
                      <a:pt x="1259205" y="71176"/>
                    </a:lnTo>
                    <a:cubicBezTo>
                      <a:pt x="1263968" y="52196"/>
                      <a:pt x="1269683" y="39858"/>
                      <a:pt x="1277303" y="34164"/>
                    </a:cubicBezTo>
                    <a:cubicBezTo>
                      <a:pt x="1284923" y="28470"/>
                      <a:pt x="1298258" y="24674"/>
                      <a:pt x="1315403" y="24674"/>
                    </a:cubicBezTo>
                    <a:lnTo>
                      <a:pt x="1391603" y="24674"/>
                    </a:lnTo>
                    <a:cubicBezTo>
                      <a:pt x="1409700" y="24674"/>
                      <a:pt x="1422083" y="27521"/>
                      <a:pt x="1429703" y="34164"/>
                    </a:cubicBezTo>
                    <a:cubicBezTo>
                      <a:pt x="1437323" y="39858"/>
                      <a:pt x="1443990" y="53145"/>
                      <a:pt x="1447800" y="71176"/>
                    </a:cubicBezTo>
                    <a:lnTo>
                      <a:pt x="1598295" y="707013"/>
                    </a:lnTo>
                    <a:lnTo>
                      <a:pt x="1763078" y="71176"/>
                    </a:lnTo>
                    <a:cubicBezTo>
                      <a:pt x="1768793" y="52196"/>
                      <a:pt x="1775460" y="39858"/>
                      <a:pt x="1782128" y="34164"/>
                    </a:cubicBezTo>
                    <a:cubicBezTo>
                      <a:pt x="1789748" y="28470"/>
                      <a:pt x="1802130" y="24674"/>
                      <a:pt x="1819275" y="24674"/>
                    </a:cubicBezTo>
                    <a:lnTo>
                      <a:pt x="1907858" y="24674"/>
                    </a:lnTo>
                    <a:cubicBezTo>
                      <a:pt x="1923098" y="24674"/>
                      <a:pt x="1931670" y="32266"/>
                      <a:pt x="1931670" y="48400"/>
                    </a:cubicBezTo>
                    <a:cubicBezTo>
                      <a:pt x="1931670" y="53145"/>
                      <a:pt x="1930718" y="57890"/>
                      <a:pt x="1929765" y="63584"/>
                    </a:cubicBezTo>
                    <a:cubicBezTo>
                      <a:pt x="1928813" y="69278"/>
                      <a:pt x="1926908" y="76870"/>
                      <a:pt x="1923098" y="87309"/>
                    </a:cubicBezTo>
                    <a:lnTo>
                      <a:pt x="1693545" y="820895"/>
                    </a:lnTo>
                    <a:cubicBezTo>
                      <a:pt x="1687830" y="839875"/>
                      <a:pt x="1681163" y="852212"/>
                      <a:pt x="1673543" y="857906"/>
                    </a:cubicBezTo>
                    <a:cubicBezTo>
                      <a:pt x="1665923" y="863600"/>
                      <a:pt x="1653540" y="867396"/>
                      <a:pt x="1637348" y="867396"/>
                    </a:cubicBezTo>
                    <a:lnTo>
                      <a:pt x="1555433" y="867396"/>
                    </a:lnTo>
                    <a:cubicBezTo>
                      <a:pt x="1537335" y="867396"/>
                      <a:pt x="1524953" y="864549"/>
                      <a:pt x="1517333" y="857906"/>
                    </a:cubicBezTo>
                    <a:cubicBezTo>
                      <a:pt x="1509713" y="851263"/>
                      <a:pt x="1503045" y="838926"/>
                      <a:pt x="1499235" y="819946"/>
                    </a:cubicBezTo>
                    <a:lnTo>
                      <a:pt x="1351598" y="207833"/>
                    </a:lnTo>
                    <a:lnTo>
                      <a:pt x="1204913" y="818997"/>
                    </a:lnTo>
                    <a:cubicBezTo>
                      <a:pt x="1200150" y="837977"/>
                      <a:pt x="1194435" y="850314"/>
                      <a:pt x="1186815" y="856957"/>
                    </a:cubicBezTo>
                    <a:cubicBezTo>
                      <a:pt x="1179195" y="863600"/>
                      <a:pt x="1165860" y="866447"/>
                      <a:pt x="1148715" y="866447"/>
                    </a:cubicBezTo>
                    <a:lnTo>
                      <a:pt x="1066800" y="866447"/>
                    </a:lnTo>
                    <a:close/>
                    <a:moveTo>
                      <a:pt x="2290763" y="892070"/>
                    </a:moveTo>
                    <a:cubicBezTo>
                      <a:pt x="2241233" y="892070"/>
                      <a:pt x="2191703" y="886376"/>
                      <a:pt x="2144078" y="874988"/>
                    </a:cubicBezTo>
                    <a:cubicBezTo>
                      <a:pt x="2096453" y="863600"/>
                      <a:pt x="2059305" y="851263"/>
                      <a:pt x="2034540" y="837028"/>
                    </a:cubicBezTo>
                    <a:cubicBezTo>
                      <a:pt x="2019300" y="828487"/>
                      <a:pt x="2008823" y="818997"/>
                      <a:pt x="2005013" y="810455"/>
                    </a:cubicBezTo>
                    <a:cubicBezTo>
                      <a:pt x="2001203" y="801914"/>
                      <a:pt x="1999298" y="792424"/>
                      <a:pt x="1999298" y="783883"/>
                    </a:cubicBezTo>
                    <a:lnTo>
                      <a:pt x="1999298" y="735484"/>
                    </a:lnTo>
                    <a:cubicBezTo>
                      <a:pt x="1999298" y="715554"/>
                      <a:pt x="2006918" y="706064"/>
                      <a:pt x="2021205" y="706064"/>
                    </a:cubicBezTo>
                    <a:cubicBezTo>
                      <a:pt x="2026920" y="706064"/>
                      <a:pt x="2032635" y="707013"/>
                      <a:pt x="2038350" y="708911"/>
                    </a:cubicBezTo>
                    <a:cubicBezTo>
                      <a:pt x="2044065" y="710809"/>
                      <a:pt x="2052638" y="714605"/>
                      <a:pt x="2062163" y="718401"/>
                    </a:cubicBezTo>
                    <a:cubicBezTo>
                      <a:pt x="2094548" y="732637"/>
                      <a:pt x="2129790" y="744025"/>
                      <a:pt x="2166938" y="751617"/>
                    </a:cubicBezTo>
                    <a:cubicBezTo>
                      <a:pt x="2205038" y="759209"/>
                      <a:pt x="2242185" y="763005"/>
                      <a:pt x="2280285" y="763005"/>
                    </a:cubicBezTo>
                    <a:cubicBezTo>
                      <a:pt x="2340293" y="763005"/>
                      <a:pt x="2386965" y="752566"/>
                      <a:pt x="2419350" y="731687"/>
                    </a:cubicBezTo>
                    <a:cubicBezTo>
                      <a:pt x="2451735" y="710809"/>
                      <a:pt x="2468880" y="680441"/>
                      <a:pt x="2468880" y="641531"/>
                    </a:cubicBezTo>
                    <a:cubicBezTo>
                      <a:pt x="2468880" y="614959"/>
                      <a:pt x="2460308" y="593132"/>
                      <a:pt x="2443163" y="575101"/>
                    </a:cubicBezTo>
                    <a:cubicBezTo>
                      <a:pt x="2426018" y="557069"/>
                      <a:pt x="2393633" y="540936"/>
                      <a:pt x="2346960" y="525752"/>
                    </a:cubicBezTo>
                    <a:lnTo>
                      <a:pt x="2208848" y="483047"/>
                    </a:lnTo>
                    <a:cubicBezTo>
                      <a:pt x="2139315" y="461219"/>
                      <a:pt x="2087880" y="428953"/>
                      <a:pt x="2056448" y="386247"/>
                    </a:cubicBezTo>
                    <a:cubicBezTo>
                      <a:pt x="2025015" y="344491"/>
                      <a:pt x="2008823" y="297989"/>
                      <a:pt x="2008823" y="248641"/>
                    </a:cubicBezTo>
                    <a:cubicBezTo>
                      <a:pt x="2008823" y="208782"/>
                      <a:pt x="2017395" y="173669"/>
                      <a:pt x="2034540" y="143301"/>
                    </a:cubicBezTo>
                    <a:cubicBezTo>
                      <a:pt x="2051685" y="112932"/>
                      <a:pt x="2074545" y="86360"/>
                      <a:pt x="2103120" y="65482"/>
                    </a:cubicBezTo>
                    <a:cubicBezTo>
                      <a:pt x="2131695" y="43655"/>
                      <a:pt x="2164080" y="27521"/>
                      <a:pt x="2202180" y="16133"/>
                    </a:cubicBezTo>
                    <a:cubicBezTo>
                      <a:pt x="2240280" y="4745"/>
                      <a:pt x="2280285" y="0"/>
                      <a:pt x="2322195" y="0"/>
                    </a:cubicBezTo>
                    <a:cubicBezTo>
                      <a:pt x="2343150" y="0"/>
                      <a:pt x="2365058" y="949"/>
                      <a:pt x="2386013" y="3796"/>
                    </a:cubicBezTo>
                    <a:cubicBezTo>
                      <a:pt x="2407920" y="6643"/>
                      <a:pt x="2427923" y="10439"/>
                      <a:pt x="2447925" y="14235"/>
                    </a:cubicBezTo>
                    <a:cubicBezTo>
                      <a:pt x="2466975" y="18980"/>
                      <a:pt x="2485073" y="23725"/>
                      <a:pt x="2502218" y="29419"/>
                    </a:cubicBezTo>
                    <a:cubicBezTo>
                      <a:pt x="2519363" y="35113"/>
                      <a:pt x="2532698" y="40807"/>
                      <a:pt x="2542223" y="46502"/>
                    </a:cubicBezTo>
                    <a:cubicBezTo>
                      <a:pt x="2555558" y="54094"/>
                      <a:pt x="2565083" y="61686"/>
                      <a:pt x="2570798" y="70227"/>
                    </a:cubicBezTo>
                    <a:cubicBezTo>
                      <a:pt x="2576513" y="77819"/>
                      <a:pt x="2579370" y="88258"/>
                      <a:pt x="2579370" y="101544"/>
                    </a:cubicBezTo>
                    <a:lnTo>
                      <a:pt x="2579370" y="146148"/>
                    </a:lnTo>
                    <a:cubicBezTo>
                      <a:pt x="2579370" y="166077"/>
                      <a:pt x="2571750" y="176516"/>
                      <a:pt x="2557463" y="176516"/>
                    </a:cubicBezTo>
                    <a:cubicBezTo>
                      <a:pt x="2549843" y="176516"/>
                      <a:pt x="2537460" y="172720"/>
                      <a:pt x="2521268" y="165128"/>
                    </a:cubicBezTo>
                    <a:cubicBezTo>
                      <a:pt x="2466975" y="140454"/>
                      <a:pt x="2406015" y="128116"/>
                      <a:pt x="2338388" y="128116"/>
                    </a:cubicBezTo>
                    <a:cubicBezTo>
                      <a:pt x="2284095" y="128116"/>
                      <a:pt x="2241233" y="136658"/>
                      <a:pt x="2211705" y="154689"/>
                    </a:cubicBezTo>
                    <a:cubicBezTo>
                      <a:pt x="2182178" y="172720"/>
                      <a:pt x="2166938" y="200241"/>
                      <a:pt x="2166938" y="239151"/>
                    </a:cubicBezTo>
                    <a:cubicBezTo>
                      <a:pt x="2166938" y="265723"/>
                      <a:pt x="2176463" y="288499"/>
                      <a:pt x="2195513" y="306531"/>
                    </a:cubicBezTo>
                    <a:cubicBezTo>
                      <a:pt x="2214563" y="324562"/>
                      <a:pt x="2249805" y="342593"/>
                      <a:pt x="2300288" y="358726"/>
                    </a:cubicBezTo>
                    <a:lnTo>
                      <a:pt x="2435543" y="401432"/>
                    </a:lnTo>
                    <a:cubicBezTo>
                      <a:pt x="2504123" y="423259"/>
                      <a:pt x="2553653" y="453627"/>
                      <a:pt x="2583180" y="492537"/>
                    </a:cubicBezTo>
                    <a:cubicBezTo>
                      <a:pt x="2612708" y="531446"/>
                      <a:pt x="2626995" y="576050"/>
                      <a:pt x="2626995" y="625398"/>
                    </a:cubicBezTo>
                    <a:cubicBezTo>
                      <a:pt x="2626995" y="666206"/>
                      <a:pt x="2618423" y="703217"/>
                      <a:pt x="2602230" y="735484"/>
                    </a:cubicBezTo>
                    <a:cubicBezTo>
                      <a:pt x="2585085" y="767750"/>
                      <a:pt x="2562225" y="796220"/>
                      <a:pt x="2532698" y="818997"/>
                    </a:cubicBezTo>
                    <a:cubicBezTo>
                      <a:pt x="2503170" y="842722"/>
                      <a:pt x="2467928" y="859804"/>
                      <a:pt x="2426970" y="872141"/>
                    </a:cubicBezTo>
                    <a:cubicBezTo>
                      <a:pt x="2384108" y="885427"/>
                      <a:pt x="2339340" y="892070"/>
                      <a:pt x="2290763" y="892070"/>
                    </a:cubicBezTo>
                    <a:close/>
                  </a:path>
                </a:pathLst>
              </a:custGeom>
              <a:solidFill>
                <a:srgbClr val="252F3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s-ES_tradnl"/>
              </a:p>
            </p:txBody>
          </p:sp>
          <p:grpSp>
            <p:nvGrpSpPr>
              <p:cNvPr id="59" name="Gráfico 45">
                <a:extLst>
                  <a:ext uri="{FF2B5EF4-FFF2-40B4-BE49-F238E27FC236}">
                    <a16:creationId xmlns:a16="http://schemas.microsoft.com/office/drawing/2014/main" id="{008826E2-9C52-FF4F-CDB5-2605ACE98FEC}"/>
                  </a:ext>
                </a:extLst>
              </p:cNvPr>
              <p:cNvGrpSpPr/>
              <p:nvPr/>
            </p:nvGrpSpPr>
            <p:grpSpPr>
              <a:xfrm>
                <a:off x="5445137" y="3760170"/>
                <a:ext cx="2863890" cy="642554"/>
                <a:chOff x="5445137" y="3760170"/>
                <a:chExt cx="2863890" cy="642554"/>
              </a:xfrm>
              <a:solidFill>
                <a:srgbClr val="FF9900"/>
              </a:solidFill>
            </p:grpSpPr>
            <p:sp>
              <p:nvSpPr>
                <p:cNvPr id="60" name="Forma libre 59">
                  <a:extLst>
                    <a:ext uri="{FF2B5EF4-FFF2-40B4-BE49-F238E27FC236}">
                      <a16:creationId xmlns:a16="http://schemas.microsoft.com/office/drawing/2014/main" id="{D4A74D25-001B-8C84-9F21-6E6023072FB1}"/>
                    </a:ext>
                  </a:extLst>
                </p:cNvPr>
                <p:cNvSpPr/>
                <p:nvPr/>
              </p:nvSpPr>
              <p:spPr>
                <a:xfrm>
                  <a:off x="5445137" y="3816643"/>
                  <a:ext cx="2611939" cy="586081"/>
                </a:xfrm>
                <a:custGeom>
                  <a:avLst/>
                  <a:gdLst>
                    <a:gd name="connsiteX0" fmla="*/ 2589200 w 2611939"/>
                    <a:gd name="connsiteY0" fmla="*/ 233049 h 586081"/>
                    <a:gd name="connsiteX1" fmla="*/ 1429055 w 2611939"/>
                    <a:gd name="connsiteY1" fmla="*/ 586081 h 586081"/>
                    <a:gd name="connsiteX2" fmla="*/ 12687 w 2611939"/>
                    <a:gd name="connsiteY2" fmla="*/ 47992 h 586081"/>
                    <a:gd name="connsiteX3" fmla="*/ 45072 w 2611939"/>
                    <a:gd name="connsiteY3" fmla="*/ 6235 h 586081"/>
                    <a:gd name="connsiteX4" fmla="*/ 1462392 w 2611939"/>
                    <a:gd name="connsiteY4" fmla="*/ 381095 h 586081"/>
                    <a:gd name="connsiteX5" fmla="*/ 2543480 w 2611939"/>
                    <a:gd name="connsiteY5" fmla="*/ 160924 h 586081"/>
                    <a:gd name="connsiteX6" fmla="*/ 2589200 w 2611939"/>
                    <a:gd name="connsiteY6" fmla="*/ 233049 h 5860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611939" h="586081">
                      <a:moveTo>
                        <a:pt x="2589200" y="233049"/>
                      </a:moveTo>
                      <a:cubicBezTo>
                        <a:pt x="2275828" y="463659"/>
                        <a:pt x="1820533" y="586081"/>
                        <a:pt x="1429055" y="586081"/>
                      </a:cubicBezTo>
                      <a:cubicBezTo>
                        <a:pt x="880415" y="586081"/>
                        <a:pt x="386067" y="383942"/>
                        <a:pt x="12687" y="47992"/>
                      </a:cubicBezTo>
                      <a:cubicBezTo>
                        <a:pt x="-16840" y="21420"/>
                        <a:pt x="9830" y="-14643"/>
                        <a:pt x="45072" y="6235"/>
                      </a:cubicBezTo>
                      <a:cubicBezTo>
                        <a:pt x="448932" y="239692"/>
                        <a:pt x="947090" y="381095"/>
                        <a:pt x="1462392" y="381095"/>
                      </a:cubicBezTo>
                      <a:cubicBezTo>
                        <a:pt x="1810055" y="381095"/>
                        <a:pt x="2192008" y="308970"/>
                        <a:pt x="2543480" y="160924"/>
                      </a:cubicBezTo>
                      <a:cubicBezTo>
                        <a:pt x="2595868" y="137199"/>
                        <a:pt x="2640635" y="195089"/>
                        <a:pt x="2589200" y="233049"/>
                      </a:cubicBezTo>
                      <a:close/>
                    </a:path>
                  </a:pathLst>
                </a:custGeom>
                <a:solidFill>
                  <a:srgbClr val="FF99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algn="ctr"/>
                  <a:endParaRPr lang="es-ES_tradnl"/>
                </a:p>
              </p:txBody>
            </p:sp>
            <p:sp>
              <p:nvSpPr>
                <p:cNvPr id="61" name="Forma libre 60">
                  <a:extLst>
                    <a:ext uri="{FF2B5EF4-FFF2-40B4-BE49-F238E27FC236}">
                      <a16:creationId xmlns:a16="http://schemas.microsoft.com/office/drawing/2014/main" id="{791E619C-347F-809C-12A8-175F4A078408}"/>
                    </a:ext>
                  </a:extLst>
                </p:cNvPr>
                <p:cNvSpPr/>
                <p:nvPr/>
              </p:nvSpPr>
              <p:spPr>
                <a:xfrm>
                  <a:off x="7772272" y="3760170"/>
                  <a:ext cx="536755" cy="526798"/>
                </a:xfrm>
                <a:custGeom>
                  <a:avLst/>
                  <a:gdLst>
                    <a:gd name="connsiteX0" fmla="*/ 392557 w 536755"/>
                    <a:gd name="connsiteY0" fmla="*/ 141476 h 526798"/>
                    <a:gd name="connsiteX1" fmla="*/ 25845 w 536755"/>
                    <a:gd name="connsiteY1" fmla="*/ 129139 h 526798"/>
                    <a:gd name="connsiteX2" fmla="*/ 18225 w 536755"/>
                    <a:gd name="connsiteY2" fmla="*/ 86434 h 526798"/>
                    <a:gd name="connsiteX3" fmla="*/ 525907 w 536755"/>
                    <a:gd name="connsiteY3" fmla="*/ 38983 h 526798"/>
                    <a:gd name="connsiteX4" fmla="*/ 348742 w 536755"/>
                    <a:gd name="connsiteY4" fmla="*/ 515387 h 526798"/>
                    <a:gd name="connsiteX5" fmla="*/ 309690 w 536755"/>
                    <a:gd name="connsiteY5" fmla="*/ 497355 h 526798"/>
                    <a:gd name="connsiteX6" fmla="*/ 392557 w 536755"/>
                    <a:gd name="connsiteY6" fmla="*/ 141476 h 526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6755" h="526798">
                      <a:moveTo>
                        <a:pt x="392557" y="141476"/>
                      </a:moveTo>
                      <a:cubicBezTo>
                        <a:pt x="352552" y="90230"/>
                        <a:pt x="127762" y="116802"/>
                        <a:pt x="25845" y="129139"/>
                      </a:cubicBezTo>
                      <a:cubicBezTo>
                        <a:pt x="-4635" y="132935"/>
                        <a:pt x="-9398" y="106363"/>
                        <a:pt x="18225" y="86434"/>
                      </a:cubicBezTo>
                      <a:cubicBezTo>
                        <a:pt x="197295" y="-38836"/>
                        <a:pt x="491617" y="-2773"/>
                        <a:pt x="525907" y="38983"/>
                      </a:cubicBezTo>
                      <a:cubicBezTo>
                        <a:pt x="560197" y="81689"/>
                        <a:pt x="516382" y="374933"/>
                        <a:pt x="348742" y="515387"/>
                      </a:cubicBezTo>
                      <a:cubicBezTo>
                        <a:pt x="323025" y="537214"/>
                        <a:pt x="298260" y="525826"/>
                        <a:pt x="309690" y="497355"/>
                      </a:cubicBezTo>
                      <a:cubicBezTo>
                        <a:pt x="347790" y="403403"/>
                        <a:pt x="432562" y="191774"/>
                        <a:pt x="392557" y="141476"/>
                      </a:cubicBezTo>
                      <a:close/>
                    </a:path>
                  </a:pathLst>
                </a:custGeom>
                <a:solidFill>
                  <a:srgbClr val="FF99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algn="ctr"/>
                  <a:endParaRPr lang="es-ES_tradnl"/>
                </a:p>
              </p:txBody>
            </p:sp>
          </p:grpSp>
        </p:grpSp>
        <p:grpSp>
          <p:nvGrpSpPr>
            <p:cNvPr id="74" name="Grupo 73">
              <a:extLst>
                <a:ext uri="{FF2B5EF4-FFF2-40B4-BE49-F238E27FC236}">
                  <a16:creationId xmlns:a16="http://schemas.microsoft.com/office/drawing/2014/main" id="{7A6A0D8F-BB49-8697-DD50-222F93D2CC8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050109" y="3201422"/>
              <a:ext cx="355883" cy="288001"/>
              <a:chOff x="4961967" y="2050605"/>
              <a:chExt cx="310568" cy="251329"/>
            </a:xfrm>
          </p:grpSpPr>
          <p:sp>
            <p:nvSpPr>
              <p:cNvPr id="64" name="Forma libre 63">
                <a:extLst>
                  <a:ext uri="{FF2B5EF4-FFF2-40B4-BE49-F238E27FC236}">
                    <a16:creationId xmlns:a16="http://schemas.microsoft.com/office/drawing/2014/main" id="{0D94128C-F56D-3D8A-3A1F-BAC140E2D950}"/>
                  </a:ext>
                </a:extLst>
              </p:cNvPr>
              <p:cNvSpPr/>
              <p:nvPr/>
            </p:nvSpPr>
            <p:spPr>
              <a:xfrm>
                <a:off x="4999427" y="2050605"/>
                <a:ext cx="197404" cy="90069"/>
              </a:xfrm>
              <a:custGeom>
                <a:avLst/>
                <a:gdLst>
                  <a:gd name="connsiteX0" fmla="*/ 159610 w 197404"/>
                  <a:gd name="connsiteY0" fmla="*/ 69209 h 90069"/>
                  <a:gd name="connsiteX1" fmla="*/ 169082 w 197404"/>
                  <a:gd name="connsiteY1" fmla="*/ 69209 h 90069"/>
                  <a:gd name="connsiteX2" fmla="*/ 196078 w 197404"/>
                  <a:gd name="connsiteY2" fmla="*/ 42063 h 90069"/>
                  <a:gd name="connsiteX3" fmla="*/ 197404 w 197404"/>
                  <a:gd name="connsiteY3" fmla="*/ 30538 h 90069"/>
                  <a:gd name="connsiteX4" fmla="*/ 26134 w 197404"/>
                  <a:gd name="connsiteY4" fmla="*/ 41274 h 90069"/>
                  <a:gd name="connsiteX5" fmla="*/ 0 w 197404"/>
                  <a:gd name="connsiteY5" fmla="*/ 90069 h 90069"/>
                  <a:gd name="connsiteX6" fmla="*/ 9472 w 197404"/>
                  <a:gd name="connsiteY6" fmla="*/ 89498 h 90069"/>
                  <a:gd name="connsiteX7" fmla="*/ 63465 w 197404"/>
                  <a:gd name="connsiteY7" fmla="*/ 80544 h 90069"/>
                  <a:gd name="connsiteX8" fmla="*/ 67633 w 197404"/>
                  <a:gd name="connsiteY8" fmla="*/ 76258 h 90069"/>
                  <a:gd name="connsiteX9" fmla="*/ 159799 w 197404"/>
                  <a:gd name="connsiteY9" fmla="*/ 69209 h 90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7404" h="90069">
                    <a:moveTo>
                      <a:pt x="159610" y="69209"/>
                    </a:moveTo>
                    <a:lnTo>
                      <a:pt x="169082" y="69209"/>
                    </a:lnTo>
                    <a:lnTo>
                      <a:pt x="196078" y="42063"/>
                    </a:lnTo>
                    <a:lnTo>
                      <a:pt x="197404" y="30538"/>
                    </a:lnTo>
                    <a:cubicBezTo>
                      <a:pt x="147161" y="-14055"/>
                      <a:pt x="70481" y="-9248"/>
                      <a:pt x="26134" y="41274"/>
                    </a:cubicBezTo>
                    <a:cubicBezTo>
                      <a:pt x="13816" y="55308"/>
                      <a:pt x="4874" y="72004"/>
                      <a:pt x="0" y="90069"/>
                    </a:cubicBezTo>
                    <a:cubicBezTo>
                      <a:pt x="3007" y="88830"/>
                      <a:pt x="6339" y="88629"/>
                      <a:pt x="9472" y="89498"/>
                    </a:cubicBezTo>
                    <a:lnTo>
                      <a:pt x="63465" y="80544"/>
                    </a:lnTo>
                    <a:cubicBezTo>
                      <a:pt x="63465" y="80544"/>
                      <a:pt x="66212" y="75972"/>
                      <a:pt x="67633" y="76258"/>
                    </a:cubicBezTo>
                    <a:cubicBezTo>
                      <a:pt x="91650" y="49734"/>
                      <a:pt x="132069" y="46643"/>
                      <a:pt x="159799" y="69209"/>
                    </a:cubicBezTo>
                    <a:close/>
                  </a:path>
                </a:pathLst>
              </a:custGeom>
              <a:solidFill>
                <a:srgbClr val="EA4335"/>
              </a:solidFill>
              <a:ln w="94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s-ES_tradnl"/>
              </a:p>
            </p:txBody>
          </p:sp>
          <p:sp>
            <p:nvSpPr>
              <p:cNvPr id="65" name="Forma libre 64">
                <a:extLst>
                  <a:ext uri="{FF2B5EF4-FFF2-40B4-BE49-F238E27FC236}">
                    <a16:creationId xmlns:a16="http://schemas.microsoft.com/office/drawing/2014/main" id="{54D96AE4-CC54-C477-B972-D3C8FE1CDB0E}"/>
                  </a:ext>
                </a:extLst>
              </p:cNvPr>
              <p:cNvSpPr/>
              <p:nvPr/>
            </p:nvSpPr>
            <p:spPr>
              <a:xfrm>
                <a:off x="5109970" y="2081238"/>
                <a:ext cx="162565" cy="220696"/>
              </a:xfrm>
              <a:custGeom>
                <a:avLst/>
                <a:gdLst>
                  <a:gd name="connsiteX0" fmla="*/ 123993 w 162565"/>
                  <a:gd name="connsiteY0" fmla="*/ 59436 h 220696"/>
                  <a:gd name="connsiteX1" fmla="*/ 87335 w 162565"/>
                  <a:gd name="connsiteY1" fmla="*/ 0 h 220696"/>
                  <a:gd name="connsiteX2" fmla="*/ 49446 w 162565"/>
                  <a:gd name="connsiteY2" fmla="*/ 38100 h 220696"/>
                  <a:gd name="connsiteX3" fmla="*/ 74169 w 162565"/>
                  <a:gd name="connsiteY3" fmla="*/ 91821 h 220696"/>
                  <a:gd name="connsiteX4" fmla="*/ 74169 w 162565"/>
                  <a:gd name="connsiteY4" fmla="*/ 98584 h 220696"/>
                  <a:gd name="connsiteX5" fmla="*/ 107890 w 162565"/>
                  <a:gd name="connsiteY5" fmla="*/ 132493 h 220696"/>
                  <a:gd name="connsiteX6" fmla="*/ 74169 w 162565"/>
                  <a:gd name="connsiteY6" fmla="*/ 166402 h 220696"/>
                  <a:gd name="connsiteX7" fmla="*/ 6725 w 162565"/>
                  <a:gd name="connsiteY7" fmla="*/ 166402 h 220696"/>
                  <a:gd name="connsiteX8" fmla="*/ 0 w 162565"/>
                  <a:gd name="connsiteY8" fmla="*/ 173260 h 220696"/>
                  <a:gd name="connsiteX9" fmla="*/ 0 w 162565"/>
                  <a:gd name="connsiteY9" fmla="*/ 213932 h 220696"/>
                  <a:gd name="connsiteX10" fmla="*/ 6725 w 162565"/>
                  <a:gd name="connsiteY10" fmla="*/ 220694 h 220696"/>
                  <a:gd name="connsiteX11" fmla="*/ 74169 w 162565"/>
                  <a:gd name="connsiteY11" fmla="*/ 220694 h 220696"/>
                  <a:gd name="connsiteX12" fmla="*/ 162563 w 162565"/>
                  <a:gd name="connsiteY12" fmla="*/ 133182 h 220696"/>
                  <a:gd name="connsiteX13" fmla="*/ 123993 w 162565"/>
                  <a:gd name="connsiteY13" fmla="*/ 59436 h 220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2565" h="220696">
                    <a:moveTo>
                      <a:pt x="123993" y="59436"/>
                    </a:moveTo>
                    <a:cubicBezTo>
                      <a:pt x="117788" y="36458"/>
                      <a:pt x="105048" y="15801"/>
                      <a:pt x="87335" y="0"/>
                    </a:cubicBezTo>
                    <a:lnTo>
                      <a:pt x="49446" y="38100"/>
                    </a:lnTo>
                    <a:cubicBezTo>
                      <a:pt x="65446" y="51246"/>
                      <a:pt x="74559" y="71049"/>
                      <a:pt x="74169" y="91821"/>
                    </a:cubicBezTo>
                    <a:lnTo>
                      <a:pt x="74169" y="98584"/>
                    </a:lnTo>
                    <a:cubicBezTo>
                      <a:pt x="92792" y="98584"/>
                      <a:pt x="107890" y="113766"/>
                      <a:pt x="107890" y="132493"/>
                    </a:cubicBezTo>
                    <a:cubicBezTo>
                      <a:pt x="107890" y="151220"/>
                      <a:pt x="92792" y="166402"/>
                      <a:pt x="74169" y="166402"/>
                    </a:cubicBezTo>
                    <a:lnTo>
                      <a:pt x="6725" y="166402"/>
                    </a:lnTo>
                    <a:lnTo>
                      <a:pt x="0" y="173260"/>
                    </a:lnTo>
                    <a:lnTo>
                      <a:pt x="0" y="213932"/>
                    </a:lnTo>
                    <a:lnTo>
                      <a:pt x="6725" y="220694"/>
                    </a:lnTo>
                    <a:lnTo>
                      <a:pt x="74169" y="220694"/>
                    </a:lnTo>
                    <a:cubicBezTo>
                      <a:pt x="122610" y="221073"/>
                      <a:pt x="162186" y="181893"/>
                      <a:pt x="162563" y="133182"/>
                    </a:cubicBezTo>
                    <a:cubicBezTo>
                      <a:pt x="162791" y="103658"/>
                      <a:pt x="148315" y="75977"/>
                      <a:pt x="123993" y="59436"/>
                    </a:cubicBezTo>
                    <a:close/>
                  </a:path>
                </a:pathLst>
              </a:custGeom>
              <a:solidFill>
                <a:srgbClr val="4285F4"/>
              </a:solidFill>
              <a:ln w="94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s-ES_tradnl"/>
              </a:p>
            </p:txBody>
          </p:sp>
          <p:sp>
            <p:nvSpPr>
              <p:cNvPr id="66" name="Forma libre 65">
                <a:extLst>
                  <a:ext uri="{FF2B5EF4-FFF2-40B4-BE49-F238E27FC236}">
                    <a16:creationId xmlns:a16="http://schemas.microsoft.com/office/drawing/2014/main" id="{7ACA6F23-D968-8942-3CE7-3C9478C19E03}"/>
                  </a:ext>
                </a:extLst>
              </p:cNvPr>
              <p:cNvSpPr/>
              <p:nvPr/>
            </p:nvSpPr>
            <p:spPr>
              <a:xfrm>
                <a:off x="4996207" y="2244211"/>
                <a:ext cx="120393" cy="57341"/>
              </a:xfrm>
              <a:custGeom>
                <a:avLst/>
                <a:gdLst>
                  <a:gd name="connsiteX0" fmla="*/ 52951 w 120393"/>
                  <a:gd name="connsiteY0" fmla="*/ 57341 h 57341"/>
                  <a:gd name="connsiteX1" fmla="*/ 120394 w 120393"/>
                  <a:gd name="connsiteY1" fmla="*/ 57341 h 57341"/>
                  <a:gd name="connsiteX2" fmla="*/ 120394 w 120393"/>
                  <a:gd name="connsiteY2" fmla="*/ 3048 h 57341"/>
                  <a:gd name="connsiteX3" fmla="*/ 52951 w 120393"/>
                  <a:gd name="connsiteY3" fmla="*/ 3048 h 57341"/>
                  <a:gd name="connsiteX4" fmla="*/ 39026 w 120393"/>
                  <a:gd name="connsiteY4" fmla="*/ 0 h 57341"/>
                  <a:gd name="connsiteX5" fmla="*/ 29554 w 120393"/>
                  <a:gd name="connsiteY5" fmla="*/ 2953 h 57341"/>
                  <a:gd name="connsiteX6" fmla="*/ 2368 w 120393"/>
                  <a:gd name="connsiteY6" fmla="*/ 30099 h 57341"/>
                  <a:gd name="connsiteX7" fmla="*/ 0 w 120393"/>
                  <a:gd name="connsiteY7" fmla="*/ 39624 h 57341"/>
                  <a:gd name="connsiteX8" fmla="*/ 52951 w 120393"/>
                  <a:gd name="connsiteY8" fmla="*/ 57341 h 57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0393" h="57341">
                    <a:moveTo>
                      <a:pt x="52951" y="57341"/>
                    </a:moveTo>
                    <a:lnTo>
                      <a:pt x="120394" y="57341"/>
                    </a:lnTo>
                    <a:lnTo>
                      <a:pt x="120394" y="3048"/>
                    </a:lnTo>
                    <a:lnTo>
                      <a:pt x="52951" y="3048"/>
                    </a:lnTo>
                    <a:cubicBezTo>
                      <a:pt x="48146" y="3047"/>
                      <a:pt x="43397" y="2008"/>
                      <a:pt x="39026" y="0"/>
                    </a:cubicBezTo>
                    <a:lnTo>
                      <a:pt x="29554" y="2953"/>
                    </a:lnTo>
                    <a:lnTo>
                      <a:pt x="2368" y="30099"/>
                    </a:lnTo>
                    <a:lnTo>
                      <a:pt x="0" y="39624"/>
                    </a:lnTo>
                    <a:cubicBezTo>
                      <a:pt x="15245" y="51200"/>
                      <a:pt x="33847" y="57424"/>
                      <a:pt x="52951" y="57341"/>
                    </a:cubicBezTo>
                    <a:close/>
                  </a:path>
                </a:pathLst>
              </a:custGeom>
              <a:solidFill>
                <a:srgbClr val="34A853"/>
              </a:solidFill>
              <a:ln w="94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s-ES_tradnl"/>
              </a:p>
            </p:txBody>
          </p:sp>
          <p:sp>
            <p:nvSpPr>
              <p:cNvPr id="67" name="Forma libre 66">
                <a:extLst>
                  <a:ext uri="{FF2B5EF4-FFF2-40B4-BE49-F238E27FC236}">
                    <a16:creationId xmlns:a16="http://schemas.microsoft.com/office/drawing/2014/main" id="{917C30F5-C6F8-7205-9565-441D6382A213}"/>
                  </a:ext>
                </a:extLst>
              </p:cNvPr>
              <p:cNvSpPr/>
              <p:nvPr/>
            </p:nvSpPr>
            <p:spPr>
              <a:xfrm>
                <a:off x="4961967" y="2125434"/>
                <a:ext cx="157096" cy="158115"/>
              </a:xfrm>
              <a:custGeom>
                <a:avLst/>
                <a:gdLst>
                  <a:gd name="connsiteX0" fmla="*/ 87190 w 157096"/>
                  <a:gd name="connsiteY0" fmla="*/ 1 h 158115"/>
                  <a:gd name="connsiteX1" fmla="*/ 2 w 157096"/>
                  <a:gd name="connsiteY1" fmla="*/ 88727 h 158115"/>
                  <a:gd name="connsiteX2" fmla="*/ 34240 w 157096"/>
                  <a:gd name="connsiteY2" fmla="*/ 158116 h 158115"/>
                  <a:gd name="connsiteX3" fmla="*/ 73361 w 157096"/>
                  <a:gd name="connsiteY3" fmla="*/ 118777 h 158115"/>
                  <a:gd name="connsiteX4" fmla="*/ 56514 w 157096"/>
                  <a:gd name="connsiteY4" fmla="*/ 73915 h 158115"/>
                  <a:gd name="connsiteX5" fmla="*/ 101129 w 157096"/>
                  <a:gd name="connsiteY5" fmla="*/ 56974 h 158115"/>
                  <a:gd name="connsiteX6" fmla="*/ 117975 w 157096"/>
                  <a:gd name="connsiteY6" fmla="*/ 73915 h 158115"/>
                  <a:gd name="connsiteX7" fmla="*/ 157096 w 157096"/>
                  <a:gd name="connsiteY7" fmla="*/ 34576 h 158115"/>
                  <a:gd name="connsiteX8" fmla="*/ 87190 w 157096"/>
                  <a:gd name="connsiteY8" fmla="*/ 1 h 158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7096" h="158115">
                    <a:moveTo>
                      <a:pt x="87190" y="1"/>
                    </a:moveTo>
                    <a:cubicBezTo>
                      <a:pt x="38748" y="292"/>
                      <a:pt x="-288" y="40016"/>
                      <a:pt x="2" y="88727"/>
                    </a:cubicBezTo>
                    <a:cubicBezTo>
                      <a:pt x="163" y="115928"/>
                      <a:pt x="12797" y="141533"/>
                      <a:pt x="34240" y="158116"/>
                    </a:cubicBezTo>
                    <a:lnTo>
                      <a:pt x="73361" y="118777"/>
                    </a:lnTo>
                    <a:cubicBezTo>
                      <a:pt x="56388" y="111067"/>
                      <a:pt x="48846" y="90981"/>
                      <a:pt x="56514" y="73915"/>
                    </a:cubicBezTo>
                    <a:cubicBezTo>
                      <a:pt x="64182" y="56848"/>
                      <a:pt x="84157" y="49264"/>
                      <a:pt x="101129" y="56974"/>
                    </a:cubicBezTo>
                    <a:cubicBezTo>
                      <a:pt x="108607" y="60372"/>
                      <a:pt x="114597" y="66395"/>
                      <a:pt x="117975" y="73915"/>
                    </a:cubicBezTo>
                    <a:lnTo>
                      <a:pt x="157096" y="34576"/>
                    </a:lnTo>
                    <a:cubicBezTo>
                      <a:pt x="140452" y="12695"/>
                      <a:pt x="114586" y="-98"/>
                      <a:pt x="87190" y="1"/>
                    </a:cubicBezTo>
                    <a:close/>
                  </a:path>
                </a:pathLst>
              </a:custGeom>
              <a:solidFill>
                <a:srgbClr val="FBBC05"/>
              </a:solidFill>
              <a:ln w="94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s-ES_tradnl"/>
              </a:p>
            </p:txBody>
          </p:sp>
        </p:grpSp>
        <p:grpSp>
          <p:nvGrpSpPr>
            <p:cNvPr id="56" name="Grupo 55">
              <a:extLst>
                <a:ext uri="{FF2B5EF4-FFF2-40B4-BE49-F238E27FC236}">
                  <a16:creationId xmlns:a16="http://schemas.microsoft.com/office/drawing/2014/main" id="{0AA20CE5-5968-0F20-B72C-432864D44A02}"/>
                </a:ext>
              </a:extLst>
            </p:cNvPr>
            <p:cNvGrpSpPr/>
            <p:nvPr/>
          </p:nvGrpSpPr>
          <p:grpSpPr>
            <a:xfrm>
              <a:off x="1499983" y="3190295"/>
              <a:ext cx="329247" cy="310238"/>
              <a:chOff x="6139139" y="346091"/>
              <a:chExt cx="1303767" cy="1228494"/>
            </a:xfrm>
          </p:grpSpPr>
          <p:sp>
            <p:nvSpPr>
              <p:cNvPr id="52" name="Forma libre 51">
                <a:extLst>
                  <a:ext uri="{FF2B5EF4-FFF2-40B4-BE49-F238E27FC236}">
                    <a16:creationId xmlns:a16="http://schemas.microsoft.com/office/drawing/2014/main" id="{76E2E85F-8C81-D814-4C96-64CFBBDBF46E}"/>
                  </a:ext>
                </a:extLst>
              </p:cNvPr>
              <p:cNvSpPr/>
              <p:nvPr/>
            </p:nvSpPr>
            <p:spPr>
              <a:xfrm>
                <a:off x="6139139" y="346091"/>
                <a:ext cx="820435" cy="1228479"/>
              </a:xfrm>
              <a:custGeom>
                <a:avLst/>
                <a:gdLst>
                  <a:gd name="connsiteX0" fmla="*/ 434639 w 820435"/>
                  <a:gd name="connsiteY0" fmla="*/ 15 h 1228479"/>
                  <a:gd name="connsiteX1" fmla="*/ 820436 w 820435"/>
                  <a:gd name="connsiteY1" fmla="*/ 15 h 1228479"/>
                  <a:gd name="connsiteX2" fmla="*/ 419941 w 820435"/>
                  <a:gd name="connsiteY2" fmla="*/ 1186637 h 1228479"/>
                  <a:gd name="connsiteX3" fmla="*/ 361667 w 820435"/>
                  <a:gd name="connsiteY3" fmla="*/ 1228480 h 1228479"/>
                  <a:gd name="connsiteX4" fmla="*/ 61422 w 820435"/>
                  <a:gd name="connsiteY4" fmla="*/ 1228480 h 1228479"/>
                  <a:gd name="connsiteX5" fmla="*/ 0 w 820435"/>
                  <a:gd name="connsiteY5" fmla="*/ 1167072 h 1228479"/>
                  <a:gd name="connsiteX6" fmla="*/ 3222 w 820435"/>
                  <a:gd name="connsiteY6" fmla="*/ 1147432 h 1228479"/>
                  <a:gd name="connsiteX7" fmla="*/ 376350 w 820435"/>
                  <a:gd name="connsiteY7" fmla="*/ 41857 h 1228479"/>
                  <a:gd name="connsiteX8" fmla="*/ 434639 w 820435"/>
                  <a:gd name="connsiteY8" fmla="*/ 0 h 1228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20435" h="1228479">
                    <a:moveTo>
                      <a:pt x="434639" y="15"/>
                    </a:moveTo>
                    <a:lnTo>
                      <a:pt x="820436" y="15"/>
                    </a:lnTo>
                    <a:lnTo>
                      <a:pt x="419941" y="1186637"/>
                    </a:lnTo>
                    <a:cubicBezTo>
                      <a:pt x="411502" y="1211639"/>
                      <a:pt x="388056" y="1228474"/>
                      <a:pt x="361667" y="1228480"/>
                    </a:cubicBezTo>
                    <a:lnTo>
                      <a:pt x="61422" y="1228480"/>
                    </a:lnTo>
                    <a:cubicBezTo>
                      <a:pt x="27504" y="1228484"/>
                      <a:pt x="4" y="1200990"/>
                      <a:pt x="0" y="1167072"/>
                    </a:cubicBezTo>
                    <a:cubicBezTo>
                      <a:pt x="-1" y="1160394"/>
                      <a:pt x="1088" y="1153761"/>
                      <a:pt x="3222" y="1147432"/>
                    </a:cubicBezTo>
                    <a:lnTo>
                      <a:pt x="376350" y="41857"/>
                    </a:lnTo>
                    <a:cubicBezTo>
                      <a:pt x="384787" y="16844"/>
                      <a:pt x="408242" y="1"/>
                      <a:pt x="434639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114A8B"/>
                  </a:gs>
                  <a:gs pos="50000">
                    <a:srgbClr val="0B59A3"/>
                  </a:gs>
                  <a:gs pos="100000">
                    <a:srgbClr val="0669BC"/>
                  </a:gs>
                </a:gsLst>
                <a:lin ang="6522003" scaled="1"/>
              </a:gradFill>
              <a:ln w="147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s-ES_tradnl"/>
              </a:p>
            </p:txBody>
          </p:sp>
          <p:sp>
            <p:nvSpPr>
              <p:cNvPr id="53" name="Forma libre 52">
                <a:extLst>
                  <a:ext uri="{FF2B5EF4-FFF2-40B4-BE49-F238E27FC236}">
                    <a16:creationId xmlns:a16="http://schemas.microsoft.com/office/drawing/2014/main" id="{A438B27F-1582-EEB1-1A83-394C54120B5B}"/>
                  </a:ext>
                </a:extLst>
              </p:cNvPr>
              <p:cNvSpPr/>
              <p:nvPr/>
            </p:nvSpPr>
            <p:spPr>
              <a:xfrm>
                <a:off x="6494271" y="1142013"/>
                <a:ext cx="790707" cy="432557"/>
              </a:xfrm>
              <a:custGeom>
                <a:avLst/>
                <a:gdLst>
                  <a:gd name="connsiteX0" fmla="*/ 640126 w 790707"/>
                  <a:gd name="connsiteY0" fmla="*/ 0 h 432557"/>
                  <a:gd name="connsiteX1" fmla="*/ 28346 w 790707"/>
                  <a:gd name="connsiteY1" fmla="*/ 0 h 432557"/>
                  <a:gd name="connsiteX2" fmla="*/ 0 w 790707"/>
                  <a:gd name="connsiteY2" fmla="*/ 28284 h 432557"/>
                  <a:gd name="connsiteX3" fmla="*/ 9010 w 790707"/>
                  <a:gd name="connsiteY3" fmla="*/ 49028 h 432557"/>
                  <a:gd name="connsiteX4" fmla="*/ 402126 w 790707"/>
                  <a:gd name="connsiteY4" fmla="*/ 415948 h 432557"/>
                  <a:gd name="connsiteX5" fmla="*/ 444294 w 790707"/>
                  <a:gd name="connsiteY5" fmla="*/ 432558 h 432557"/>
                  <a:gd name="connsiteX6" fmla="*/ 790708 w 790707"/>
                  <a:gd name="connsiteY6" fmla="*/ 432558 h 432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707" h="432557">
                    <a:moveTo>
                      <a:pt x="640126" y="0"/>
                    </a:moveTo>
                    <a:lnTo>
                      <a:pt x="28346" y="0"/>
                    </a:lnTo>
                    <a:cubicBezTo>
                      <a:pt x="12708" y="-18"/>
                      <a:pt x="18" y="12646"/>
                      <a:pt x="0" y="28284"/>
                    </a:cubicBezTo>
                    <a:cubicBezTo>
                      <a:pt x="-9" y="36150"/>
                      <a:pt x="3255" y="43665"/>
                      <a:pt x="9010" y="49028"/>
                    </a:cubicBezTo>
                    <a:lnTo>
                      <a:pt x="402126" y="415948"/>
                    </a:lnTo>
                    <a:cubicBezTo>
                      <a:pt x="413572" y="426625"/>
                      <a:pt x="428642" y="432561"/>
                      <a:pt x="444294" y="432558"/>
                    </a:cubicBezTo>
                    <a:lnTo>
                      <a:pt x="790708" y="432558"/>
                    </a:lnTo>
                    <a:close/>
                  </a:path>
                </a:pathLst>
              </a:custGeom>
              <a:solidFill>
                <a:srgbClr val="0078D4"/>
              </a:solidFill>
              <a:ln w="147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s-ES_tradnl"/>
              </a:p>
            </p:txBody>
          </p:sp>
          <p:sp>
            <p:nvSpPr>
              <p:cNvPr id="54" name="Forma libre 53">
                <a:extLst>
                  <a:ext uri="{FF2B5EF4-FFF2-40B4-BE49-F238E27FC236}">
                    <a16:creationId xmlns:a16="http://schemas.microsoft.com/office/drawing/2014/main" id="{96E48C7F-02AC-49AA-A887-BB6C5A48284D}"/>
                  </a:ext>
                </a:extLst>
              </p:cNvPr>
              <p:cNvSpPr/>
              <p:nvPr/>
            </p:nvSpPr>
            <p:spPr>
              <a:xfrm>
                <a:off x="6139201" y="346105"/>
                <a:ext cx="1144325" cy="1228465"/>
              </a:xfrm>
              <a:custGeom>
                <a:avLst/>
                <a:gdLst>
                  <a:gd name="connsiteX0" fmla="*/ 434578 w 1144325"/>
                  <a:gd name="connsiteY0" fmla="*/ 0 h 1228465"/>
                  <a:gd name="connsiteX1" fmla="*/ 376155 w 1144325"/>
                  <a:gd name="connsiteY1" fmla="*/ 42658 h 1228465"/>
                  <a:gd name="connsiteX2" fmla="*/ 3620 w 1144325"/>
                  <a:gd name="connsiteY2" fmla="*/ 1146410 h 1228465"/>
                  <a:gd name="connsiteX3" fmla="*/ 40644 w 1144325"/>
                  <a:gd name="connsiteY3" fmla="*/ 1224862 h 1228465"/>
                  <a:gd name="connsiteX4" fmla="*/ 61523 w 1144325"/>
                  <a:gd name="connsiteY4" fmla="*/ 1228465 h 1228465"/>
                  <a:gd name="connsiteX5" fmla="*/ 369518 w 1144325"/>
                  <a:gd name="connsiteY5" fmla="*/ 1228465 h 1228465"/>
                  <a:gd name="connsiteX6" fmla="*/ 420042 w 1144325"/>
                  <a:gd name="connsiteY6" fmla="*/ 1185497 h 1228465"/>
                  <a:gd name="connsiteX7" fmla="*/ 494333 w 1144325"/>
                  <a:gd name="connsiteY7" fmla="*/ 966551 h 1228465"/>
                  <a:gd name="connsiteX8" fmla="*/ 759700 w 1144325"/>
                  <a:gd name="connsiteY8" fmla="*/ 1214063 h 1228465"/>
                  <a:gd name="connsiteX9" fmla="*/ 799201 w 1144325"/>
                  <a:gd name="connsiteY9" fmla="*/ 1228465 h 1228465"/>
                  <a:gd name="connsiteX10" fmla="*/ 1144325 w 1144325"/>
                  <a:gd name="connsiteY10" fmla="*/ 1228465 h 1228465"/>
                  <a:gd name="connsiteX11" fmla="*/ 992958 w 1144325"/>
                  <a:gd name="connsiteY11" fmla="*/ 795907 h 1228465"/>
                  <a:gd name="connsiteX12" fmla="*/ 551703 w 1144325"/>
                  <a:gd name="connsiteY12" fmla="*/ 796011 h 1228465"/>
                  <a:gd name="connsiteX13" fmla="*/ 821767 w 1144325"/>
                  <a:gd name="connsiteY13" fmla="*/ 0 h 12284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44325" h="1228465">
                    <a:moveTo>
                      <a:pt x="434578" y="0"/>
                    </a:moveTo>
                    <a:cubicBezTo>
                      <a:pt x="407866" y="-102"/>
                      <a:pt x="384192" y="17183"/>
                      <a:pt x="376155" y="42658"/>
                    </a:cubicBezTo>
                    <a:lnTo>
                      <a:pt x="3620" y="1146410"/>
                    </a:lnTo>
                    <a:cubicBezTo>
                      <a:pt x="-7820" y="1178299"/>
                      <a:pt x="8756" y="1213422"/>
                      <a:pt x="40644" y="1224862"/>
                    </a:cubicBezTo>
                    <a:cubicBezTo>
                      <a:pt x="47342" y="1227265"/>
                      <a:pt x="54407" y="1228484"/>
                      <a:pt x="61523" y="1228465"/>
                    </a:cubicBezTo>
                    <a:lnTo>
                      <a:pt x="369518" y="1228465"/>
                    </a:lnTo>
                    <a:cubicBezTo>
                      <a:pt x="392872" y="1224293"/>
                      <a:pt x="412173" y="1207877"/>
                      <a:pt x="420042" y="1185497"/>
                    </a:cubicBezTo>
                    <a:lnTo>
                      <a:pt x="494333" y="966551"/>
                    </a:lnTo>
                    <a:lnTo>
                      <a:pt x="759700" y="1214063"/>
                    </a:lnTo>
                    <a:cubicBezTo>
                      <a:pt x="770820" y="1223262"/>
                      <a:pt x="784769" y="1228348"/>
                      <a:pt x="799201" y="1228465"/>
                    </a:cubicBezTo>
                    <a:lnTo>
                      <a:pt x="1144325" y="1228465"/>
                    </a:lnTo>
                    <a:lnTo>
                      <a:pt x="992958" y="795907"/>
                    </a:lnTo>
                    <a:lnTo>
                      <a:pt x="551703" y="796011"/>
                    </a:lnTo>
                    <a:lnTo>
                      <a:pt x="821767" y="0"/>
                    </a:lnTo>
                    <a:close/>
                  </a:path>
                </a:pathLst>
              </a:custGeom>
              <a:gradFill>
                <a:gsLst>
                  <a:gs pos="0">
                    <a:srgbClr val="000000">
                      <a:alpha val="29804"/>
                    </a:srgbClr>
                  </a:gs>
                  <a:gs pos="7100">
                    <a:srgbClr val="000000">
                      <a:alpha val="20000"/>
                    </a:srgbClr>
                  </a:gs>
                  <a:gs pos="32100">
                    <a:srgbClr val="000000">
                      <a:alpha val="9804"/>
                    </a:srgbClr>
                  </a:gs>
                  <a:gs pos="62300">
                    <a:srgbClr val="000000">
                      <a:alpha val="4706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lin ang="9678251" scaled="1"/>
              </a:gradFill>
              <a:ln w="147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s-ES_tradnl"/>
              </a:p>
            </p:txBody>
          </p:sp>
          <p:sp>
            <p:nvSpPr>
              <p:cNvPr id="55" name="Forma libre 54">
                <a:extLst>
                  <a:ext uri="{FF2B5EF4-FFF2-40B4-BE49-F238E27FC236}">
                    <a16:creationId xmlns:a16="http://schemas.microsoft.com/office/drawing/2014/main" id="{79F6BDEC-DCB9-6D5D-E4E2-AED730747CDE}"/>
                  </a:ext>
                </a:extLst>
              </p:cNvPr>
              <p:cNvSpPr/>
              <p:nvPr/>
            </p:nvSpPr>
            <p:spPr>
              <a:xfrm>
                <a:off x="6578372" y="346106"/>
                <a:ext cx="864534" cy="1228479"/>
              </a:xfrm>
              <a:custGeom>
                <a:avLst/>
                <a:gdLst>
                  <a:gd name="connsiteX0" fmla="*/ 488165 w 864534"/>
                  <a:gd name="connsiteY0" fmla="*/ 41783 h 1228479"/>
                  <a:gd name="connsiteX1" fmla="*/ 429965 w 864534"/>
                  <a:gd name="connsiteY1" fmla="*/ 0 h 1228479"/>
                  <a:gd name="connsiteX2" fmla="*/ 0 w 864534"/>
                  <a:gd name="connsiteY2" fmla="*/ 0 h 1228479"/>
                  <a:gd name="connsiteX3" fmla="*/ 58200 w 864534"/>
                  <a:gd name="connsiteY3" fmla="*/ 41783 h 1228479"/>
                  <a:gd name="connsiteX4" fmla="*/ 431343 w 864534"/>
                  <a:gd name="connsiteY4" fmla="*/ 1147403 h 1228479"/>
                  <a:gd name="connsiteX5" fmla="*/ 392787 w 864534"/>
                  <a:gd name="connsiteY5" fmla="*/ 1225252 h 1228479"/>
                  <a:gd name="connsiteX6" fmla="*/ 373143 w 864534"/>
                  <a:gd name="connsiteY6" fmla="*/ 1228480 h 1228479"/>
                  <a:gd name="connsiteX7" fmla="*/ 803123 w 864534"/>
                  <a:gd name="connsiteY7" fmla="*/ 1228480 h 1228479"/>
                  <a:gd name="connsiteX8" fmla="*/ 864535 w 864534"/>
                  <a:gd name="connsiteY8" fmla="*/ 1167032 h 1228479"/>
                  <a:gd name="connsiteX9" fmla="*/ 861308 w 864534"/>
                  <a:gd name="connsiteY9" fmla="*/ 1147403 h 1228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64534" h="1228479">
                    <a:moveTo>
                      <a:pt x="488165" y="41783"/>
                    </a:moveTo>
                    <a:cubicBezTo>
                      <a:pt x="479740" y="16810"/>
                      <a:pt x="456321" y="-3"/>
                      <a:pt x="429965" y="0"/>
                    </a:cubicBezTo>
                    <a:lnTo>
                      <a:pt x="0" y="0"/>
                    </a:lnTo>
                    <a:cubicBezTo>
                      <a:pt x="26354" y="1"/>
                      <a:pt x="49771" y="16813"/>
                      <a:pt x="58200" y="41783"/>
                    </a:cubicBezTo>
                    <a:lnTo>
                      <a:pt x="431343" y="1147403"/>
                    </a:lnTo>
                    <a:cubicBezTo>
                      <a:pt x="442193" y="1179548"/>
                      <a:pt x="424932" y="1214402"/>
                      <a:pt x="392787" y="1225252"/>
                    </a:cubicBezTo>
                    <a:cubicBezTo>
                      <a:pt x="386457" y="1227389"/>
                      <a:pt x="379822" y="1228480"/>
                      <a:pt x="373143" y="1228480"/>
                    </a:cubicBezTo>
                    <a:lnTo>
                      <a:pt x="803123" y="1228480"/>
                    </a:lnTo>
                    <a:cubicBezTo>
                      <a:pt x="837050" y="1228469"/>
                      <a:pt x="864544" y="1200958"/>
                      <a:pt x="864535" y="1167032"/>
                    </a:cubicBezTo>
                    <a:cubicBezTo>
                      <a:pt x="864532" y="1160357"/>
                      <a:pt x="863443" y="1153726"/>
                      <a:pt x="861308" y="1147403"/>
                    </a:cubicBezTo>
                    <a:close/>
                  </a:path>
                </a:pathLst>
              </a:custGeom>
              <a:gradFill>
                <a:gsLst>
                  <a:gs pos="0">
                    <a:srgbClr val="3CCBF4"/>
                  </a:gs>
                  <a:gs pos="50000">
                    <a:srgbClr val="32AEE9"/>
                  </a:gs>
                  <a:gs pos="100000">
                    <a:srgbClr val="2892DF"/>
                  </a:gs>
                </a:gsLst>
                <a:lin ang="4165775" scaled="1"/>
              </a:gradFill>
              <a:ln w="147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s-ES_tradnl"/>
              </a:p>
            </p:txBody>
          </p:sp>
        </p:grpSp>
      </p:grpSp>
      <p:sp>
        <p:nvSpPr>
          <p:cNvPr id="85" name="Title 1">
            <a:extLst>
              <a:ext uri="{FF2B5EF4-FFF2-40B4-BE49-F238E27FC236}">
                <a16:creationId xmlns:a16="http://schemas.microsoft.com/office/drawing/2014/main" id="{2D8189B6-2C36-4914-C602-26A943C0F71E}"/>
              </a:ext>
            </a:extLst>
          </p:cNvPr>
          <p:cNvSpPr txBox="1">
            <a:spLocks/>
          </p:cNvSpPr>
          <p:nvPr/>
        </p:nvSpPr>
        <p:spPr>
          <a:xfrm>
            <a:off x="726902" y="2620471"/>
            <a:ext cx="3439424" cy="1654299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lvl1pPr algn="l" defTabSz="91431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spc="-100" baseline="0">
                <a:solidFill>
                  <a:schemeClr val="tx1"/>
                </a:solidFill>
                <a:latin typeface="+mj-lt"/>
                <a:ea typeface="Montserrat" charset="0"/>
                <a:cs typeface="Montserrat" charset="0"/>
              </a:defRPr>
            </a:lvl1pPr>
          </a:lstStyle>
          <a:p>
            <a:pPr marL="7938" marR="0" lvl="0" indent="1588" algn="l" defTabSz="91431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00" u="none" strike="noStrike" kern="1200" cap="none" spc="-10" normalizeH="0" baseline="0" noProof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uLnTx/>
                <a:uFillTx/>
                <a:latin typeface="Pulso" pitchFamily="2" charset="0"/>
              </a:rPr>
              <a:t>+ 100 Modelos </a:t>
            </a:r>
            <a:r>
              <a:rPr kumimoji="0" lang="es-ES_tradnl" sz="1000" u="none" strike="noStrike" kern="1200" cap="none" spc="-10" normalizeH="0" baseline="0" noProof="0" err="1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uLnTx/>
                <a:uFillTx/>
                <a:latin typeface="Pulso" pitchFamily="2" charset="0"/>
              </a:rPr>
              <a:t>LLMs</a:t>
            </a:r>
            <a:endParaRPr kumimoji="0" lang="es-ES_tradnl" sz="1000" u="none" strike="noStrike" kern="1200" cap="none" spc="-10" normalizeH="0" baseline="0" noProof="0">
              <a:ln>
                <a:noFill/>
              </a:ln>
              <a:solidFill>
                <a:schemeClr val="bg1">
                  <a:lumMod val="25000"/>
                </a:schemeClr>
              </a:solidFill>
              <a:effectLst/>
              <a:uLnTx/>
              <a:uFillTx/>
              <a:latin typeface="Pulso" pitchFamily="2" charset="0"/>
            </a:endParaRPr>
          </a:p>
          <a:p>
            <a:pPr marL="7938" indent="1588" fontAlgn="auto">
              <a:lnSpc>
                <a:spcPct val="100000"/>
              </a:lnSpc>
              <a:spcAft>
                <a:spcPts val="900"/>
              </a:spcAft>
              <a:defRPr/>
            </a:pPr>
            <a:r>
              <a:rPr lang="es-ES_tradnl" sz="1000" spc="-10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+ 5500 </a:t>
            </a:r>
            <a:r>
              <a:rPr lang="es-ES_tradnl" sz="1000" b="0" spc="-10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Usuarios activos </a:t>
            </a:r>
            <a:r>
              <a:rPr lang="es-ES_tradnl" sz="1000" b="0" spc="-1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Copilotos y Agentes</a:t>
            </a:r>
          </a:p>
          <a:p>
            <a:pPr marL="7938" indent="1588" fontAlgn="auto">
              <a:lnSpc>
                <a:spcPct val="100000"/>
              </a:lnSpc>
              <a:spcAft>
                <a:spcPts val="900"/>
              </a:spcAft>
              <a:defRPr/>
            </a:pPr>
            <a:endParaRPr lang="es-ES_tradnl" sz="1000" spc="-10">
              <a:solidFill>
                <a:schemeClr val="bg1">
                  <a:lumMod val="25000"/>
                </a:schemeClr>
              </a:solidFill>
              <a:latin typeface="Pulso" pitchFamily="2" charset="0"/>
            </a:endParaRPr>
          </a:p>
          <a:p>
            <a:pPr marL="7938" indent="1588" fontAlgn="auto">
              <a:lnSpc>
                <a:spcPct val="100000"/>
              </a:lnSpc>
              <a:spcAft>
                <a:spcPts val="900"/>
              </a:spcAft>
              <a:defRPr/>
            </a:pPr>
            <a:br>
              <a:rPr lang="es-ES_tradnl" sz="1000" spc="-10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</a:br>
            <a:r>
              <a:rPr lang="es-ES_tradnl" sz="1000" spc="-10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26 </a:t>
            </a:r>
            <a:r>
              <a:rPr lang="es-ES_tradnl" sz="1000" b="0" spc="-1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casos</a:t>
            </a:r>
            <a:r>
              <a:rPr lang="es-ES_tradnl" sz="1000" spc="-10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 Implementados</a:t>
            </a:r>
          </a:p>
          <a:p>
            <a:pPr marL="7938" indent="1588" fontAlgn="auto">
              <a:lnSpc>
                <a:spcPct val="100000"/>
              </a:lnSpc>
              <a:spcAft>
                <a:spcPts val="900"/>
              </a:spcAft>
              <a:defRPr/>
            </a:pPr>
            <a:r>
              <a:rPr lang="es-ES_tradnl" sz="1000" spc="-10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20 </a:t>
            </a:r>
            <a:r>
              <a:rPr lang="es-ES_tradnl" sz="1000" b="0" spc="-1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exploraciones</a:t>
            </a:r>
            <a:r>
              <a:rPr lang="es-ES_tradnl" sz="1000" spc="-10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 en curso</a:t>
            </a:r>
          </a:p>
          <a:p>
            <a:pPr marL="7938" indent="1588" fontAlgn="auto">
              <a:lnSpc>
                <a:spcPct val="100000"/>
              </a:lnSpc>
              <a:spcAft>
                <a:spcPts val="900"/>
              </a:spcAft>
              <a:defRPr/>
            </a:pPr>
            <a:r>
              <a:rPr lang="es-ES_tradnl" sz="1000" spc="-10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+10MIL </a:t>
            </a:r>
            <a:r>
              <a:rPr lang="es-ES_tradnl" sz="1000" b="0" spc="-1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Colaboradores</a:t>
            </a:r>
            <a:r>
              <a:rPr lang="es-ES_tradnl" sz="1000" b="0" spc="-10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 </a:t>
            </a:r>
            <a:r>
              <a:rPr lang="es-ES_tradnl" sz="1000" spc="-10">
                <a:solidFill>
                  <a:schemeClr val="bg1">
                    <a:lumMod val="25000"/>
                  </a:schemeClr>
                </a:solidFill>
                <a:latin typeface="Pulso" pitchFamily="2" charset="0"/>
              </a:rPr>
              <a:t>certificados </a:t>
            </a:r>
            <a:r>
              <a:rPr lang="es-ES_tradnl" sz="1000" b="0" spc="-1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en </a:t>
            </a:r>
            <a:r>
              <a:rPr lang="es-ES_tradnl" sz="1000" b="0" spc="-1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Foundation</a:t>
            </a:r>
            <a:r>
              <a:rPr lang="es-ES_tradnl" sz="1000" b="0" spc="-1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de </a:t>
            </a:r>
            <a:r>
              <a:rPr lang="es-ES_tradnl" sz="1000" b="0" spc="-1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GenAI</a:t>
            </a:r>
            <a:endParaRPr kumimoji="0" lang="es-ES_tradnl" sz="1000" b="0" u="none" strike="noStrike" kern="1200" cap="none" spc="-10" normalizeH="0" baseline="0" noProof="0">
              <a:ln>
                <a:noFill/>
              </a:ln>
              <a:solidFill>
                <a:schemeClr val="bg1">
                  <a:lumMod val="25000"/>
                </a:schemeClr>
              </a:solidFill>
              <a:effectLst/>
              <a:uLnTx/>
              <a:uFillTx/>
              <a:latin typeface="Pulso Light" pitchFamily="2" charset="0"/>
            </a:endParaRPr>
          </a:p>
        </p:txBody>
      </p:sp>
      <p:grpSp>
        <p:nvGrpSpPr>
          <p:cNvPr id="98" name="Grupo 97">
            <a:extLst>
              <a:ext uri="{FF2B5EF4-FFF2-40B4-BE49-F238E27FC236}">
                <a16:creationId xmlns:a16="http://schemas.microsoft.com/office/drawing/2014/main" id="{ECFEA420-0DEB-1AF3-750F-89661065F393}"/>
              </a:ext>
            </a:extLst>
          </p:cNvPr>
          <p:cNvGrpSpPr/>
          <p:nvPr/>
        </p:nvGrpSpPr>
        <p:grpSpPr>
          <a:xfrm>
            <a:off x="740710" y="3142942"/>
            <a:ext cx="2966041" cy="280189"/>
            <a:chOff x="2471733" y="2867290"/>
            <a:chExt cx="3333082" cy="314861"/>
          </a:xfrm>
        </p:grpSpPr>
        <p:grpSp>
          <p:nvGrpSpPr>
            <p:cNvPr id="99" name="Grupo 98">
              <a:extLst>
                <a:ext uri="{FF2B5EF4-FFF2-40B4-BE49-F238E27FC236}">
                  <a16:creationId xmlns:a16="http://schemas.microsoft.com/office/drawing/2014/main" id="{9E79A6E0-A0BB-0248-6577-9740932DD731}"/>
                </a:ext>
              </a:extLst>
            </p:cNvPr>
            <p:cNvGrpSpPr/>
            <p:nvPr/>
          </p:nvGrpSpPr>
          <p:grpSpPr>
            <a:xfrm>
              <a:off x="2471733" y="2867290"/>
              <a:ext cx="1837495" cy="314861"/>
              <a:chOff x="3820369" y="3785079"/>
              <a:chExt cx="1837495" cy="314861"/>
            </a:xfrm>
          </p:grpSpPr>
          <p:pic>
            <p:nvPicPr>
              <p:cNvPr id="103" name="Picture 12" descr="Microsoft 365 Copilot - Apps en Google Play">
                <a:extLst>
                  <a:ext uri="{FF2B5EF4-FFF2-40B4-BE49-F238E27FC236}">
                    <a16:creationId xmlns:a16="http://schemas.microsoft.com/office/drawing/2014/main" id="{44DF39F8-ABDB-B6D5-E8F9-65B87904FA8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657" t="16168" r="14518" b="17529"/>
              <a:stretch>
                <a:fillRect/>
              </a:stretch>
            </p:blipFill>
            <p:spPr bwMode="auto">
              <a:xfrm>
                <a:off x="3820369" y="3827264"/>
                <a:ext cx="287683" cy="2304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4" name="Picture 18" descr="Generative AI Powered Amazon Q logo #374909 - TemplateMonster">
                <a:extLst>
                  <a:ext uri="{FF2B5EF4-FFF2-40B4-BE49-F238E27FC236}">
                    <a16:creationId xmlns:a16="http://schemas.microsoft.com/office/drawing/2014/main" id="{51F61CAA-D261-94C8-F223-0C993DBF275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8870" t="32215" r="8441" b="12142"/>
              <a:stretch>
                <a:fillRect/>
              </a:stretch>
            </p:blipFill>
            <p:spPr bwMode="auto">
              <a:xfrm>
                <a:off x="5303863" y="3785079"/>
                <a:ext cx="354001" cy="31486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5" name="Picture 28" descr="Microsoft Copilot Studio IA - Diseña y personaliza copilotos empresariales">
                <a:extLst>
                  <a:ext uri="{FF2B5EF4-FFF2-40B4-BE49-F238E27FC236}">
                    <a16:creationId xmlns:a16="http://schemas.microsoft.com/office/drawing/2014/main" id="{FD7AA906-900E-6CA4-1104-9F545C2FD31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740" t="20553" r="8634" b="23889"/>
              <a:stretch>
                <a:fillRect/>
              </a:stretch>
            </p:blipFill>
            <p:spPr bwMode="auto">
              <a:xfrm>
                <a:off x="4650119" y="3796636"/>
                <a:ext cx="564542" cy="29174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6" name="Picture 30" descr="Google NotebookLM: Summary">
                <a:extLst>
                  <a:ext uri="{FF2B5EF4-FFF2-40B4-BE49-F238E27FC236}">
                    <a16:creationId xmlns:a16="http://schemas.microsoft.com/office/drawing/2014/main" id="{B53EF8F0-F0DB-7D7D-B670-1CA86B869AB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9110" b="27510"/>
              <a:stretch>
                <a:fillRect/>
              </a:stretch>
            </p:blipFill>
            <p:spPr bwMode="auto">
              <a:xfrm>
                <a:off x="4197253" y="3827264"/>
                <a:ext cx="363665" cy="2304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00" name="Grupo 99">
              <a:extLst>
                <a:ext uri="{FF2B5EF4-FFF2-40B4-BE49-F238E27FC236}">
                  <a16:creationId xmlns:a16="http://schemas.microsoft.com/office/drawing/2014/main" id="{6CCB717E-29A0-3DF7-F8AC-A51F5C85ACB9}"/>
                </a:ext>
              </a:extLst>
            </p:cNvPr>
            <p:cNvGrpSpPr/>
            <p:nvPr/>
          </p:nvGrpSpPr>
          <p:grpSpPr>
            <a:xfrm>
              <a:off x="4438831" y="3019872"/>
              <a:ext cx="1365984" cy="139939"/>
              <a:chOff x="5980692" y="3931837"/>
              <a:chExt cx="1365984" cy="139939"/>
            </a:xfrm>
          </p:grpSpPr>
          <p:pic>
            <p:nvPicPr>
              <p:cNvPr id="101" name="Picture 20" descr="CMC Global Named Official Google Agentspace Partner to Accelerate  Enterprise AI - CMC Global">
                <a:extLst>
                  <a:ext uri="{FF2B5EF4-FFF2-40B4-BE49-F238E27FC236}">
                    <a16:creationId xmlns:a16="http://schemas.microsoft.com/office/drawing/2014/main" id="{3270BC71-6BE1-2E40-86B2-10F7C674A58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121" t="49082" r="43041" b="36831"/>
              <a:stretch>
                <a:fillRect/>
              </a:stretch>
            </p:blipFill>
            <p:spPr bwMode="auto">
              <a:xfrm>
                <a:off x="6688947" y="3946935"/>
                <a:ext cx="657729" cy="1248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2" name="Picture 22" descr="Agentforce: Elevate Your Organization's Impact - Cloud for Good">
                <a:extLst>
                  <a:ext uri="{FF2B5EF4-FFF2-40B4-BE49-F238E27FC236}">
                    <a16:creationId xmlns:a16="http://schemas.microsoft.com/office/drawing/2014/main" id="{D44D6D95-FD4D-E45D-8F11-AFF832307025}"/>
                  </a:ext>
                </a:extLst>
              </p:cNvPr>
              <p:cNvPicPr>
                <a:picLocks noChangeArrowheads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953" t="35893" r="6671" b="38353"/>
              <a:stretch>
                <a:fillRect/>
              </a:stretch>
            </p:blipFill>
            <p:spPr bwMode="auto">
              <a:xfrm>
                <a:off x="5980692" y="3931837"/>
                <a:ext cx="567530" cy="120093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107" name="Title 1">
            <a:extLst>
              <a:ext uri="{FF2B5EF4-FFF2-40B4-BE49-F238E27FC236}">
                <a16:creationId xmlns:a16="http://schemas.microsoft.com/office/drawing/2014/main" id="{6C59CD47-E268-F80C-8791-740D5559DB2A}"/>
              </a:ext>
            </a:extLst>
          </p:cNvPr>
          <p:cNvSpPr txBox="1">
            <a:spLocks/>
          </p:cNvSpPr>
          <p:nvPr/>
        </p:nvSpPr>
        <p:spPr>
          <a:xfrm>
            <a:off x="4856110" y="1707960"/>
            <a:ext cx="3966770" cy="169277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1100" spc="0">
                <a:solidFill>
                  <a:schemeClr val="tx2">
                    <a:lumMod val="75000"/>
                    <a:lumOff val="25000"/>
                  </a:schemeClr>
                </a:solidFill>
              </a:rPr>
              <a:t>GEN AI </a:t>
            </a:r>
            <a:r>
              <a:rPr lang="es-ES_tradnl" sz="1100" b="0" spc="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 Light" pitchFamily="2" charset="0"/>
              </a:rPr>
              <a:t>Modelo Gobierno y plataforma </a:t>
            </a:r>
            <a:r>
              <a:rPr lang="es-ES_tradnl" sz="1100" b="0" spc="0" noProof="0" err="1">
                <a:solidFill>
                  <a:schemeClr val="tx2">
                    <a:lumMod val="75000"/>
                    <a:lumOff val="25000"/>
                  </a:schemeClr>
                </a:solidFill>
                <a:latin typeface="Pulso Light" pitchFamily="2" charset="0"/>
              </a:rPr>
              <a:t>Agentic</a:t>
            </a:r>
            <a:r>
              <a:rPr lang="es-ES_tradnl" sz="1100" b="0" spc="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 Light" pitchFamily="2" charset="0"/>
              </a:rPr>
              <a:t> AI</a:t>
            </a:r>
          </a:p>
        </p:txBody>
      </p:sp>
      <p:pic>
        <p:nvPicPr>
          <p:cNvPr id="108" name="Imagen 107">
            <a:extLst>
              <a:ext uri="{FF2B5EF4-FFF2-40B4-BE49-F238E27FC236}">
                <a16:creationId xmlns:a16="http://schemas.microsoft.com/office/drawing/2014/main" id="{4A447111-21C3-9231-2E12-F4EA3572A48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81819" y="1917912"/>
            <a:ext cx="2669936" cy="2561512"/>
          </a:xfrm>
          <a:prstGeom prst="rect">
            <a:avLst/>
          </a:prstGeom>
        </p:spPr>
      </p:pic>
      <p:sp>
        <p:nvSpPr>
          <p:cNvPr id="110" name="Title 1">
            <a:extLst>
              <a:ext uri="{FF2B5EF4-FFF2-40B4-BE49-F238E27FC236}">
                <a16:creationId xmlns:a16="http://schemas.microsoft.com/office/drawing/2014/main" id="{08A1473C-03E4-08E1-BC1D-5DA0E3C52A67}"/>
              </a:ext>
            </a:extLst>
          </p:cNvPr>
          <p:cNvSpPr txBox="1">
            <a:spLocks/>
          </p:cNvSpPr>
          <p:nvPr/>
        </p:nvSpPr>
        <p:spPr>
          <a:xfrm>
            <a:off x="7494532" y="2342668"/>
            <a:ext cx="1064084" cy="1682255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1200"/>
              </a:lnSpc>
            </a:pPr>
            <a:r>
              <a:rPr lang="es-ES_tradnl" sz="850" b="0" spc="-2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Centralizar los casos de uso en una plataforma agentica propia nos permitirá evolucionar, optimizar y medir el impacto de la IA, anticipándonos a tendencias globales y fortaleciendo nuestra autonomía tecnológica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098FC1A-1FE7-D463-C8A6-6FEB68A85813}"/>
              </a:ext>
            </a:extLst>
          </p:cNvPr>
          <p:cNvSpPr txBox="1">
            <a:spLocks/>
          </p:cNvSpPr>
          <p:nvPr/>
        </p:nvSpPr>
        <p:spPr>
          <a:xfrm>
            <a:off x="540657" y="606142"/>
            <a:ext cx="2640466" cy="718145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tx2"/>
                </a:solidFill>
                <a:latin typeface="Pulso Light" pitchFamily="2" charset="0"/>
              </a:rPr>
              <a:t>Potenciación de AI:</a:t>
            </a:r>
          </a:p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bg2"/>
                </a:solidFill>
                <a:latin typeface="Pulso Light" pitchFamily="2" charset="0"/>
              </a:rPr>
              <a:t>Estrategia Telecom</a:t>
            </a:r>
          </a:p>
        </p:txBody>
      </p:sp>
    </p:spTree>
    <p:extLst>
      <p:ext uri="{BB962C8B-B14F-4D97-AF65-F5344CB8AC3E}">
        <p14:creationId xmlns:p14="http://schemas.microsoft.com/office/powerpoint/2010/main" val="3947372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4AA7A3-A95F-1D2E-6C8D-AD0AF65D02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8A1505A8-26EE-6ACF-66E5-1E8973D592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9" progId="TCLayout.ActiveDocument.1">
                  <p:embed/>
                </p:oleObj>
              </mc:Choice>
              <mc:Fallback>
                <p:oleObj name="Diapositiva de think-cell" r:id="rId4" imgW="378" imgH="379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1505A8-26EE-6ACF-66E5-1E8973D592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2ADA0F6A-88D0-5018-8AD2-3FBB6FCD7B96}"/>
              </a:ext>
            </a:extLst>
          </p:cNvPr>
          <p:cNvSpPr txBox="1">
            <a:spLocks/>
          </p:cNvSpPr>
          <p:nvPr/>
        </p:nvSpPr>
        <p:spPr>
          <a:xfrm>
            <a:off x="540657" y="606142"/>
            <a:ext cx="2492029" cy="718145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tx2"/>
                </a:solidFill>
                <a:latin typeface="Pulso Light" pitchFamily="2" charset="0"/>
              </a:rPr>
              <a:t>Potenciación de AI:</a:t>
            </a:r>
          </a:p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bg2"/>
                </a:solidFill>
                <a:latin typeface="Pulso Light" pitchFamily="2" charset="0"/>
              </a:rPr>
              <a:t>Visión 2030</a:t>
            </a:r>
          </a:p>
        </p:txBody>
      </p:sp>
      <p:sp>
        <p:nvSpPr>
          <p:cNvPr id="3" name="Marcador de texto 8">
            <a:extLst>
              <a:ext uri="{FF2B5EF4-FFF2-40B4-BE49-F238E27FC236}">
                <a16:creationId xmlns:a16="http://schemas.microsoft.com/office/drawing/2014/main" id="{2E94F481-635D-8124-F783-79FA6C9BE752}"/>
              </a:ext>
            </a:extLst>
          </p:cNvPr>
          <p:cNvSpPr txBox="1">
            <a:spLocks/>
          </p:cNvSpPr>
          <p:nvPr/>
        </p:nvSpPr>
        <p:spPr>
          <a:xfrm>
            <a:off x="533542" y="1468241"/>
            <a:ext cx="6134462" cy="18857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>
                <a:solidFill>
                  <a:schemeClr val="tx2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A bajo una estrategia por fases alineada con objetivos estratégicos y dinámica de mercado.</a:t>
            </a:r>
          </a:p>
        </p:txBody>
      </p:sp>
      <p:sp>
        <p:nvSpPr>
          <p:cNvPr id="2" name="Rectángulo: esquinas redondeadas 13">
            <a:extLst>
              <a:ext uri="{FF2B5EF4-FFF2-40B4-BE49-F238E27FC236}">
                <a16:creationId xmlns:a16="http://schemas.microsoft.com/office/drawing/2014/main" id="{700F628B-CC00-DFA4-B65C-B8F6591D3D15}"/>
              </a:ext>
            </a:extLst>
          </p:cNvPr>
          <p:cNvSpPr>
            <a:spLocks/>
          </p:cNvSpPr>
          <p:nvPr/>
        </p:nvSpPr>
        <p:spPr bwMode="auto">
          <a:xfrm>
            <a:off x="716100" y="2217600"/>
            <a:ext cx="1858416" cy="2295482"/>
          </a:xfrm>
          <a:prstGeom prst="roundRect">
            <a:avLst>
              <a:gd name="adj" fmla="val 3864"/>
            </a:avLst>
          </a:prstGeom>
          <a:gradFill>
            <a:gsLst>
              <a:gs pos="10000">
                <a:srgbClr val="FFFFFF">
                  <a:alpha val="0"/>
                </a:srgbClr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02"/>
            <a:endParaRPr lang="es-AR" sz="1187">
              <a:solidFill>
                <a:srgbClr val="F0F0F0"/>
              </a:solidFill>
              <a:latin typeface="Pulso" pitchFamily="2" charset="0"/>
              <a:ea typeface="Roboto" panose="02000000000000000000" pitchFamily="2" charset="0"/>
            </a:endParaRPr>
          </a:p>
        </p:txBody>
      </p:sp>
      <p:sp>
        <p:nvSpPr>
          <p:cNvPr id="4" name="Rectángulo: esquinas redondeadas 13">
            <a:extLst>
              <a:ext uri="{FF2B5EF4-FFF2-40B4-BE49-F238E27FC236}">
                <a16:creationId xmlns:a16="http://schemas.microsoft.com/office/drawing/2014/main" id="{45941835-5553-7B00-44D6-B4F21E0B8018}"/>
              </a:ext>
            </a:extLst>
          </p:cNvPr>
          <p:cNvSpPr>
            <a:spLocks/>
          </p:cNvSpPr>
          <p:nvPr/>
        </p:nvSpPr>
        <p:spPr bwMode="auto">
          <a:xfrm>
            <a:off x="2687443" y="2217600"/>
            <a:ext cx="1858416" cy="2295482"/>
          </a:xfrm>
          <a:prstGeom prst="roundRect">
            <a:avLst>
              <a:gd name="adj" fmla="val 3864"/>
            </a:avLst>
          </a:prstGeom>
          <a:gradFill>
            <a:gsLst>
              <a:gs pos="10000">
                <a:srgbClr val="FFFFFF">
                  <a:alpha val="0"/>
                </a:srgbClr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02"/>
            <a:endParaRPr lang="es-AR" sz="1187">
              <a:solidFill>
                <a:srgbClr val="F0F0F0"/>
              </a:solidFill>
              <a:latin typeface="Pulso" pitchFamily="2" charset="0"/>
              <a:ea typeface="Roboto" panose="02000000000000000000" pitchFamily="2" charset="0"/>
            </a:endParaRPr>
          </a:p>
        </p:txBody>
      </p:sp>
      <p:sp>
        <p:nvSpPr>
          <p:cNvPr id="9" name="Rectángulo: esquinas redondeadas 13">
            <a:extLst>
              <a:ext uri="{FF2B5EF4-FFF2-40B4-BE49-F238E27FC236}">
                <a16:creationId xmlns:a16="http://schemas.microsoft.com/office/drawing/2014/main" id="{B680F997-0FD6-83B3-9B8D-9DD05BE8C1CC}"/>
              </a:ext>
            </a:extLst>
          </p:cNvPr>
          <p:cNvSpPr>
            <a:spLocks/>
          </p:cNvSpPr>
          <p:nvPr/>
        </p:nvSpPr>
        <p:spPr bwMode="auto">
          <a:xfrm>
            <a:off x="4658786" y="2217600"/>
            <a:ext cx="1858416" cy="2295482"/>
          </a:xfrm>
          <a:prstGeom prst="roundRect">
            <a:avLst>
              <a:gd name="adj" fmla="val 3864"/>
            </a:avLst>
          </a:prstGeom>
          <a:gradFill>
            <a:gsLst>
              <a:gs pos="10000">
                <a:srgbClr val="FFFFFF">
                  <a:alpha val="0"/>
                </a:srgbClr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02"/>
            <a:endParaRPr lang="es-AR" sz="1187">
              <a:solidFill>
                <a:srgbClr val="F0F0F0"/>
              </a:solidFill>
              <a:latin typeface="Pulso" pitchFamily="2" charset="0"/>
              <a:ea typeface="Roboto" panose="02000000000000000000" pitchFamily="2" charset="0"/>
            </a:endParaRPr>
          </a:p>
        </p:txBody>
      </p:sp>
      <p:sp>
        <p:nvSpPr>
          <p:cNvPr id="11" name="Rectángulo: esquinas redondeadas 13">
            <a:extLst>
              <a:ext uri="{FF2B5EF4-FFF2-40B4-BE49-F238E27FC236}">
                <a16:creationId xmlns:a16="http://schemas.microsoft.com/office/drawing/2014/main" id="{31ED7AB5-7B20-84EC-13BD-93A933DDB0D4}"/>
              </a:ext>
            </a:extLst>
          </p:cNvPr>
          <p:cNvSpPr>
            <a:spLocks/>
          </p:cNvSpPr>
          <p:nvPr/>
        </p:nvSpPr>
        <p:spPr bwMode="auto">
          <a:xfrm>
            <a:off x="6630129" y="2217600"/>
            <a:ext cx="1858416" cy="2295482"/>
          </a:xfrm>
          <a:prstGeom prst="roundRect">
            <a:avLst>
              <a:gd name="adj" fmla="val 3864"/>
            </a:avLst>
          </a:prstGeom>
          <a:gradFill>
            <a:gsLst>
              <a:gs pos="10000">
                <a:srgbClr val="FFFFFF">
                  <a:alpha val="0"/>
                </a:srgbClr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42902"/>
            <a:endParaRPr lang="es-AR" sz="1187">
              <a:solidFill>
                <a:srgbClr val="F0F0F0"/>
              </a:solidFill>
              <a:latin typeface="Pulso" pitchFamily="2" charset="0"/>
              <a:ea typeface="Roboto" panose="02000000000000000000" pitchFamily="2" charset="0"/>
            </a:endParaRPr>
          </a:p>
        </p:txBody>
      </p:sp>
      <p:sp>
        <p:nvSpPr>
          <p:cNvPr id="21" name="Marcador de texto 8">
            <a:extLst>
              <a:ext uri="{FF2B5EF4-FFF2-40B4-BE49-F238E27FC236}">
                <a16:creationId xmlns:a16="http://schemas.microsoft.com/office/drawing/2014/main" id="{119FA90E-A1E4-D8A9-7664-8B8D6345EF34}"/>
              </a:ext>
            </a:extLst>
          </p:cNvPr>
          <p:cNvSpPr txBox="1">
            <a:spLocks/>
          </p:cNvSpPr>
          <p:nvPr/>
        </p:nvSpPr>
        <p:spPr>
          <a:xfrm>
            <a:off x="716099" y="1950227"/>
            <a:ext cx="7772445" cy="20569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200" noProof="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Impulsores clave</a:t>
            </a:r>
          </a:p>
        </p:txBody>
      </p:sp>
      <p:sp>
        <p:nvSpPr>
          <p:cNvPr id="22" name="Marcador de texto 8">
            <a:extLst>
              <a:ext uri="{FF2B5EF4-FFF2-40B4-BE49-F238E27FC236}">
                <a16:creationId xmlns:a16="http://schemas.microsoft.com/office/drawing/2014/main" id="{2C4BB9F8-99FC-4575-93AE-977A3E7145EB}"/>
              </a:ext>
            </a:extLst>
          </p:cNvPr>
          <p:cNvSpPr txBox="1">
            <a:spLocks/>
          </p:cNvSpPr>
          <p:nvPr/>
        </p:nvSpPr>
        <p:spPr>
          <a:xfrm>
            <a:off x="882413" y="2441921"/>
            <a:ext cx="785572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228600" indent="-228600" defTabSz="914400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Clr>
                <a:schemeClr val="accent3"/>
              </a:buClr>
              <a:buFont typeface="Letra del sistema regular"/>
              <a:buChar char="●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s-AR" sz="1200">
                <a:solidFill>
                  <a:schemeClr val="accent3"/>
                </a:solidFill>
                <a:latin typeface="Pulso" pitchFamily="2" charset="0"/>
                <a:ea typeface="Roboto" panose="02000000000000000000" pitchFamily="2" charset="0"/>
              </a:rPr>
              <a:t>Eficiencia</a:t>
            </a:r>
          </a:p>
        </p:txBody>
      </p:sp>
      <p:sp>
        <p:nvSpPr>
          <p:cNvPr id="23" name="Marcador de texto 8">
            <a:extLst>
              <a:ext uri="{FF2B5EF4-FFF2-40B4-BE49-F238E27FC236}">
                <a16:creationId xmlns:a16="http://schemas.microsoft.com/office/drawing/2014/main" id="{D583BEAD-3E45-F065-362A-9A010B4201F8}"/>
              </a:ext>
            </a:extLst>
          </p:cNvPr>
          <p:cNvSpPr txBox="1">
            <a:spLocks/>
          </p:cNvSpPr>
          <p:nvPr/>
        </p:nvSpPr>
        <p:spPr>
          <a:xfrm>
            <a:off x="2853757" y="2441921"/>
            <a:ext cx="1266884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228600" indent="-228600" defTabSz="914400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Clr>
                <a:schemeClr val="accent3"/>
              </a:buClr>
              <a:buFont typeface="Letra del sistema regular"/>
              <a:buChar char="●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s-AR" sz="1200">
                <a:solidFill>
                  <a:schemeClr val="accent3"/>
                </a:solidFill>
                <a:latin typeface="Pulso" pitchFamily="2" charset="0"/>
                <a:ea typeface="Roboto" panose="02000000000000000000" pitchFamily="2" charset="0"/>
              </a:rPr>
              <a:t>Personalización y Experiencia</a:t>
            </a:r>
          </a:p>
        </p:txBody>
      </p:sp>
      <p:sp>
        <p:nvSpPr>
          <p:cNvPr id="24" name="Marcador de texto 8">
            <a:extLst>
              <a:ext uri="{FF2B5EF4-FFF2-40B4-BE49-F238E27FC236}">
                <a16:creationId xmlns:a16="http://schemas.microsoft.com/office/drawing/2014/main" id="{1C1009A5-DB46-E919-3707-5E4013FFFF9E}"/>
              </a:ext>
            </a:extLst>
          </p:cNvPr>
          <p:cNvSpPr txBox="1">
            <a:spLocks/>
          </p:cNvSpPr>
          <p:nvPr/>
        </p:nvSpPr>
        <p:spPr>
          <a:xfrm>
            <a:off x="4826319" y="2441921"/>
            <a:ext cx="1332446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228600" indent="-228600" defTabSz="914400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Clr>
                <a:schemeClr val="accent3"/>
              </a:buClr>
              <a:buFont typeface="Letra del sistema regular"/>
              <a:buChar char="●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s-AR" sz="1200">
                <a:solidFill>
                  <a:schemeClr val="accent3"/>
                </a:solidFill>
                <a:latin typeface="Pulso" pitchFamily="2" charset="0"/>
                <a:ea typeface="Roboto" panose="02000000000000000000" pitchFamily="2" charset="0"/>
              </a:rPr>
              <a:t>Responsabilidad</a:t>
            </a:r>
          </a:p>
        </p:txBody>
      </p:sp>
      <p:sp>
        <p:nvSpPr>
          <p:cNvPr id="25" name="Marcador de texto 8">
            <a:extLst>
              <a:ext uri="{FF2B5EF4-FFF2-40B4-BE49-F238E27FC236}">
                <a16:creationId xmlns:a16="http://schemas.microsoft.com/office/drawing/2014/main" id="{BDAA22CD-819D-A430-8F6F-A0DAD3BAF6A6}"/>
              </a:ext>
            </a:extLst>
          </p:cNvPr>
          <p:cNvSpPr txBox="1">
            <a:spLocks/>
          </p:cNvSpPr>
          <p:nvPr/>
        </p:nvSpPr>
        <p:spPr>
          <a:xfrm>
            <a:off x="6796443" y="2441921"/>
            <a:ext cx="666962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228600" indent="-228600" defTabSz="914400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Clr>
                <a:schemeClr val="accent3"/>
              </a:buClr>
              <a:buFont typeface="Letra del sistema regular"/>
              <a:buChar char="●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s-AR" sz="1200">
                <a:solidFill>
                  <a:schemeClr val="accent3"/>
                </a:solidFill>
                <a:latin typeface="Pulso" pitchFamily="2" charset="0"/>
                <a:ea typeface="Roboto" panose="02000000000000000000" pitchFamily="2" charset="0"/>
              </a:rPr>
              <a:t>Agilidad</a:t>
            </a:r>
          </a:p>
        </p:txBody>
      </p:sp>
      <p:sp>
        <p:nvSpPr>
          <p:cNvPr id="34" name="Marcador de texto 8">
            <a:extLst>
              <a:ext uri="{FF2B5EF4-FFF2-40B4-BE49-F238E27FC236}">
                <a16:creationId xmlns:a16="http://schemas.microsoft.com/office/drawing/2014/main" id="{2C847792-45ED-445C-7F7C-910AEC6C06B4}"/>
              </a:ext>
            </a:extLst>
          </p:cNvPr>
          <p:cNvSpPr txBox="1">
            <a:spLocks/>
          </p:cNvSpPr>
          <p:nvPr/>
        </p:nvSpPr>
        <p:spPr>
          <a:xfrm>
            <a:off x="882411" y="2737107"/>
            <a:ext cx="1568737" cy="64633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600"/>
              </a:spcAft>
              <a:buClr>
                <a:schemeClr val="accent3"/>
              </a:buClr>
              <a:buNone/>
            </a:pPr>
            <a:r>
              <a:rPr lang="es-AR" sz="105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"/>
              </a:rPr>
              <a:t>Mejorar la eficiencia operativa a través de la automatización y la integración de IA.</a:t>
            </a:r>
          </a:p>
        </p:txBody>
      </p:sp>
      <p:sp>
        <p:nvSpPr>
          <p:cNvPr id="38" name="Marcador de texto 8">
            <a:extLst>
              <a:ext uri="{FF2B5EF4-FFF2-40B4-BE49-F238E27FC236}">
                <a16:creationId xmlns:a16="http://schemas.microsoft.com/office/drawing/2014/main" id="{4BBF81B9-22FE-581A-422D-1B2E22A916A9}"/>
              </a:ext>
            </a:extLst>
          </p:cNvPr>
          <p:cNvSpPr txBox="1">
            <a:spLocks/>
          </p:cNvSpPr>
          <p:nvPr/>
        </p:nvSpPr>
        <p:spPr>
          <a:xfrm>
            <a:off x="2856868" y="2908781"/>
            <a:ext cx="1679799" cy="129266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600"/>
              </a:spcAft>
              <a:buClr>
                <a:schemeClr val="accent3"/>
              </a:buClr>
              <a:buNone/>
            </a:pPr>
            <a:r>
              <a:rPr lang="es-AR" sz="105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"/>
              </a:rPr>
              <a:t>Enfoque en los servicios </a:t>
            </a:r>
            <a:r>
              <a:rPr lang="es-AR" sz="1050" err="1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"/>
              </a:rPr>
              <a:t>hiperpersonalizados</a:t>
            </a:r>
            <a:r>
              <a:rPr lang="es-AR" sz="105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"/>
              </a:rPr>
              <a:t> tiene como objetivo transformar la conectividad en oportunidades para los clientes, mejorando la confianza y la inclusión digital.</a:t>
            </a:r>
          </a:p>
        </p:txBody>
      </p:sp>
      <p:sp>
        <p:nvSpPr>
          <p:cNvPr id="39" name="Marcador de texto 8">
            <a:extLst>
              <a:ext uri="{FF2B5EF4-FFF2-40B4-BE49-F238E27FC236}">
                <a16:creationId xmlns:a16="http://schemas.microsoft.com/office/drawing/2014/main" id="{84BD5C98-F0F3-0391-CAD5-B224A0FEAEA7}"/>
              </a:ext>
            </a:extLst>
          </p:cNvPr>
          <p:cNvSpPr txBox="1">
            <a:spLocks/>
          </p:cNvSpPr>
          <p:nvPr/>
        </p:nvSpPr>
        <p:spPr>
          <a:xfrm>
            <a:off x="4831325" y="2737107"/>
            <a:ext cx="1568737" cy="113107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600"/>
              </a:spcAft>
              <a:buClr>
                <a:schemeClr val="accent3"/>
              </a:buClr>
              <a:buNone/>
            </a:pPr>
            <a:r>
              <a:rPr lang="es-AR" sz="105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"/>
              </a:rPr>
              <a:t>La visión incorpora prácticas éticas de IA, enfatizando la privacidad y la sostenibilidad, que son cada vez más importantes en el panorama de las </a:t>
            </a:r>
            <a:r>
              <a:rPr lang="es-AR" sz="1050" err="1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"/>
              </a:rPr>
              <a:t>techco</a:t>
            </a:r>
            <a:r>
              <a:rPr lang="es-AR" sz="105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"/>
              </a:rPr>
              <a:t>.</a:t>
            </a:r>
          </a:p>
        </p:txBody>
      </p:sp>
      <p:sp>
        <p:nvSpPr>
          <p:cNvPr id="40" name="Marcador de texto 8">
            <a:extLst>
              <a:ext uri="{FF2B5EF4-FFF2-40B4-BE49-F238E27FC236}">
                <a16:creationId xmlns:a16="http://schemas.microsoft.com/office/drawing/2014/main" id="{F9E35446-867F-F3DB-D25E-D7574FDF2946}"/>
              </a:ext>
            </a:extLst>
          </p:cNvPr>
          <p:cNvSpPr txBox="1">
            <a:spLocks/>
          </p:cNvSpPr>
          <p:nvPr/>
        </p:nvSpPr>
        <p:spPr>
          <a:xfrm>
            <a:off x="6797689" y="2737107"/>
            <a:ext cx="1568737" cy="161582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600"/>
              </a:spcAft>
              <a:buClr>
                <a:schemeClr val="accent3"/>
              </a:buClr>
              <a:buNone/>
            </a:pPr>
            <a:r>
              <a:rPr lang="es-AR" sz="105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"/>
              </a:rPr>
              <a:t>La Agilidad para responder a los cambios del mercado y las demandas de los clientes, con una recomendación para desarrollar funciones de comercio inteligente que aprovechen tecnologías emergentes como AI.</a:t>
            </a:r>
          </a:p>
        </p:txBody>
      </p:sp>
      <p:cxnSp>
        <p:nvCxnSpPr>
          <p:cNvPr id="41" name="Conector recto 40">
            <a:extLst>
              <a:ext uri="{FF2B5EF4-FFF2-40B4-BE49-F238E27FC236}">
                <a16:creationId xmlns:a16="http://schemas.microsoft.com/office/drawing/2014/main" id="{B05C3C05-32CD-331C-C207-DA22D7FDAF3A}"/>
              </a:ext>
            </a:extLst>
          </p:cNvPr>
          <p:cNvCxnSpPr>
            <a:cxnSpLocks/>
          </p:cNvCxnSpPr>
          <p:nvPr/>
        </p:nvCxnSpPr>
        <p:spPr>
          <a:xfrm>
            <a:off x="716100" y="2226912"/>
            <a:ext cx="7772445" cy="0"/>
          </a:xfrm>
          <a:prstGeom prst="line">
            <a:avLst/>
          </a:prstGeom>
          <a:ln w="12700" cap="rnd">
            <a:solidFill>
              <a:schemeClr val="tx2">
                <a:alpha val="49589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163E7846-3DCD-00DE-3505-BA8040EDDEC6}"/>
              </a:ext>
            </a:extLst>
          </p:cNvPr>
          <p:cNvCxnSpPr>
            <a:cxnSpLocks/>
          </p:cNvCxnSpPr>
          <p:nvPr/>
        </p:nvCxnSpPr>
        <p:spPr>
          <a:xfrm>
            <a:off x="716100" y="1911323"/>
            <a:ext cx="7772445" cy="0"/>
          </a:xfrm>
          <a:prstGeom prst="line">
            <a:avLst/>
          </a:prstGeom>
          <a:ln w="12700" cap="rnd">
            <a:solidFill>
              <a:schemeClr val="tx2">
                <a:alpha val="49589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372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B1E3EA-F320-FA8B-8019-2DB7D0FCA9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upo 38">
            <a:extLst>
              <a:ext uri="{FF2B5EF4-FFF2-40B4-BE49-F238E27FC236}">
                <a16:creationId xmlns:a16="http://schemas.microsoft.com/office/drawing/2014/main" id="{F85B2106-C375-B394-9C19-9B9AEC597EAC}"/>
              </a:ext>
            </a:extLst>
          </p:cNvPr>
          <p:cNvGrpSpPr/>
          <p:nvPr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40" name="Rectángulo 39">
              <a:extLst>
                <a:ext uri="{FF2B5EF4-FFF2-40B4-BE49-F238E27FC236}">
                  <a16:creationId xmlns:a16="http://schemas.microsoft.com/office/drawing/2014/main" id="{4A14FFB1-8453-CBED-3F8B-2BE734346BB8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_tradnl" sz="670"/>
            </a:p>
          </p:txBody>
        </p:sp>
        <p:sp>
          <p:nvSpPr>
            <p:cNvPr id="41" name="Rectángulo 40">
              <a:extLst>
                <a:ext uri="{FF2B5EF4-FFF2-40B4-BE49-F238E27FC236}">
                  <a16:creationId xmlns:a16="http://schemas.microsoft.com/office/drawing/2014/main" id="{9FA0B439-3A4D-8628-7B1A-4483AAFA8374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670"/>
            </a:p>
          </p:txBody>
        </p:sp>
        <p:sp>
          <p:nvSpPr>
            <p:cNvPr id="42" name="Rectángulo 41">
              <a:extLst>
                <a:ext uri="{FF2B5EF4-FFF2-40B4-BE49-F238E27FC236}">
                  <a16:creationId xmlns:a16="http://schemas.microsoft.com/office/drawing/2014/main" id="{1D25C835-D4A4-61AC-DC61-6C128AC5E883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670"/>
            </a:p>
          </p:txBody>
        </p:sp>
      </p:grpSp>
      <p:sp>
        <p:nvSpPr>
          <p:cNvPr id="68" name="Title 1">
            <a:extLst>
              <a:ext uri="{FF2B5EF4-FFF2-40B4-BE49-F238E27FC236}">
                <a16:creationId xmlns:a16="http://schemas.microsoft.com/office/drawing/2014/main" id="{CDA94544-D290-97F9-A09B-2227DCD8676D}"/>
              </a:ext>
            </a:extLst>
          </p:cNvPr>
          <p:cNvSpPr txBox="1">
            <a:spLocks/>
          </p:cNvSpPr>
          <p:nvPr/>
        </p:nvSpPr>
        <p:spPr>
          <a:xfrm>
            <a:off x="540657" y="606143"/>
            <a:ext cx="6932198" cy="718145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tx2"/>
                </a:solidFill>
                <a:latin typeface="Pulso Light" pitchFamily="2" charset="0"/>
              </a:rPr>
              <a:t>El futuro de la operación de las redes y servicios:</a:t>
            </a:r>
            <a:br>
              <a:rPr lang="es-ES_tradnl" sz="2500" b="0" noProof="0">
                <a:solidFill>
                  <a:schemeClr val="tx2"/>
                </a:solidFill>
                <a:latin typeface="Pulso Light" pitchFamily="2" charset="0"/>
              </a:rPr>
            </a:br>
            <a:r>
              <a:rPr lang="es-ES_tradnl" sz="2500" b="0" noProof="0">
                <a:solidFill>
                  <a:schemeClr val="bg2"/>
                </a:solidFill>
                <a:latin typeface="Pulso Light" pitchFamily="2" charset="0"/>
              </a:rPr>
              <a:t>Redes Autónomas</a:t>
            </a:r>
          </a:p>
        </p:txBody>
      </p:sp>
      <p:sp>
        <p:nvSpPr>
          <p:cNvPr id="6" name="Marcador de texto 8">
            <a:extLst>
              <a:ext uri="{FF2B5EF4-FFF2-40B4-BE49-F238E27FC236}">
                <a16:creationId xmlns:a16="http://schemas.microsoft.com/office/drawing/2014/main" id="{74DDD859-0969-89C9-CC34-55C4EB927503}"/>
              </a:ext>
            </a:extLst>
          </p:cNvPr>
          <p:cNvSpPr txBox="1">
            <a:spLocks/>
          </p:cNvSpPr>
          <p:nvPr/>
        </p:nvSpPr>
        <p:spPr>
          <a:xfrm>
            <a:off x="540657" y="1648060"/>
            <a:ext cx="3155625" cy="177228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125"/>
              </a:spcAft>
              <a:buNone/>
            </a:pPr>
            <a:r>
              <a:rPr lang="es-AR" sz="160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"/>
                <a:cs typeface="Open Sans"/>
              </a:rPr>
              <a:t>Nuestros Próximos 3 años . . .</a:t>
            </a: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r>
              <a:rPr lang="es-AR" sz="12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+ 30%  Sitios Móviles</a:t>
            </a: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r>
              <a:rPr lang="es-AR" sz="12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+ 6200 Sitios 5G </a:t>
            </a: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r>
              <a:rPr lang="es-AR" sz="12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+ 45% Clientes Personal Internet</a:t>
            </a: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r>
              <a:rPr lang="es-AR" sz="12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+ 90% Incremento Trafico en Core Móvil</a:t>
            </a: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r>
              <a:rPr lang="es-AR" sz="12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De la ONT a los dispositivos del Usuario </a:t>
            </a: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E2052F45-20D8-145B-98C1-4B1440906D16}"/>
              </a:ext>
            </a:extLst>
          </p:cNvPr>
          <p:cNvSpPr txBox="1">
            <a:spLocks/>
          </p:cNvSpPr>
          <p:nvPr/>
        </p:nvSpPr>
        <p:spPr>
          <a:xfrm>
            <a:off x="4097518" y="1648060"/>
            <a:ext cx="3155625" cy="14721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125"/>
              </a:spcAft>
              <a:buNone/>
            </a:pPr>
            <a:r>
              <a:rPr lang="es-AR" sz="1600">
                <a:solidFill>
                  <a:schemeClr val="tx2">
                    <a:lumMod val="75000"/>
                    <a:lumOff val="25000"/>
                  </a:schemeClr>
                </a:solidFill>
                <a:latin typeface="Pulso" pitchFamily="2" charset="0"/>
                <a:ea typeface="Roboto"/>
                <a:cs typeface="Open Sans"/>
              </a:rPr>
              <a:t> </a:t>
            </a: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r>
              <a:rPr lang="es-AR" sz="12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Nuevas Plataformas de IT</a:t>
            </a: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r>
              <a:rPr lang="es-AR" sz="12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+ 100% Interfaces Core 5GSA</a:t>
            </a: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r>
              <a:rPr lang="es-AR" sz="12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Impacto de AI en Red y </a:t>
            </a:r>
            <a:r>
              <a:rPr lang="es-AR" sz="1200" err="1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Datacenters</a:t>
            </a:r>
            <a:endParaRPr lang="es-AR" sz="1200">
              <a:solidFill>
                <a:schemeClr val="tx1">
                  <a:lumMod val="75000"/>
                  <a:lumOff val="25000"/>
                </a:schemeClr>
              </a:solidFill>
              <a:latin typeface="Pulso Light" pitchFamily="2" charset="0"/>
              <a:ea typeface="Roboto Light"/>
              <a:cs typeface="Open Sans"/>
            </a:endParaRP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r>
              <a:rPr lang="es-AR" sz="12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/>
                <a:cs typeface="Open Sans"/>
              </a:rPr>
              <a:t>Nuevos y más complejos Servicios</a:t>
            </a:r>
          </a:p>
        </p:txBody>
      </p:sp>
    </p:spTree>
    <p:extLst>
      <p:ext uri="{BB962C8B-B14F-4D97-AF65-F5344CB8AC3E}">
        <p14:creationId xmlns:p14="http://schemas.microsoft.com/office/powerpoint/2010/main" val="3502385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5038AD-DE1C-E6A4-80F9-D90114BDDE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upo 38">
            <a:extLst>
              <a:ext uri="{FF2B5EF4-FFF2-40B4-BE49-F238E27FC236}">
                <a16:creationId xmlns:a16="http://schemas.microsoft.com/office/drawing/2014/main" id="{B2705BF5-EB13-FCB3-1016-0317612AF4B6}"/>
              </a:ext>
            </a:extLst>
          </p:cNvPr>
          <p:cNvGrpSpPr/>
          <p:nvPr/>
        </p:nvGrpSpPr>
        <p:grpSpPr>
          <a:xfrm>
            <a:off x="9103500" y="0"/>
            <a:ext cx="40500" cy="5143500"/>
            <a:chOff x="12138000" y="0"/>
            <a:chExt cx="54000" cy="5132850"/>
          </a:xfrm>
        </p:grpSpPr>
        <p:sp>
          <p:nvSpPr>
            <p:cNvPr id="40" name="Rectángulo 39">
              <a:extLst>
                <a:ext uri="{FF2B5EF4-FFF2-40B4-BE49-F238E27FC236}">
                  <a16:creationId xmlns:a16="http://schemas.microsoft.com/office/drawing/2014/main" id="{EB81C65B-F362-FA76-A4F9-FB76F386734E}"/>
                </a:ext>
              </a:extLst>
            </p:cNvPr>
            <p:cNvSpPr/>
            <p:nvPr userDrawn="1"/>
          </p:nvSpPr>
          <p:spPr>
            <a:xfrm>
              <a:off x="12138000" y="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_tradnl" sz="670"/>
            </a:p>
          </p:txBody>
        </p:sp>
        <p:sp>
          <p:nvSpPr>
            <p:cNvPr id="41" name="Rectángulo 40">
              <a:extLst>
                <a:ext uri="{FF2B5EF4-FFF2-40B4-BE49-F238E27FC236}">
                  <a16:creationId xmlns:a16="http://schemas.microsoft.com/office/drawing/2014/main" id="{16EDB485-B1A5-518A-D25C-5D119B1A13E9}"/>
                </a:ext>
              </a:extLst>
            </p:cNvPr>
            <p:cNvSpPr/>
            <p:nvPr userDrawn="1"/>
          </p:nvSpPr>
          <p:spPr>
            <a:xfrm>
              <a:off x="12138000" y="1725150"/>
              <a:ext cx="54000" cy="1681200"/>
            </a:xfrm>
            <a:prstGeom prst="rect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670"/>
            </a:p>
          </p:txBody>
        </p:sp>
        <p:sp>
          <p:nvSpPr>
            <p:cNvPr id="42" name="Rectángulo 41">
              <a:extLst>
                <a:ext uri="{FF2B5EF4-FFF2-40B4-BE49-F238E27FC236}">
                  <a16:creationId xmlns:a16="http://schemas.microsoft.com/office/drawing/2014/main" id="{E09A07FC-0F46-E744-A26D-1465ACE009C8}"/>
                </a:ext>
              </a:extLst>
            </p:cNvPr>
            <p:cNvSpPr/>
            <p:nvPr userDrawn="1"/>
          </p:nvSpPr>
          <p:spPr>
            <a:xfrm>
              <a:off x="12138000" y="3451650"/>
              <a:ext cx="54000" cy="1681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670"/>
            </a:p>
          </p:txBody>
        </p:sp>
      </p:grpSp>
      <p:sp>
        <p:nvSpPr>
          <p:cNvPr id="68" name="Title 1">
            <a:extLst>
              <a:ext uri="{FF2B5EF4-FFF2-40B4-BE49-F238E27FC236}">
                <a16:creationId xmlns:a16="http://schemas.microsoft.com/office/drawing/2014/main" id="{607DF995-B103-5C30-ACFB-57A02DDB84B8}"/>
              </a:ext>
            </a:extLst>
          </p:cNvPr>
          <p:cNvSpPr txBox="1">
            <a:spLocks/>
          </p:cNvSpPr>
          <p:nvPr/>
        </p:nvSpPr>
        <p:spPr>
          <a:xfrm>
            <a:off x="540657" y="606143"/>
            <a:ext cx="3675743" cy="718145"/>
          </a:xfrm>
          <a:prstGeom prst="rect">
            <a:avLst/>
          </a:prstGeom>
          <a:effectLst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 b="0" noProof="0">
                <a:solidFill>
                  <a:schemeClr val="tx2"/>
                </a:solidFill>
                <a:latin typeface="Pulso Light" pitchFamily="2" charset="0"/>
              </a:rPr>
              <a:t>¿Cómo se mide el avance </a:t>
            </a:r>
            <a:r>
              <a:rPr lang="es-ES_tradnl" sz="2500" b="0" noProof="0">
                <a:solidFill>
                  <a:schemeClr val="bg2"/>
                </a:solidFill>
                <a:latin typeface="Pulso Light" pitchFamily="2" charset="0"/>
              </a:rPr>
              <a:t>hacia la autonomía?</a:t>
            </a:r>
          </a:p>
        </p:txBody>
      </p:sp>
      <p:sp>
        <p:nvSpPr>
          <p:cNvPr id="6" name="Marcador de texto 8">
            <a:extLst>
              <a:ext uri="{FF2B5EF4-FFF2-40B4-BE49-F238E27FC236}">
                <a16:creationId xmlns:a16="http://schemas.microsoft.com/office/drawing/2014/main" id="{593283E9-CF2C-04F1-5B80-7900143F1A23}"/>
              </a:ext>
            </a:extLst>
          </p:cNvPr>
          <p:cNvSpPr txBox="1">
            <a:spLocks/>
          </p:cNvSpPr>
          <p:nvPr/>
        </p:nvSpPr>
        <p:spPr>
          <a:xfrm>
            <a:off x="540657" y="1648060"/>
            <a:ext cx="4386943" cy="202619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125"/>
              </a:spcAft>
              <a:buNone/>
            </a:pPr>
            <a:r>
              <a:rPr lang="es-AR" sz="1600">
                <a:solidFill>
                  <a:schemeClr val="tx2">
                    <a:lumMod val="75000"/>
                    <a:lumOff val="25000"/>
                  </a:schemeClr>
                </a:solidFill>
                <a:latin typeface="Pulso"/>
                <a:ea typeface="Roboto"/>
                <a:cs typeface="Open Sans"/>
              </a:rPr>
              <a:t>Primeros desafíos de esta transformación:</a:t>
            </a: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r>
              <a:rPr lang="es-AR" sz="1200">
                <a:solidFill>
                  <a:schemeClr val="tx1">
                    <a:lumMod val="75000"/>
                    <a:lumOff val="25000"/>
                  </a:schemeClr>
                </a:solidFill>
                <a:latin typeface="Pulso Light"/>
                <a:ea typeface="Roboto Light"/>
                <a:cs typeface="Open Sans"/>
              </a:rPr>
              <a:t>Inventarios de RED</a:t>
            </a:r>
            <a:br>
              <a:rPr lang="es-AR" sz="1200">
                <a:solidFill>
                  <a:schemeClr val="tx1">
                    <a:lumMod val="75000"/>
                    <a:lumOff val="25000"/>
                  </a:schemeClr>
                </a:solidFill>
                <a:latin typeface="Pulso Light"/>
                <a:ea typeface="Roboto Light"/>
                <a:cs typeface="Open Sans"/>
              </a:rPr>
            </a:br>
            <a:r>
              <a:rPr lang="es-AR" sz="1200">
                <a:solidFill>
                  <a:schemeClr val="tx1">
                    <a:lumMod val="75000"/>
                    <a:lumOff val="25000"/>
                  </a:schemeClr>
                </a:solidFill>
                <a:latin typeface="Pulso"/>
                <a:ea typeface="Roboto Light"/>
                <a:cs typeface="Open Sans"/>
              </a:rPr>
              <a:t>cero error</a:t>
            </a: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r>
              <a:rPr lang="es-AR" sz="1200">
                <a:solidFill>
                  <a:schemeClr val="tx1">
                    <a:lumMod val="75000"/>
                    <a:lumOff val="25000"/>
                  </a:schemeClr>
                </a:solidFill>
                <a:latin typeface="Pulso"/>
                <a:ea typeface="Roboto Light"/>
                <a:cs typeface="Open Sans"/>
              </a:rPr>
              <a:t>Modelo de Datos</a:t>
            </a: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r>
              <a:rPr lang="es-AR" sz="1200">
                <a:solidFill>
                  <a:schemeClr val="tx1">
                    <a:lumMod val="75000"/>
                    <a:lumOff val="25000"/>
                  </a:schemeClr>
                </a:solidFill>
                <a:latin typeface="Pulso Light"/>
                <a:ea typeface="Roboto Light"/>
                <a:cs typeface="Open Sans"/>
              </a:rPr>
              <a:t>Fuente </a:t>
            </a:r>
            <a:r>
              <a:rPr lang="es-AR" sz="1200">
                <a:solidFill>
                  <a:schemeClr val="tx1">
                    <a:lumMod val="75000"/>
                    <a:lumOff val="25000"/>
                  </a:schemeClr>
                </a:solidFill>
                <a:latin typeface="Pulso"/>
                <a:ea typeface="Roboto Light"/>
                <a:cs typeface="Open Sans"/>
              </a:rPr>
              <a:t>Única</a:t>
            </a:r>
            <a:br>
              <a:rPr lang="es-AR" sz="1200">
                <a:solidFill>
                  <a:schemeClr val="tx1">
                    <a:lumMod val="75000"/>
                    <a:lumOff val="25000"/>
                  </a:schemeClr>
                </a:solidFill>
                <a:latin typeface="Pulso"/>
                <a:ea typeface="Roboto Light"/>
                <a:cs typeface="Open Sans"/>
              </a:rPr>
            </a:br>
            <a:r>
              <a:rPr lang="es-AR" sz="1200">
                <a:solidFill>
                  <a:schemeClr val="tx1">
                    <a:lumMod val="75000"/>
                    <a:lumOff val="25000"/>
                  </a:schemeClr>
                </a:solidFill>
                <a:latin typeface="Pulso"/>
                <a:ea typeface="Roboto Light"/>
                <a:cs typeface="Open Sans"/>
              </a:rPr>
              <a:t>de Verdad</a:t>
            </a:r>
          </a:p>
          <a:p>
            <a:pPr marL="266700" indent="-22225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>
                  <a:lumMod val="75000"/>
                  <a:lumOff val="25000"/>
                </a:schemeClr>
              </a:buClr>
              <a:buFont typeface="Tipo de letra del sistema regular"/>
              <a:buChar char="●"/>
            </a:pPr>
            <a:r>
              <a:rPr lang="es-AR" sz="1200">
                <a:solidFill>
                  <a:schemeClr val="tx1">
                    <a:lumMod val="75000"/>
                    <a:lumOff val="25000"/>
                  </a:schemeClr>
                </a:solidFill>
                <a:latin typeface="Pulso"/>
                <a:ea typeface="Roboto Light"/>
                <a:cs typeface="Open Sans"/>
              </a:rPr>
              <a:t>Agentes AI en</a:t>
            </a:r>
            <a:br>
              <a:rPr lang="es-AR" sz="1200">
                <a:solidFill>
                  <a:schemeClr val="tx1">
                    <a:lumMod val="75000"/>
                    <a:lumOff val="25000"/>
                  </a:schemeClr>
                </a:solidFill>
                <a:latin typeface="Pulso"/>
                <a:ea typeface="Roboto Light"/>
                <a:cs typeface="Open Sans"/>
              </a:rPr>
            </a:br>
            <a:r>
              <a:rPr lang="es-AR" sz="1200">
                <a:solidFill>
                  <a:schemeClr val="tx1">
                    <a:lumMod val="75000"/>
                    <a:lumOff val="25000"/>
                  </a:schemeClr>
                </a:solidFill>
                <a:latin typeface="Pulso"/>
                <a:ea typeface="Roboto Light"/>
                <a:cs typeface="Open Sans"/>
              </a:rPr>
              <a:t>análisis</a:t>
            </a:r>
            <a:r>
              <a:rPr lang="es-AR" sz="1200">
                <a:solidFill>
                  <a:schemeClr val="tx1">
                    <a:lumMod val="75000"/>
                    <a:lumOff val="25000"/>
                  </a:schemeClr>
                </a:solidFill>
                <a:latin typeface="Pulso" pitchFamily="2" charset="0"/>
                <a:ea typeface="Roboto Light"/>
                <a:cs typeface="Open Sans"/>
              </a:rPr>
              <a:t> </a:t>
            </a:r>
            <a:r>
              <a:rPr lang="es-AR" sz="1200">
                <a:solidFill>
                  <a:schemeClr val="tx1">
                    <a:lumMod val="75000"/>
                    <a:lumOff val="25000"/>
                  </a:schemeClr>
                </a:solidFill>
                <a:latin typeface="Pulso"/>
                <a:ea typeface="Roboto Light"/>
                <a:cs typeface="Open Sans"/>
              </a:rPr>
              <a:t>y decisión </a:t>
            </a:r>
          </a:p>
        </p:txBody>
      </p:sp>
      <p:grpSp>
        <p:nvGrpSpPr>
          <p:cNvPr id="86" name="Grupo 85">
            <a:extLst>
              <a:ext uri="{FF2B5EF4-FFF2-40B4-BE49-F238E27FC236}">
                <a16:creationId xmlns:a16="http://schemas.microsoft.com/office/drawing/2014/main" id="{F4B3A368-49C8-EA98-BED0-928A5F9CF10C}"/>
              </a:ext>
            </a:extLst>
          </p:cNvPr>
          <p:cNvGrpSpPr/>
          <p:nvPr/>
        </p:nvGrpSpPr>
        <p:grpSpPr>
          <a:xfrm>
            <a:off x="2511452" y="2025650"/>
            <a:ext cx="6213243" cy="2446072"/>
            <a:chOff x="3822586" y="2126747"/>
            <a:chExt cx="4923766" cy="1938419"/>
          </a:xfrm>
        </p:grpSpPr>
        <p:pic>
          <p:nvPicPr>
            <p:cNvPr id="7" name="Imagen 6">
              <a:extLst>
                <a:ext uri="{FF2B5EF4-FFF2-40B4-BE49-F238E27FC236}">
                  <a16:creationId xmlns:a16="http://schemas.microsoft.com/office/drawing/2014/main" id="{48115472-A7DE-79BD-441E-96205665346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 rot="5400000">
              <a:off x="5313501" y="2972585"/>
              <a:ext cx="1938419" cy="246743"/>
            </a:xfrm>
            <a:prstGeom prst="rect">
              <a:avLst/>
            </a:prstGeom>
          </p:spPr>
        </p:pic>
        <p:grpSp>
          <p:nvGrpSpPr>
            <p:cNvPr id="83" name="Grupo 82">
              <a:extLst>
                <a:ext uri="{FF2B5EF4-FFF2-40B4-BE49-F238E27FC236}">
                  <a16:creationId xmlns:a16="http://schemas.microsoft.com/office/drawing/2014/main" id="{405B7939-9FF6-5069-2E7B-71230D049F5B}"/>
                </a:ext>
              </a:extLst>
            </p:cNvPr>
            <p:cNvGrpSpPr/>
            <p:nvPr/>
          </p:nvGrpSpPr>
          <p:grpSpPr>
            <a:xfrm>
              <a:off x="4640474" y="2241295"/>
              <a:ext cx="817200" cy="1698860"/>
              <a:chOff x="4640341" y="2241295"/>
              <a:chExt cx="817200" cy="1698860"/>
            </a:xfrm>
          </p:grpSpPr>
          <p:sp>
            <p:nvSpPr>
              <p:cNvPr id="5" name="CuadroTexto 4">
                <a:extLst>
                  <a:ext uri="{FF2B5EF4-FFF2-40B4-BE49-F238E27FC236}">
                    <a16:creationId xmlns:a16="http://schemas.microsoft.com/office/drawing/2014/main" id="{0F36438D-E94D-186E-89B1-1F48D9358DC1}"/>
                  </a:ext>
                </a:extLst>
              </p:cNvPr>
              <p:cNvSpPr txBox="1"/>
              <p:nvPr/>
            </p:nvSpPr>
            <p:spPr>
              <a:xfrm>
                <a:off x="4649692" y="2241295"/>
                <a:ext cx="798498" cy="1829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accent1"/>
                    </a:solidFill>
                    <a:latin typeface="Pulso" pitchFamily="2" charset="0"/>
                  </a:defRPr>
                </a:lvl1pPr>
              </a:lstStyle>
              <a:p>
                <a:r>
                  <a:rPr lang="es-AR" sz="900">
                    <a:solidFill>
                      <a:schemeClr val="tx2">
                        <a:lumMod val="50000"/>
                        <a:lumOff val="50000"/>
                      </a:schemeClr>
                    </a:solidFill>
                  </a:rPr>
                  <a:t>NIVEL 1</a:t>
                </a:r>
              </a:p>
            </p:txBody>
          </p:sp>
          <p:sp>
            <p:nvSpPr>
              <p:cNvPr id="10" name="CuadroTexto 9">
                <a:extLst>
                  <a:ext uri="{FF2B5EF4-FFF2-40B4-BE49-F238E27FC236}">
                    <a16:creationId xmlns:a16="http://schemas.microsoft.com/office/drawing/2014/main" id="{2CE99636-2068-025A-0491-4B5EABDEA298}"/>
                  </a:ext>
                </a:extLst>
              </p:cNvPr>
              <p:cNvSpPr txBox="1"/>
              <p:nvPr/>
            </p:nvSpPr>
            <p:spPr>
              <a:xfrm>
                <a:off x="4649692" y="3719780"/>
                <a:ext cx="798498" cy="220375"/>
              </a:xfrm>
              <a:prstGeom prst="rect">
                <a:avLst/>
              </a:prstGeom>
              <a:noFill/>
            </p:spPr>
            <p:txBody>
              <a:bodyPr wrap="square" lIns="72000" tIns="46800" rIns="72000" rtlCol="0">
                <a:spAutoFit/>
              </a:bodyPr>
              <a:lstStyle>
                <a:defPPr>
                  <a:defRPr lang="en-US"/>
                </a:defPPr>
                <a:lvl1pPr algn="ctr">
                  <a:defRPr sz="533" b="1">
                    <a:solidFill>
                      <a:schemeClr val="accent1">
                        <a:lumMod val="50000"/>
                      </a:schemeClr>
                    </a:solidFill>
                    <a:latin typeface="Pulso" pitchFamily="2" charset="0"/>
                  </a:defRPr>
                </a:lvl1pPr>
              </a:lstStyle>
              <a:p>
                <a:r>
                  <a:rPr lang="es-AR" sz="600">
                    <a:solidFill>
                      <a:schemeClr val="tx2">
                        <a:lumMod val="90000"/>
                        <a:lumOff val="10000"/>
                      </a:schemeClr>
                    </a:solidFill>
                  </a:rPr>
                  <a:t>AUTOMATIZACIÓN DE TAREAS BÁSICAS</a:t>
                </a:r>
              </a:p>
            </p:txBody>
          </p:sp>
          <p:grpSp>
            <p:nvGrpSpPr>
              <p:cNvPr id="16" name="Cuadro N 1">
                <a:extLst>
                  <a:ext uri="{FF2B5EF4-FFF2-40B4-BE49-F238E27FC236}">
                    <a16:creationId xmlns:a16="http://schemas.microsoft.com/office/drawing/2014/main" id="{6315ECBC-F20E-D6EF-7776-BB09D5A1C402}"/>
                  </a:ext>
                </a:extLst>
              </p:cNvPr>
              <p:cNvGrpSpPr/>
              <p:nvPr/>
            </p:nvGrpSpPr>
            <p:grpSpPr>
              <a:xfrm>
                <a:off x="4718443" y="2451958"/>
                <a:ext cx="660997" cy="752475"/>
                <a:chOff x="12804557" y="1306914"/>
                <a:chExt cx="1982992" cy="2257425"/>
              </a:xfrm>
            </p:grpSpPr>
            <p:pic>
              <p:nvPicPr>
                <p:cNvPr id="17" name="Gráfico 16">
                  <a:extLst>
                    <a:ext uri="{FF2B5EF4-FFF2-40B4-BE49-F238E27FC236}">
                      <a16:creationId xmlns:a16="http://schemas.microsoft.com/office/drawing/2014/main" id="{07BA8CCA-ED08-8077-8F92-628E725CEAD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405528" y="3287014"/>
                  <a:ext cx="781050" cy="114300"/>
                </a:xfrm>
                <a:prstGeom prst="rect">
                  <a:avLst/>
                </a:prstGeom>
              </p:spPr>
            </p:pic>
            <p:sp>
              <p:nvSpPr>
                <p:cNvPr id="18" name="CuadroTexto 17">
                  <a:extLst>
                    <a:ext uri="{FF2B5EF4-FFF2-40B4-BE49-F238E27FC236}">
                      <a16:creationId xmlns:a16="http://schemas.microsoft.com/office/drawing/2014/main" id="{E73F9DD0-8EF5-C39D-0EF8-AC61814968B2}"/>
                    </a:ext>
                  </a:extLst>
                </p:cNvPr>
                <p:cNvSpPr txBox="1"/>
                <p:nvPr/>
              </p:nvSpPr>
              <p:spPr>
                <a:xfrm>
                  <a:off x="12804557" y="1401605"/>
                  <a:ext cx="1982992" cy="6585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s-AR" sz="600" b="1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latin typeface="Pulso" pitchFamily="2" charset="0"/>
                    </a:rPr>
                    <a:t>OPERACIÓN</a:t>
                  </a:r>
                </a:p>
                <a:p>
                  <a:pPr algn="ctr"/>
                  <a:r>
                    <a:rPr lang="es-AR" sz="600" b="1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latin typeface="Pulso" pitchFamily="2" charset="0"/>
                    </a:rPr>
                    <a:t>ASISTIDA</a:t>
                  </a:r>
                </a:p>
              </p:txBody>
            </p:sp>
            <p:pic>
              <p:nvPicPr>
                <p:cNvPr id="19" name="Gráfico 18">
                  <a:extLst>
                    <a:ext uri="{FF2B5EF4-FFF2-40B4-BE49-F238E27FC236}">
                      <a16:creationId xmlns:a16="http://schemas.microsoft.com/office/drawing/2014/main" id="{288B35F0-11CF-959E-7B67-D2D0E8F61FD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805453" y="1306914"/>
                  <a:ext cx="1981200" cy="2257425"/>
                </a:xfrm>
                <a:prstGeom prst="rect">
                  <a:avLst/>
                </a:prstGeom>
              </p:spPr>
            </p:pic>
            <p:pic>
              <p:nvPicPr>
                <p:cNvPr id="20" name="Gráfico 19">
                  <a:extLst>
                    <a:ext uri="{FF2B5EF4-FFF2-40B4-BE49-F238E27FC236}">
                      <a16:creationId xmlns:a16="http://schemas.microsoft.com/office/drawing/2014/main" id="{526676D9-59E3-7462-AC02-A9B9E7585FF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229316" y="2008951"/>
                  <a:ext cx="1133475" cy="1162050"/>
                </a:xfrm>
                <a:prstGeom prst="rect">
                  <a:avLst/>
                </a:prstGeom>
              </p:spPr>
            </p:pic>
          </p:grpSp>
          <p:cxnSp>
            <p:nvCxnSpPr>
              <p:cNvPr id="45" name="Conector recto 44">
                <a:extLst>
                  <a:ext uri="{FF2B5EF4-FFF2-40B4-BE49-F238E27FC236}">
                    <a16:creationId xmlns:a16="http://schemas.microsoft.com/office/drawing/2014/main" id="{06484B03-2A03-FA8E-CE25-A68AED282F8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640341" y="3710884"/>
                <a:ext cx="817200" cy="2609"/>
              </a:xfrm>
              <a:prstGeom prst="line">
                <a:avLst/>
              </a:prstGeom>
              <a:noFill/>
              <a:ln w="23241" cap="rnd">
                <a:solidFill>
                  <a:srgbClr val="00F3FF"/>
                </a:solidFill>
                <a:prstDash val="solid"/>
                <a:round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4" name="Grupo 83">
              <a:extLst>
                <a:ext uri="{FF2B5EF4-FFF2-40B4-BE49-F238E27FC236}">
                  <a16:creationId xmlns:a16="http://schemas.microsoft.com/office/drawing/2014/main" id="{BDC90427-F2C6-0B1B-1544-2EEBFC0B1D0A}"/>
                </a:ext>
              </a:extLst>
            </p:cNvPr>
            <p:cNvGrpSpPr/>
            <p:nvPr/>
          </p:nvGrpSpPr>
          <p:grpSpPr>
            <a:xfrm>
              <a:off x="5458362" y="2240735"/>
              <a:ext cx="824004" cy="1658749"/>
              <a:chOff x="5454620" y="2240735"/>
              <a:chExt cx="824004" cy="1658749"/>
            </a:xfrm>
          </p:grpSpPr>
          <p:sp>
            <p:nvSpPr>
              <p:cNvPr id="4" name="CuadroTexto 3">
                <a:extLst>
                  <a:ext uri="{FF2B5EF4-FFF2-40B4-BE49-F238E27FC236}">
                    <a16:creationId xmlns:a16="http://schemas.microsoft.com/office/drawing/2014/main" id="{8FC823D0-9955-055B-6DC5-E31FAB7B5598}"/>
                  </a:ext>
                </a:extLst>
              </p:cNvPr>
              <p:cNvSpPr txBox="1"/>
              <p:nvPr/>
            </p:nvSpPr>
            <p:spPr>
              <a:xfrm>
                <a:off x="5455075" y="2240735"/>
                <a:ext cx="823094" cy="1829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accent1"/>
                    </a:solidFill>
                    <a:latin typeface="Pulso" pitchFamily="2" charset="0"/>
                  </a:defRPr>
                </a:lvl1pPr>
              </a:lstStyle>
              <a:p>
                <a:r>
                  <a:rPr lang="es-AR" sz="900">
                    <a:solidFill>
                      <a:schemeClr val="tx2">
                        <a:lumMod val="50000"/>
                        <a:lumOff val="50000"/>
                      </a:schemeClr>
                    </a:solidFill>
                  </a:rPr>
                  <a:t>NIVEL 2</a:t>
                </a:r>
              </a:p>
            </p:txBody>
          </p:sp>
          <p:sp>
            <p:nvSpPr>
              <p:cNvPr id="8" name="CuadroTexto 7">
                <a:extLst>
                  <a:ext uri="{FF2B5EF4-FFF2-40B4-BE49-F238E27FC236}">
                    <a16:creationId xmlns:a16="http://schemas.microsoft.com/office/drawing/2014/main" id="{925F332A-5E67-AF21-6CB3-E19FFC54B62D}"/>
                  </a:ext>
                </a:extLst>
              </p:cNvPr>
              <p:cNvSpPr txBox="1"/>
              <p:nvPr/>
            </p:nvSpPr>
            <p:spPr>
              <a:xfrm>
                <a:off x="5454620" y="3605939"/>
                <a:ext cx="824004" cy="293545"/>
              </a:xfrm>
              <a:prstGeom prst="rect">
                <a:avLst/>
              </a:prstGeom>
              <a:noFill/>
            </p:spPr>
            <p:txBody>
              <a:bodyPr wrap="square" lIns="72000" tIns="46800" rIns="72000" rtlCol="0">
                <a:spAutoFit/>
              </a:bodyPr>
              <a:lstStyle>
                <a:defPPr>
                  <a:defRPr lang="en-US"/>
                </a:defPPr>
                <a:lvl1pPr algn="ctr">
                  <a:defRPr sz="533" b="1">
                    <a:solidFill>
                      <a:schemeClr val="accent1">
                        <a:lumMod val="50000"/>
                      </a:schemeClr>
                    </a:solidFill>
                    <a:latin typeface="Pulso" pitchFamily="2" charset="0"/>
                  </a:defRPr>
                </a:lvl1pPr>
              </a:lstStyle>
              <a:p>
                <a:r>
                  <a:rPr lang="es-AR" sz="600">
                    <a:solidFill>
                      <a:schemeClr val="tx2">
                        <a:lumMod val="90000"/>
                        <a:lumOff val="10000"/>
                      </a:schemeClr>
                    </a:solidFill>
                  </a:rPr>
                  <a:t>AUTOMATIZACIÓN </a:t>
                </a:r>
              </a:p>
              <a:p>
                <a:r>
                  <a:rPr lang="es-AR" sz="600">
                    <a:solidFill>
                      <a:schemeClr val="tx2">
                        <a:lumMod val="90000"/>
                        <a:lumOff val="10000"/>
                      </a:schemeClr>
                    </a:solidFill>
                  </a:rPr>
                  <a:t>DE WORKFLOW/</a:t>
                </a:r>
              </a:p>
              <a:p>
                <a:r>
                  <a:rPr lang="es-AR" sz="600">
                    <a:solidFill>
                      <a:schemeClr val="tx2">
                        <a:lumMod val="90000"/>
                        <a:lumOff val="10000"/>
                      </a:schemeClr>
                    </a:solidFill>
                  </a:rPr>
                  <a:t>PROCESOS</a:t>
                </a:r>
              </a:p>
            </p:txBody>
          </p:sp>
          <p:grpSp>
            <p:nvGrpSpPr>
              <p:cNvPr id="21" name="Cuadro N 2">
                <a:extLst>
                  <a:ext uri="{FF2B5EF4-FFF2-40B4-BE49-F238E27FC236}">
                    <a16:creationId xmlns:a16="http://schemas.microsoft.com/office/drawing/2014/main" id="{71CADAA3-C831-1560-3CEE-25E77A49DBA3}"/>
                  </a:ext>
                </a:extLst>
              </p:cNvPr>
              <p:cNvGrpSpPr/>
              <p:nvPr/>
            </p:nvGrpSpPr>
            <p:grpSpPr>
              <a:xfrm>
                <a:off x="5536124" y="2451958"/>
                <a:ext cx="660997" cy="752475"/>
                <a:chOff x="15229586" y="1306914"/>
                <a:chExt cx="1982992" cy="2257425"/>
              </a:xfrm>
            </p:grpSpPr>
            <p:pic>
              <p:nvPicPr>
                <p:cNvPr id="22" name="Gráfico 21">
                  <a:extLst>
                    <a:ext uri="{FF2B5EF4-FFF2-40B4-BE49-F238E27FC236}">
                      <a16:creationId xmlns:a16="http://schemas.microsoft.com/office/drawing/2014/main" id="{8E94541B-4E7B-7C27-4AFF-75B1244381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5763882" y="3287014"/>
                  <a:ext cx="914400" cy="114300"/>
                </a:xfrm>
                <a:prstGeom prst="rect">
                  <a:avLst/>
                </a:prstGeom>
              </p:spPr>
            </p:pic>
            <p:sp>
              <p:nvSpPr>
                <p:cNvPr id="23" name="CuadroTexto 22">
                  <a:extLst>
                    <a:ext uri="{FF2B5EF4-FFF2-40B4-BE49-F238E27FC236}">
                      <a16:creationId xmlns:a16="http://schemas.microsoft.com/office/drawing/2014/main" id="{838A955E-5983-6935-89F1-0C6C79AED2F7}"/>
                    </a:ext>
                  </a:extLst>
                </p:cNvPr>
                <p:cNvSpPr txBox="1"/>
                <p:nvPr/>
              </p:nvSpPr>
              <p:spPr>
                <a:xfrm>
                  <a:off x="15229586" y="1401605"/>
                  <a:ext cx="1982992" cy="6585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s-AR" sz="600" b="1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latin typeface="Pulso" pitchFamily="2" charset="0"/>
                    </a:rPr>
                    <a:t>AUTONOMÍA</a:t>
                  </a:r>
                </a:p>
                <a:p>
                  <a:pPr algn="ctr"/>
                  <a:r>
                    <a:rPr lang="es-AR" sz="600" b="1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latin typeface="Pulso" pitchFamily="2" charset="0"/>
                    </a:rPr>
                    <a:t>PARCIAL</a:t>
                  </a:r>
                </a:p>
              </p:txBody>
            </p:sp>
            <p:pic>
              <p:nvPicPr>
                <p:cNvPr id="24" name="Gráfico 23">
                  <a:extLst>
                    <a:ext uri="{FF2B5EF4-FFF2-40B4-BE49-F238E27FC236}">
                      <a16:creationId xmlns:a16="http://schemas.microsoft.com/office/drawing/2014/main" id="{97D3EAEB-7D24-A596-CEE6-CB5A4F14246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5230482" y="1306914"/>
                  <a:ext cx="1981200" cy="2257425"/>
                </a:xfrm>
                <a:prstGeom prst="rect">
                  <a:avLst/>
                </a:prstGeom>
              </p:spPr>
            </p:pic>
            <p:pic>
              <p:nvPicPr>
                <p:cNvPr id="25" name="Gráfico 24">
                  <a:extLst>
                    <a:ext uri="{FF2B5EF4-FFF2-40B4-BE49-F238E27FC236}">
                      <a16:creationId xmlns:a16="http://schemas.microsoft.com/office/drawing/2014/main" id="{E2FCF70C-E8F4-5A89-C0B5-4D6BF493D9C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5649582" y="2015301"/>
                  <a:ext cx="1143000" cy="1162050"/>
                </a:xfrm>
                <a:prstGeom prst="rect">
                  <a:avLst/>
                </a:prstGeom>
              </p:spPr>
            </p:pic>
          </p:grpSp>
          <p:cxnSp>
            <p:nvCxnSpPr>
              <p:cNvPr id="46" name="Conector recto 45">
                <a:extLst>
                  <a:ext uri="{FF2B5EF4-FFF2-40B4-BE49-F238E27FC236}">
                    <a16:creationId xmlns:a16="http://schemas.microsoft.com/office/drawing/2014/main" id="{3C50D93A-094D-5DAE-F0A1-5366E65863C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58022" y="3596414"/>
                <a:ext cx="817200" cy="0"/>
              </a:xfrm>
              <a:prstGeom prst="line">
                <a:avLst/>
              </a:prstGeom>
              <a:noFill/>
              <a:ln w="23241" cap="rnd">
                <a:solidFill>
                  <a:srgbClr val="00F3FF"/>
                </a:solidFill>
                <a:prstDash val="solid"/>
                <a:round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2" name="Grupo 81">
              <a:extLst>
                <a:ext uri="{FF2B5EF4-FFF2-40B4-BE49-F238E27FC236}">
                  <a16:creationId xmlns:a16="http://schemas.microsoft.com/office/drawing/2014/main" id="{3B5E3639-6137-1E5D-6E99-3D1AC4BE970F}"/>
                </a:ext>
              </a:extLst>
            </p:cNvPr>
            <p:cNvGrpSpPr/>
            <p:nvPr/>
          </p:nvGrpSpPr>
          <p:grpSpPr>
            <a:xfrm>
              <a:off x="3822586" y="2244444"/>
              <a:ext cx="817200" cy="1815421"/>
              <a:chOff x="3822586" y="2244444"/>
              <a:chExt cx="817200" cy="1815421"/>
            </a:xfrm>
          </p:grpSpPr>
          <p:sp>
            <p:nvSpPr>
              <p:cNvPr id="2" name="CuadroTexto 1">
                <a:extLst>
                  <a:ext uri="{FF2B5EF4-FFF2-40B4-BE49-F238E27FC236}">
                    <a16:creationId xmlns:a16="http://schemas.microsoft.com/office/drawing/2014/main" id="{F14493AB-178D-4A0F-C077-60C211B544E3}"/>
                  </a:ext>
                </a:extLst>
              </p:cNvPr>
              <p:cNvSpPr txBox="1"/>
              <p:nvPr/>
            </p:nvSpPr>
            <p:spPr>
              <a:xfrm>
                <a:off x="3831937" y="3839490"/>
                <a:ext cx="798498" cy="220375"/>
              </a:xfrm>
              <a:prstGeom prst="rect">
                <a:avLst/>
              </a:prstGeom>
              <a:noFill/>
            </p:spPr>
            <p:txBody>
              <a:bodyPr wrap="square" lIns="72000" tIns="46800" rIns="72000" rtlCol="0">
                <a:spAutoFit/>
              </a:bodyPr>
              <a:lstStyle>
                <a:defPPr>
                  <a:defRPr lang="en-US"/>
                </a:defPPr>
                <a:lvl1pPr algn="ctr">
                  <a:defRPr sz="533" b="1">
                    <a:solidFill>
                      <a:schemeClr val="accent1">
                        <a:lumMod val="50000"/>
                      </a:schemeClr>
                    </a:solidFill>
                    <a:latin typeface="Pulso" pitchFamily="2" charset="0"/>
                  </a:defRPr>
                </a:lvl1pPr>
              </a:lstStyle>
              <a:p>
                <a:r>
                  <a:rPr lang="es-AR" sz="600">
                    <a:solidFill>
                      <a:schemeClr val="tx2">
                        <a:lumMod val="90000"/>
                        <a:lumOff val="10000"/>
                      </a:schemeClr>
                    </a:solidFill>
                  </a:rPr>
                  <a:t>EJECUCIÓN MANUAL DE TAREAS</a:t>
                </a:r>
              </a:p>
            </p:txBody>
          </p:sp>
          <p:sp>
            <p:nvSpPr>
              <p:cNvPr id="3" name="CuadroTexto 2">
                <a:extLst>
                  <a:ext uri="{FF2B5EF4-FFF2-40B4-BE49-F238E27FC236}">
                    <a16:creationId xmlns:a16="http://schemas.microsoft.com/office/drawing/2014/main" id="{89528E2E-6522-D047-9216-3BCB7EAC621F}"/>
                  </a:ext>
                </a:extLst>
              </p:cNvPr>
              <p:cNvSpPr txBox="1"/>
              <p:nvPr/>
            </p:nvSpPr>
            <p:spPr>
              <a:xfrm>
                <a:off x="3829129" y="2244444"/>
                <a:ext cx="804114" cy="1829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accent1"/>
                    </a:solidFill>
                    <a:latin typeface="Pulso" pitchFamily="2" charset="0"/>
                  </a:defRPr>
                </a:lvl1pPr>
              </a:lstStyle>
              <a:p>
                <a:r>
                  <a:rPr lang="es-AR" sz="900">
                    <a:solidFill>
                      <a:schemeClr val="tx2">
                        <a:lumMod val="50000"/>
                        <a:lumOff val="50000"/>
                      </a:schemeClr>
                    </a:solidFill>
                  </a:rPr>
                  <a:t>NIVEL 0</a:t>
                </a:r>
              </a:p>
            </p:txBody>
          </p:sp>
          <p:grpSp>
            <p:nvGrpSpPr>
              <p:cNvPr id="11" name="Cuadro N 0">
                <a:extLst>
                  <a:ext uri="{FF2B5EF4-FFF2-40B4-BE49-F238E27FC236}">
                    <a16:creationId xmlns:a16="http://schemas.microsoft.com/office/drawing/2014/main" id="{7289A1F3-8CDE-9585-1C36-75142A4BD30D}"/>
                  </a:ext>
                </a:extLst>
              </p:cNvPr>
              <p:cNvGrpSpPr/>
              <p:nvPr/>
            </p:nvGrpSpPr>
            <p:grpSpPr>
              <a:xfrm>
                <a:off x="3900688" y="2451958"/>
                <a:ext cx="660997" cy="752475"/>
                <a:chOff x="10382081" y="1306914"/>
                <a:chExt cx="1982992" cy="2257425"/>
              </a:xfrm>
            </p:grpSpPr>
            <p:pic>
              <p:nvPicPr>
                <p:cNvPr id="12" name="Gráfico 11">
                  <a:extLst>
                    <a:ext uri="{FF2B5EF4-FFF2-40B4-BE49-F238E27FC236}">
                      <a16:creationId xmlns:a16="http://schemas.microsoft.com/office/drawing/2014/main" id="{E1CA3436-1026-DFD3-2CBF-8F020B68EFA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068777" y="3287014"/>
                  <a:ext cx="609600" cy="114300"/>
                </a:xfrm>
                <a:prstGeom prst="rect">
                  <a:avLst/>
                </a:prstGeom>
              </p:spPr>
            </p:pic>
            <p:sp>
              <p:nvSpPr>
                <p:cNvPr id="13" name="CuadroTexto 12">
                  <a:extLst>
                    <a:ext uri="{FF2B5EF4-FFF2-40B4-BE49-F238E27FC236}">
                      <a16:creationId xmlns:a16="http://schemas.microsoft.com/office/drawing/2014/main" id="{553E47B4-A360-B40B-B0E7-2D462A077B8C}"/>
                    </a:ext>
                  </a:extLst>
                </p:cNvPr>
                <p:cNvSpPr txBox="1"/>
                <p:nvPr/>
              </p:nvSpPr>
              <p:spPr>
                <a:xfrm>
                  <a:off x="10382081" y="1397768"/>
                  <a:ext cx="1982992" cy="6585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s-AR" sz="600" b="1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latin typeface="Pulso" pitchFamily="2" charset="0"/>
                    </a:rPr>
                    <a:t>OPERACIÓN</a:t>
                  </a:r>
                </a:p>
                <a:p>
                  <a:pPr algn="ctr"/>
                  <a:r>
                    <a:rPr lang="es-AR" sz="600" b="1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latin typeface="Pulso" pitchFamily="2" charset="0"/>
                    </a:rPr>
                    <a:t>MANUAL</a:t>
                  </a:r>
                </a:p>
              </p:txBody>
            </p:sp>
            <p:pic>
              <p:nvPicPr>
                <p:cNvPr id="14" name="Gráfico 13">
                  <a:extLst>
                    <a:ext uri="{FF2B5EF4-FFF2-40B4-BE49-F238E27FC236}">
                      <a16:creationId xmlns:a16="http://schemas.microsoft.com/office/drawing/2014/main" id="{CABF77D6-C943-BEC1-AB18-2DBA4F7C9B5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382977" y="1306914"/>
                  <a:ext cx="1981200" cy="2257425"/>
                </a:xfrm>
                <a:prstGeom prst="rect">
                  <a:avLst/>
                </a:prstGeom>
              </p:spPr>
            </p:pic>
            <p:pic>
              <p:nvPicPr>
                <p:cNvPr id="15" name="Gráfico 14">
                  <a:extLst>
                    <a:ext uri="{FF2B5EF4-FFF2-40B4-BE49-F238E27FC236}">
                      <a16:creationId xmlns:a16="http://schemas.microsoft.com/office/drawing/2014/main" id="{5AD6CF46-7249-B49A-9F0C-298FA9EFFD3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806840" y="2008951"/>
                  <a:ext cx="1133475" cy="1162050"/>
                </a:xfrm>
                <a:prstGeom prst="rect">
                  <a:avLst/>
                </a:prstGeom>
              </p:spPr>
            </p:pic>
          </p:grpSp>
          <p:cxnSp>
            <p:nvCxnSpPr>
              <p:cNvPr id="50" name="Conector recto 49">
                <a:extLst>
                  <a:ext uri="{FF2B5EF4-FFF2-40B4-BE49-F238E27FC236}">
                    <a16:creationId xmlns:a16="http://schemas.microsoft.com/office/drawing/2014/main" id="{3E017BE9-77EB-D971-13CB-984AFCA69E7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822586" y="3827602"/>
                <a:ext cx="817200" cy="2609"/>
              </a:xfrm>
              <a:prstGeom prst="line">
                <a:avLst/>
              </a:prstGeom>
              <a:noFill/>
              <a:ln w="23241" cap="rnd">
                <a:solidFill>
                  <a:srgbClr val="00F3FF"/>
                </a:solidFill>
                <a:prstDash val="solid"/>
                <a:miter/>
                <a:headEnd type="oval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upo 76">
              <a:extLst>
                <a:ext uri="{FF2B5EF4-FFF2-40B4-BE49-F238E27FC236}">
                  <a16:creationId xmlns:a16="http://schemas.microsoft.com/office/drawing/2014/main" id="{DC782B7E-90B7-9F4B-51DB-BC5D169169AC}"/>
                </a:ext>
              </a:extLst>
            </p:cNvPr>
            <p:cNvGrpSpPr/>
            <p:nvPr/>
          </p:nvGrpSpPr>
          <p:grpSpPr>
            <a:xfrm>
              <a:off x="6283054" y="2248311"/>
              <a:ext cx="825106" cy="1464491"/>
              <a:chOff x="6015832" y="2248311"/>
              <a:chExt cx="825106" cy="1464491"/>
            </a:xfrm>
          </p:grpSpPr>
          <p:grpSp>
            <p:nvGrpSpPr>
              <p:cNvPr id="26" name="Cuadro N 3">
                <a:extLst>
                  <a:ext uri="{FF2B5EF4-FFF2-40B4-BE49-F238E27FC236}">
                    <a16:creationId xmlns:a16="http://schemas.microsoft.com/office/drawing/2014/main" id="{9E73D889-B0FE-75CF-316B-1DF966B56AA4}"/>
                  </a:ext>
                </a:extLst>
              </p:cNvPr>
              <p:cNvGrpSpPr/>
              <p:nvPr/>
            </p:nvGrpSpPr>
            <p:grpSpPr>
              <a:xfrm>
                <a:off x="6106504" y="2483598"/>
                <a:ext cx="643762" cy="665578"/>
                <a:chOff x="17709261" y="1376003"/>
                <a:chExt cx="1931287" cy="1996733"/>
              </a:xfrm>
            </p:grpSpPr>
            <p:pic>
              <p:nvPicPr>
                <p:cNvPr id="28" name="Gráfico 27">
                  <a:extLst>
                    <a:ext uri="{FF2B5EF4-FFF2-40B4-BE49-F238E27FC236}">
                      <a16:creationId xmlns:a16="http://schemas.microsoft.com/office/drawing/2014/main" id="{0767616E-EB66-BB0B-C765-9C74FAC49D9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8299994" y="3258436"/>
                  <a:ext cx="800100" cy="114300"/>
                </a:xfrm>
                <a:prstGeom prst="rect">
                  <a:avLst/>
                </a:prstGeom>
              </p:spPr>
            </p:pic>
            <p:sp>
              <p:nvSpPr>
                <p:cNvPr id="29" name="CuadroTexto 28">
                  <a:extLst>
                    <a:ext uri="{FF2B5EF4-FFF2-40B4-BE49-F238E27FC236}">
                      <a16:creationId xmlns:a16="http://schemas.microsoft.com/office/drawing/2014/main" id="{A19D9A73-17E7-1066-41A2-946080582016}"/>
                    </a:ext>
                  </a:extLst>
                </p:cNvPr>
                <p:cNvSpPr txBox="1"/>
                <p:nvPr/>
              </p:nvSpPr>
              <p:spPr>
                <a:xfrm>
                  <a:off x="17709261" y="1376003"/>
                  <a:ext cx="1931287" cy="6585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s-AR" sz="600" b="1">
                      <a:solidFill>
                        <a:schemeClr val="bg1">
                          <a:lumMod val="25000"/>
                        </a:schemeClr>
                      </a:solidFill>
                      <a:latin typeface="Pulso" pitchFamily="2" charset="0"/>
                    </a:rPr>
                    <a:t>AUTONOMÍA</a:t>
                  </a:r>
                </a:p>
                <a:p>
                  <a:pPr algn="ctr"/>
                  <a:r>
                    <a:rPr lang="es-AR" sz="600" b="1">
                      <a:solidFill>
                        <a:schemeClr val="bg1">
                          <a:lumMod val="25000"/>
                        </a:schemeClr>
                      </a:solidFill>
                      <a:latin typeface="Pulso" pitchFamily="2" charset="0"/>
                    </a:rPr>
                    <a:t>CONDICIONAL</a:t>
                  </a:r>
                </a:p>
              </p:txBody>
            </p:sp>
            <p:pic>
              <p:nvPicPr>
                <p:cNvPr id="30" name="Gráfico 29">
                  <a:extLst>
                    <a:ext uri="{FF2B5EF4-FFF2-40B4-BE49-F238E27FC236}">
                      <a16:creationId xmlns:a16="http://schemas.microsoft.com/office/drawing/2014/main" id="{1322CEA1-7BCA-F5E0-9AA6-D2E7548BC22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>
                  <a:extLs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8161882" y="2037526"/>
                  <a:ext cx="1076325" cy="1114425"/>
                </a:xfrm>
                <a:prstGeom prst="rect">
                  <a:avLst/>
                </a:prstGeom>
              </p:spPr>
            </p:pic>
          </p:grpSp>
          <p:sp>
            <p:nvSpPr>
              <p:cNvPr id="53" name="CuadroTexto 52">
                <a:extLst>
                  <a:ext uri="{FF2B5EF4-FFF2-40B4-BE49-F238E27FC236}">
                    <a16:creationId xmlns:a16="http://schemas.microsoft.com/office/drawing/2014/main" id="{A19A2936-F347-6A26-FCFE-9112007CC987}"/>
                  </a:ext>
                </a:extLst>
              </p:cNvPr>
              <p:cNvSpPr txBox="1"/>
              <p:nvPr/>
            </p:nvSpPr>
            <p:spPr>
              <a:xfrm>
                <a:off x="6017994" y="2248311"/>
                <a:ext cx="820782" cy="1829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AR" sz="900" b="1">
                    <a:solidFill>
                      <a:schemeClr val="accent1"/>
                    </a:solidFill>
                    <a:latin typeface="Pulso" pitchFamily="2" charset="0"/>
                  </a:rPr>
                  <a:t>NIVEL 3</a:t>
                </a:r>
              </a:p>
            </p:txBody>
          </p:sp>
          <p:sp>
            <p:nvSpPr>
              <p:cNvPr id="56" name="CuadroTexto 55">
                <a:extLst>
                  <a:ext uri="{FF2B5EF4-FFF2-40B4-BE49-F238E27FC236}">
                    <a16:creationId xmlns:a16="http://schemas.microsoft.com/office/drawing/2014/main" id="{B65B57F1-2C44-3B3D-BA8E-9165C6B7E783}"/>
                  </a:ext>
                </a:extLst>
              </p:cNvPr>
              <p:cNvSpPr txBox="1"/>
              <p:nvPr/>
            </p:nvSpPr>
            <p:spPr>
              <a:xfrm>
                <a:off x="6015832" y="3492427"/>
                <a:ext cx="825106" cy="220375"/>
              </a:xfrm>
              <a:prstGeom prst="rect">
                <a:avLst/>
              </a:prstGeom>
              <a:noFill/>
            </p:spPr>
            <p:txBody>
              <a:bodyPr wrap="square" lIns="72000" tIns="46800" rIns="72000" rtlCol="0">
                <a:spAutoFit/>
              </a:bodyPr>
              <a:lstStyle>
                <a:defPPr>
                  <a:defRPr lang="en-US"/>
                </a:defPPr>
                <a:lvl1pPr algn="ctr">
                  <a:defRPr sz="1600" b="1">
                    <a:solidFill>
                      <a:schemeClr val="bg1"/>
                    </a:solidFill>
                    <a:latin typeface="Akzidenz-Grotesk BQ Extended" pitchFamily="50" charset="0"/>
                  </a:defRPr>
                </a:lvl1pPr>
              </a:lstStyle>
              <a:p>
                <a:r>
                  <a:rPr lang="es-AR" sz="600">
                    <a:solidFill>
                      <a:schemeClr val="accent1">
                        <a:lumMod val="50000"/>
                      </a:schemeClr>
                    </a:solidFill>
                    <a:latin typeface="Pulso" pitchFamily="2" charset="0"/>
                  </a:rPr>
                  <a:t>AUTOMATIZACIÓN CLOSED LOOP CON AI</a:t>
                </a:r>
              </a:p>
            </p:txBody>
          </p:sp>
          <p:cxnSp>
            <p:nvCxnSpPr>
              <p:cNvPr id="60" name="Conector recto 59">
                <a:extLst>
                  <a:ext uri="{FF2B5EF4-FFF2-40B4-BE49-F238E27FC236}">
                    <a16:creationId xmlns:a16="http://schemas.microsoft.com/office/drawing/2014/main" id="{F9732D4F-BEE6-4DF5-47BC-0F9CCFFE3E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20369" y="3482902"/>
                <a:ext cx="817200" cy="4225"/>
              </a:xfrm>
              <a:prstGeom prst="line">
                <a:avLst/>
              </a:prstGeom>
              <a:noFill/>
              <a:ln w="23241" cap="rnd">
                <a:solidFill>
                  <a:srgbClr val="00F3FF"/>
                </a:solidFill>
                <a:prstDash val="solid"/>
                <a:round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65" name="Gráfico 64">
                <a:extLst>
                  <a:ext uri="{FF2B5EF4-FFF2-40B4-BE49-F238E27FC236}">
                    <a16:creationId xmlns:a16="http://schemas.microsoft.com/office/drawing/2014/main" id="{5ABB8F2D-FBCA-8006-DA17-681FF2321E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96DAC541-7B7A-43D3-8B79-37D633B846F1}">
                    <asvg:svgBlip xmlns:asvg="http://schemas.microsoft.com/office/drawing/2016/SVG/main" r:embed="rId22"/>
                  </a:ext>
                </a:extLst>
              </a:blip>
              <a:stretch>
                <a:fillRect/>
              </a:stretch>
            </p:blipFill>
            <p:spPr>
              <a:xfrm>
                <a:off x="6098185" y="2451959"/>
                <a:ext cx="660400" cy="752475"/>
              </a:xfrm>
              <a:prstGeom prst="rect">
                <a:avLst/>
              </a:prstGeom>
              <a:effectLst>
                <a:glow rad="32020">
                  <a:schemeClr val="accent1">
                    <a:alpha val="11000"/>
                  </a:schemeClr>
                </a:glow>
              </a:effectLst>
            </p:spPr>
          </p:pic>
        </p:grpSp>
        <p:grpSp>
          <p:nvGrpSpPr>
            <p:cNvPr id="71" name="Grupo 70">
              <a:extLst>
                <a:ext uri="{FF2B5EF4-FFF2-40B4-BE49-F238E27FC236}">
                  <a16:creationId xmlns:a16="http://schemas.microsoft.com/office/drawing/2014/main" id="{EED61D13-D65A-B444-8A7F-F64C47EACCAC}"/>
                </a:ext>
              </a:extLst>
            </p:cNvPr>
            <p:cNvGrpSpPr/>
            <p:nvPr/>
          </p:nvGrpSpPr>
          <p:grpSpPr>
            <a:xfrm>
              <a:off x="7108848" y="2246375"/>
              <a:ext cx="820782" cy="1435418"/>
              <a:chOff x="6837904" y="2246375"/>
              <a:chExt cx="820782" cy="1435418"/>
            </a:xfrm>
          </p:grpSpPr>
          <p:grpSp>
            <p:nvGrpSpPr>
              <p:cNvPr id="31" name="Cuadro N 4">
                <a:extLst>
                  <a:ext uri="{FF2B5EF4-FFF2-40B4-BE49-F238E27FC236}">
                    <a16:creationId xmlns:a16="http://schemas.microsoft.com/office/drawing/2014/main" id="{DA2C1AD4-42E5-DEA5-0201-1C889DA5958E}"/>
                  </a:ext>
                </a:extLst>
              </p:cNvPr>
              <p:cNvGrpSpPr/>
              <p:nvPr/>
            </p:nvGrpSpPr>
            <p:grpSpPr>
              <a:xfrm>
                <a:off x="6917797" y="2483645"/>
                <a:ext cx="660997" cy="664989"/>
                <a:chOff x="20138899" y="1415874"/>
                <a:chExt cx="1982992" cy="1994966"/>
              </a:xfrm>
            </p:grpSpPr>
            <p:pic>
              <p:nvPicPr>
                <p:cNvPr id="33" name="Gráfico 32">
                  <a:extLst>
                    <a:ext uri="{FF2B5EF4-FFF2-40B4-BE49-F238E27FC236}">
                      <a16:creationId xmlns:a16="http://schemas.microsoft.com/office/drawing/2014/main" id="{74878250-08DA-6817-66DA-1FB8205592D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0739871" y="3296540"/>
                  <a:ext cx="781050" cy="114300"/>
                </a:xfrm>
                <a:prstGeom prst="rect">
                  <a:avLst/>
                </a:prstGeom>
              </p:spPr>
            </p:pic>
            <p:sp>
              <p:nvSpPr>
                <p:cNvPr id="34" name="CuadroTexto 33">
                  <a:extLst>
                    <a:ext uri="{FF2B5EF4-FFF2-40B4-BE49-F238E27FC236}">
                      <a16:creationId xmlns:a16="http://schemas.microsoft.com/office/drawing/2014/main" id="{31C21D6C-5652-0111-828C-5A3950283C59}"/>
                    </a:ext>
                  </a:extLst>
                </p:cNvPr>
                <p:cNvSpPr txBox="1"/>
                <p:nvPr/>
              </p:nvSpPr>
              <p:spPr>
                <a:xfrm>
                  <a:off x="20138899" y="1415874"/>
                  <a:ext cx="1982992" cy="6585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s-AR" sz="600" b="1">
                      <a:solidFill>
                        <a:schemeClr val="bg1">
                          <a:lumMod val="25000"/>
                        </a:schemeClr>
                      </a:solidFill>
                      <a:latin typeface="Pulso" pitchFamily="2" charset="0"/>
                    </a:rPr>
                    <a:t>AUTONOMÍA</a:t>
                  </a:r>
                </a:p>
                <a:p>
                  <a:pPr algn="ctr"/>
                  <a:r>
                    <a:rPr lang="es-AR" sz="600" b="1">
                      <a:solidFill>
                        <a:schemeClr val="bg1">
                          <a:lumMod val="25000"/>
                        </a:schemeClr>
                      </a:solidFill>
                      <a:latin typeface="Pulso" pitchFamily="2" charset="0"/>
                    </a:rPr>
                    <a:t>ALTA</a:t>
                  </a:r>
                </a:p>
              </p:txBody>
            </p:sp>
            <p:pic>
              <p:nvPicPr>
                <p:cNvPr id="35" name="Gráfico 34">
                  <a:extLst>
                    <a:ext uri="{FF2B5EF4-FFF2-40B4-BE49-F238E27FC236}">
                      <a16:creationId xmlns:a16="http://schemas.microsoft.com/office/drawing/2014/main" id="{2C853115-C6E1-522E-F4D6-28365AA972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5">
                  <a:extLst>
                    <a:ext uri="{96DAC541-7B7A-43D3-8B79-37D633B846F1}">
                      <asvg:svgBlip xmlns:asvg="http://schemas.microsoft.com/office/drawing/2016/SVG/main" r:embed="rId2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0592234" y="2199451"/>
                  <a:ext cx="1076325" cy="990600"/>
                </a:xfrm>
                <a:prstGeom prst="rect">
                  <a:avLst/>
                </a:prstGeom>
              </p:spPr>
            </p:pic>
          </p:grpSp>
          <p:sp>
            <p:nvSpPr>
              <p:cNvPr id="52" name="CuadroTexto 51">
                <a:extLst>
                  <a:ext uri="{FF2B5EF4-FFF2-40B4-BE49-F238E27FC236}">
                    <a16:creationId xmlns:a16="http://schemas.microsoft.com/office/drawing/2014/main" id="{24E7EC13-7F08-D08A-1D77-A5AF54455AC2}"/>
                  </a:ext>
                </a:extLst>
              </p:cNvPr>
              <p:cNvSpPr txBox="1"/>
              <p:nvPr/>
            </p:nvSpPr>
            <p:spPr>
              <a:xfrm>
                <a:off x="6837904" y="2246375"/>
                <a:ext cx="820782" cy="1829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AR" sz="900" b="1">
                    <a:solidFill>
                      <a:schemeClr val="accent1"/>
                    </a:solidFill>
                    <a:latin typeface="Pulso" pitchFamily="2" charset="0"/>
                  </a:rPr>
                  <a:t>NIVEL 4</a:t>
                </a:r>
              </a:p>
            </p:txBody>
          </p:sp>
          <p:sp>
            <p:nvSpPr>
              <p:cNvPr id="55" name="CuadroTexto 54">
                <a:extLst>
                  <a:ext uri="{FF2B5EF4-FFF2-40B4-BE49-F238E27FC236}">
                    <a16:creationId xmlns:a16="http://schemas.microsoft.com/office/drawing/2014/main" id="{34821D26-5DE4-EC85-6CCC-D3BCCF0F80E8}"/>
                  </a:ext>
                </a:extLst>
              </p:cNvPr>
              <p:cNvSpPr txBox="1"/>
              <p:nvPr/>
            </p:nvSpPr>
            <p:spPr>
              <a:xfrm>
                <a:off x="6846073" y="3388248"/>
                <a:ext cx="804445" cy="293545"/>
              </a:xfrm>
              <a:prstGeom prst="rect">
                <a:avLst/>
              </a:prstGeom>
              <a:noFill/>
            </p:spPr>
            <p:txBody>
              <a:bodyPr wrap="square" lIns="72000" tIns="46800" rIns="72000" rtlCol="0">
                <a:spAutoFit/>
              </a:bodyPr>
              <a:lstStyle>
                <a:defPPr>
                  <a:defRPr lang="en-US"/>
                </a:defPPr>
                <a:lvl1pPr algn="ctr">
                  <a:defRPr sz="1600" b="1">
                    <a:solidFill>
                      <a:schemeClr val="bg1"/>
                    </a:solidFill>
                    <a:latin typeface="Akzidenz-Grotesk BQ Extended" pitchFamily="50" charset="0"/>
                  </a:defRPr>
                </a:lvl1pPr>
              </a:lstStyle>
              <a:p>
                <a:r>
                  <a:rPr lang="es-AR" sz="600">
                    <a:solidFill>
                      <a:schemeClr val="accent1">
                        <a:lumMod val="50000"/>
                      </a:schemeClr>
                    </a:solidFill>
                    <a:latin typeface="Pulso" pitchFamily="2" charset="0"/>
                  </a:rPr>
                  <a:t>AUTOMATIZACIÓN CLOSED LOOP CON INTENCIÓN</a:t>
                </a:r>
              </a:p>
            </p:txBody>
          </p:sp>
          <p:cxnSp>
            <p:nvCxnSpPr>
              <p:cNvPr id="62" name="Conector recto 61">
                <a:extLst>
                  <a:ext uri="{FF2B5EF4-FFF2-40B4-BE49-F238E27FC236}">
                    <a16:creationId xmlns:a16="http://schemas.microsoft.com/office/drawing/2014/main" id="{FFAA93B8-BEC8-F5BA-5F49-CC302B2A9E6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840279" y="3377839"/>
                <a:ext cx="816032" cy="4225"/>
              </a:xfrm>
              <a:prstGeom prst="line">
                <a:avLst/>
              </a:prstGeom>
              <a:noFill/>
              <a:ln w="23241" cap="rnd">
                <a:solidFill>
                  <a:srgbClr val="00F3FF"/>
                </a:solidFill>
                <a:prstDash val="solid"/>
                <a:round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67" name="Gráfico 66">
                <a:extLst>
                  <a:ext uri="{FF2B5EF4-FFF2-40B4-BE49-F238E27FC236}">
                    <a16:creationId xmlns:a16="http://schemas.microsoft.com/office/drawing/2014/main" id="{C77CD5FE-724C-AA9C-AF9D-1F517B8D4E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96DAC541-7B7A-43D3-8B79-37D633B846F1}">
                    <asvg:svgBlip xmlns:asvg="http://schemas.microsoft.com/office/drawing/2016/SVG/main" r:embed="rId22"/>
                  </a:ext>
                </a:extLst>
              </a:blip>
              <a:stretch>
                <a:fillRect/>
              </a:stretch>
            </p:blipFill>
            <p:spPr>
              <a:xfrm>
                <a:off x="6918095" y="2451959"/>
                <a:ext cx="660400" cy="752475"/>
              </a:xfrm>
              <a:prstGeom prst="rect">
                <a:avLst/>
              </a:prstGeom>
              <a:effectLst>
                <a:glow rad="32020">
                  <a:schemeClr val="accent1">
                    <a:alpha val="11000"/>
                  </a:schemeClr>
                </a:glow>
              </a:effectLst>
            </p:spPr>
          </p:pic>
        </p:grpSp>
        <p:grpSp>
          <p:nvGrpSpPr>
            <p:cNvPr id="72" name="Grupo 71">
              <a:extLst>
                <a:ext uri="{FF2B5EF4-FFF2-40B4-BE49-F238E27FC236}">
                  <a16:creationId xmlns:a16="http://schemas.microsoft.com/office/drawing/2014/main" id="{24CDE3FB-8F05-A17C-723B-106A13FB103E}"/>
                </a:ext>
              </a:extLst>
            </p:cNvPr>
            <p:cNvGrpSpPr/>
            <p:nvPr/>
          </p:nvGrpSpPr>
          <p:grpSpPr>
            <a:xfrm>
              <a:off x="7930320" y="2244834"/>
              <a:ext cx="816032" cy="1173792"/>
              <a:chOff x="7818454" y="2244834"/>
              <a:chExt cx="816032" cy="1173792"/>
            </a:xfrm>
          </p:grpSpPr>
          <p:grpSp>
            <p:nvGrpSpPr>
              <p:cNvPr id="36" name="Cuadro N 5">
                <a:extLst>
                  <a:ext uri="{FF2B5EF4-FFF2-40B4-BE49-F238E27FC236}">
                    <a16:creationId xmlns:a16="http://schemas.microsoft.com/office/drawing/2014/main" id="{CB89723B-09B5-52B6-0EAE-75FBBF96D295}"/>
                  </a:ext>
                </a:extLst>
              </p:cNvPr>
              <p:cNvGrpSpPr/>
              <p:nvPr/>
            </p:nvGrpSpPr>
            <p:grpSpPr>
              <a:xfrm>
                <a:off x="7895972" y="2483432"/>
                <a:ext cx="660997" cy="664868"/>
                <a:chOff x="22582320" y="1354320"/>
                <a:chExt cx="1982992" cy="1994605"/>
              </a:xfrm>
            </p:grpSpPr>
            <p:pic>
              <p:nvPicPr>
                <p:cNvPr id="38" name="Gráfico 37">
                  <a:extLst>
                    <a:ext uri="{FF2B5EF4-FFF2-40B4-BE49-F238E27FC236}">
                      <a16:creationId xmlns:a16="http://schemas.microsoft.com/office/drawing/2014/main" id="{449FAF2E-CD2A-2278-8EA5-DA23A18EE16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7">
                  <a:extLst>
                    <a:ext uri="{96DAC541-7B7A-43D3-8B79-37D633B846F1}">
                      <asvg:svgBlip xmlns:asvg="http://schemas.microsoft.com/office/drawing/2016/SVG/main" r:embed="rId2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107092" y="3234625"/>
                  <a:ext cx="933450" cy="114300"/>
                </a:xfrm>
                <a:prstGeom prst="rect">
                  <a:avLst/>
                </a:prstGeom>
              </p:spPr>
            </p:pic>
            <p:sp>
              <p:nvSpPr>
                <p:cNvPr id="43" name="CuadroTexto 42">
                  <a:extLst>
                    <a:ext uri="{FF2B5EF4-FFF2-40B4-BE49-F238E27FC236}">
                      <a16:creationId xmlns:a16="http://schemas.microsoft.com/office/drawing/2014/main" id="{A02E097D-62D2-7D40-E739-D87383F1A883}"/>
                    </a:ext>
                  </a:extLst>
                </p:cNvPr>
                <p:cNvSpPr txBox="1"/>
                <p:nvPr/>
              </p:nvSpPr>
              <p:spPr>
                <a:xfrm>
                  <a:off x="22582320" y="1354320"/>
                  <a:ext cx="1982992" cy="65853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s-AR" sz="600" b="1">
                      <a:solidFill>
                        <a:schemeClr val="accent1">
                          <a:lumMod val="50000"/>
                        </a:schemeClr>
                      </a:solidFill>
                      <a:latin typeface="Pulso" pitchFamily="2" charset="0"/>
                    </a:rPr>
                    <a:t>FULL</a:t>
                  </a:r>
                </a:p>
                <a:p>
                  <a:pPr algn="ctr"/>
                  <a:r>
                    <a:rPr lang="es-AR" sz="600" b="1">
                      <a:solidFill>
                        <a:schemeClr val="accent1">
                          <a:lumMod val="50000"/>
                        </a:schemeClr>
                      </a:solidFill>
                      <a:latin typeface="Pulso" pitchFamily="2" charset="0"/>
                    </a:rPr>
                    <a:t>AUTONOMÍA</a:t>
                  </a:r>
                </a:p>
              </p:txBody>
            </p:sp>
            <p:pic>
              <p:nvPicPr>
                <p:cNvPr id="44" name="Gráfico 43">
                  <a:extLst>
                    <a:ext uri="{FF2B5EF4-FFF2-40B4-BE49-F238E27FC236}">
                      <a16:creationId xmlns:a16="http://schemas.microsoft.com/office/drawing/2014/main" id="{45F5334B-CC47-A68A-F1A1-A81339222D4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9">
                  <a:extLst>
                    <a:ext uri="{96DAC541-7B7A-43D3-8B79-37D633B846F1}">
                      <asvg:svgBlip xmlns:asvg="http://schemas.microsoft.com/office/drawing/2016/SVG/main" r:embed="rId3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021367" y="2250251"/>
                  <a:ext cx="1104900" cy="876300"/>
                </a:xfrm>
                <a:prstGeom prst="rect">
                  <a:avLst/>
                </a:prstGeom>
              </p:spPr>
            </p:pic>
          </p:grpSp>
          <p:sp>
            <p:nvSpPr>
              <p:cNvPr id="51" name="CuadroTexto 50">
                <a:extLst>
                  <a:ext uri="{FF2B5EF4-FFF2-40B4-BE49-F238E27FC236}">
                    <a16:creationId xmlns:a16="http://schemas.microsoft.com/office/drawing/2014/main" id="{6E4DEA3B-638F-282A-8EB2-8E5AF19FDE7B}"/>
                  </a:ext>
                </a:extLst>
              </p:cNvPr>
              <p:cNvSpPr txBox="1"/>
              <p:nvPr/>
            </p:nvSpPr>
            <p:spPr>
              <a:xfrm>
                <a:off x="7832546" y="2244834"/>
                <a:ext cx="787848" cy="1829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AR" sz="900" b="1">
                    <a:solidFill>
                      <a:schemeClr val="accent1"/>
                    </a:solidFill>
                    <a:latin typeface="Pulso" pitchFamily="2" charset="0"/>
                  </a:rPr>
                  <a:t>NIVEL 5</a:t>
                </a:r>
              </a:p>
            </p:txBody>
          </p:sp>
          <p:sp>
            <p:nvSpPr>
              <p:cNvPr id="54" name="CuadroTexto 53">
                <a:extLst>
                  <a:ext uri="{FF2B5EF4-FFF2-40B4-BE49-F238E27FC236}">
                    <a16:creationId xmlns:a16="http://schemas.microsoft.com/office/drawing/2014/main" id="{8971D82F-13BB-E9E4-2857-F9006409CA49}"/>
                  </a:ext>
                </a:extLst>
              </p:cNvPr>
              <p:cNvSpPr txBox="1"/>
              <p:nvPr/>
            </p:nvSpPr>
            <p:spPr>
              <a:xfrm>
                <a:off x="7835524" y="3271421"/>
                <a:ext cx="781893" cy="147205"/>
              </a:xfrm>
              <a:prstGeom prst="rect">
                <a:avLst/>
              </a:prstGeom>
              <a:noFill/>
            </p:spPr>
            <p:txBody>
              <a:bodyPr wrap="square" lIns="72000" tIns="46800" rIns="72000" rtlCol="0">
                <a:spAutoFit/>
              </a:bodyPr>
              <a:lstStyle>
                <a:defPPr>
                  <a:defRPr lang="en-US"/>
                </a:defPPr>
                <a:lvl1pPr algn="ctr">
                  <a:defRPr sz="1600" b="1">
                    <a:solidFill>
                      <a:schemeClr val="bg1"/>
                    </a:solidFill>
                    <a:latin typeface="Akzidenz-Grotesk BQ Extended" pitchFamily="50" charset="0"/>
                  </a:defRPr>
                </a:lvl1pPr>
              </a:lstStyle>
              <a:p>
                <a:r>
                  <a:rPr lang="es-AR" sz="600">
                    <a:solidFill>
                      <a:schemeClr val="accent1">
                        <a:lumMod val="50000"/>
                      </a:schemeClr>
                    </a:solidFill>
                    <a:latin typeface="Pulso" pitchFamily="2" charset="0"/>
                  </a:rPr>
                  <a:t>REDES COGNITIVAS</a:t>
                </a:r>
              </a:p>
            </p:txBody>
          </p:sp>
          <p:cxnSp>
            <p:nvCxnSpPr>
              <p:cNvPr id="59" name="Conector recto 58">
                <a:extLst>
                  <a:ext uri="{FF2B5EF4-FFF2-40B4-BE49-F238E27FC236}">
                    <a16:creationId xmlns:a16="http://schemas.microsoft.com/office/drawing/2014/main" id="{D9CCDA23-2BE1-E63C-3220-676C87E9839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818454" y="3264326"/>
                <a:ext cx="816032" cy="4225"/>
              </a:xfrm>
              <a:prstGeom prst="line">
                <a:avLst/>
              </a:prstGeom>
              <a:noFill/>
              <a:ln w="23241" cap="rnd">
                <a:solidFill>
                  <a:srgbClr val="00F3FF"/>
                </a:solidFill>
                <a:prstDash val="solid"/>
                <a:round/>
                <a:headEnd type="none" w="med" len="med"/>
                <a:tailEnd type="triangle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70" name="Gráfico 69">
                <a:extLst>
                  <a:ext uri="{FF2B5EF4-FFF2-40B4-BE49-F238E27FC236}">
                    <a16:creationId xmlns:a16="http://schemas.microsoft.com/office/drawing/2014/main" id="{351687FB-5562-C36B-4F32-27BC35405F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96DAC541-7B7A-43D3-8B79-37D633B846F1}">
                    <asvg:svgBlip xmlns:asvg="http://schemas.microsoft.com/office/drawing/2016/SVG/main" r:embed="rId22"/>
                  </a:ext>
                </a:extLst>
              </a:blip>
              <a:stretch>
                <a:fillRect/>
              </a:stretch>
            </p:blipFill>
            <p:spPr>
              <a:xfrm>
                <a:off x="7896270" y="2451959"/>
                <a:ext cx="660400" cy="752475"/>
              </a:xfrm>
              <a:prstGeom prst="rect">
                <a:avLst/>
              </a:prstGeom>
              <a:effectLst>
                <a:glow rad="32020">
                  <a:schemeClr val="accent1">
                    <a:alpha val="11000"/>
                  </a:schemeClr>
                </a:glow>
              </a:effectLst>
            </p:spPr>
          </p:pic>
        </p:grpSp>
        <p:cxnSp>
          <p:nvCxnSpPr>
            <p:cNvPr id="73" name="Conector recto 72">
              <a:extLst>
                <a:ext uri="{FF2B5EF4-FFF2-40B4-BE49-F238E27FC236}">
                  <a16:creationId xmlns:a16="http://schemas.microsoft.com/office/drawing/2014/main" id="{F4486C07-B8F0-5555-5E7C-D98A403129DA}"/>
                </a:ext>
              </a:extLst>
            </p:cNvPr>
            <p:cNvCxnSpPr>
              <a:cxnSpLocks/>
            </p:cNvCxnSpPr>
            <p:nvPr/>
          </p:nvCxnSpPr>
          <p:spPr>
            <a:xfrm>
              <a:off x="7108504" y="3377839"/>
              <a:ext cx="0" cy="109288"/>
            </a:xfrm>
            <a:prstGeom prst="line">
              <a:avLst/>
            </a:prstGeom>
            <a:noFill/>
            <a:ln w="23241" cap="rnd">
              <a:solidFill>
                <a:srgbClr val="00F3FF"/>
              </a:solidFill>
              <a:prstDash val="solid"/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ector recto 77">
              <a:extLst>
                <a:ext uri="{FF2B5EF4-FFF2-40B4-BE49-F238E27FC236}">
                  <a16:creationId xmlns:a16="http://schemas.microsoft.com/office/drawing/2014/main" id="{73A0AC92-77A3-1504-E905-EDD5142DFE51}"/>
                </a:ext>
              </a:extLst>
            </p:cNvPr>
            <p:cNvCxnSpPr>
              <a:cxnSpLocks/>
            </p:cNvCxnSpPr>
            <p:nvPr/>
          </p:nvCxnSpPr>
          <p:spPr>
            <a:xfrm>
              <a:off x="7929975" y="3268551"/>
              <a:ext cx="0" cy="109288"/>
            </a:xfrm>
            <a:prstGeom prst="line">
              <a:avLst/>
            </a:prstGeom>
            <a:noFill/>
            <a:ln w="23241" cap="rnd">
              <a:solidFill>
                <a:srgbClr val="00F3FF"/>
              </a:solidFill>
              <a:prstDash val="solid"/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Conector recto 78">
              <a:extLst>
                <a:ext uri="{FF2B5EF4-FFF2-40B4-BE49-F238E27FC236}">
                  <a16:creationId xmlns:a16="http://schemas.microsoft.com/office/drawing/2014/main" id="{74EA01FA-7DBF-6E36-8F1E-9E74657AB898}"/>
                </a:ext>
              </a:extLst>
            </p:cNvPr>
            <p:cNvCxnSpPr>
              <a:cxnSpLocks/>
            </p:cNvCxnSpPr>
            <p:nvPr/>
          </p:nvCxnSpPr>
          <p:spPr>
            <a:xfrm>
              <a:off x="6282710" y="3482902"/>
              <a:ext cx="0" cy="109288"/>
            </a:xfrm>
            <a:prstGeom prst="line">
              <a:avLst/>
            </a:prstGeom>
            <a:noFill/>
            <a:ln w="23241" cap="rnd">
              <a:solidFill>
                <a:srgbClr val="00F3FF"/>
              </a:solidFill>
              <a:prstDash val="solid"/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Conector recto 79">
              <a:extLst>
                <a:ext uri="{FF2B5EF4-FFF2-40B4-BE49-F238E27FC236}">
                  <a16:creationId xmlns:a16="http://schemas.microsoft.com/office/drawing/2014/main" id="{B333B55B-3D80-3108-476F-497668914493}"/>
                </a:ext>
              </a:extLst>
            </p:cNvPr>
            <p:cNvCxnSpPr>
              <a:cxnSpLocks/>
            </p:cNvCxnSpPr>
            <p:nvPr/>
          </p:nvCxnSpPr>
          <p:spPr>
            <a:xfrm>
              <a:off x="5458018" y="3602142"/>
              <a:ext cx="0" cy="109288"/>
            </a:xfrm>
            <a:prstGeom prst="line">
              <a:avLst/>
            </a:prstGeom>
            <a:noFill/>
            <a:ln w="23241" cap="rnd">
              <a:solidFill>
                <a:srgbClr val="00F3FF"/>
              </a:solidFill>
              <a:prstDash val="solid"/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Conector recto 84">
              <a:extLst>
                <a:ext uri="{FF2B5EF4-FFF2-40B4-BE49-F238E27FC236}">
                  <a16:creationId xmlns:a16="http://schemas.microsoft.com/office/drawing/2014/main" id="{90A8E992-D351-F129-1F93-D6189A1886C4}"/>
                </a:ext>
              </a:extLst>
            </p:cNvPr>
            <p:cNvCxnSpPr>
              <a:cxnSpLocks/>
            </p:cNvCxnSpPr>
            <p:nvPr/>
          </p:nvCxnSpPr>
          <p:spPr>
            <a:xfrm>
              <a:off x="4640130" y="3717085"/>
              <a:ext cx="0" cy="109288"/>
            </a:xfrm>
            <a:prstGeom prst="line">
              <a:avLst/>
            </a:prstGeom>
            <a:noFill/>
            <a:ln w="23241" cap="rnd">
              <a:solidFill>
                <a:srgbClr val="00F3FF"/>
              </a:solidFill>
              <a:prstDash val="solid"/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05245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A29E08-C717-F4AE-BD36-CAE37AADF4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Marcador de texto 8">
            <a:extLst>
              <a:ext uri="{FF2B5EF4-FFF2-40B4-BE49-F238E27FC236}">
                <a16:creationId xmlns:a16="http://schemas.microsoft.com/office/drawing/2014/main" id="{620FBF67-4D83-6519-095C-18BC0EEE8EC8}"/>
              </a:ext>
            </a:extLst>
          </p:cNvPr>
          <p:cNvSpPr txBox="1">
            <a:spLocks/>
          </p:cNvSpPr>
          <p:nvPr/>
        </p:nvSpPr>
        <p:spPr>
          <a:xfrm>
            <a:off x="1245513" y="1546033"/>
            <a:ext cx="1776680" cy="339580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None/>
            </a:pPr>
            <a:r>
              <a:rPr lang="es-AR" sz="1000" spc="-15">
                <a:solidFill>
                  <a:schemeClr val="bg2"/>
                </a:solidFill>
                <a:latin typeface="Pulso" pitchFamily="2" charset="0"/>
                <a:ea typeface="Open Sans Light"/>
                <a:cs typeface="Open Sans Light"/>
              </a:rPr>
              <a:t>Regulación 2030</a:t>
            </a:r>
          </a:p>
          <a:p>
            <a:pPr marL="153988" indent="-153988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000" spc="-15">
                <a:latin typeface="Pulso Light" pitchFamily="2" charset="0"/>
                <a:ea typeface="Open Sans Light"/>
                <a:cs typeface="Open Sans Light"/>
              </a:rPr>
              <a:t>Incentivar inversión sostenible y desarrollar el ecosistema digital</a:t>
            </a:r>
          </a:p>
          <a:p>
            <a:pPr marL="153988" indent="-153988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000" spc="-15">
                <a:latin typeface="Pulso Light" pitchFamily="2" charset="0"/>
                <a:ea typeface="Open Sans Light"/>
                <a:cs typeface="Open Sans Light"/>
              </a:rPr>
              <a:t>Conectividad y competencia</a:t>
            </a:r>
          </a:p>
          <a:p>
            <a:pPr marL="153988" indent="-153988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000" spc="-15">
                <a:latin typeface="Pulso Light" pitchFamily="2" charset="0"/>
                <a:ea typeface="Open Sans Light"/>
                <a:cs typeface="Open Sans Light"/>
              </a:rPr>
              <a:t>Posible entrada de MVNO</a:t>
            </a:r>
          </a:p>
          <a:p>
            <a:pPr marL="153988" indent="-153988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000" spc="-15">
                <a:latin typeface="Pulso Light" pitchFamily="2" charset="0"/>
                <a:ea typeface="Open Sans Light"/>
                <a:cs typeface="Open Sans Light"/>
              </a:rPr>
              <a:t>Satélite directo al celular (NTN)</a:t>
            </a:r>
          </a:p>
          <a:p>
            <a:pPr marL="153988" indent="-153988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000" spc="-15">
                <a:latin typeface="Pulso Light" pitchFamily="2" charset="0"/>
                <a:ea typeface="Open Sans Light"/>
                <a:cs typeface="Open Sans Light"/>
              </a:rPr>
              <a:t>Contribución justa (OTT / uso de red)</a:t>
            </a:r>
          </a:p>
          <a:p>
            <a:pPr marL="153988" indent="-153988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000" spc="-15">
                <a:latin typeface="Pulso Light" pitchFamily="2" charset="0"/>
                <a:ea typeface="Open Sans Light"/>
                <a:cs typeface="Open Sans Light"/>
              </a:rPr>
              <a:t>Estructura de mercado y concentración</a:t>
            </a:r>
          </a:p>
          <a:p>
            <a:pPr marL="153988" indent="-153988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000" spc="-15">
                <a:latin typeface="Pulso Light" pitchFamily="2" charset="0"/>
                <a:ea typeface="Open Sans Light"/>
                <a:cs typeface="Open Sans Light"/>
              </a:rPr>
              <a:t>Simplificación regulatoria</a:t>
            </a:r>
          </a:p>
          <a:p>
            <a:pPr marL="153988" indent="-153988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ES" sz="1000">
                <a:solidFill>
                  <a:schemeClr val="tx1">
                    <a:lumMod val="75000"/>
                    <a:lumOff val="25000"/>
                  </a:schemeClr>
                </a:solidFill>
                <a:latin typeface="Pulso Light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t>Lograr la aprobación de la fusión</a:t>
            </a:r>
          </a:p>
          <a:p>
            <a:pPr marL="153988" indent="-153988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Tipo de letra del sistema regular"/>
              <a:buChar char="●"/>
            </a:pPr>
            <a:endParaRPr lang="es-AR" sz="1000" spc="-15">
              <a:latin typeface="Pulso Light" pitchFamily="2" charset="0"/>
              <a:ea typeface="Open Sans Light"/>
              <a:cs typeface="Open Sans Light"/>
            </a:endParaRP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50FF0929-7408-A2BC-5D32-92B13E04073F}"/>
              </a:ext>
            </a:extLst>
          </p:cNvPr>
          <p:cNvGrpSpPr/>
          <p:nvPr/>
        </p:nvGrpSpPr>
        <p:grpSpPr>
          <a:xfrm>
            <a:off x="540650" y="765702"/>
            <a:ext cx="4338321" cy="548855"/>
            <a:chOff x="1186436" y="727786"/>
            <a:chExt cx="1867235" cy="236229"/>
          </a:xfrm>
        </p:grpSpPr>
        <p:grpSp>
          <p:nvGrpSpPr>
            <p:cNvPr id="7" name="Grupo 6">
              <a:extLst>
                <a:ext uri="{FF2B5EF4-FFF2-40B4-BE49-F238E27FC236}">
                  <a16:creationId xmlns:a16="http://schemas.microsoft.com/office/drawing/2014/main" id="{8BDE30C0-3487-F360-2E97-BFC4685F2847}"/>
                </a:ext>
              </a:extLst>
            </p:cNvPr>
            <p:cNvGrpSpPr/>
            <p:nvPr/>
          </p:nvGrpSpPr>
          <p:grpSpPr>
            <a:xfrm>
              <a:off x="1186436" y="727786"/>
              <a:ext cx="236474" cy="236229"/>
              <a:chOff x="3955161" y="1943655"/>
              <a:chExt cx="1169097" cy="1167892"/>
            </a:xfrm>
          </p:grpSpPr>
          <p:sp>
            <p:nvSpPr>
              <p:cNvPr id="9" name="Forma libre 8">
                <a:extLst>
                  <a:ext uri="{FF2B5EF4-FFF2-40B4-BE49-F238E27FC236}">
                    <a16:creationId xmlns:a16="http://schemas.microsoft.com/office/drawing/2014/main" id="{C8F11CE1-3B47-6F75-23FA-04FF050F9A4E}"/>
                  </a:ext>
                </a:extLst>
              </p:cNvPr>
              <p:cNvSpPr/>
              <p:nvPr/>
            </p:nvSpPr>
            <p:spPr>
              <a:xfrm>
                <a:off x="4190142" y="2178081"/>
                <a:ext cx="699134" cy="699134"/>
              </a:xfrm>
              <a:custGeom>
                <a:avLst/>
                <a:gdLst>
                  <a:gd name="connsiteX0" fmla="*/ 699135 w 699134"/>
                  <a:gd name="connsiteY0" fmla="*/ 349567 h 699134"/>
                  <a:gd name="connsiteX1" fmla="*/ 349568 w 699134"/>
                  <a:gd name="connsiteY1" fmla="*/ 699135 h 699134"/>
                  <a:gd name="connsiteX2" fmla="*/ 0 w 699134"/>
                  <a:gd name="connsiteY2" fmla="*/ 349568 h 699134"/>
                  <a:gd name="connsiteX3" fmla="*/ 349568 w 699134"/>
                  <a:gd name="connsiteY3" fmla="*/ 0 h 699134"/>
                  <a:gd name="connsiteX4" fmla="*/ 699135 w 699134"/>
                  <a:gd name="connsiteY4" fmla="*/ 349567 h 699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134" h="699134">
                    <a:moveTo>
                      <a:pt x="699135" y="349567"/>
                    </a:moveTo>
                    <a:cubicBezTo>
                      <a:pt x="699135" y="542628"/>
                      <a:pt x="542628" y="699135"/>
                      <a:pt x="349568" y="699135"/>
                    </a:cubicBezTo>
                    <a:cubicBezTo>
                      <a:pt x="156507" y="699135"/>
                      <a:pt x="0" y="542628"/>
                      <a:pt x="0" y="349568"/>
                    </a:cubicBezTo>
                    <a:cubicBezTo>
                      <a:pt x="0" y="156507"/>
                      <a:pt x="156507" y="0"/>
                      <a:pt x="349568" y="0"/>
                    </a:cubicBezTo>
                    <a:cubicBezTo>
                      <a:pt x="542628" y="0"/>
                      <a:pt x="699135" y="156507"/>
                      <a:pt x="699135" y="349567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0" name="Forma libre 9">
                <a:extLst>
                  <a:ext uri="{FF2B5EF4-FFF2-40B4-BE49-F238E27FC236}">
                    <a16:creationId xmlns:a16="http://schemas.microsoft.com/office/drawing/2014/main" id="{49B36803-B60C-1CFC-278F-93FB1E305D66}"/>
                  </a:ext>
                </a:extLst>
              </p:cNvPr>
              <p:cNvSpPr/>
              <p:nvPr/>
            </p:nvSpPr>
            <p:spPr>
              <a:xfrm>
                <a:off x="4552759" y="2731320"/>
                <a:ext cx="481275" cy="380227"/>
              </a:xfrm>
              <a:custGeom>
                <a:avLst/>
                <a:gdLst>
                  <a:gd name="connsiteX0" fmla="*/ 298704 w 481275"/>
                  <a:gd name="connsiteY0" fmla="*/ 6070 h 380227"/>
                  <a:gd name="connsiteX1" fmla="*/ 12764 w 481275"/>
                  <a:gd name="connsiteY1" fmla="*/ 171138 h 380227"/>
                  <a:gd name="connsiteX2" fmla="*/ 0 w 481275"/>
                  <a:gd name="connsiteY2" fmla="*/ 184568 h 380227"/>
                  <a:gd name="connsiteX3" fmla="*/ 0 w 481275"/>
                  <a:gd name="connsiteY3" fmla="*/ 366686 h 380227"/>
                  <a:gd name="connsiteX4" fmla="*/ 14002 w 481275"/>
                  <a:gd name="connsiteY4" fmla="*/ 380212 h 380227"/>
                  <a:gd name="connsiteX5" fmla="*/ 479203 w 481275"/>
                  <a:gd name="connsiteY5" fmla="*/ 111892 h 380227"/>
                  <a:gd name="connsiteX6" fmla="*/ 474535 w 481275"/>
                  <a:gd name="connsiteY6" fmla="*/ 93033 h 380227"/>
                  <a:gd name="connsiteX7" fmla="*/ 316611 w 481275"/>
                  <a:gd name="connsiteY7" fmla="*/ 1879 h 380227"/>
                  <a:gd name="connsiteX8" fmla="*/ 298704 w 481275"/>
                  <a:gd name="connsiteY8" fmla="*/ 6070 h 38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275" h="380227">
                    <a:moveTo>
                      <a:pt x="298704" y="6070"/>
                    </a:moveTo>
                    <a:cubicBezTo>
                      <a:pt x="235744" y="99510"/>
                      <a:pt x="131921" y="163041"/>
                      <a:pt x="12764" y="171138"/>
                    </a:cubicBezTo>
                    <a:cubicBezTo>
                      <a:pt x="5620" y="171614"/>
                      <a:pt x="0" y="177424"/>
                      <a:pt x="0" y="184568"/>
                    </a:cubicBezTo>
                    <a:lnTo>
                      <a:pt x="0" y="366686"/>
                    </a:lnTo>
                    <a:cubicBezTo>
                      <a:pt x="0" y="374306"/>
                      <a:pt x="6382" y="380592"/>
                      <a:pt x="14002" y="380212"/>
                    </a:cubicBezTo>
                    <a:cubicBezTo>
                      <a:pt x="209359" y="371258"/>
                      <a:pt x="379762" y="266578"/>
                      <a:pt x="479203" y="111892"/>
                    </a:cubicBezTo>
                    <a:cubicBezTo>
                      <a:pt x="483299" y="105510"/>
                      <a:pt x="481108" y="96843"/>
                      <a:pt x="474535" y="93033"/>
                    </a:cubicBezTo>
                    <a:lnTo>
                      <a:pt x="316611" y="1879"/>
                    </a:lnTo>
                    <a:cubicBezTo>
                      <a:pt x="310515" y="-1836"/>
                      <a:pt x="302705" y="164"/>
                      <a:pt x="298704" y="607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FBFB1F1A-4718-8F0F-BA07-6F4626F03E33}"/>
                  </a:ext>
                </a:extLst>
              </p:cNvPr>
              <p:cNvSpPr/>
              <p:nvPr/>
            </p:nvSpPr>
            <p:spPr>
              <a:xfrm>
                <a:off x="4045385" y="1943655"/>
                <a:ext cx="481275" cy="380282"/>
              </a:xfrm>
              <a:custGeom>
                <a:avLst/>
                <a:gdLst>
                  <a:gd name="connsiteX0" fmla="*/ 182571 w 481275"/>
                  <a:gd name="connsiteY0" fmla="*/ 374158 h 380282"/>
                  <a:gd name="connsiteX1" fmla="*/ 468512 w 481275"/>
                  <a:gd name="connsiteY1" fmla="*/ 209090 h 380282"/>
                  <a:gd name="connsiteX2" fmla="*/ 481275 w 481275"/>
                  <a:gd name="connsiteY2" fmla="*/ 195660 h 380282"/>
                  <a:gd name="connsiteX3" fmla="*/ 481275 w 481275"/>
                  <a:gd name="connsiteY3" fmla="*/ 13542 h 380282"/>
                  <a:gd name="connsiteX4" fmla="*/ 467274 w 481275"/>
                  <a:gd name="connsiteY4" fmla="*/ 16 h 380282"/>
                  <a:gd name="connsiteX5" fmla="*/ 2073 w 481275"/>
                  <a:gd name="connsiteY5" fmla="*/ 268336 h 380282"/>
                  <a:gd name="connsiteX6" fmla="*/ 6740 w 481275"/>
                  <a:gd name="connsiteY6" fmla="*/ 287195 h 380282"/>
                  <a:gd name="connsiteX7" fmla="*/ 164664 w 481275"/>
                  <a:gd name="connsiteY7" fmla="*/ 378540 h 380282"/>
                  <a:gd name="connsiteX8" fmla="*/ 182571 w 481275"/>
                  <a:gd name="connsiteY8" fmla="*/ 374158 h 380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275" h="380282">
                    <a:moveTo>
                      <a:pt x="182571" y="374158"/>
                    </a:moveTo>
                    <a:cubicBezTo>
                      <a:pt x="245532" y="280718"/>
                      <a:pt x="349354" y="217186"/>
                      <a:pt x="468512" y="209090"/>
                    </a:cubicBezTo>
                    <a:cubicBezTo>
                      <a:pt x="475656" y="208614"/>
                      <a:pt x="481275" y="202804"/>
                      <a:pt x="481275" y="195660"/>
                    </a:cubicBezTo>
                    <a:lnTo>
                      <a:pt x="481275" y="13542"/>
                    </a:lnTo>
                    <a:cubicBezTo>
                      <a:pt x="481275" y="5922"/>
                      <a:pt x="474894" y="-364"/>
                      <a:pt x="467274" y="16"/>
                    </a:cubicBezTo>
                    <a:cubicBezTo>
                      <a:pt x="271916" y="8970"/>
                      <a:pt x="101514" y="113650"/>
                      <a:pt x="2073" y="268336"/>
                    </a:cubicBezTo>
                    <a:cubicBezTo>
                      <a:pt x="-2023" y="274717"/>
                      <a:pt x="168" y="283385"/>
                      <a:pt x="6740" y="287195"/>
                    </a:cubicBezTo>
                    <a:lnTo>
                      <a:pt x="164664" y="378540"/>
                    </a:lnTo>
                    <a:cubicBezTo>
                      <a:pt x="170856" y="382064"/>
                      <a:pt x="178571" y="380064"/>
                      <a:pt x="182571" y="37415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A6A24807-5247-7E72-D982-F13C3777BB92}"/>
                  </a:ext>
                </a:extLst>
              </p:cNvPr>
              <p:cNvSpPr/>
              <p:nvPr/>
            </p:nvSpPr>
            <p:spPr>
              <a:xfrm>
                <a:off x="4875850" y="2251895"/>
                <a:ext cx="248408" cy="551508"/>
              </a:xfrm>
              <a:custGeom>
                <a:avLst/>
                <a:gdLst>
                  <a:gd name="connsiteX0" fmla="*/ 164493 w 248408"/>
                  <a:gd name="connsiteY0" fmla="*/ 549693 h 551508"/>
                  <a:gd name="connsiteX1" fmla="*/ 183162 w 248408"/>
                  <a:gd name="connsiteY1" fmla="*/ 544359 h 551508"/>
                  <a:gd name="connsiteX2" fmla="*/ 248409 w 248408"/>
                  <a:gd name="connsiteY2" fmla="*/ 275754 h 551508"/>
                  <a:gd name="connsiteX3" fmla="*/ 183162 w 248408"/>
                  <a:gd name="connsiteY3" fmla="*/ 7149 h 551508"/>
                  <a:gd name="connsiteX4" fmla="*/ 164493 w 248408"/>
                  <a:gd name="connsiteY4" fmla="*/ 1815 h 551508"/>
                  <a:gd name="connsiteX5" fmla="*/ 6664 w 248408"/>
                  <a:gd name="connsiteY5" fmla="*/ 92969 h 551508"/>
                  <a:gd name="connsiteX6" fmla="*/ 1425 w 248408"/>
                  <a:gd name="connsiteY6" fmla="*/ 110686 h 551508"/>
                  <a:gd name="connsiteX7" fmla="*/ 39621 w 248408"/>
                  <a:gd name="connsiteY7" fmla="*/ 275754 h 551508"/>
                  <a:gd name="connsiteX8" fmla="*/ 1425 w 248408"/>
                  <a:gd name="connsiteY8" fmla="*/ 440822 h 551508"/>
                  <a:gd name="connsiteX9" fmla="*/ 6664 w 248408"/>
                  <a:gd name="connsiteY9" fmla="*/ 458539 h 551508"/>
                  <a:gd name="connsiteX10" fmla="*/ 164493 w 248408"/>
                  <a:gd name="connsiteY10" fmla="*/ 549693 h 551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8408" h="551508">
                    <a:moveTo>
                      <a:pt x="164493" y="549693"/>
                    </a:moveTo>
                    <a:cubicBezTo>
                      <a:pt x="171065" y="553503"/>
                      <a:pt x="179638" y="551122"/>
                      <a:pt x="183162" y="544359"/>
                    </a:cubicBezTo>
                    <a:cubicBezTo>
                      <a:pt x="224882" y="463968"/>
                      <a:pt x="248409" y="372623"/>
                      <a:pt x="248409" y="275754"/>
                    </a:cubicBezTo>
                    <a:cubicBezTo>
                      <a:pt x="248409" y="178885"/>
                      <a:pt x="224787" y="87540"/>
                      <a:pt x="183162" y="7149"/>
                    </a:cubicBezTo>
                    <a:cubicBezTo>
                      <a:pt x="179638" y="386"/>
                      <a:pt x="171065" y="-1995"/>
                      <a:pt x="164493" y="1815"/>
                    </a:cubicBezTo>
                    <a:lnTo>
                      <a:pt x="6664" y="92969"/>
                    </a:lnTo>
                    <a:cubicBezTo>
                      <a:pt x="473" y="96589"/>
                      <a:pt x="-1718" y="104304"/>
                      <a:pt x="1425" y="110686"/>
                    </a:cubicBezTo>
                    <a:cubicBezTo>
                      <a:pt x="25809" y="160502"/>
                      <a:pt x="39621" y="216509"/>
                      <a:pt x="39621" y="275754"/>
                    </a:cubicBezTo>
                    <a:cubicBezTo>
                      <a:pt x="39621" y="335000"/>
                      <a:pt x="25905" y="391007"/>
                      <a:pt x="1425" y="440822"/>
                    </a:cubicBezTo>
                    <a:cubicBezTo>
                      <a:pt x="-1718" y="447204"/>
                      <a:pt x="473" y="455015"/>
                      <a:pt x="6664" y="458539"/>
                    </a:cubicBezTo>
                    <a:lnTo>
                      <a:pt x="164493" y="549693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3" name="Forma libre 12">
                <a:extLst>
                  <a:ext uri="{FF2B5EF4-FFF2-40B4-BE49-F238E27FC236}">
                    <a16:creationId xmlns:a16="http://schemas.microsoft.com/office/drawing/2014/main" id="{039A54AF-5169-06FC-03AB-CF6AF3B9F962}"/>
                  </a:ext>
                </a:extLst>
              </p:cNvPr>
              <p:cNvSpPr/>
              <p:nvPr/>
            </p:nvSpPr>
            <p:spPr>
              <a:xfrm>
                <a:off x="4552854" y="1943845"/>
                <a:ext cx="481317" cy="380159"/>
              </a:xfrm>
              <a:custGeom>
                <a:avLst/>
                <a:gdLst>
                  <a:gd name="connsiteX0" fmla="*/ 12668 w 481317"/>
                  <a:gd name="connsiteY0" fmla="*/ 208995 h 380159"/>
                  <a:gd name="connsiteX1" fmla="*/ 298609 w 481317"/>
                  <a:gd name="connsiteY1" fmla="*/ 374063 h 380159"/>
                  <a:gd name="connsiteX2" fmla="*/ 316611 w 481317"/>
                  <a:gd name="connsiteY2" fmla="*/ 378349 h 380159"/>
                  <a:gd name="connsiteX3" fmla="*/ 474535 w 481317"/>
                  <a:gd name="connsiteY3" fmla="*/ 287195 h 380159"/>
                  <a:gd name="connsiteX4" fmla="*/ 479203 w 481317"/>
                  <a:gd name="connsiteY4" fmla="*/ 268336 h 380159"/>
                  <a:gd name="connsiteX5" fmla="*/ 14002 w 481317"/>
                  <a:gd name="connsiteY5" fmla="*/ 16 h 380159"/>
                  <a:gd name="connsiteX6" fmla="*/ 0 w 481317"/>
                  <a:gd name="connsiteY6" fmla="*/ 13542 h 380159"/>
                  <a:gd name="connsiteX7" fmla="*/ 0 w 481317"/>
                  <a:gd name="connsiteY7" fmla="*/ 195660 h 380159"/>
                  <a:gd name="connsiteX8" fmla="*/ 12668 w 481317"/>
                  <a:gd name="connsiteY8" fmla="*/ 208995 h 380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317" h="380159">
                    <a:moveTo>
                      <a:pt x="12668" y="208995"/>
                    </a:moveTo>
                    <a:cubicBezTo>
                      <a:pt x="131731" y="217091"/>
                      <a:pt x="235553" y="280623"/>
                      <a:pt x="298609" y="374063"/>
                    </a:cubicBezTo>
                    <a:cubicBezTo>
                      <a:pt x="302609" y="379969"/>
                      <a:pt x="310420" y="381969"/>
                      <a:pt x="316611" y="378349"/>
                    </a:cubicBezTo>
                    <a:lnTo>
                      <a:pt x="474535" y="287195"/>
                    </a:lnTo>
                    <a:cubicBezTo>
                      <a:pt x="481108" y="283385"/>
                      <a:pt x="483394" y="274717"/>
                      <a:pt x="479203" y="268336"/>
                    </a:cubicBezTo>
                    <a:cubicBezTo>
                      <a:pt x="379857" y="113554"/>
                      <a:pt x="209359" y="8875"/>
                      <a:pt x="14002" y="16"/>
                    </a:cubicBezTo>
                    <a:cubicBezTo>
                      <a:pt x="6382" y="-365"/>
                      <a:pt x="0" y="5922"/>
                      <a:pt x="0" y="13542"/>
                    </a:cubicBezTo>
                    <a:lnTo>
                      <a:pt x="0" y="195660"/>
                    </a:lnTo>
                    <a:cubicBezTo>
                      <a:pt x="0" y="202708"/>
                      <a:pt x="5525" y="208519"/>
                      <a:pt x="12668" y="20899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4" name="Forma libre 13">
                <a:extLst>
                  <a:ext uri="{FF2B5EF4-FFF2-40B4-BE49-F238E27FC236}">
                    <a16:creationId xmlns:a16="http://schemas.microsoft.com/office/drawing/2014/main" id="{33182326-EFE9-2FC0-C644-565B17821D28}"/>
                  </a:ext>
                </a:extLst>
              </p:cNvPr>
              <p:cNvSpPr/>
              <p:nvPr/>
            </p:nvSpPr>
            <p:spPr>
              <a:xfrm>
                <a:off x="4045248" y="2731293"/>
                <a:ext cx="481318" cy="380159"/>
              </a:xfrm>
              <a:custGeom>
                <a:avLst/>
                <a:gdLst>
                  <a:gd name="connsiteX0" fmla="*/ 468649 w 481318"/>
                  <a:gd name="connsiteY0" fmla="*/ 171165 h 380159"/>
                  <a:gd name="connsiteX1" fmla="*/ 182709 w 481318"/>
                  <a:gd name="connsiteY1" fmla="*/ 6097 h 380159"/>
                  <a:gd name="connsiteX2" fmla="*/ 164707 w 481318"/>
                  <a:gd name="connsiteY2" fmla="*/ 1810 h 380159"/>
                  <a:gd name="connsiteX3" fmla="*/ 6782 w 481318"/>
                  <a:gd name="connsiteY3" fmla="*/ 92965 h 380159"/>
                  <a:gd name="connsiteX4" fmla="*/ 2115 w 481318"/>
                  <a:gd name="connsiteY4" fmla="*/ 111824 h 380159"/>
                  <a:gd name="connsiteX5" fmla="*/ 467316 w 481318"/>
                  <a:gd name="connsiteY5" fmla="*/ 380143 h 380159"/>
                  <a:gd name="connsiteX6" fmla="*/ 481318 w 481318"/>
                  <a:gd name="connsiteY6" fmla="*/ 366618 h 380159"/>
                  <a:gd name="connsiteX7" fmla="*/ 481318 w 481318"/>
                  <a:gd name="connsiteY7" fmla="*/ 184500 h 380159"/>
                  <a:gd name="connsiteX8" fmla="*/ 468649 w 481318"/>
                  <a:gd name="connsiteY8" fmla="*/ 171165 h 380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318" h="380159">
                    <a:moveTo>
                      <a:pt x="468649" y="171165"/>
                    </a:moveTo>
                    <a:cubicBezTo>
                      <a:pt x="349587" y="163069"/>
                      <a:pt x="245764" y="99537"/>
                      <a:pt x="182709" y="6097"/>
                    </a:cubicBezTo>
                    <a:cubicBezTo>
                      <a:pt x="178709" y="191"/>
                      <a:pt x="170898" y="-1809"/>
                      <a:pt x="164707" y="1810"/>
                    </a:cubicBezTo>
                    <a:lnTo>
                      <a:pt x="6782" y="92965"/>
                    </a:lnTo>
                    <a:cubicBezTo>
                      <a:pt x="210" y="96775"/>
                      <a:pt x="-2076" y="105442"/>
                      <a:pt x="2115" y="111824"/>
                    </a:cubicBezTo>
                    <a:cubicBezTo>
                      <a:pt x="101461" y="266605"/>
                      <a:pt x="271958" y="371285"/>
                      <a:pt x="467316" y="380143"/>
                    </a:cubicBezTo>
                    <a:cubicBezTo>
                      <a:pt x="474936" y="380525"/>
                      <a:pt x="481318" y="374238"/>
                      <a:pt x="481318" y="366618"/>
                    </a:cubicBezTo>
                    <a:lnTo>
                      <a:pt x="481318" y="184500"/>
                    </a:lnTo>
                    <a:cubicBezTo>
                      <a:pt x="481413" y="177356"/>
                      <a:pt x="475793" y="171641"/>
                      <a:pt x="468649" y="171165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15" name="Forma libre 14">
                <a:extLst>
                  <a:ext uri="{FF2B5EF4-FFF2-40B4-BE49-F238E27FC236}">
                    <a16:creationId xmlns:a16="http://schemas.microsoft.com/office/drawing/2014/main" id="{AF5914B5-734E-BFD9-C847-2772BE636CC9}"/>
                  </a:ext>
                </a:extLst>
              </p:cNvPr>
              <p:cNvSpPr/>
              <p:nvPr/>
            </p:nvSpPr>
            <p:spPr>
              <a:xfrm>
                <a:off x="3955161" y="2251895"/>
                <a:ext cx="248408" cy="551508"/>
              </a:xfrm>
              <a:custGeom>
                <a:avLst/>
                <a:gdLst>
                  <a:gd name="connsiteX0" fmla="*/ 241744 w 248408"/>
                  <a:gd name="connsiteY0" fmla="*/ 458539 h 551508"/>
                  <a:gd name="connsiteX1" fmla="*/ 246983 w 248408"/>
                  <a:gd name="connsiteY1" fmla="*/ 440822 h 551508"/>
                  <a:gd name="connsiteX2" fmla="*/ 208788 w 248408"/>
                  <a:gd name="connsiteY2" fmla="*/ 275754 h 551508"/>
                  <a:gd name="connsiteX3" fmla="*/ 246983 w 248408"/>
                  <a:gd name="connsiteY3" fmla="*/ 110686 h 551508"/>
                  <a:gd name="connsiteX4" fmla="*/ 241744 w 248408"/>
                  <a:gd name="connsiteY4" fmla="*/ 92969 h 551508"/>
                  <a:gd name="connsiteX5" fmla="*/ 83915 w 248408"/>
                  <a:gd name="connsiteY5" fmla="*/ 1815 h 551508"/>
                  <a:gd name="connsiteX6" fmla="*/ 65246 w 248408"/>
                  <a:gd name="connsiteY6" fmla="*/ 7149 h 551508"/>
                  <a:gd name="connsiteX7" fmla="*/ 0 w 248408"/>
                  <a:gd name="connsiteY7" fmla="*/ 275754 h 551508"/>
                  <a:gd name="connsiteX8" fmla="*/ 65246 w 248408"/>
                  <a:gd name="connsiteY8" fmla="*/ 544359 h 551508"/>
                  <a:gd name="connsiteX9" fmla="*/ 83915 w 248408"/>
                  <a:gd name="connsiteY9" fmla="*/ 549693 h 551508"/>
                  <a:gd name="connsiteX10" fmla="*/ 241744 w 248408"/>
                  <a:gd name="connsiteY10" fmla="*/ 458539 h 551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8408" h="551508">
                    <a:moveTo>
                      <a:pt x="241744" y="458539"/>
                    </a:moveTo>
                    <a:cubicBezTo>
                      <a:pt x="247936" y="454919"/>
                      <a:pt x="250126" y="447204"/>
                      <a:pt x="246983" y="440822"/>
                    </a:cubicBezTo>
                    <a:cubicBezTo>
                      <a:pt x="222599" y="391007"/>
                      <a:pt x="208788" y="335000"/>
                      <a:pt x="208788" y="275754"/>
                    </a:cubicBezTo>
                    <a:cubicBezTo>
                      <a:pt x="208788" y="216509"/>
                      <a:pt x="222504" y="160502"/>
                      <a:pt x="246983" y="110686"/>
                    </a:cubicBezTo>
                    <a:cubicBezTo>
                      <a:pt x="250126" y="104304"/>
                      <a:pt x="247936" y="96494"/>
                      <a:pt x="241744" y="92969"/>
                    </a:cubicBezTo>
                    <a:lnTo>
                      <a:pt x="83915" y="1815"/>
                    </a:lnTo>
                    <a:cubicBezTo>
                      <a:pt x="77343" y="-1995"/>
                      <a:pt x="68771" y="386"/>
                      <a:pt x="65246" y="7149"/>
                    </a:cubicBezTo>
                    <a:cubicBezTo>
                      <a:pt x="23527" y="87540"/>
                      <a:pt x="0" y="178885"/>
                      <a:pt x="0" y="275754"/>
                    </a:cubicBezTo>
                    <a:cubicBezTo>
                      <a:pt x="0" y="372623"/>
                      <a:pt x="23622" y="463968"/>
                      <a:pt x="65246" y="544359"/>
                    </a:cubicBezTo>
                    <a:cubicBezTo>
                      <a:pt x="68771" y="551122"/>
                      <a:pt x="77343" y="553503"/>
                      <a:pt x="83915" y="549693"/>
                    </a:cubicBezTo>
                    <a:lnTo>
                      <a:pt x="241744" y="458539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23" name="Rectángulo 22">
              <a:extLst>
                <a:ext uri="{FF2B5EF4-FFF2-40B4-BE49-F238E27FC236}">
                  <a16:creationId xmlns:a16="http://schemas.microsoft.com/office/drawing/2014/main" id="{1BB7C898-7F3B-AB9B-BDEB-DA4C130F37EE}"/>
                </a:ext>
              </a:extLst>
            </p:cNvPr>
            <p:cNvSpPr/>
            <p:nvPr/>
          </p:nvSpPr>
          <p:spPr>
            <a:xfrm>
              <a:off x="1485217" y="778229"/>
              <a:ext cx="1568454" cy="14096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l">
                <a:lnSpc>
                  <a:spcPct val="85000"/>
                </a:lnSpc>
              </a:pPr>
              <a:r>
                <a:rPr lang="en-US" sz="2500" b="0" i="0" spc="-7" noProof="1">
                  <a:solidFill>
                    <a:schemeClr val="bg2"/>
                  </a:solidFill>
                  <a:latin typeface="Pulso" pitchFamily="2" charset="0"/>
                  <a:ea typeface="Inter Light BETA" panose="020B0402030000000004" pitchFamily="34" charset="0"/>
                </a:rPr>
                <a:t>Regulación</a:t>
              </a:r>
            </a:p>
          </p:txBody>
        </p:sp>
      </p:grpSp>
      <p:sp>
        <p:nvSpPr>
          <p:cNvPr id="47" name="Forma libre 46">
            <a:extLst>
              <a:ext uri="{FF2B5EF4-FFF2-40B4-BE49-F238E27FC236}">
                <a16:creationId xmlns:a16="http://schemas.microsoft.com/office/drawing/2014/main" id="{40C461EB-00C9-56E6-82B3-FD0E56B121EC}"/>
              </a:ext>
            </a:extLst>
          </p:cNvPr>
          <p:cNvSpPr/>
          <p:nvPr/>
        </p:nvSpPr>
        <p:spPr>
          <a:xfrm>
            <a:off x="4783762" y="0"/>
            <a:ext cx="3438000" cy="5148000"/>
          </a:xfrm>
          <a:custGeom>
            <a:avLst/>
            <a:gdLst>
              <a:gd name="connsiteX0" fmla="*/ 0 w 3437719"/>
              <a:gd name="connsiteY0" fmla="*/ 0 h 5143500"/>
              <a:gd name="connsiteX1" fmla="*/ 2845711 w 3437719"/>
              <a:gd name="connsiteY1" fmla="*/ 0 h 5143500"/>
              <a:gd name="connsiteX2" fmla="*/ 2859164 w 3437719"/>
              <a:gd name="connsiteY2" fmla="*/ 26279 h 5143500"/>
              <a:gd name="connsiteX3" fmla="*/ 3437719 w 3437719"/>
              <a:gd name="connsiteY3" fmla="*/ 2571759 h 5143500"/>
              <a:gd name="connsiteX4" fmla="*/ 2859164 w 3437719"/>
              <a:gd name="connsiteY4" fmla="*/ 5109548 h 5143500"/>
              <a:gd name="connsiteX5" fmla="*/ 2841774 w 3437719"/>
              <a:gd name="connsiteY5" fmla="*/ 5143500 h 5143500"/>
              <a:gd name="connsiteX6" fmla="*/ 2 w 3437719"/>
              <a:gd name="connsiteY6" fmla="*/ 5143500 h 5143500"/>
              <a:gd name="connsiteX7" fmla="*/ 73187 w 3437719"/>
              <a:gd name="connsiteY7" fmla="*/ 5076984 h 5143500"/>
              <a:gd name="connsiteX8" fmla="*/ 1110970 w 3437719"/>
              <a:gd name="connsiteY8" fmla="*/ 2571759 h 5143500"/>
              <a:gd name="connsiteX9" fmla="*/ 73187 w 3437719"/>
              <a:gd name="connsiteY9" fmla="*/ 66518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37719" h="5143500">
                <a:moveTo>
                  <a:pt x="0" y="0"/>
                </a:moveTo>
                <a:lnTo>
                  <a:pt x="2845711" y="0"/>
                </a:lnTo>
                <a:lnTo>
                  <a:pt x="2859164" y="26279"/>
                </a:lnTo>
                <a:cubicBezTo>
                  <a:pt x="3229966" y="796168"/>
                  <a:pt x="3437719" y="1659563"/>
                  <a:pt x="3437719" y="2571759"/>
                </a:cubicBezTo>
                <a:cubicBezTo>
                  <a:pt x="3437719" y="3478995"/>
                  <a:pt x="3229966" y="4340218"/>
                  <a:pt x="2859164" y="5109548"/>
                </a:cubicBezTo>
                <a:lnTo>
                  <a:pt x="2841774" y="5143500"/>
                </a:lnTo>
                <a:lnTo>
                  <a:pt x="2" y="5143500"/>
                </a:lnTo>
                <a:lnTo>
                  <a:pt x="73187" y="5076984"/>
                </a:lnTo>
                <a:cubicBezTo>
                  <a:pt x="714366" y="4435804"/>
                  <a:pt x="1110970" y="3550051"/>
                  <a:pt x="1110970" y="2571759"/>
                </a:cubicBezTo>
                <a:cubicBezTo>
                  <a:pt x="1110970" y="1593458"/>
                  <a:pt x="714366" y="707700"/>
                  <a:pt x="73187" y="66518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grpSp>
        <p:nvGrpSpPr>
          <p:cNvPr id="59" name="Grupo 58">
            <a:extLst>
              <a:ext uri="{FF2B5EF4-FFF2-40B4-BE49-F238E27FC236}">
                <a16:creationId xmlns:a16="http://schemas.microsoft.com/office/drawing/2014/main" id="{AD965651-8622-700C-5ED2-9CDE5207BEFB}"/>
              </a:ext>
            </a:extLst>
          </p:cNvPr>
          <p:cNvGrpSpPr/>
          <p:nvPr/>
        </p:nvGrpSpPr>
        <p:grpSpPr>
          <a:xfrm>
            <a:off x="117446" y="4735746"/>
            <a:ext cx="8906400" cy="268682"/>
            <a:chOff x="117446" y="4735746"/>
            <a:chExt cx="8906400" cy="268682"/>
          </a:xfrm>
        </p:grpSpPr>
        <p:sp>
          <p:nvSpPr>
            <p:cNvPr id="48" name="Rectángulo redondeado 47">
              <a:extLst>
                <a:ext uri="{FF2B5EF4-FFF2-40B4-BE49-F238E27FC236}">
                  <a16:creationId xmlns:a16="http://schemas.microsoft.com/office/drawing/2014/main" id="{C7D5D06B-6208-F369-E5BF-BD4ED978C0BC}"/>
                </a:ext>
              </a:extLst>
            </p:cNvPr>
            <p:cNvSpPr/>
            <p:nvPr/>
          </p:nvSpPr>
          <p:spPr>
            <a:xfrm>
              <a:off x="117446" y="4735746"/>
              <a:ext cx="8906400" cy="26868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lvl="0" algn="ctr">
                <a:spcBef>
                  <a:spcPts val="1000"/>
                </a:spcBef>
              </a:pPr>
              <a:endParaRPr lang="es-AR" sz="14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  <p:grpSp>
          <p:nvGrpSpPr>
            <p:cNvPr id="49" name="Gráfico 3">
              <a:extLst>
                <a:ext uri="{FF2B5EF4-FFF2-40B4-BE49-F238E27FC236}">
                  <a16:creationId xmlns:a16="http://schemas.microsoft.com/office/drawing/2014/main" id="{F69F42A0-A3A5-F7E0-1837-B03E33A0241C}"/>
                </a:ext>
              </a:extLst>
            </p:cNvPr>
            <p:cNvGrpSpPr/>
            <p:nvPr/>
          </p:nvGrpSpPr>
          <p:grpSpPr>
            <a:xfrm>
              <a:off x="8243851" y="4808412"/>
              <a:ext cx="549475" cy="126054"/>
              <a:chOff x="3835717" y="2907982"/>
              <a:chExt cx="4521517" cy="1037272"/>
            </a:xfrm>
            <a:solidFill>
              <a:schemeClr val="accent2"/>
            </a:solidFill>
          </p:grpSpPr>
          <p:sp>
            <p:nvSpPr>
              <p:cNvPr id="50" name="Forma libre 49">
                <a:extLst>
                  <a:ext uri="{FF2B5EF4-FFF2-40B4-BE49-F238E27FC236}">
                    <a16:creationId xmlns:a16="http://schemas.microsoft.com/office/drawing/2014/main" id="{2D20B3CB-29E8-8591-0C28-2C853F57A820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1" name="Forma libre 50">
                <a:extLst>
                  <a:ext uri="{FF2B5EF4-FFF2-40B4-BE49-F238E27FC236}">
                    <a16:creationId xmlns:a16="http://schemas.microsoft.com/office/drawing/2014/main" id="{CA4A75C3-F40F-276D-F569-413269558495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2" name="Forma libre 51">
                <a:extLst>
                  <a:ext uri="{FF2B5EF4-FFF2-40B4-BE49-F238E27FC236}">
                    <a16:creationId xmlns:a16="http://schemas.microsoft.com/office/drawing/2014/main" id="{E4246D36-B2A5-33AE-81C1-D5AA37A98B63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3" name="Forma libre 52">
                <a:extLst>
                  <a:ext uri="{FF2B5EF4-FFF2-40B4-BE49-F238E27FC236}">
                    <a16:creationId xmlns:a16="http://schemas.microsoft.com/office/drawing/2014/main" id="{2A7A9F8B-3F44-133D-EC2D-04BD0E19C937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4" name="Forma libre 53">
                <a:extLst>
                  <a:ext uri="{FF2B5EF4-FFF2-40B4-BE49-F238E27FC236}">
                    <a16:creationId xmlns:a16="http://schemas.microsoft.com/office/drawing/2014/main" id="{A27805FB-1589-0BB6-2B01-16B6FFEB6F88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5" name="Forma libre 54">
                <a:extLst>
                  <a:ext uri="{FF2B5EF4-FFF2-40B4-BE49-F238E27FC236}">
                    <a16:creationId xmlns:a16="http://schemas.microsoft.com/office/drawing/2014/main" id="{DBE0399A-89CE-A4AA-CEE9-EA7C7C97D890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6" name="Forma libre 55">
                <a:extLst>
                  <a:ext uri="{FF2B5EF4-FFF2-40B4-BE49-F238E27FC236}">
                    <a16:creationId xmlns:a16="http://schemas.microsoft.com/office/drawing/2014/main" id="{C29E7284-56C6-33D5-B72B-540DB21E0381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7" name="Forma libre 56">
                <a:extLst>
                  <a:ext uri="{FF2B5EF4-FFF2-40B4-BE49-F238E27FC236}">
                    <a16:creationId xmlns:a16="http://schemas.microsoft.com/office/drawing/2014/main" id="{7C7F2149-0DBD-3C30-3729-35F50A9F64F0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58" name="Rectángulo 57">
              <a:extLst>
                <a:ext uri="{FF2B5EF4-FFF2-40B4-BE49-F238E27FC236}">
                  <a16:creationId xmlns:a16="http://schemas.microsoft.com/office/drawing/2014/main" id="{7EBA80AB-8149-C615-2DB0-910A58E2EB88}"/>
                </a:ext>
              </a:extLst>
            </p:cNvPr>
            <p:cNvSpPr/>
            <p:nvPr/>
          </p:nvSpPr>
          <p:spPr>
            <a:xfrm>
              <a:off x="257485" y="4831799"/>
              <a:ext cx="1163588" cy="10464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l">
                <a:lnSpc>
                  <a:spcPct val="85000"/>
                </a:lnSpc>
              </a:pPr>
              <a:r>
                <a:rPr lang="es-ES_tradnl" sz="800" b="0" i="0" spc="-7" noProof="0">
                  <a:solidFill>
                    <a:schemeClr val="tx2"/>
                  </a:solidFill>
                  <a:latin typeface="Pulso Light" pitchFamily="2" charset="0"/>
                  <a:ea typeface="Inter Light BETA" panose="020B0402030000000004" pitchFamily="34" charset="0"/>
                </a:rPr>
                <a:t>Estrategia</a:t>
              </a:r>
              <a:r>
                <a:rPr lang="es-ES_tradnl" sz="800" b="0" i="0" spc="-7" noProof="0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  <a:t>  </a:t>
              </a:r>
              <a:r>
                <a:rPr lang="es-ES_tradnl" sz="800" b="1" i="0" spc="-7" noProof="0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  <a:t>2026  ·  2030</a:t>
              </a:r>
              <a:endPara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Extra Bold" panose="020B0502030000000004" pitchFamily="34" charset="0"/>
              </a:endParaRPr>
            </a:p>
          </p:txBody>
        </p:sp>
      </p:grpSp>
      <p:sp>
        <p:nvSpPr>
          <p:cNvPr id="2" name="Marcador de texto 8">
            <a:extLst>
              <a:ext uri="{FF2B5EF4-FFF2-40B4-BE49-F238E27FC236}">
                <a16:creationId xmlns:a16="http://schemas.microsoft.com/office/drawing/2014/main" id="{822029C4-CF46-2224-DD21-5FD3F396E373}"/>
              </a:ext>
            </a:extLst>
          </p:cNvPr>
          <p:cNvSpPr txBox="1">
            <a:spLocks/>
          </p:cNvSpPr>
          <p:nvPr/>
        </p:nvSpPr>
        <p:spPr>
          <a:xfrm>
            <a:off x="1247297" y="1225182"/>
            <a:ext cx="3879074" cy="18857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42967" fontAlgn="auto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s-ES_tradnl" sz="1100" noProof="0">
                <a:solidFill>
                  <a:srgbClr val="150958"/>
                </a:solidFill>
                <a:latin typeface="Pulso" pitchFamily="2" charset="0"/>
                <a:ea typeface="Roboto" panose="02000000000000000000" pitchFamily="2" charset="0"/>
                <a:cs typeface="Open Sans" pitchFamily="2" charset="0"/>
              </a:rPr>
              <a:t>Lograr una regulación que incentive inversión de largo plazo</a:t>
            </a:r>
          </a:p>
        </p:txBody>
      </p:sp>
      <p:sp>
        <p:nvSpPr>
          <p:cNvPr id="3" name="Marcador de texto 8">
            <a:extLst>
              <a:ext uri="{FF2B5EF4-FFF2-40B4-BE49-F238E27FC236}">
                <a16:creationId xmlns:a16="http://schemas.microsoft.com/office/drawing/2014/main" id="{4A0ED871-DA22-8AE5-D054-A0DCE3013CF9}"/>
              </a:ext>
            </a:extLst>
          </p:cNvPr>
          <p:cNvSpPr txBox="1">
            <a:spLocks/>
          </p:cNvSpPr>
          <p:nvPr/>
        </p:nvSpPr>
        <p:spPr>
          <a:xfrm>
            <a:off x="3295867" y="1546033"/>
            <a:ext cx="2150913" cy="166924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None/>
            </a:pPr>
            <a:r>
              <a:rPr lang="es-AR" sz="1000" spc="-15">
                <a:solidFill>
                  <a:schemeClr val="bg2"/>
                </a:solidFill>
                <a:latin typeface="Pulso" pitchFamily="2" charset="0"/>
                <a:ea typeface="Open Sans Light"/>
                <a:cs typeface="Open Sans Light"/>
              </a:rPr>
              <a:t>Infraestructura y Espectro</a:t>
            </a:r>
          </a:p>
          <a:p>
            <a:pPr marL="153988" indent="-153988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000" spc="-15">
                <a:latin typeface="Pulso Light" pitchFamily="2" charset="0"/>
                <a:ea typeface="Open Sans Light"/>
                <a:cs typeface="Open Sans Light"/>
              </a:rPr>
              <a:t>Espectro (5G/6G, </a:t>
            </a:r>
            <a:r>
              <a:rPr lang="es-AR" sz="1000" spc="-15" err="1">
                <a:latin typeface="Pulso Light" pitchFamily="2" charset="0"/>
                <a:ea typeface="Open Sans Light"/>
                <a:cs typeface="Open Sans Light"/>
              </a:rPr>
              <a:t>refarming</a:t>
            </a:r>
            <a:r>
              <a:rPr lang="es-AR" sz="1000" spc="-15">
                <a:latin typeface="Pulso Light" pitchFamily="2" charset="0"/>
                <a:ea typeface="Open Sans Light"/>
                <a:cs typeface="Open Sans Light"/>
              </a:rPr>
              <a:t>, topes)</a:t>
            </a:r>
          </a:p>
          <a:p>
            <a:pPr marL="153988" indent="-153988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000" spc="-15">
                <a:latin typeface="Pulso Light" pitchFamily="2" charset="0"/>
                <a:ea typeface="Open Sans Light"/>
                <a:cs typeface="Open Sans Light"/>
              </a:rPr>
              <a:t>Licitación 5G Paraguay</a:t>
            </a:r>
          </a:p>
          <a:p>
            <a:pPr marL="153988" indent="-153988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000" spc="-15">
                <a:latin typeface="Pulso Light" pitchFamily="2" charset="0"/>
                <a:ea typeface="Open Sans Light"/>
                <a:cs typeface="Open Sans Light"/>
              </a:rPr>
              <a:t>Internet Uruguay (apertura neutral)</a:t>
            </a:r>
          </a:p>
          <a:p>
            <a:pPr marL="153988" indent="-153988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000" spc="-15">
                <a:latin typeface="Pulso Light" pitchFamily="2" charset="0"/>
                <a:ea typeface="Open Sans Light"/>
                <a:cs typeface="Open Sans Light"/>
              </a:rPr>
              <a:t>Servicios energéticos integrados(</a:t>
            </a:r>
            <a:r>
              <a:rPr lang="es-AR" sz="1000" spc="-15" err="1">
                <a:latin typeface="Pulso Light" pitchFamily="2" charset="0"/>
                <a:ea typeface="Open Sans Light"/>
                <a:cs typeface="Open Sans Light"/>
              </a:rPr>
              <a:t>telcos</a:t>
            </a:r>
            <a:r>
              <a:rPr lang="es-AR" sz="1000" spc="-15">
                <a:latin typeface="Pulso Light" pitchFamily="2" charset="0"/>
                <a:ea typeface="Open Sans Light"/>
                <a:cs typeface="Open Sans Light"/>
              </a:rPr>
              <a:t> como habilitadores de energía distribuida/solar)</a:t>
            </a:r>
          </a:p>
        </p:txBody>
      </p:sp>
      <p:sp>
        <p:nvSpPr>
          <p:cNvPr id="4" name="Marcador de texto 8">
            <a:extLst>
              <a:ext uri="{FF2B5EF4-FFF2-40B4-BE49-F238E27FC236}">
                <a16:creationId xmlns:a16="http://schemas.microsoft.com/office/drawing/2014/main" id="{BE2F168B-DF6A-02D0-511D-8F11149C46D4}"/>
              </a:ext>
            </a:extLst>
          </p:cNvPr>
          <p:cNvSpPr txBox="1">
            <a:spLocks/>
          </p:cNvSpPr>
          <p:nvPr/>
        </p:nvSpPr>
        <p:spPr>
          <a:xfrm>
            <a:off x="3295867" y="3448641"/>
            <a:ext cx="1924960" cy="82798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None/>
            </a:pPr>
            <a:r>
              <a:rPr lang="es-AR" sz="1000" spc="-15">
                <a:solidFill>
                  <a:schemeClr val="bg2"/>
                </a:solidFill>
                <a:latin typeface="Pulso" pitchFamily="2" charset="0"/>
                <a:ea typeface="Open Sans Light"/>
                <a:cs typeface="Open Sans Light"/>
              </a:rPr>
              <a:t>Ecosistema Digital y Datos</a:t>
            </a:r>
          </a:p>
          <a:p>
            <a:pPr marL="153988" indent="-153988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000" spc="-15">
                <a:latin typeface="Pulso Light" pitchFamily="2" charset="0"/>
                <a:ea typeface="Open Sans Light"/>
                <a:cs typeface="Open Sans Light"/>
              </a:rPr>
              <a:t>Regulación Fintech</a:t>
            </a:r>
          </a:p>
          <a:p>
            <a:pPr marL="153988" indent="-153988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AR" sz="1000" spc="-15">
                <a:latin typeface="Pulso Light" pitchFamily="2" charset="0"/>
                <a:ea typeface="Open Sans Light"/>
                <a:cs typeface="Open Sans Light"/>
              </a:rPr>
              <a:t>Regulación IA, identidad digital y soberanía de datos</a:t>
            </a:r>
          </a:p>
        </p:txBody>
      </p:sp>
    </p:spTree>
    <p:extLst>
      <p:ext uri="{BB962C8B-B14F-4D97-AF65-F5344CB8AC3E}">
        <p14:creationId xmlns:p14="http://schemas.microsoft.com/office/powerpoint/2010/main" val="3793993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40FDDE-8D91-C427-7843-975EC40F4A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orma libre 46">
            <a:extLst>
              <a:ext uri="{FF2B5EF4-FFF2-40B4-BE49-F238E27FC236}">
                <a16:creationId xmlns:a16="http://schemas.microsoft.com/office/drawing/2014/main" id="{DEF26C85-D7AA-5785-9FF6-4468B8EE800A}"/>
              </a:ext>
            </a:extLst>
          </p:cNvPr>
          <p:cNvSpPr/>
          <p:nvPr/>
        </p:nvSpPr>
        <p:spPr>
          <a:xfrm>
            <a:off x="4783762" y="0"/>
            <a:ext cx="3438000" cy="5148000"/>
          </a:xfrm>
          <a:custGeom>
            <a:avLst/>
            <a:gdLst>
              <a:gd name="connsiteX0" fmla="*/ 0 w 3437719"/>
              <a:gd name="connsiteY0" fmla="*/ 0 h 5143500"/>
              <a:gd name="connsiteX1" fmla="*/ 2845711 w 3437719"/>
              <a:gd name="connsiteY1" fmla="*/ 0 h 5143500"/>
              <a:gd name="connsiteX2" fmla="*/ 2859164 w 3437719"/>
              <a:gd name="connsiteY2" fmla="*/ 26279 h 5143500"/>
              <a:gd name="connsiteX3" fmla="*/ 3437719 w 3437719"/>
              <a:gd name="connsiteY3" fmla="*/ 2571759 h 5143500"/>
              <a:gd name="connsiteX4" fmla="*/ 2859164 w 3437719"/>
              <a:gd name="connsiteY4" fmla="*/ 5109548 h 5143500"/>
              <a:gd name="connsiteX5" fmla="*/ 2841774 w 3437719"/>
              <a:gd name="connsiteY5" fmla="*/ 5143500 h 5143500"/>
              <a:gd name="connsiteX6" fmla="*/ 2 w 3437719"/>
              <a:gd name="connsiteY6" fmla="*/ 5143500 h 5143500"/>
              <a:gd name="connsiteX7" fmla="*/ 73187 w 3437719"/>
              <a:gd name="connsiteY7" fmla="*/ 5076984 h 5143500"/>
              <a:gd name="connsiteX8" fmla="*/ 1110970 w 3437719"/>
              <a:gd name="connsiteY8" fmla="*/ 2571759 h 5143500"/>
              <a:gd name="connsiteX9" fmla="*/ 73187 w 3437719"/>
              <a:gd name="connsiteY9" fmla="*/ 66518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37719" h="5143500">
                <a:moveTo>
                  <a:pt x="0" y="0"/>
                </a:moveTo>
                <a:lnTo>
                  <a:pt x="2845711" y="0"/>
                </a:lnTo>
                <a:lnTo>
                  <a:pt x="2859164" y="26279"/>
                </a:lnTo>
                <a:cubicBezTo>
                  <a:pt x="3229966" y="796168"/>
                  <a:pt x="3437719" y="1659563"/>
                  <a:pt x="3437719" y="2571759"/>
                </a:cubicBezTo>
                <a:cubicBezTo>
                  <a:pt x="3437719" y="3478995"/>
                  <a:pt x="3229966" y="4340218"/>
                  <a:pt x="2859164" y="5109548"/>
                </a:cubicBezTo>
                <a:lnTo>
                  <a:pt x="2841774" y="5143500"/>
                </a:lnTo>
                <a:lnTo>
                  <a:pt x="2" y="5143500"/>
                </a:lnTo>
                <a:lnTo>
                  <a:pt x="73187" y="5076984"/>
                </a:lnTo>
                <a:cubicBezTo>
                  <a:pt x="714366" y="4435804"/>
                  <a:pt x="1110970" y="3550051"/>
                  <a:pt x="1110970" y="2571759"/>
                </a:cubicBezTo>
                <a:cubicBezTo>
                  <a:pt x="1110970" y="1593458"/>
                  <a:pt x="714366" y="707700"/>
                  <a:pt x="73187" y="66518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1400" b="1">
              <a:solidFill>
                <a:schemeClr val="tx1"/>
              </a:solidFill>
            </a:endParaRPr>
          </a:p>
        </p:txBody>
      </p:sp>
      <p:grpSp>
        <p:nvGrpSpPr>
          <p:cNvPr id="59" name="Grupo 58">
            <a:extLst>
              <a:ext uri="{FF2B5EF4-FFF2-40B4-BE49-F238E27FC236}">
                <a16:creationId xmlns:a16="http://schemas.microsoft.com/office/drawing/2014/main" id="{6F5BE9C9-B4A9-3B41-6C0E-3F725CAE81F3}"/>
              </a:ext>
            </a:extLst>
          </p:cNvPr>
          <p:cNvGrpSpPr/>
          <p:nvPr/>
        </p:nvGrpSpPr>
        <p:grpSpPr>
          <a:xfrm>
            <a:off x="117446" y="4735746"/>
            <a:ext cx="8906400" cy="268682"/>
            <a:chOff x="117446" y="4735746"/>
            <a:chExt cx="8906400" cy="268682"/>
          </a:xfrm>
        </p:grpSpPr>
        <p:sp>
          <p:nvSpPr>
            <p:cNvPr id="48" name="Rectángulo redondeado 47">
              <a:extLst>
                <a:ext uri="{FF2B5EF4-FFF2-40B4-BE49-F238E27FC236}">
                  <a16:creationId xmlns:a16="http://schemas.microsoft.com/office/drawing/2014/main" id="{2363D607-B495-616B-6910-920C0D79C07F}"/>
                </a:ext>
              </a:extLst>
            </p:cNvPr>
            <p:cNvSpPr/>
            <p:nvPr/>
          </p:nvSpPr>
          <p:spPr>
            <a:xfrm>
              <a:off x="117446" y="4735746"/>
              <a:ext cx="8906400" cy="26868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lvl="0" algn="ctr">
                <a:spcBef>
                  <a:spcPts val="1000"/>
                </a:spcBef>
              </a:pPr>
              <a:endParaRPr lang="es-AR" sz="1400" b="1">
                <a:solidFill>
                  <a:schemeClr val="tx1"/>
                </a:solidFill>
                <a:latin typeface="Pulso" pitchFamily="2" charset="0"/>
              </a:endParaRPr>
            </a:p>
          </p:txBody>
        </p:sp>
        <p:grpSp>
          <p:nvGrpSpPr>
            <p:cNvPr id="49" name="Gráfico 3">
              <a:extLst>
                <a:ext uri="{FF2B5EF4-FFF2-40B4-BE49-F238E27FC236}">
                  <a16:creationId xmlns:a16="http://schemas.microsoft.com/office/drawing/2014/main" id="{FB256171-7C37-6E42-0C76-62C1AB64DB03}"/>
                </a:ext>
              </a:extLst>
            </p:cNvPr>
            <p:cNvGrpSpPr/>
            <p:nvPr/>
          </p:nvGrpSpPr>
          <p:grpSpPr>
            <a:xfrm>
              <a:off x="8243851" y="4808412"/>
              <a:ext cx="549475" cy="126054"/>
              <a:chOff x="3835717" y="2907982"/>
              <a:chExt cx="4521517" cy="1037272"/>
            </a:xfrm>
            <a:solidFill>
              <a:schemeClr val="accent2"/>
            </a:solidFill>
          </p:grpSpPr>
          <p:sp>
            <p:nvSpPr>
              <p:cNvPr id="50" name="Forma libre 49">
                <a:extLst>
                  <a:ext uri="{FF2B5EF4-FFF2-40B4-BE49-F238E27FC236}">
                    <a16:creationId xmlns:a16="http://schemas.microsoft.com/office/drawing/2014/main" id="{93320945-CE18-77E0-427A-4A229938B31C}"/>
                  </a:ext>
                </a:extLst>
              </p:cNvPr>
              <p:cNvSpPr/>
              <p:nvPr/>
            </p:nvSpPr>
            <p:spPr>
              <a:xfrm>
                <a:off x="4500562" y="3111817"/>
                <a:ext cx="577215" cy="634365"/>
              </a:xfrm>
              <a:custGeom>
                <a:avLst/>
                <a:gdLst>
                  <a:gd name="connsiteX0" fmla="*/ 299085 w 577215"/>
                  <a:gd name="connsiteY0" fmla="*/ 0 h 634365"/>
                  <a:gd name="connsiteX1" fmla="*/ 86678 w 577215"/>
                  <a:gd name="connsiteY1" fmla="*/ 90488 h 634365"/>
                  <a:gd name="connsiteX2" fmla="*/ 0 w 577215"/>
                  <a:gd name="connsiteY2" fmla="*/ 318135 h 634365"/>
                  <a:gd name="connsiteX3" fmla="*/ 83820 w 577215"/>
                  <a:gd name="connsiteY3" fmla="*/ 544830 h 634365"/>
                  <a:gd name="connsiteX4" fmla="*/ 311467 w 577215"/>
                  <a:gd name="connsiteY4" fmla="*/ 634365 h 634365"/>
                  <a:gd name="connsiteX5" fmla="*/ 452438 w 577215"/>
                  <a:gd name="connsiteY5" fmla="*/ 603885 h 634365"/>
                  <a:gd name="connsiteX6" fmla="*/ 565785 w 577215"/>
                  <a:gd name="connsiteY6" fmla="*/ 515303 h 634365"/>
                  <a:gd name="connsiteX7" fmla="*/ 568643 w 577215"/>
                  <a:gd name="connsiteY7" fmla="*/ 511493 h 634365"/>
                  <a:gd name="connsiteX8" fmla="*/ 493395 w 577215"/>
                  <a:gd name="connsiteY8" fmla="*/ 435293 h 634365"/>
                  <a:gd name="connsiteX9" fmla="*/ 489585 w 577215"/>
                  <a:gd name="connsiteY9" fmla="*/ 440055 h 634365"/>
                  <a:gd name="connsiteX10" fmla="*/ 324803 w 577215"/>
                  <a:gd name="connsiteY10" fmla="*/ 514350 h 634365"/>
                  <a:gd name="connsiteX11" fmla="*/ 139065 w 577215"/>
                  <a:gd name="connsiteY11" fmla="*/ 371475 h 634365"/>
                  <a:gd name="connsiteX12" fmla="*/ 576263 w 577215"/>
                  <a:gd name="connsiteY12" fmla="*/ 371475 h 634365"/>
                  <a:gd name="connsiteX13" fmla="*/ 576263 w 577215"/>
                  <a:gd name="connsiteY13" fmla="*/ 366713 h 634365"/>
                  <a:gd name="connsiteX14" fmla="*/ 577215 w 577215"/>
                  <a:gd name="connsiteY14" fmla="*/ 287655 h 634365"/>
                  <a:gd name="connsiteX15" fmla="*/ 503872 w 577215"/>
                  <a:gd name="connsiteY15" fmla="*/ 85725 h 634365"/>
                  <a:gd name="connsiteX16" fmla="*/ 299085 w 577215"/>
                  <a:gd name="connsiteY16" fmla="*/ 0 h 634365"/>
                  <a:gd name="connsiteX17" fmla="*/ 137160 w 577215"/>
                  <a:gd name="connsiteY17" fmla="*/ 268605 h 634365"/>
                  <a:gd name="connsiteX18" fmla="*/ 300990 w 577215"/>
                  <a:gd name="connsiteY18" fmla="*/ 125730 h 634365"/>
                  <a:gd name="connsiteX19" fmla="*/ 446722 w 577215"/>
                  <a:gd name="connsiteY19" fmla="*/ 268605 h 634365"/>
                  <a:gd name="connsiteX20" fmla="*/ 137160 w 577215"/>
                  <a:gd name="connsiteY20" fmla="*/ 26860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77215" h="634365">
                    <a:moveTo>
                      <a:pt x="299085" y="0"/>
                    </a:moveTo>
                    <a:cubicBezTo>
                      <a:pt x="218122" y="0"/>
                      <a:pt x="142875" y="32385"/>
                      <a:pt x="86678" y="90488"/>
                    </a:cubicBezTo>
                    <a:cubicBezTo>
                      <a:pt x="30480" y="149543"/>
                      <a:pt x="0" y="230505"/>
                      <a:pt x="0" y="318135"/>
                    </a:cubicBezTo>
                    <a:cubicBezTo>
                      <a:pt x="0" y="408623"/>
                      <a:pt x="28575" y="487680"/>
                      <a:pt x="83820" y="544830"/>
                    </a:cubicBezTo>
                    <a:cubicBezTo>
                      <a:pt x="140017" y="603885"/>
                      <a:pt x="219075" y="634365"/>
                      <a:pt x="311467" y="634365"/>
                    </a:cubicBezTo>
                    <a:cubicBezTo>
                      <a:pt x="360045" y="634365"/>
                      <a:pt x="408622" y="623888"/>
                      <a:pt x="452438" y="603885"/>
                    </a:cubicBezTo>
                    <a:cubicBezTo>
                      <a:pt x="497205" y="582930"/>
                      <a:pt x="535305" y="553403"/>
                      <a:pt x="565785" y="515303"/>
                    </a:cubicBezTo>
                    <a:lnTo>
                      <a:pt x="568643" y="511493"/>
                    </a:lnTo>
                    <a:lnTo>
                      <a:pt x="493395" y="435293"/>
                    </a:lnTo>
                    <a:lnTo>
                      <a:pt x="489585" y="440055"/>
                    </a:lnTo>
                    <a:cubicBezTo>
                      <a:pt x="448628" y="487680"/>
                      <a:pt x="388620" y="514350"/>
                      <a:pt x="324803" y="514350"/>
                    </a:cubicBezTo>
                    <a:cubicBezTo>
                      <a:pt x="214313" y="514350"/>
                      <a:pt x="153353" y="467678"/>
                      <a:pt x="139065" y="371475"/>
                    </a:cubicBezTo>
                    <a:lnTo>
                      <a:pt x="576263" y="371475"/>
                    </a:lnTo>
                    <a:lnTo>
                      <a:pt x="576263" y="366713"/>
                    </a:lnTo>
                    <a:cubicBezTo>
                      <a:pt x="577215" y="324803"/>
                      <a:pt x="577215" y="309563"/>
                      <a:pt x="577215" y="287655"/>
                    </a:cubicBezTo>
                    <a:cubicBezTo>
                      <a:pt x="577215" y="210503"/>
                      <a:pt x="551497" y="139065"/>
                      <a:pt x="503872" y="85725"/>
                    </a:cubicBezTo>
                    <a:cubicBezTo>
                      <a:pt x="452438" y="29528"/>
                      <a:pt x="381953" y="0"/>
                      <a:pt x="299085" y="0"/>
                    </a:cubicBezTo>
                    <a:close/>
                    <a:moveTo>
                      <a:pt x="137160" y="268605"/>
                    </a:moveTo>
                    <a:cubicBezTo>
                      <a:pt x="150495" y="172403"/>
                      <a:pt x="204788" y="125730"/>
                      <a:pt x="300990" y="125730"/>
                    </a:cubicBezTo>
                    <a:cubicBezTo>
                      <a:pt x="383858" y="125730"/>
                      <a:pt x="441960" y="182880"/>
                      <a:pt x="446722" y="268605"/>
                    </a:cubicBezTo>
                    <a:lnTo>
                      <a:pt x="137160" y="2686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1" name="Forma libre 50">
                <a:extLst>
                  <a:ext uri="{FF2B5EF4-FFF2-40B4-BE49-F238E27FC236}">
                    <a16:creationId xmlns:a16="http://schemas.microsoft.com/office/drawing/2014/main" id="{CD208B84-FCF5-0E62-FE61-A0E5D5753DAE}"/>
                  </a:ext>
                </a:extLst>
              </p:cNvPr>
              <p:cNvSpPr/>
              <p:nvPr/>
            </p:nvSpPr>
            <p:spPr>
              <a:xfrm>
                <a:off x="6112192" y="3111817"/>
                <a:ext cx="634364" cy="634365"/>
              </a:xfrm>
              <a:custGeom>
                <a:avLst/>
                <a:gdLst>
                  <a:gd name="connsiteX0" fmla="*/ 317182 w 634364"/>
                  <a:gd name="connsiteY0" fmla="*/ 0 h 634365"/>
                  <a:gd name="connsiteX1" fmla="*/ 0 w 634364"/>
                  <a:gd name="connsiteY1" fmla="*/ 317183 h 634365"/>
                  <a:gd name="connsiteX2" fmla="*/ 317182 w 634364"/>
                  <a:gd name="connsiteY2" fmla="*/ 634365 h 634365"/>
                  <a:gd name="connsiteX3" fmla="*/ 634365 w 634364"/>
                  <a:gd name="connsiteY3" fmla="*/ 317183 h 634365"/>
                  <a:gd name="connsiteX4" fmla="*/ 317182 w 634364"/>
                  <a:gd name="connsiteY4" fmla="*/ 0 h 634365"/>
                  <a:gd name="connsiteX5" fmla="*/ 317182 w 634364"/>
                  <a:gd name="connsiteY5" fmla="*/ 508635 h 634365"/>
                  <a:gd name="connsiteX6" fmla="*/ 125730 w 634364"/>
                  <a:gd name="connsiteY6" fmla="*/ 317183 h 634365"/>
                  <a:gd name="connsiteX7" fmla="*/ 317182 w 634364"/>
                  <a:gd name="connsiteY7" fmla="*/ 125730 h 634365"/>
                  <a:gd name="connsiteX8" fmla="*/ 508635 w 634364"/>
                  <a:gd name="connsiteY8" fmla="*/ 317183 h 634365"/>
                  <a:gd name="connsiteX9" fmla="*/ 317182 w 634364"/>
                  <a:gd name="connsiteY9" fmla="*/ 508635 h 634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364" h="634365">
                    <a:moveTo>
                      <a:pt x="317182" y="0"/>
                    </a:moveTo>
                    <a:cubicBezTo>
                      <a:pt x="141922" y="0"/>
                      <a:pt x="0" y="142875"/>
                      <a:pt x="0" y="317183"/>
                    </a:cubicBezTo>
                    <a:cubicBezTo>
                      <a:pt x="0" y="492443"/>
                      <a:pt x="142875" y="634365"/>
                      <a:pt x="317182" y="634365"/>
                    </a:cubicBezTo>
                    <a:cubicBezTo>
                      <a:pt x="492442" y="634365"/>
                      <a:pt x="634365" y="491490"/>
                      <a:pt x="634365" y="317183"/>
                    </a:cubicBezTo>
                    <a:cubicBezTo>
                      <a:pt x="634365" y="141923"/>
                      <a:pt x="492442" y="0"/>
                      <a:pt x="317182" y="0"/>
                    </a:cubicBezTo>
                    <a:close/>
                    <a:moveTo>
                      <a:pt x="317182" y="508635"/>
                    </a:moveTo>
                    <a:cubicBezTo>
                      <a:pt x="211455" y="508635"/>
                      <a:pt x="125730" y="422910"/>
                      <a:pt x="125730" y="317183"/>
                    </a:cubicBezTo>
                    <a:cubicBezTo>
                      <a:pt x="125730" y="211455"/>
                      <a:pt x="211455" y="125730"/>
                      <a:pt x="317182" y="125730"/>
                    </a:cubicBezTo>
                    <a:cubicBezTo>
                      <a:pt x="422910" y="125730"/>
                      <a:pt x="508635" y="211455"/>
                      <a:pt x="508635" y="317183"/>
                    </a:cubicBezTo>
                    <a:cubicBezTo>
                      <a:pt x="508635" y="422910"/>
                      <a:pt x="422910" y="508635"/>
                      <a:pt x="317182" y="5086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2" name="Forma libre 51">
                <a:extLst>
                  <a:ext uri="{FF2B5EF4-FFF2-40B4-BE49-F238E27FC236}">
                    <a16:creationId xmlns:a16="http://schemas.microsoft.com/office/drawing/2014/main" id="{4DC18B22-6100-6A02-8C1F-C7EAF434003D}"/>
                  </a:ext>
                </a:extLst>
              </p:cNvPr>
              <p:cNvSpPr/>
              <p:nvPr/>
            </p:nvSpPr>
            <p:spPr>
              <a:xfrm>
                <a:off x="3835717" y="3109912"/>
                <a:ext cx="584835" cy="835342"/>
              </a:xfrm>
              <a:custGeom>
                <a:avLst/>
                <a:gdLst>
                  <a:gd name="connsiteX0" fmla="*/ 314325 w 584835"/>
                  <a:gd name="connsiteY0" fmla="*/ 0 h 835342"/>
                  <a:gd name="connsiteX1" fmla="*/ 114300 w 584835"/>
                  <a:gd name="connsiteY1" fmla="*/ 130492 h 835342"/>
                  <a:gd name="connsiteX2" fmla="*/ 109538 w 584835"/>
                  <a:gd name="connsiteY2" fmla="*/ 130492 h 835342"/>
                  <a:gd name="connsiteX3" fmla="*/ 106680 w 584835"/>
                  <a:gd name="connsiteY3" fmla="*/ 16192 h 835342"/>
                  <a:gd name="connsiteX4" fmla="*/ 0 w 584835"/>
                  <a:gd name="connsiteY4" fmla="*/ 16192 h 835342"/>
                  <a:gd name="connsiteX5" fmla="*/ 0 w 584835"/>
                  <a:gd name="connsiteY5" fmla="*/ 835343 h 835342"/>
                  <a:gd name="connsiteX6" fmla="*/ 127635 w 584835"/>
                  <a:gd name="connsiteY6" fmla="*/ 835343 h 835342"/>
                  <a:gd name="connsiteX7" fmla="*/ 127635 w 584835"/>
                  <a:gd name="connsiteY7" fmla="*/ 509588 h 835342"/>
                  <a:gd name="connsiteX8" fmla="*/ 131445 w 584835"/>
                  <a:gd name="connsiteY8" fmla="*/ 509588 h 835342"/>
                  <a:gd name="connsiteX9" fmla="*/ 196215 w 584835"/>
                  <a:gd name="connsiteY9" fmla="*/ 596265 h 835342"/>
                  <a:gd name="connsiteX10" fmla="*/ 320040 w 584835"/>
                  <a:gd name="connsiteY10" fmla="*/ 636270 h 835342"/>
                  <a:gd name="connsiteX11" fmla="*/ 508635 w 584835"/>
                  <a:gd name="connsiteY11" fmla="*/ 547688 h 835342"/>
                  <a:gd name="connsiteX12" fmla="*/ 584835 w 584835"/>
                  <a:gd name="connsiteY12" fmla="*/ 317183 h 835342"/>
                  <a:gd name="connsiteX13" fmla="*/ 508635 w 584835"/>
                  <a:gd name="connsiteY13" fmla="*/ 88583 h 835342"/>
                  <a:gd name="connsiteX14" fmla="*/ 314325 w 584835"/>
                  <a:gd name="connsiteY14" fmla="*/ 0 h 835342"/>
                  <a:gd name="connsiteX15" fmla="*/ 291465 w 584835"/>
                  <a:gd name="connsiteY15" fmla="*/ 515303 h 835342"/>
                  <a:gd name="connsiteX16" fmla="*/ 172403 w 584835"/>
                  <a:gd name="connsiteY16" fmla="*/ 457200 h 835342"/>
                  <a:gd name="connsiteX17" fmla="*/ 130493 w 584835"/>
                  <a:gd name="connsiteY17" fmla="*/ 320040 h 835342"/>
                  <a:gd name="connsiteX18" fmla="*/ 174308 w 584835"/>
                  <a:gd name="connsiteY18" fmla="*/ 180023 h 835342"/>
                  <a:gd name="connsiteX19" fmla="*/ 295275 w 584835"/>
                  <a:gd name="connsiteY19" fmla="*/ 121920 h 835342"/>
                  <a:gd name="connsiteX20" fmla="*/ 409575 w 584835"/>
                  <a:gd name="connsiteY20" fmla="*/ 177165 h 835342"/>
                  <a:gd name="connsiteX21" fmla="*/ 453390 w 584835"/>
                  <a:gd name="connsiteY21" fmla="*/ 320992 h 835342"/>
                  <a:gd name="connsiteX22" fmla="*/ 291465 w 584835"/>
                  <a:gd name="connsiteY22" fmla="*/ 515303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4835" h="835342">
                    <a:moveTo>
                      <a:pt x="314325" y="0"/>
                    </a:moveTo>
                    <a:cubicBezTo>
                      <a:pt x="222885" y="0"/>
                      <a:pt x="155258" y="43815"/>
                      <a:pt x="114300" y="130492"/>
                    </a:cubicBezTo>
                    <a:lnTo>
                      <a:pt x="109538" y="130492"/>
                    </a:lnTo>
                    <a:lnTo>
                      <a:pt x="106680" y="16192"/>
                    </a:lnTo>
                    <a:lnTo>
                      <a:pt x="0" y="16192"/>
                    </a:lnTo>
                    <a:lnTo>
                      <a:pt x="0" y="835343"/>
                    </a:lnTo>
                    <a:lnTo>
                      <a:pt x="127635" y="835343"/>
                    </a:lnTo>
                    <a:lnTo>
                      <a:pt x="127635" y="509588"/>
                    </a:lnTo>
                    <a:lnTo>
                      <a:pt x="131445" y="509588"/>
                    </a:lnTo>
                    <a:cubicBezTo>
                      <a:pt x="147638" y="545783"/>
                      <a:pt x="169545" y="575310"/>
                      <a:pt x="196215" y="596265"/>
                    </a:cubicBezTo>
                    <a:cubicBezTo>
                      <a:pt x="230505" y="622935"/>
                      <a:pt x="272415" y="636270"/>
                      <a:pt x="320040" y="636270"/>
                    </a:cubicBezTo>
                    <a:cubicBezTo>
                      <a:pt x="393383" y="636270"/>
                      <a:pt x="460058" y="604838"/>
                      <a:pt x="508635" y="547688"/>
                    </a:cubicBezTo>
                    <a:cubicBezTo>
                      <a:pt x="558165" y="489585"/>
                      <a:pt x="584835" y="407670"/>
                      <a:pt x="584835" y="317183"/>
                    </a:cubicBezTo>
                    <a:cubicBezTo>
                      <a:pt x="584835" y="227648"/>
                      <a:pt x="557213" y="145733"/>
                      <a:pt x="508635" y="88583"/>
                    </a:cubicBezTo>
                    <a:cubicBezTo>
                      <a:pt x="460058" y="32385"/>
                      <a:pt x="390525" y="0"/>
                      <a:pt x="314325" y="0"/>
                    </a:cubicBezTo>
                    <a:close/>
                    <a:moveTo>
                      <a:pt x="291465" y="515303"/>
                    </a:moveTo>
                    <a:cubicBezTo>
                      <a:pt x="242888" y="515303"/>
                      <a:pt x="200978" y="495300"/>
                      <a:pt x="172403" y="457200"/>
                    </a:cubicBezTo>
                    <a:cubicBezTo>
                      <a:pt x="145733" y="421958"/>
                      <a:pt x="130493" y="373380"/>
                      <a:pt x="130493" y="320040"/>
                    </a:cubicBezTo>
                    <a:cubicBezTo>
                      <a:pt x="130493" y="265748"/>
                      <a:pt x="145733" y="216217"/>
                      <a:pt x="174308" y="180023"/>
                    </a:cubicBezTo>
                    <a:cubicBezTo>
                      <a:pt x="203835" y="141923"/>
                      <a:pt x="245745" y="121920"/>
                      <a:pt x="295275" y="121920"/>
                    </a:cubicBezTo>
                    <a:cubicBezTo>
                      <a:pt x="340995" y="121920"/>
                      <a:pt x="381000" y="140970"/>
                      <a:pt x="409575" y="177165"/>
                    </a:cubicBezTo>
                    <a:cubicBezTo>
                      <a:pt x="438150" y="213360"/>
                      <a:pt x="453390" y="262890"/>
                      <a:pt x="453390" y="320992"/>
                    </a:cubicBezTo>
                    <a:cubicBezTo>
                      <a:pt x="452438" y="437198"/>
                      <a:pt x="387668" y="515303"/>
                      <a:pt x="291465" y="515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3" name="Forma libre 52">
                <a:extLst>
                  <a:ext uri="{FF2B5EF4-FFF2-40B4-BE49-F238E27FC236}">
                    <a16:creationId xmlns:a16="http://schemas.microsoft.com/office/drawing/2014/main" id="{A3680C39-C6DC-13B3-904C-5FB612F31176}"/>
                  </a:ext>
                </a:extLst>
              </p:cNvPr>
              <p:cNvSpPr/>
              <p:nvPr/>
            </p:nvSpPr>
            <p:spPr>
              <a:xfrm>
                <a:off x="5178742" y="3127057"/>
                <a:ext cx="320992" cy="603884"/>
              </a:xfrm>
              <a:custGeom>
                <a:avLst/>
                <a:gdLst>
                  <a:gd name="connsiteX0" fmla="*/ 120967 w 320992"/>
                  <a:gd name="connsiteY0" fmla="*/ 109538 h 603884"/>
                  <a:gd name="connsiteX1" fmla="*/ 117158 w 320992"/>
                  <a:gd name="connsiteY1" fmla="*/ 109538 h 603884"/>
                  <a:gd name="connsiteX2" fmla="*/ 109538 w 320992"/>
                  <a:gd name="connsiteY2" fmla="*/ 952 h 603884"/>
                  <a:gd name="connsiteX3" fmla="*/ 0 w 320992"/>
                  <a:gd name="connsiteY3" fmla="*/ 952 h 603884"/>
                  <a:gd name="connsiteX4" fmla="*/ 0 w 320992"/>
                  <a:gd name="connsiteY4" fmla="*/ 603885 h 603884"/>
                  <a:gd name="connsiteX5" fmla="*/ 130492 w 320992"/>
                  <a:gd name="connsiteY5" fmla="*/ 603885 h 603884"/>
                  <a:gd name="connsiteX6" fmla="*/ 130492 w 320992"/>
                  <a:gd name="connsiteY6" fmla="*/ 255270 h 603884"/>
                  <a:gd name="connsiteX7" fmla="*/ 237173 w 320992"/>
                  <a:gd name="connsiteY7" fmla="*/ 141922 h 603884"/>
                  <a:gd name="connsiteX8" fmla="*/ 320992 w 320992"/>
                  <a:gd name="connsiteY8" fmla="*/ 141922 h 603884"/>
                  <a:gd name="connsiteX9" fmla="*/ 320992 w 320992"/>
                  <a:gd name="connsiteY9" fmla="*/ 0 h 603884"/>
                  <a:gd name="connsiteX10" fmla="*/ 279083 w 320992"/>
                  <a:gd name="connsiteY10" fmla="*/ 0 h 603884"/>
                  <a:gd name="connsiteX11" fmla="*/ 120967 w 320992"/>
                  <a:gd name="connsiteY11" fmla="*/ 109538 h 60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992" h="603884">
                    <a:moveTo>
                      <a:pt x="120967" y="109538"/>
                    </a:moveTo>
                    <a:lnTo>
                      <a:pt x="117158" y="109538"/>
                    </a:lnTo>
                    <a:lnTo>
                      <a:pt x="109538" y="952"/>
                    </a:lnTo>
                    <a:lnTo>
                      <a:pt x="0" y="952"/>
                    </a:lnTo>
                    <a:lnTo>
                      <a:pt x="0" y="603885"/>
                    </a:lnTo>
                    <a:lnTo>
                      <a:pt x="130492" y="603885"/>
                    </a:lnTo>
                    <a:lnTo>
                      <a:pt x="130492" y="255270"/>
                    </a:lnTo>
                    <a:cubicBezTo>
                      <a:pt x="130492" y="176213"/>
                      <a:pt x="162878" y="141922"/>
                      <a:pt x="237173" y="141922"/>
                    </a:cubicBezTo>
                    <a:lnTo>
                      <a:pt x="320992" y="141922"/>
                    </a:lnTo>
                    <a:lnTo>
                      <a:pt x="320992" y="0"/>
                    </a:lnTo>
                    <a:lnTo>
                      <a:pt x="279083" y="0"/>
                    </a:lnTo>
                    <a:cubicBezTo>
                      <a:pt x="195263" y="0"/>
                      <a:pt x="142875" y="36195"/>
                      <a:pt x="120967" y="109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4" name="Forma libre 53">
                <a:extLst>
                  <a:ext uri="{FF2B5EF4-FFF2-40B4-BE49-F238E27FC236}">
                    <a16:creationId xmlns:a16="http://schemas.microsoft.com/office/drawing/2014/main" id="{64DD3F2A-25F0-19AE-8EF7-36669FC51A9A}"/>
                  </a:ext>
                </a:extLst>
              </p:cNvPr>
              <p:cNvSpPr/>
              <p:nvPr/>
            </p:nvSpPr>
            <p:spPr>
              <a:xfrm>
                <a:off x="5528309" y="3108960"/>
                <a:ext cx="519112" cy="635317"/>
              </a:xfrm>
              <a:custGeom>
                <a:avLst/>
                <a:gdLst>
                  <a:gd name="connsiteX0" fmla="*/ 263843 w 519112"/>
                  <a:gd name="connsiteY0" fmla="*/ 102870 h 635317"/>
                  <a:gd name="connsiteX1" fmla="*/ 415290 w 519112"/>
                  <a:gd name="connsiteY1" fmla="*/ 206692 h 635317"/>
                  <a:gd name="connsiteX2" fmla="*/ 417195 w 519112"/>
                  <a:gd name="connsiteY2" fmla="*/ 211455 h 635317"/>
                  <a:gd name="connsiteX3" fmla="*/ 519113 w 519112"/>
                  <a:gd name="connsiteY3" fmla="*/ 173355 h 635317"/>
                  <a:gd name="connsiteX4" fmla="*/ 517208 w 519112"/>
                  <a:gd name="connsiteY4" fmla="*/ 168592 h 635317"/>
                  <a:gd name="connsiteX5" fmla="*/ 421005 w 519112"/>
                  <a:gd name="connsiteY5" fmla="*/ 43815 h 635317"/>
                  <a:gd name="connsiteX6" fmla="*/ 266700 w 519112"/>
                  <a:gd name="connsiteY6" fmla="*/ 0 h 635317"/>
                  <a:gd name="connsiteX7" fmla="*/ 118110 w 519112"/>
                  <a:gd name="connsiteY7" fmla="*/ 49530 h 635317"/>
                  <a:gd name="connsiteX8" fmla="*/ 49530 w 519112"/>
                  <a:gd name="connsiteY8" fmla="*/ 186690 h 635317"/>
                  <a:gd name="connsiteX9" fmla="*/ 104775 w 519112"/>
                  <a:gd name="connsiteY9" fmla="*/ 313373 h 635317"/>
                  <a:gd name="connsiteX10" fmla="*/ 239078 w 519112"/>
                  <a:gd name="connsiteY10" fmla="*/ 377190 h 635317"/>
                  <a:gd name="connsiteX11" fmla="*/ 252413 w 519112"/>
                  <a:gd name="connsiteY11" fmla="*/ 380048 h 635317"/>
                  <a:gd name="connsiteX12" fmla="*/ 347663 w 519112"/>
                  <a:gd name="connsiteY12" fmla="*/ 407670 h 635317"/>
                  <a:gd name="connsiteX13" fmla="*/ 385763 w 519112"/>
                  <a:gd name="connsiteY13" fmla="*/ 461010 h 635317"/>
                  <a:gd name="connsiteX14" fmla="*/ 274320 w 519112"/>
                  <a:gd name="connsiteY14" fmla="*/ 528638 h 635317"/>
                  <a:gd name="connsiteX15" fmla="*/ 97155 w 519112"/>
                  <a:gd name="connsiteY15" fmla="*/ 426720 h 635317"/>
                  <a:gd name="connsiteX16" fmla="*/ 94298 w 519112"/>
                  <a:gd name="connsiteY16" fmla="*/ 421957 h 635317"/>
                  <a:gd name="connsiteX17" fmla="*/ 0 w 519112"/>
                  <a:gd name="connsiteY17" fmla="*/ 473392 h 635317"/>
                  <a:gd name="connsiteX18" fmla="*/ 1905 w 519112"/>
                  <a:gd name="connsiteY18" fmla="*/ 478155 h 635317"/>
                  <a:gd name="connsiteX19" fmla="*/ 107633 w 519112"/>
                  <a:gd name="connsiteY19" fmla="*/ 593407 h 635317"/>
                  <a:gd name="connsiteX20" fmla="*/ 273368 w 519112"/>
                  <a:gd name="connsiteY20" fmla="*/ 635318 h 635317"/>
                  <a:gd name="connsiteX21" fmla="*/ 441960 w 519112"/>
                  <a:gd name="connsiteY21" fmla="*/ 589598 h 635317"/>
                  <a:gd name="connsiteX22" fmla="*/ 515303 w 519112"/>
                  <a:gd name="connsiteY22" fmla="*/ 457200 h 635317"/>
                  <a:gd name="connsiteX23" fmla="*/ 450533 w 519112"/>
                  <a:gd name="connsiteY23" fmla="*/ 334328 h 635317"/>
                  <a:gd name="connsiteX24" fmla="*/ 310515 w 519112"/>
                  <a:gd name="connsiteY24" fmla="*/ 278130 h 635317"/>
                  <a:gd name="connsiteX25" fmla="*/ 166688 w 519112"/>
                  <a:gd name="connsiteY25" fmla="*/ 179070 h 635317"/>
                  <a:gd name="connsiteX26" fmla="*/ 263843 w 519112"/>
                  <a:gd name="connsiteY26" fmla="*/ 102870 h 63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9112" h="635317">
                    <a:moveTo>
                      <a:pt x="263843" y="102870"/>
                    </a:moveTo>
                    <a:cubicBezTo>
                      <a:pt x="335280" y="102870"/>
                      <a:pt x="390525" y="140970"/>
                      <a:pt x="415290" y="206692"/>
                    </a:cubicBezTo>
                    <a:lnTo>
                      <a:pt x="417195" y="211455"/>
                    </a:lnTo>
                    <a:lnTo>
                      <a:pt x="519113" y="173355"/>
                    </a:lnTo>
                    <a:lnTo>
                      <a:pt x="517208" y="168592"/>
                    </a:lnTo>
                    <a:cubicBezTo>
                      <a:pt x="495300" y="115252"/>
                      <a:pt x="462915" y="73342"/>
                      <a:pt x="421005" y="43815"/>
                    </a:cubicBezTo>
                    <a:cubicBezTo>
                      <a:pt x="378143" y="14288"/>
                      <a:pt x="325755" y="0"/>
                      <a:pt x="266700" y="0"/>
                    </a:cubicBezTo>
                    <a:cubicBezTo>
                      <a:pt x="212408" y="0"/>
                      <a:pt x="158115" y="18098"/>
                      <a:pt x="118110" y="49530"/>
                    </a:cubicBezTo>
                    <a:cubicBezTo>
                      <a:pt x="74295" y="83820"/>
                      <a:pt x="49530" y="133350"/>
                      <a:pt x="49530" y="186690"/>
                    </a:cubicBezTo>
                    <a:cubicBezTo>
                      <a:pt x="49530" y="238125"/>
                      <a:pt x="68580" y="280988"/>
                      <a:pt x="104775" y="313373"/>
                    </a:cubicBezTo>
                    <a:cubicBezTo>
                      <a:pt x="136208" y="340995"/>
                      <a:pt x="180022" y="361950"/>
                      <a:pt x="239078" y="377190"/>
                    </a:cubicBezTo>
                    <a:cubicBezTo>
                      <a:pt x="243840" y="378142"/>
                      <a:pt x="247650" y="379095"/>
                      <a:pt x="252413" y="380048"/>
                    </a:cubicBezTo>
                    <a:cubicBezTo>
                      <a:pt x="288608" y="387667"/>
                      <a:pt x="322897" y="395288"/>
                      <a:pt x="347663" y="407670"/>
                    </a:cubicBezTo>
                    <a:cubicBezTo>
                      <a:pt x="373380" y="421005"/>
                      <a:pt x="385763" y="437198"/>
                      <a:pt x="385763" y="461010"/>
                    </a:cubicBezTo>
                    <a:cubicBezTo>
                      <a:pt x="385763" y="507682"/>
                      <a:pt x="329565" y="528638"/>
                      <a:pt x="274320" y="528638"/>
                    </a:cubicBezTo>
                    <a:cubicBezTo>
                      <a:pt x="200978" y="528638"/>
                      <a:pt x="133350" y="489585"/>
                      <a:pt x="97155" y="426720"/>
                    </a:cubicBezTo>
                    <a:lnTo>
                      <a:pt x="94298" y="421957"/>
                    </a:lnTo>
                    <a:lnTo>
                      <a:pt x="0" y="473392"/>
                    </a:lnTo>
                    <a:lnTo>
                      <a:pt x="1905" y="478155"/>
                    </a:lnTo>
                    <a:cubicBezTo>
                      <a:pt x="23813" y="525780"/>
                      <a:pt x="60960" y="565785"/>
                      <a:pt x="107633" y="593407"/>
                    </a:cubicBezTo>
                    <a:cubicBezTo>
                      <a:pt x="155258" y="621030"/>
                      <a:pt x="212408" y="635318"/>
                      <a:pt x="273368" y="635318"/>
                    </a:cubicBezTo>
                    <a:cubicBezTo>
                      <a:pt x="339090" y="635318"/>
                      <a:pt x="398145" y="619125"/>
                      <a:pt x="441960" y="589598"/>
                    </a:cubicBezTo>
                    <a:cubicBezTo>
                      <a:pt x="489585" y="557213"/>
                      <a:pt x="515303" y="511492"/>
                      <a:pt x="515303" y="457200"/>
                    </a:cubicBezTo>
                    <a:cubicBezTo>
                      <a:pt x="516255" y="405765"/>
                      <a:pt x="494347" y="364807"/>
                      <a:pt x="450533" y="334328"/>
                    </a:cubicBezTo>
                    <a:cubicBezTo>
                      <a:pt x="409575" y="305753"/>
                      <a:pt x="354330" y="288607"/>
                      <a:pt x="310515" y="278130"/>
                    </a:cubicBezTo>
                    <a:cubicBezTo>
                      <a:pt x="242888" y="259080"/>
                      <a:pt x="166688" y="238125"/>
                      <a:pt x="166688" y="179070"/>
                    </a:cubicBezTo>
                    <a:cubicBezTo>
                      <a:pt x="168593" y="141923"/>
                      <a:pt x="203835" y="102870"/>
                      <a:pt x="263843" y="102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5" name="Forma libre 54">
                <a:extLst>
                  <a:ext uri="{FF2B5EF4-FFF2-40B4-BE49-F238E27FC236}">
                    <a16:creationId xmlns:a16="http://schemas.microsoft.com/office/drawing/2014/main" id="{2768CCC7-BAE9-4729-3C11-0ECDFE56D1B4}"/>
                  </a:ext>
                </a:extLst>
              </p:cNvPr>
              <p:cNvSpPr/>
              <p:nvPr/>
            </p:nvSpPr>
            <p:spPr>
              <a:xfrm>
                <a:off x="6831330" y="3111817"/>
                <a:ext cx="528637" cy="620077"/>
              </a:xfrm>
              <a:custGeom>
                <a:avLst/>
                <a:gdLst>
                  <a:gd name="connsiteX0" fmla="*/ 325755 w 528637"/>
                  <a:gd name="connsiteY0" fmla="*/ 0 h 620077"/>
                  <a:gd name="connsiteX1" fmla="*/ 201930 w 528637"/>
                  <a:gd name="connsiteY1" fmla="*/ 39053 h 620077"/>
                  <a:gd name="connsiteX2" fmla="*/ 126682 w 528637"/>
                  <a:gd name="connsiteY2" fmla="*/ 130493 h 620077"/>
                  <a:gd name="connsiteX3" fmla="*/ 120967 w 528637"/>
                  <a:gd name="connsiteY3" fmla="*/ 130493 h 620077"/>
                  <a:gd name="connsiteX4" fmla="*/ 120967 w 528637"/>
                  <a:gd name="connsiteY4" fmla="*/ 16193 h 620077"/>
                  <a:gd name="connsiteX5" fmla="*/ 0 w 528637"/>
                  <a:gd name="connsiteY5" fmla="*/ 16193 h 620077"/>
                  <a:gd name="connsiteX6" fmla="*/ 0 w 528637"/>
                  <a:gd name="connsiteY6" fmla="*/ 619125 h 620077"/>
                  <a:gd name="connsiteX7" fmla="*/ 131445 w 528637"/>
                  <a:gd name="connsiteY7" fmla="*/ 619125 h 620077"/>
                  <a:gd name="connsiteX8" fmla="*/ 131445 w 528637"/>
                  <a:gd name="connsiteY8" fmla="*/ 282893 h 620077"/>
                  <a:gd name="connsiteX9" fmla="*/ 166688 w 528637"/>
                  <a:gd name="connsiteY9" fmla="*/ 179070 h 620077"/>
                  <a:gd name="connsiteX10" fmla="*/ 282892 w 528637"/>
                  <a:gd name="connsiteY10" fmla="*/ 114300 h 620077"/>
                  <a:gd name="connsiteX11" fmla="*/ 371475 w 528637"/>
                  <a:gd name="connsiteY11" fmla="*/ 150495 h 620077"/>
                  <a:gd name="connsiteX12" fmla="*/ 398145 w 528637"/>
                  <a:gd name="connsiteY12" fmla="*/ 258128 h 620077"/>
                  <a:gd name="connsiteX13" fmla="*/ 398145 w 528637"/>
                  <a:gd name="connsiteY13" fmla="*/ 620078 h 620077"/>
                  <a:gd name="connsiteX14" fmla="*/ 528638 w 528637"/>
                  <a:gd name="connsiteY14" fmla="*/ 620078 h 620077"/>
                  <a:gd name="connsiteX15" fmla="*/ 528638 w 528637"/>
                  <a:gd name="connsiteY15" fmla="*/ 240983 h 620077"/>
                  <a:gd name="connsiteX16" fmla="*/ 477202 w 528637"/>
                  <a:gd name="connsiteY16" fmla="*/ 64770 h 620077"/>
                  <a:gd name="connsiteX17" fmla="*/ 325755 w 528637"/>
                  <a:gd name="connsiteY17" fmla="*/ 0 h 62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28637" h="620077">
                    <a:moveTo>
                      <a:pt x="325755" y="0"/>
                    </a:moveTo>
                    <a:cubicBezTo>
                      <a:pt x="280035" y="0"/>
                      <a:pt x="237172" y="13335"/>
                      <a:pt x="201930" y="39053"/>
                    </a:cubicBezTo>
                    <a:cubicBezTo>
                      <a:pt x="169545" y="61913"/>
                      <a:pt x="143827" y="93345"/>
                      <a:pt x="126682" y="130493"/>
                    </a:cubicBezTo>
                    <a:lnTo>
                      <a:pt x="120967" y="130493"/>
                    </a:lnTo>
                    <a:lnTo>
                      <a:pt x="120967" y="16193"/>
                    </a:lnTo>
                    <a:lnTo>
                      <a:pt x="0" y="16193"/>
                    </a:lnTo>
                    <a:lnTo>
                      <a:pt x="0" y="619125"/>
                    </a:lnTo>
                    <a:lnTo>
                      <a:pt x="131445" y="619125"/>
                    </a:lnTo>
                    <a:lnTo>
                      <a:pt x="131445" y="282893"/>
                    </a:lnTo>
                    <a:cubicBezTo>
                      <a:pt x="131445" y="257175"/>
                      <a:pt x="141922" y="215265"/>
                      <a:pt x="166688" y="179070"/>
                    </a:cubicBezTo>
                    <a:cubicBezTo>
                      <a:pt x="186690" y="149543"/>
                      <a:pt x="222885" y="114300"/>
                      <a:pt x="282892" y="114300"/>
                    </a:cubicBezTo>
                    <a:cubicBezTo>
                      <a:pt x="323850" y="114300"/>
                      <a:pt x="352425" y="125730"/>
                      <a:pt x="371475" y="150495"/>
                    </a:cubicBezTo>
                    <a:cubicBezTo>
                      <a:pt x="389572" y="174308"/>
                      <a:pt x="398145" y="208598"/>
                      <a:pt x="398145" y="258128"/>
                    </a:cubicBezTo>
                    <a:lnTo>
                      <a:pt x="398145" y="620078"/>
                    </a:lnTo>
                    <a:lnTo>
                      <a:pt x="528638" y="620078"/>
                    </a:lnTo>
                    <a:lnTo>
                      <a:pt x="528638" y="240983"/>
                    </a:lnTo>
                    <a:cubicBezTo>
                      <a:pt x="528638" y="165735"/>
                      <a:pt x="511492" y="106680"/>
                      <a:pt x="477202" y="64770"/>
                    </a:cubicBezTo>
                    <a:cubicBezTo>
                      <a:pt x="442913" y="21908"/>
                      <a:pt x="391477" y="0"/>
                      <a:pt x="32575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6" name="Forma libre 55">
                <a:extLst>
                  <a:ext uri="{FF2B5EF4-FFF2-40B4-BE49-F238E27FC236}">
                    <a16:creationId xmlns:a16="http://schemas.microsoft.com/office/drawing/2014/main" id="{506BA0C8-B3CE-5BC2-4365-01806164CD9C}"/>
                  </a:ext>
                </a:extLst>
              </p:cNvPr>
              <p:cNvSpPr/>
              <p:nvPr/>
            </p:nvSpPr>
            <p:spPr>
              <a:xfrm>
                <a:off x="7456169" y="3110864"/>
                <a:ext cx="580072" cy="634364"/>
              </a:xfrm>
              <a:custGeom>
                <a:avLst/>
                <a:gdLst>
                  <a:gd name="connsiteX0" fmla="*/ 519113 w 580072"/>
                  <a:gd name="connsiteY0" fmla="*/ 501015 h 634364"/>
                  <a:gd name="connsiteX1" fmla="*/ 519113 w 580072"/>
                  <a:gd name="connsiteY1" fmla="*/ 229552 h 634364"/>
                  <a:gd name="connsiteX2" fmla="*/ 457200 w 580072"/>
                  <a:gd name="connsiteY2" fmla="*/ 64770 h 634364"/>
                  <a:gd name="connsiteX3" fmla="*/ 281940 w 580072"/>
                  <a:gd name="connsiteY3" fmla="*/ 0 h 634364"/>
                  <a:gd name="connsiteX4" fmla="*/ 5715 w 580072"/>
                  <a:gd name="connsiteY4" fmla="*/ 180975 h 634364"/>
                  <a:gd name="connsiteX5" fmla="*/ 3810 w 580072"/>
                  <a:gd name="connsiteY5" fmla="*/ 185738 h 634364"/>
                  <a:gd name="connsiteX6" fmla="*/ 117158 w 580072"/>
                  <a:gd name="connsiteY6" fmla="*/ 239077 h 634364"/>
                  <a:gd name="connsiteX7" fmla="*/ 119063 w 580072"/>
                  <a:gd name="connsiteY7" fmla="*/ 234315 h 634364"/>
                  <a:gd name="connsiteX8" fmla="*/ 270510 w 580072"/>
                  <a:gd name="connsiteY8" fmla="*/ 121920 h 634364"/>
                  <a:gd name="connsiteX9" fmla="*/ 387668 w 580072"/>
                  <a:gd name="connsiteY9" fmla="*/ 225743 h 634364"/>
                  <a:gd name="connsiteX10" fmla="*/ 387668 w 580072"/>
                  <a:gd name="connsiteY10" fmla="*/ 268605 h 634364"/>
                  <a:gd name="connsiteX11" fmla="*/ 249555 w 580072"/>
                  <a:gd name="connsiteY11" fmla="*/ 268605 h 634364"/>
                  <a:gd name="connsiteX12" fmla="*/ 0 w 580072"/>
                  <a:gd name="connsiteY12" fmla="*/ 461963 h 634364"/>
                  <a:gd name="connsiteX13" fmla="*/ 56198 w 580072"/>
                  <a:gd name="connsiteY13" fmla="*/ 588645 h 634364"/>
                  <a:gd name="connsiteX14" fmla="*/ 191453 w 580072"/>
                  <a:gd name="connsiteY14" fmla="*/ 634365 h 634364"/>
                  <a:gd name="connsiteX15" fmla="*/ 324803 w 580072"/>
                  <a:gd name="connsiteY15" fmla="*/ 593407 h 634364"/>
                  <a:gd name="connsiteX16" fmla="*/ 406718 w 580072"/>
                  <a:gd name="connsiteY16" fmla="*/ 495300 h 634364"/>
                  <a:gd name="connsiteX17" fmla="*/ 411480 w 580072"/>
                  <a:gd name="connsiteY17" fmla="*/ 495300 h 634364"/>
                  <a:gd name="connsiteX18" fmla="*/ 410528 w 580072"/>
                  <a:gd name="connsiteY18" fmla="*/ 527685 h 634364"/>
                  <a:gd name="connsiteX19" fmla="*/ 495300 w 580072"/>
                  <a:gd name="connsiteY19" fmla="*/ 619125 h 634364"/>
                  <a:gd name="connsiteX20" fmla="*/ 580073 w 580072"/>
                  <a:gd name="connsiteY20" fmla="*/ 619125 h 634364"/>
                  <a:gd name="connsiteX21" fmla="*/ 580073 w 580072"/>
                  <a:gd name="connsiteY21" fmla="*/ 516255 h 634364"/>
                  <a:gd name="connsiteX22" fmla="*/ 529590 w 580072"/>
                  <a:gd name="connsiteY22" fmla="*/ 516255 h 634364"/>
                  <a:gd name="connsiteX23" fmla="*/ 519113 w 580072"/>
                  <a:gd name="connsiteY23" fmla="*/ 501015 h 634364"/>
                  <a:gd name="connsiteX24" fmla="*/ 325755 w 580072"/>
                  <a:gd name="connsiteY24" fmla="*/ 476250 h 634364"/>
                  <a:gd name="connsiteX25" fmla="*/ 227648 w 580072"/>
                  <a:gd name="connsiteY25" fmla="*/ 517208 h 634364"/>
                  <a:gd name="connsiteX26" fmla="*/ 160973 w 580072"/>
                  <a:gd name="connsiteY26" fmla="*/ 500063 h 634364"/>
                  <a:gd name="connsiteX27" fmla="*/ 134303 w 580072"/>
                  <a:gd name="connsiteY27" fmla="*/ 453390 h 634364"/>
                  <a:gd name="connsiteX28" fmla="*/ 180023 w 580072"/>
                  <a:gd name="connsiteY28" fmla="*/ 395288 h 634364"/>
                  <a:gd name="connsiteX29" fmla="*/ 292418 w 580072"/>
                  <a:gd name="connsiteY29" fmla="*/ 377190 h 634364"/>
                  <a:gd name="connsiteX30" fmla="*/ 388620 w 580072"/>
                  <a:gd name="connsiteY30" fmla="*/ 377190 h 634364"/>
                  <a:gd name="connsiteX31" fmla="*/ 325755 w 580072"/>
                  <a:gd name="connsiteY31" fmla="*/ 476250 h 63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0072" h="634364">
                    <a:moveTo>
                      <a:pt x="519113" y="501015"/>
                    </a:moveTo>
                    <a:lnTo>
                      <a:pt x="519113" y="229552"/>
                    </a:lnTo>
                    <a:cubicBezTo>
                      <a:pt x="519113" y="162877"/>
                      <a:pt x="498158" y="105727"/>
                      <a:pt x="457200" y="64770"/>
                    </a:cubicBezTo>
                    <a:cubicBezTo>
                      <a:pt x="415290" y="22860"/>
                      <a:pt x="355283" y="0"/>
                      <a:pt x="281940" y="0"/>
                    </a:cubicBezTo>
                    <a:cubicBezTo>
                      <a:pt x="151448" y="0"/>
                      <a:pt x="60960" y="59055"/>
                      <a:pt x="5715" y="180975"/>
                    </a:cubicBezTo>
                    <a:lnTo>
                      <a:pt x="3810" y="185738"/>
                    </a:lnTo>
                    <a:lnTo>
                      <a:pt x="117158" y="239077"/>
                    </a:lnTo>
                    <a:lnTo>
                      <a:pt x="119063" y="234315"/>
                    </a:lnTo>
                    <a:cubicBezTo>
                      <a:pt x="150495" y="167640"/>
                      <a:pt x="211455" y="121920"/>
                      <a:pt x="270510" y="121920"/>
                    </a:cubicBezTo>
                    <a:cubicBezTo>
                      <a:pt x="337185" y="121920"/>
                      <a:pt x="387668" y="166688"/>
                      <a:pt x="387668" y="225743"/>
                    </a:cubicBezTo>
                    <a:lnTo>
                      <a:pt x="387668" y="268605"/>
                    </a:lnTo>
                    <a:lnTo>
                      <a:pt x="249555" y="268605"/>
                    </a:lnTo>
                    <a:cubicBezTo>
                      <a:pt x="95250" y="268605"/>
                      <a:pt x="0" y="342900"/>
                      <a:pt x="0" y="461963"/>
                    </a:cubicBezTo>
                    <a:cubicBezTo>
                      <a:pt x="0" y="513398"/>
                      <a:pt x="19050" y="558165"/>
                      <a:pt x="56198" y="588645"/>
                    </a:cubicBezTo>
                    <a:cubicBezTo>
                      <a:pt x="90488" y="618173"/>
                      <a:pt x="138113" y="634365"/>
                      <a:pt x="191453" y="634365"/>
                    </a:cubicBezTo>
                    <a:cubicBezTo>
                      <a:pt x="240030" y="634365"/>
                      <a:pt x="286703" y="620078"/>
                      <a:pt x="324803" y="593407"/>
                    </a:cubicBezTo>
                    <a:cubicBezTo>
                      <a:pt x="360045" y="569595"/>
                      <a:pt x="387668" y="535305"/>
                      <a:pt x="406718" y="495300"/>
                    </a:cubicBezTo>
                    <a:lnTo>
                      <a:pt x="411480" y="495300"/>
                    </a:lnTo>
                    <a:lnTo>
                      <a:pt x="410528" y="527685"/>
                    </a:lnTo>
                    <a:cubicBezTo>
                      <a:pt x="410528" y="587693"/>
                      <a:pt x="440055" y="619125"/>
                      <a:pt x="495300" y="619125"/>
                    </a:cubicBezTo>
                    <a:lnTo>
                      <a:pt x="580073" y="619125"/>
                    </a:lnTo>
                    <a:lnTo>
                      <a:pt x="580073" y="516255"/>
                    </a:lnTo>
                    <a:lnTo>
                      <a:pt x="529590" y="516255"/>
                    </a:lnTo>
                    <a:cubicBezTo>
                      <a:pt x="521018" y="517208"/>
                      <a:pt x="519113" y="508635"/>
                      <a:pt x="519113" y="501015"/>
                    </a:cubicBezTo>
                    <a:close/>
                    <a:moveTo>
                      <a:pt x="325755" y="476250"/>
                    </a:moveTo>
                    <a:cubicBezTo>
                      <a:pt x="294323" y="501015"/>
                      <a:pt x="255270" y="517208"/>
                      <a:pt x="227648" y="517208"/>
                    </a:cubicBezTo>
                    <a:cubicBezTo>
                      <a:pt x="201930" y="517208"/>
                      <a:pt x="178118" y="511493"/>
                      <a:pt x="160973" y="500063"/>
                    </a:cubicBezTo>
                    <a:cubicBezTo>
                      <a:pt x="142875" y="488633"/>
                      <a:pt x="134303" y="472440"/>
                      <a:pt x="134303" y="453390"/>
                    </a:cubicBezTo>
                    <a:cubicBezTo>
                      <a:pt x="134303" y="427673"/>
                      <a:pt x="149543" y="408623"/>
                      <a:pt x="180023" y="395288"/>
                    </a:cubicBezTo>
                    <a:cubicBezTo>
                      <a:pt x="207645" y="382905"/>
                      <a:pt x="246698" y="377190"/>
                      <a:pt x="292418" y="377190"/>
                    </a:cubicBezTo>
                    <a:lnTo>
                      <a:pt x="388620" y="377190"/>
                    </a:lnTo>
                    <a:cubicBezTo>
                      <a:pt x="382905" y="413385"/>
                      <a:pt x="360998" y="448628"/>
                      <a:pt x="325755" y="476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7" name="Forma libre 56">
                <a:extLst>
                  <a:ext uri="{FF2B5EF4-FFF2-40B4-BE49-F238E27FC236}">
                    <a16:creationId xmlns:a16="http://schemas.microsoft.com/office/drawing/2014/main" id="{099341D3-A69B-2ACE-5EAA-06F00B573A2E}"/>
                  </a:ext>
                </a:extLst>
              </p:cNvPr>
              <p:cNvSpPr/>
              <p:nvPr/>
            </p:nvSpPr>
            <p:spPr>
              <a:xfrm>
                <a:off x="8123872" y="2907982"/>
                <a:ext cx="233362" cy="823912"/>
              </a:xfrm>
              <a:custGeom>
                <a:avLst/>
                <a:gdLst>
                  <a:gd name="connsiteX0" fmla="*/ 147638 w 233362"/>
                  <a:gd name="connsiteY0" fmla="*/ 705803 h 823912"/>
                  <a:gd name="connsiteX1" fmla="*/ 134302 w 233362"/>
                  <a:gd name="connsiteY1" fmla="*/ 701993 h 823912"/>
                  <a:gd name="connsiteX2" fmla="*/ 130492 w 233362"/>
                  <a:gd name="connsiteY2" fmla="*/ 681990 h 823912"/>
                  <a:gd name="connsiteX3" fmla="*/ 130492 w 233362"/>
                  <a:gd name="connsiteY3" fmla="*/ 0 h 823912"/>
                  <a:gd name="connsiteX4" fmla="*/ 0 w 233362"/>
                  <a:gd name="connsiteY4" fmla="*/ 0 h 823912"/>
                  <a:gd name="connsiteX5" fmla="*/ 0 w 233362"/>
                  <a:gd name="connsiteY5" fmla="*/ 688658 h 823912"/>
                  <a:gd name="connsiteX6" fmla="*/ 27622 w 233362"/>
                  <a:gd name="connsiteY6" fmla="*/ 789623 h 823912"/>
                  <a:gd name="connsiteX7" fmla="*/ 107632 w 233362"/>
                  <a:gd name="connsiteY7" fmla="*/ 823913 h 823912"/>
                  <a:gd name="connsiteX8" fmla="*/ 233363 w 233362"/>
                  <a:gd name="connsiteY8" fmla="*/ 823913 h 823912"/>
                  <a:gd name="connsiteX9" fmla="*/ 233363 w 233362"/>
                  <a:gd name="connsiteY9" fmla="*/ 705803 h 823912"/>
                  <a:gd name="connsiteX10" fmla="*/ 147638 w 233362"/>
                  <a:gd name="connsiteY10" fmla="*/ 705803 h 82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362" h="823912">
                    <a:moveTo>
                      <a:pt x="147638" y="705803"/>
                    </a:moveTo>
                    <a:cubicBezTo>
                      <a:pt x="138113" y="705803"/>
                      <a:pt x="135255" y="703898"/>
                      <a:pt x="134302" y="701993"/>
                    </a:cubicBezTo>
                    <a:cubicBezTo>
                      <a:pt x="132397" y="699135"/>
                      <a:pt x="130492" y="692468"/>
                      <a:pt x="130492" y="681990"/>
                    </a:cubicBezTo>
                    <a:lnTo>
                      <a:pt x="130492" y="0"/>
                    </a:lnTo>
                    <a:lnTo>
                      <a:pt x="0" y="0"/>
                    </a:lnTo>
                    <a:lnTo>
                      <a:pt x="0" y="688658"/>
                    </a:lnTo>
                    <a:cubicBezTo>
                      <a:pt x="0" y="733425"/>
                      <a:pt x="9525" y="766763"/>
                      <a:pt x="27622" y="789623"/>
                    </a:cubicBezTo>
                    <a:cubicBezTo>
                      <a:pt x="45720" y="812483"/>
                      <a:pt x="72390" y="823913"/>
                      <a:pt x="107632" y="823913"/>
                    </a:cubicBezTo>
                    <a:lnTo>
                      <a:pt x="233363" y="823913"/>
                    </a:lnTo>
                    <a:lnTo>
                      <a:pt x="233363" y="705803"/>
                    </a:lnTo>
                    <a:lnTo>
                      <a:pt x="147638" y="7058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58" name="Rectángulo 57">
              <a:extLst>
                <a:ext uri="{FF2B5EF4-FFF2-40B4-BE49-F238E27FC236}">
                  <a16:creationId xmlns:a16="http://schemas.microsoft.com/office/drawing/2014/main" id="{49314922-FE46-A996-119D-9E04FF875F66}"/>
                </a:ext>
              </a:extLst>
            </p:cNvPr>
            <p:cNvSpPr/>
            <p:nvPr/>
          </p:nvSpPr>
          <p:spPr>
            <a:xfrm>
              <a:off x="257485" y="4831799"/>
              <a:ext cx="1163588" cy="10464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l">
                <a:lnSpc>
                  <a:spcPct val="85000"/>
                </a:lnSpc>
              </a:pPr>
              <a:r>
                <a:rPr lang="es-ES_tradnl" sz="800" b="0" i="0" spc="-7" noProof="0">
                  <a:solidFill>
                    <a:schemeClr val="tx2"/>
                  </a:solidFill>
                  <a:latin typeface="Pulso Light" pitchFamily="2" charset="0"/>
                  <a:ea typeface="Inter Light BETA" panose="020B0402030000000004" pitchFamily="34" charset="0"/>
                </a:rPr>
                <a:t>Estrategia</a:t>
              </a:r>
              <a:r>
                <a:rPr lang="es-ES_tradnl" sz="800" b="0" i="0" spc="-7" noProof="0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  <a:t>  </a:t>
              </a:r>
              <a:r>
                <a:rPr lang="es-ES_tradnl" sz="800" b="1" i="0" spc="-7" noProof="0">
                  <a:solidFill>
                    <a:schemeClr val="tx2"/>
                  </a:solidFill>
                  <a:latin typeface="Pulso" pitchFamily="2" charset="0"/>
                  <a:ea typeface="Inter Light BETA" panose="020B0402030000000004" pitchFamily="34" charset="0"/>
                </a:rPr>
                <a:t>2026  ·  2030</a:t>
              </a:r>
              <a:endParaRPr lang="es-ES_tradnl" sz="800" b="1" i="0" spc="-7" noProof="0">
                <a:solidFill>
                  <a:schemeClr val="tx2"/>
                </a:solidFill>
                <a:latin typeface="Pulso" pitchFamily="2" charset="0"/>
                <a:ea typeface="Inter Extra Bold" panose="020B0502030000000004" pitchFamily="34" charset="0"/>
              </a:endParaRPr>
            </a:p>
          </p:txBody>
        </p:sp>
      </p:grpSp>
      <p:sp>
        <p:nvSpPr>
          <p:cNvPr id="22" name="Marcador de texto 8">
            <a:extLst>
              <a:ext uri="{FF2B5EF4-FFF2-40B4-BE49-F238E27FC236}">
                <a16:creationId xmlns:a16="http://schemas.microsoft.com/office/drawing/2014/main" id="{776C2983-2366-361A-F9F4-80F10AF37135}"/>
              </a:ext>
            </a:extLst>
          </p:cNvPr>
          <p:cNvSpPr txBox="1">
            <a:spLocks/>
          </p:cNvSpPr>
          <p:nvPr/>
        </p:nvSpPr>
        <p:spPr>
          <a:xfrm>
            <a:off x="1234837" y="1573440"/>
            <a:ext cx="3250189" cy="137935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ES" sz="1400" spc="-15">
                <a:latin typeface="Pulso Light" pitchFamily="2" charset="0"/>
                <a:ea typeface="Open Sans Light"/>
                <a:cs typeface="Open Sans Light"/>
              </a:rPr>
              <a:t>Optimizar la estructura entre deuda y patrimonio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>
                <a:schemeClr val="bg2"/>
              </a:buClr>
              <a:buFont typeface="Tipo de letra del sistema regular"/>
              <a:buChar char="●"/>
            </a:pPr>
            <a:r>
              <a:rPr lang="es-ES" sz="1400" spc="-15">
                <a:latin typeface="Pulso Light" pitchFamily="2" charset="0"/>
                <a:ea typeface="Open Sans Light"/>
                <a:cs typeface="Open Sans Light"/>
              </a:rPr>
              <a:t>Mejorar ratios financieros claves: apalancamiento, cobertura de intereses, liquidez.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04488E5E-2A16-C51A-9C0B-464E1D83CE2B}"/>
              </a:ext>
            </a:extLst>
          </p:cNvPr>
          <p:cNvGrpSpPr/>
          <p:nvPr/>
        </p:nvGrpSpPr>
        <p:grpSpPr>
          <a:xfrm>
            <a:off x="540654" y="765704"/>
            <a:ext cx="549422" cy="550800"/>
            <a:chOff x="3955161" y="1943655"/>
            <a:chExt cx="1169097" cy="1167892"/>
          </a:xfrm>
        </p:grpSpPr>
        <p:sp>
          <p:nvSpPr>
            <p:cNvPr id="15" name="Forma libre 14">
              <a:extLst>
                <a:ext uri="{FF2B5EF4-FFF2-40B4-BE49-F238E27FC236}">
                  <a16:creationId xmlns:a16="http://schemas.microsoft.com/office/drawing/2014/main" id="{7A0A94AB-150E-F5D2-A95B-6190C99793EC}"/>
                </a:ext>
              </a:extLst>
            </p:cNvPr>
            <p:cNvSpPr/>
            <p:nvPr/>
          </p:nvSpPr>
          <p:spPr>
            <a:xfrm>
              <a:off x="4190142" y="2178081"/>
              <a:ext cx="699134" cy="699134"/>
            </a:xfrm>
            <a:custGeom>
              <a:avLst/>
              <a:gdLst>
                <a:gd name="connsiteX0" fmla="*/ 699135 w 699134"/>
                <a:gd name="connsiteY0" fmla="*/ 349567 h 699134"/>
                <a:gd name="connsiteX1" fmla="*/ 349568 w 699134"/>
                <a:gd name="connsiteY1" fmla="*/ 699135 h 699134"/>
                <a:gd name="connsiteX2" fmla="*/ 0 w 699134"/>
                <a:gd name="connsiteY2" fmla="*/ 349568 h 699134"/>
                <a:gd name="connsiteX3" fmla="*/ 349568 w 699134"/>
                <a:gd name="connsiteY3" fmla="*/ 0 h 699134"/>
                <a:gd name="connsiteX4" fmla="*/ 699135 w 699134"/>
                <a:gd name="connsiteY4" fmla="*/ 349567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34" h="699134">
                  <a:moveTo>
                    <a:pt x="699135" y="349567"/>
                  </a:moveTo>
                  <a:cubicBezTo>
                    <a:pt x="699135" y="542628"/>
                    <a:pt x="542628" y="699135"/>
                    <a:pt x="349568" y="699135"/>
                  </a:cubicBezTo>
                  <a:cubicBezTo>
                    <a:pt x="156507" y="699135"/>
                    <a:pt x="0" y="542628"/>
                    <a:pt x="0" y="349568"/>
                  </a:cubicBezTo>
                  <a:cubicBezTo>
                    <a:pt x="0" y="156507"/>
                    <a:pt x="156507" y="0"/>
                    <a:pt x="349568" y="0"/>
                  </a:cubicBezTo>
                  <a:cubicBezTo>
                    <a:pt x="542628" y="0"/>
                    <a:pt x="699135" y="156507"/>
                    <a:pt x="699135" y="34956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8930009A-835C-E5F2-81A2-7EE1578C1000}"/>
                </a:ext>
              </a:extLst>
            </p:cNvPr>
            <p:cNvSpPr/>
            <p:nvPr/>
          </p:nvSpPr>
          <p:spPr>
            <a:xfrm>
              <a:off x="4552759" y="2731320"/>
              <a:ext cx="481275" cy="380227"/>
            </a:xfrm>
            <a:custGeom>
              <a:avLst/>
              <a:gdLst>
                <a:gd name="connsiteX0" fmla="*/ 298704 w 481275"/>
                <a:gd name="connsiteY0" fmla="*/ 6070 h 380227"/>
                <a:gd name="connsiteX1" fmla="*/ 12764 w 481275"/>
                <a:gd name="connsiteY1" fmla="*/ 171138 h 380227"/>
                <a:gd name="connsiteX2" fmla="*/ 0 w 481275"/>
                <a:gd name="connsiteY2" fmla="*/ 184568 h 380227"/>
                <a:gd name="connsiteX3" fmla="*/ 0 w 481275"/>
                <a:gd name="connsiteY3" fmla="*/ 366686 h 380227"/>
                <a:gd name="connsiteX4" fmla="*/ 14002 w 481275"/>
                <a:gd name="connsiteY4" fmla="*/ 380212 h 380227"/>
                <a:gd name="connsiteX5" fmla="*/ 479203 w 481275"/>
                <a:gd name="connsiteY5" fmla="*/ 111892 h 380227"/>
                <a:gd name="connsiteX6" fmla="*/ 474535 w 481275"/>
                <a:gd name="connsiteY6" fmla="*/ 93033 h 380227"/>
                <a:gd name="connsiteX7" fmla="*/ 316611 w 481275"/>
                <a:gd name="connsiteY7" fmla="*/ 1879 h 380227"/>
                <a:gd name="connsiteX8" fmla="*/ 298704 w 481275"/>
                <a:gd name="connsiteY8" fmla="*/ 6070 h 38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27">
                  <a:moveTo>
                    <a:pt x="298704" y="6070"/>
                  </a:moveTo>
                  <a:cubicBezTo>
                    <a:pt x="235744" y="99510"/>
                    <a:pt x="131921" y="163041"/>
                    <a:pt x="12764" y="171138"/>
                  </a:cubicBezTo>
                  <a:cubicBezTo>
                    <a:pt x="5620" y="171614"/>
                    <a:pt x="0" y="177424"/>
                    <a:pt x="0" y="184568"/>
                  </a:cubicBezTo>
                  <a:lnTo>
                    <a:pt x="0" y="366686"/>
                  </a:lnTo>
                  <a:cubicBezTo>
                    <a:pt x="0" y="374306"/>
                    <a:pt x="6382" y="380592"/>
                    <a:pt x="14002" y="380212"/>
                  </a:cubicBezTo>
                  <a:cubicBezTo>
                    <a:pt x="209359" y="371258"/>
                    <a:pt x="379762" y="266578"/>
                    <a:pt x="479203" y="111892"/>
                  </a:cubicBezTo>
                  <a:cubicBezTo>
                    <a:pt x="483299" y="105510"/>
                    <a:pt x="481108" y="96843"/>
                    <a:pt x="474535" y="93033"/>
                  </a:cubicBezTo>
                  <a:lnTo>
                    <a:pt x="316611" y="1879"/>
                  </a:lnTo>
                  <a:cubicBezTo>
                    <a:pt x="310515" y="-1836"/>
                    <a:pt x="302705" y="164"/>
                    <a:pt x="298704" y="607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7" name="Forma libre 16">
              <a:extLst>
                <a:ext uri="{FF2B5EF4-FFF2-40B4-BE49-F238E27FC236}">
                  <a16:creationId xmlns:a16="http://schemas.microsoft.com/office/drawing/2014/main" id="{83D272BF-6537-47B2-B4A3-3C27D61C39BB}"/>
                </a:ext>
              </a:extLst>
            </p:cNvPr>
            <p:cNvSpPr/>
            <p:nvPr/>
          </p:nvSpPr>
          <p:spPr>
            <a:xfrm>
              <a:off x="4045385" y="1943655"/>
              <a:ext cx="481275" cy="380282"/>
            </a:xfrm>
            <a:custGeom>
              <a:avLst/>
              <a:gdLst>
                <a:gd name="connsiteX0" fmla="*/ 182571 w 481275"/>
                <a:gd name="connsiteY0" fmla="*/ 374158 h 380282"/>
                <a:gd name="connsiteX1" fmla="*/ 468512 w 481275"/>
                <a:gd name="connsiteY1" fmla="*/ 209090 h 380282"/>
                <a:gd name="connsiteX2" fmla="*/ 481275 w 481275"/>
                <a:gd name="connsiteY2" fmla="*/ 195660 h 380282"/>
                <a:gd name="connsiteX3" fmla="*/ 481275 w 481275"/>
                <a:gd name="connsiteY3" fmla="*/ 13542 h 380282"/>
                <a:gd name="connsiteX4" fmla="*/ 467274 w 481275"/>
                <a:gd name="connsiteY4" fmla="*/ 16 h 380282"/>
                <a:gd name="connsiteX5" fmla="*/ 2073 w 481275"/>
                <a:gd name="connsiteY5" fmla="*/ 268336 h 380282"/>
                <a:gd name="connsiteX6" fmla="*/ 6740 w 481275"/>
                <a:gd name="connsiteY6" fmla="*/ 287195 h 380282"/>
                <a:gd name="connsiteX7" fmla="*/ 164664 w 481275"/>
                <a:gd name="connsiteY7" fmla="*/ 378540 h 380282"/>
                <a:gd name="connsiteX8" fmla="*/ 182571 w 481275"/>
                <a:gd name="connsiteY8" fmla="*/ 374158 h 38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275" h="380282">
                  <a:moveTo>
                    <a:pt x="182571" y="374158"/>
                  </a:moveTo>
                  <a:cubicBezTo>
                    <a:pt x="245532" y="280718"/>
                    <a:pt x="349354" y="217186"/>
                    <a:pt x="468512" y="209090"/>
                  </a:cubicBezTo>
                  <a:cubicBezTo>
                    <a:pt x="475656" y="208614"/>
                    <a:pt x="481275" y="202804"/>
                    <a:pt x="481275" y="195660"/>
                  </a:cubicBezTo>
                  <a:lnTo>
                    <a:pt x="481275" y="13542"/>
                  </a:lnTo>
                  <a:cubicBezTo>
                    <a:pt x="481275" y="5922"/>
                    <a:pt x="474894" y="-364"/>
                    <a:pt x="467274" y="16"/>
                  </a:cubicBezTo>
                  <a:cubicBezTo>
                    <a:pt x="271916" y="8970"/>
                    <a:pt x="101514" y="113650"/>
                    <a:pt x="2073" y="268336"/>
                  </a:cubicBezTo>
                  <a:cubicBezTo>
                    <a:pt x="-2023" y="274717"/>
                    <a:pt x="168" y="283385"/>
                    <a:pt x="6740" y="287195"/>
                  </a:cubicBezTo>
                  <a:lnTo>
                    <a:pt x="164664" y="378540"/>
                  </a:lnTo>
                  <a:cubicBezTo>
                    <a:pt x="170856" y="382064"/>
                    <a:pt x="178571" y="380064"/>
                    <a:pt x="182571" y="374158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8" name="Forma libre 17">
              <a:extLst>
                <a:ext uri="{FF2B5EF4-FFF2-40B4-BE49-F238E27FC236}">
                  <a16:creationId xmlns:a16="http://schemas.microsoft.com/office/drawing/2014/main" id="{BC724DFC-712B-5EDB-8A5A-81425931CB22}"/>
                </a:ext>
              </a:extLst>
            </p:cNvPr>
            <p:cNvSpPr/>
            <p:nvPr/>
          </p:nvSpPr>
          <p:spPr>
            <a:xfrm>
              <a:off x="4875850" y="2251895"/>
              <a:ext cx="248408" cy="551508"/>
            </a:xfrm>
            <a:custGeom>
              <a:avLst/>
              <a:gdLst>
                <a:gd name="connsiteX0" fmla="*/ 164493 w 248408"/>
                <a:gd name="connsiteY0" fmla="*/ 549693 h 551508"/>
                <a:gd name="connsiteX1" fmla="*/ 183162 w 248408"/>
                <a:gd name="connsiteY1" fmla="*/ 544359 h 551508"/>
                <a:gd name="connsiteX2" fmla="*/ 248409 w 248408"/>
                <a:gd name="connsiteY2" fmla="*/ 275754 h 551508"/>
                <a:gd name="connsiteX3" fmla="*/ 183162 w 248408"/>
                <a:gd name="connsiteY3" fmla="*/ 7149 h 551508"/>
                <a:gd name="connsiteX4" fmla="*/ 164493 w 248408"/>
                <a:gd name="connsiteY4" fmla="*/ 1815 h 551508"/>
                <a:gd name="connsiteX5" fmla="*/ 6664 w 248408"/>
                <a:gd name="connsiteY5" fmla="*/ 92969 h 551508"/>
                <a:gd name="connsiteX6" fmla="*/ 1425 w 248408"/>
                <a:gd name="connsiteY6" fmla="*/ 110686 h 551508"/>
                <a:gd name="connsiteX7" fmla="*/ 39621 w 248408"/>
                <a:gd name="connsiteY7" fmla="*/ 275754 h 551508"/>
                <a:gd name="connsiteX8" fmla="*/ 1425 w 248408"/>
                <a:gd name="connsiteY8" fmla="*/ 440822 h 551508"/>
                <a:gd name="connsiteX9" fmla="*/ 6664 w 248408"/>
                <a:gd name="connsiteY9" fmla="*/ 458539 h 551508"/>
                <a:gd name="connsiteX10" fmla="*/ 164493 w 248408"/>
                <a:gd name="connsiteY10" fmla="*/ 549693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164493" y="549693"/>
                  </a:moveTo>
                  <a:cubicBezTo>
                    <a:pt x="171065" y="553503"/>
                    <a:pt x="179638" y="551122"/>
                    <a:pt x="183162" y="544359"/>
                  </a:cubicBezTo>
                  <a:cubicBezTo>
                    <a:pt x="224882" y="463968"/>
                    <a:pt x="248409" y="372623"/>
                    <a:pt x="248409" y="275754"/>
                  </a:cubicBezTo>
                  <a:cubicBezTo>
                    <a:pt x="248409" y="178885"/>
                    <a:pt x="224787" y="87540"/>
                    <a:pt x="183162" y="7149"/>
                  </a:cubicBezTo>
                  <a:cubicBezTo>
                    <a:pt x="179638" y="386"/>
                    <a:pt x="171065" y="-1995"/>
                    <a:pt x="164493" y="1815"/>
                  </a:cubicBezTo>
                  <a:lnTo>
                    <a:pt x="6664" y="92969"/>
                  </a:lnTo>
                  <a:cubicBezTo>
                    <a:pt x="473" y="96589"/>
                    <a:pt x="-1718" y="104304"/>
                    <a:pt x="1425" y="110686"/>
                  </a:cubicBezTo>
                  <a:cubicBezTo>
                    <a:pt x="25809" y="160502"/>
                    <a:pt x="39621" y="216509"/>
                    <a:pt x="39621" y="275754"/>
                  </a:cubicBezTo>
                  <a:cubicBezTo>
                    <a:pt x="39621" y="335000"/>
                    <a:pt x="25905" y="391007"/>
                    <a:pt x="1425" y="440822"/>
                  </a:cubicBezTo>
                  <a:cubicBezTo>
                    <a:pt x="-1718" y="447204"/>
                    <a:pt x="473" y="455015"/>
                    <a:pt x="6664" y="458539"/>
                  </a:cubicBezTo>
                  <a:lnTo>
                    <a:pt x="164493" y="5496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19" name="Forma libre 18">
              <a:extLst>
                <a:ext uri="{FF2B5EF4-FFF2-40B4-BE49-F238E27FC236}">
                  <a16:creationId xmlns:a16="http://schemas.microsoft.com/office/drawing/2014/main" id="{0523F64F-502A-3B25-22E7-1A7D835437B6}"/>
                </a:ext>
              </a:extLst>
            </p:cNvPr>
            <p:cNvSpPr/>
            <p:nvPr/>
          </p:nvSpPr>
          <p:spPr>
            <a:xfrm>
              <a:off x="4552854" y="1943845"/>
              <a:ext cx="481317" cy="380159"/>
            </a:xfrm>
            <a:custGeom>
              <a:avLst/>
              <a:gdLst>
                <a:gd name="connsiteX0" fmla="*/ 12668 w 481317"/>
                <a:gd name="connsiteY0" fmla="*/ 208995 h 380159"/>
                <a:gd name="connsiteX1" fmla="*/ 298609 w 481317"/>
                <a:gd name="connsiteY1" fmla="*/ 374063 h 380159"/>
                <a:gd name="connsiteX2" fmla="*/ 316611 w 481317"/>
                <a:gd name="connsiteY2" fmla="*/ 378349 h 380159"/>
                <a:gd name="connsiteX3" fmla="*/ 474535 w 481317"/>
                <a:gd name="connsiteY3" fmla="*/ 287195 h 380159"/>
                <a:gd name="connsiteX4" fmla="*/ 479203 w 481317"/>
                <a:gd name="connsiteY4" fmla="*/ 268336 h 380159"/>
                <a:gd name="connsiteX5" fmla="*/ 14002 w 481317"/>
                <a:gd name="connsiteY5" fmla="*/ 16 h 380159"/>
                <a:gd name="connsiteX6" fmla="*/ 0 w 481317"/>
                <a:gd name="connsiteY6" fmla="*/ 13542 h 380159"/>
                <a:gd name="connsiteX7" fmla="*/ 0 w 481317"/>
                <a:gd name="connsiteY7" fmla="*/ 195660 h 380159"/>
                <a:gd name="connsiteX8" fmla="*/ 12668 w 481317"/>
                <a:gd name="connsiteY8" fmla="*/ 20899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7" h="380159">
                  <a:moveTo>
                    <a:pt x="12668" y="208995"/>
                  </a:moveTo>
                  <a:cubicBezTo>
                    <a:pt x="131731" y="217091"/>
                    <a:pt x="235553" y="280623"/>
                    <a:pt x="298609" y="374063"/>
                  </a:cubicBezTo>
                  <a:cubicBezTo>
                    <a:pt x="302609" y="379969"/>
                    <a:pt x="310420" y="381969"/>
                    <a:pt x="316611" y="378349"/>
                  </a:cubicBezTo>
                  <a:lnTo>
                    <a:pt x="474535" y="287195"/>
                  </a:lnTo>
                  <a:cubicBezTo>
                    <a:pt x="481108" y="283385"/>
                    <a:pt x="483394" y="274717"/>
                    <a:pt x="479203" y="268336"/>
                  </a:cubicBezTo>
                  <a:cubicBezTo>
                    <a:pt x="379857" y="113554"/>
                    <a:pt x="209359" y="8875"/>
                    <a:pt x="14002" y="16"/>
                  </a:cubicBezTo>
                  <a:cubicBezTo>
                    <a:pt x="6382" y="-365"/>
                    <a:pt x="0" y="5922"/>
                    <a:pt x="0" y="13542"/>
                  </a:cubicBezTo>
                  <a:lnTo>
                    <a:pt x="0" y="195660"/>
                  </a:lnTo>
                  <a:cubicBezTo>
                    <a:pt x="0" y="202708"/>
                    <a:pt x="5525" y="208519"/>
                    <a:pt x="12668" y="20899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3887A81E-3C89-76BE-9E9B-36AA59E5EAEB}"/>
                </a:ext>
              </a:extLst>
            </p:cNvPr>
            <p:cNvSpPr/>
            <p:nvPr/>
          </p:nvSpPr>
          <p:spPr>
            <a:xfrm>
              <a:off x="4045248" y="2731293"/>
              <a:ext cx="481318" cy="380159"/>
            </a:xfrm>
            <a:custGeom>
              <a:avLst/>
              <a:gdLst>
                <a:gd name="connsiteX0" fmla="*/ 468649 w 481318"/>
                <a:gd name="connsiteY0" fmla="*/ 171165 h 380159"/>
                <a:gd name="connsiteX1" fmla="*/ 182709 w 481318"/>
                <a:gd name="connsiteY1" fmla="*/ 6097 h 380159"/>
                <a:gd name="connsiteX2" fmla="*/ 164707 w 481318"/>
                <a:gd name="connsiteY2" fmla="*/ 1810 h 380159"/>
                <a:gd name="connsiteX3" fmla="*/ 6782 w 481318"/>
                <a:gd name="connsiteY3" fmla="*/ 92965 h 380159"/>
                <a:gd name="connsiteX4" fmla="*/ 2115 w 481318"/>
                <a:gd name="connsiteY4" fmla="*/ 111824 h 380159"/>
                <a:gd name="connsiteX5" fmla="*/ 467316 w 481318"/>
                <a:gd name="connsiteY5" fmla="*/ 380143 h 380159"/>
                <a:gd name="connsiteX6" fmla="*/ 481318 w 481318"/>
                <a:gd name="connsiteY6" fmla="*/ 366618 h 380159"/>
                <a:gd name="connsiteX7" fmla="*/ 481318 w 481318"/>
                <a:gd name="connsiteY7" fmla="*/ 184500 h 380159"/>
                <a:gd name="connsiteX8" fmla="*/ 468649 w 481318"/>
                <a:gd name="connsiteY8" fmla="*/ 171165 h 3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1318" h="380159">
                  <a:moveTo>
                    <a:pt x="468649" y="171165"/>
                  </a:moveTo>
                  <a:cubicBezTo>
                    <a:pt x="349587" y="163069"/>
                    <a:pt x="245764" y="99537"/>
                    <a:pt x="182709" y="6097"/>
                  </a:cubicBezTo>
                  <a:cubicBezTo>
                    <a:pt x="178709" y="191"/>
                    <a:pt x="170898" y="-1809"/>
                    <a:pt x="164707" y="1810"/>
                  </a:cubicBezTo>
                  <a:lnTo>
                    <a:pt x="6782" y="92965"/>
                  </a:lnTo>
                  <a:cubicBezTo>
                    <a:pt x="210" y="96775"/>
                    <a:pt x="-2076" y="105442"/>
                    <a:pt x="2115" y="111824"/>
                  </a:cubicBezTo>
                  <a:cubicBezTo>
                    <a:pt x="101461" y="266605"/>
                    <a:pt x="271958" y="371285"/>
                    <a:pt x="467316" y="380143"/>
                  </a:cubicBezTo>
                  <a:cubicBezTo>
                    <a:pt x="474936" y="380525"/>
                    <a:pt x="481318" y="374238"/>
                    <a:pt x="481318" y="366618"/>
                  </a:cubicBezTo>
                  <a:lnTo>
                    <a:pt x="481318" y="184500"/>
                  </a:lnTo>
                  <a:cubicBezTo>
                    <a:pt x="481413" y="177356"/>
                    <a:pt x="475793" y="171641"/>
                    <a:pt x="468649" y="17116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1" name="Forma libre 20">
              <a:extLst>
                <a:ext uri="{FF2B5EF4-FFF2-40B4-BE49-F238E27FC236}">
                  <a16:creationId xmlns:a16="http://schemas.microsoft.com/office/drawing/2014/main" id="{81F8F141-5166-EF84-BF96-75442C4092F4}"/>
                </a:ext>
              </a:extLst>
            </p:cNvPr>
            <p:cNvSpPr/>
            <p:nvPr/>
          </p:nvSpPr>
          <p:spPr>
            <a:xfrm>
              <a:off x="3955161" y="2251895"/>
              <a:ext cx="248408" cy="551508"/>
            </a:xfrm>
            <a:custGeom>
              <a:avLst/>
              <a:gdLst>
                <a:gd name="connsiteX0" fmla="*/ 241744 w 248408"/>
                <a:gd name="connsiteY0" fmla="*/ 458539 h 551508"/>
                <a:gd name="connsiteX1" fmla="*/ 246983 w 248408"/>
                <a:gd name="connsiteY1" fmla="*/ 440822 h 551508"/>
                <a:gd name="connsiteX2" fmla="*/ 208788 w 248408"/>
                <a:gd name="connsiteY2" fmla="*/ 275754 h 551508"/>
                <a:gd name="connsiteX3" fmla="*/ 246983 w 248408"/>
                <a:gd name="connsiteY3" fmla="*/ 110686 h 551508"/>
                <a:gd name="connsiteX4" fmla="*/ 241744 w 248408"/>
                <a:gd name="connsiteY4" fmla="*/ 92969 h 551508"/>
                <a:gd name="connsiteX5" fmla="*/ 83915 w 248408"/>
                <a:gd name="connsiteY5" fmla="*/ 1815 h 551508"/>
                <a:gd name="connsiteX6" fmla="*/ 65246 w 248408"/>
                <a:gd name="connsiteY6" fmla="*/ 7149 h 551508"/>
                <a:gd name="connsiteX7" fmla="*/ 0 w 248408"/>
                <a:gd name="connsiteY7" fmla="*/ 275754 h 551508"/>
                <a:gd name="connsiteX8" fmla="*/ 65246 w 248408"/>
                <a:gd name="connsiteY8" fmla="*/ 544359 h 551508"/>
                <a:gd name="connsiteX9" fmla="*/ 83915 w 248408"/>
                <a:gd name="connsiteY9" fmla="*/ 549693 h 551508"/>
                <a:gd name="connsiteX10" fmla="*/ 241744 w 248408"/>
                <a:gd name="connsiteY10" fmla="*/ 458539 h 55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408" h="551508">
                  <a:moveTo>
                    <a:pt x="241744" y="458539"/>
                  </a:moveTo>
                  <a:cubicBezTo>
                    <a:pt x="247936" y="454919"/>
                    <a:pt x="250126" y="447204"/>
                    <a:pt x="246983" y="440822"/>
                  </a:cubicBezTo>
                  <a:cubicBezTo>
                    <a:pt x="222599" y="391007"/>
                    <a:pt x="208788" y="335000"/>
                    <a:pt x="208788" y="275754"/>
                  </a:cubicBezTo>
                  <a:cubicBezTo>
                    <a:pt x="208788" y="216509"/>
                    <a:pt x="222504" y="160502"/>
                    <a:pt x="246983" y="110686"/>
                  </a:cubicBezTo>
                  <a:cubicBezTo>
                    <a:pt x="250126" y="104304"/>
                    <a:pt x="247936" y="96494"/>
                    <a:pt x="241744" y="92969"/>
                  </a:cubicBezTo>
                  <a:lnTo>
                    <a:pt x="83915" y="1815"/>
                  </a:lnTo>
                  <a:cubicBezTo>
                    <a:pt x="77343" y="-1995"/>
                    <a:pt x="68771" y="386"/>
                    <a:pt x="65246" y="7149"/>
                  </a:cubicBezTo>
                  <a:cubicBezTo>
                    <a:pt x="23527" y="87540"/>
                    <a:pt x="0" y="178885"/>
                    <a:pt x="0" y="275754"/>
                  </a:cubicBezTo>
                  <a:cubicBezTo>
                    <a:pt x="0" y="372623"/>
                    <a:pt x="23622" y="463968"/>
                    <a:pt x="65246" y="544359"/>
                  </a:cubicBezTo>
                  <a:cubicBezTo>
                    <a:pt x="68771" y="551122"/>
                    <a:pt x="77343" y="553503"/>
                    <a:pt x="83915" y="549693"/>
                  </a:cubicBezTo>
                  <a:lnTo>
                    <a:pt x="241744" y="458539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sp>
        <p:nvSpPr>
          <p:cNvPr id="14" name="Rectángulo 13">
            <a:extLst>
              <a:ext uri="{FF2B5EF4-FFF2-40B4-BE49-F238E27FC236}">
                <a16:creationId xmlns:a16="http://schemas.microsoft.com/office/drawing/2014/main" id="{126DCE81-B331-98AF-77E4-2116448B9210}"/>
              </a:ext>
            </a:extLst>
          </p:cNvPr>
          <p:cNvSpPr/>
          <p:nvPr/>
        </p:nvSpPr>
        <p:spPr>
          <a:xfrm>
            <a:off x="1252625" y="704105"/>
            <a:ext cx="3644135" cy="7181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2800"/>
              </a:lnSpc>
            </a:pPr>
            <a:r>
              <a:rPr lang="en-US" sz="2500" b="0" i="0" spc="-60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  <a:t>Adecuar</a:t>
            </a:r>
            <a:br>
              <a:rPr lang="en-US" sz="2500" b="0" i="0" spc="-60" noProof="1">
                <a:solidFill>
                  <a:schemeClr val="tx2"/>
                </a:solidFill>
                <a:latin typeface="Pulso" pitchFamily="2" charset="0"/>
                <a:ea typeface="Inter Light BETA" panose="020B0402030000000004" pitchFamily="34" charset="0"/>
              </a:rPr>
            </a:br>
            <a:r>
              <a:rPr lang="en-US" sz="2500" b="0" i="0" spc="-60" noProof="1">
                <a:solidFill>
                  <a:schemeClr val="bg2"/>
                </a:solidFill>
                <a:latin typeface="Pulso" pitchFamily="2" charset="0"/>
                <a:ea typeface="Inter Light BETA" panose="020B0402030000000004" pitchFamily="34" charset="0"/>
              </a:rPr>
              <a:t>El Capital</a:t>
            </a:r>
          </a:p>
        </p:txBody>
      </p:sp>
    </p:spTree>
    <p:extLst>
      <p:ext uri="{BB962C8B-B14F-4D97-AF65-F5344CB8AC3E}">
        <p14:creationId xmlns:p14="http://schemas.microsoft.com/office/powerpoint/2010/main" val="628611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D05025-EDA4-1E48-E660-EDC30ADF45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1FC8CDF7-531A-A8A3-CC19-97B392CDF1DA}"/>
              </a:ext>
            </a:extLst>
          </p:cNvPr>
          <p:cNvSpPr/>
          <p:nvPr/>
        </p:nvSpPr>
        <p:spPr>
          <a:xfrm>
            <a:off x="606581" y="2248062"/>
            <a:ext cx="3965419" cy="57650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lnSpc>
                <a:spcPct val="85000"/>
              </a:lnSpc>
            </a:pPr>
            <a:r>
              <a:rPr lang="en-US" sz="4400" spc="-7">
                <a:solidFill>
                  <a:schemeClr val="bg1"/>
                </a:solidFill>
                <a:latin typeface="Pulso Light"/>
                <a:cs typeface="Arial"/>
              </a:rPr>
              <a:t>Visión 2030</a:t>
            </a:r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616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93A9AC-CA45-84DB-F14B-7B3BAE093E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A38AED3-5386-0626-2513-8C24790DBAA2}"/>
              </a:ext>
            </a:extLst>
          </p:cNvPr>
          <p:cNvSpPr txBox="1">
            <a:spLocks/>
          </p:cNvSpPr>
          <p:nvPr/>
        </p:nvSpPr>
        <p:spPr>
          <a:xfrm>
            <a:off x="540657" y="600068"/>
            <a:ext cx="1614866" cy="359073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2800"/>
              </a:lnSpc>
            </a:pPr>
            <a:r>
              <a:rPr lang="es-ES_tradnl" sz="2500" b="0">
                <a:solidFill>
                  <a:schemeClr val="bg2"/>
                </a:solidFill>
                <a:latin typeface="Pulso Light"/>
              </a:rPr>
              <a:t>Visión 2030</a:t>
            </a:r>
            <a:endParaRPr lang="es-ES_tradnl" sz="2500" b="0" noProof="0">
              <a:solidFill>
                <a:schemeClr val="bg2"/>
              </a:solidFill>
              <a:latin typeface="Pulso Light" pitchFamily="2" charset="0"/>
            </a:endParaRP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44FB22FD-F11A-D71A-2A77-2A40D7C98094}"/>
              </a:ext>
            </a:extLst>
          </p:cNvPr>
          <p:cNvGrpSpPr/>
          <p:nvPr/>
        </p:nvGrpSpPr>
        <p:grpSpPr>
          <a:xfrm>
            <a:off x="7241316" y="4432300"/>
            <a:ext cx="1279610" cy="123111"/>
            <a:chOff x="7241317" y="4403943"/>
            <a:chExt cx="1609057" cy="154807"/>
          </a:xfrm>
        </p:grpSpPr>
        <p:sp>
          <p:nvSpPr>
            <p:cNvPr id="5" name="Elipse 4">
              <a:extLst>
                <a:ext uri="{FF2B5EF4-FFF2-40B4-BE49-F238E27FC236}">
                  <a16:creationId xmlns:a16="http://schemas.microsoft.com/office/drawing/2014/main" id="{80F9A097-A082-2CBF-308D-52F95B3287FE}"/>
                </a:ext>
              </a:extLst>
            </p:cNvPr>
            <p:cNvSpPr/>
            <p:nvPr/>
          </p:nvSpPr>
          <p:spPr>
            <a:xfrm>
              <a:off x="7241317" y="4412278"/>
              <a:ext cx="118242" cy="118242"/>
            </a:xfrm>
            <a:prstGeom prst="ellipse">
              <a:avLst/>
            </a:prstGeom>
            <a:solidFill>
              <a:schemeClr val="accent2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AR" sz="1200" b="1">
                <a:solidFill>
                  <a:schemeClr val="tx1"/>
                </a:solidFill>
              </a:endParaRPr>
            </a:p>
          </p:txBody>
        </p:sp>
        <p:sp>
          <p:nvSpPr>
            <p:cNvPr id="6" name="Elipse 5">
              <a:extLst>
                <a:ext uri="{FF2B5EF4-FFF2-40B4-BE49-F238E27FC236}">
                  <a16:creationId xmlns:a16="http://schemas.microsoft.com/office/drawing/2014/main" id="{A7B6BE92-B9EA-5DB9-CBBB-156BB7FDA783}"/>
                </a:ext>
              </a:extLst>
            </p:cNvPr>
            <p:cNvSpPr/>
            <p:nvPr/>
          </p:nvSpPr>
          <p:spPr>
            <a:xfrm>
              <a:off x="8063289" y="4414760"/>
              <a:ext cx="118242" cy="118242"/>
            </a:xfrm>
            <a:prstGeom prst="ellipse">
              <a:avLst/>
            </a:prstGeom>
            <a:solidFill>
              <a:srgbClr val="0066FF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AR" sz="1200" b="1">
                <a:solidFill>
                  <a:schemeClr val="tx1"/>
                </a:solidFill>
              </a:endParaRPr>
            </a:p>
          </p:txBody>
        </p:sp>
        <p:sp>
          <p:nvSpPr>
            <p:cNvPr id="7" name="CuadroTexto 6">
              <a:extLst>
                <a:ext uri="{FF2B5EF4-FFF2-40B4-BE49-F238E27FC236}">
                  <a16:creationId xmlns:a16="http://schemas.microsoft.com/office/drawing/2014/main" id="{C36A9F1E-05A0-A382-F233-5577B97D9E17}"/>
                </a:ext>
              </a:extLst>
            </p:cNvPr>
            <p:cNvSpPr txBox="1"/>
            <p:nvPr/>
          </p:nvSpPr>
          <p:spPr>
            <a:xfrm>
              <a:off x="7353726" y="4403943"/>
              <a:ext cx="688786" cy="154807"/>
            </a:xfrm>
            <a:prstGeom prst="rect">
              <a:avLst/>
            </a:prstGeom>
            <a:noFill/>
          </p:spPr>
          <p:txBody>
            <a:bodyPr wrap="none" lIns="72000" tIns="0" rIns="72000" bIns="0" rtlCol="0">
              <a:spAutoFit/>
            </a:bodyPr>
            <a:lstStyle/>
            <a:p>
              <a:r>
                <a:rPr lang="es-AR" sz="800">
                  <a:solidFill>
                    <a:schemeClr val="tx2"/>
                  </a:solidFill>
                  <a:latin typeface="Pulso Light" pitchFamily="2" charset="0"/>
                </a:rPr>
                <a:t>Personal</a:t>
              </a:r>
            </a:p>
          </p:txBody>
        </p:sp>
        <p:sp>
          <p:nvSpPr>
            <p:cNvPr id="8" name="CuadroTexto 7">
              <a:extLst>
                <a:ext uri="{FF2B5EF4-FFF2-40B4-BE49-F238E27FC236}">
                  <a16:creationId xmlns:a16="http://schemas.microsoft.com/office/drawing/2014/main" id="{FA2CC1D7-260B-2C3D-D7AE-B48DF2925AE4}"/>
                </a:ext>
              </a:extLst>
            </p:cNvPr>
            <p:cNvSpPr txBox="1"/>
            <p:nvPr/>
          </p:nvSpPr>
          <p:spPr>
            <a:xfrm>
              <a:off x="8175698" y="4403943"/>
              <a:ext cx="674676" cy="154807"/>
            </a:xfrm>
            <a:prstGeom prst="rect">
              <a:avLst/>
            </a:prstGeom>
            <a:noFill/>
          </p:spPr>
          <p:txBody>
            <a:bodyPr wrap="none" lIns="72000" tIns="0" rIns="72000" bIns="0" rtlCol="0">
              <a:spAutoFit/>
            </a:bodyPr>
            <a:lstStyle/>
            <a:p>
              <a:r>
                <a:rPr lang="es-AR" sz="800">
                  <a:solidFill>
                    <a:schemeClr val="tx2"/>
                  </a:solidFill>
                  <a:latin typeface="Pulso Light" pitchFamily="2" charset="0"/>
                </a:rPr>
                <a:t>Movistar</a:t>
              </a:r>
            </a:p>
          </p:txBody>
        </p:sp>
      </p:grpSp>
      <p:sp>
        <p:nvSpPr>
          <p:cNvPr id="14" name="Trapecio 13">
            <a:extLst>
              <a:ext uri="{FF2B5EF4-FFF2-40B4-BE49-F238E27FC236}">
                <a16:creationId xmlns:a16="http://schemas.microsoft.com/office/drawing/2014/main" id="{DF1E49BF-5B65-5B97-ADED-ED86718F6ABD}"/>
              </a:ext>
            </a:extLst>
          </p:cNvPr>
          <p:cNvSpPr/>
          <p:nvPr/>
        </p:nvSpPr>
        <p:spPr>
          <a:xfrm rot="10800000">
            <a:off x="836159" y="2416840"/>
            <a:ext cx="721324" cy="451761"/>
          </a:xfrm>
          <a:prstGeom prst="trapezoid">
            <a:avLst>
              <a:gd name="adj" fmla="val 49019"/>
            </a:avLst>
          </a:prstGeom>
          <a:gradFill>
            <a:gsLst>
              <a:gs pos="0">
                <a:schemeClr val="bg1">
                  <a:lumMod val="75000"/>
                  <a:alpha val="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0"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</a:endParaRPr>
          </a:p>
        </p:txBody>
      </p:sp>
      <p:sp>
        <p:nvSpPr>
          <p:cNvPr id="112" name="Forma libre 111">
            <a:extLst>
              <a:ext uri="{FF2B5EF4-FFF2-40B4-BE49-F238E27FC236}">
                <a16:creationId xmlns:a16="http://schemas.microsoft.com/office/drawing/2014/main" id="{38913A59-6D0D-6794-9C13-2DDC7736D4DE}"/>
              </a:ext>
            </a:extLst>
          </p:cNvPr>
          <p:cNvSpPr/>
          <p:nvPr/>
        </p:nvSpPr>
        <p:spPr>
          <a:xfrm>
            <a:off x="3070025" y="2819516"/>
            <a:ext cx="790575" cy="645809"/>
          </a:xfrm>
          <a:custGeom>
            <a:avLst/>
            <a:gdLst>
              <a:gd name="connsiteX0" fmla="*/ 0 w 919628"/>
              <a:gd name="connsiteY0" fmla="*/ 933051 h 933051"/>
              <a:gd name="connsiteX1" fmla="*/ 919628 w 919628"/>
              <a:gd name="connsiteY1" fmla="*/ 279389 h 933051"/>
              <a:gd name="connsiteX2" fmla="*/ 919628 w 919628"/>
              <a:gd name="connsiteY2" fmla="*/ 0 h 933051"/>
              <a:gd name="connsiteX3" fmla="*/ 0 w 919628"/>
              <a:gd name="connsiteY3" fmla="*/ 808838 h 933051"/>
              <a:gd name="connsiteX4" fmla="*/ 0 w 919628"/>
              <a:gd name="connsiteY4" fmla="*/ 933051 h 933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628" h="933051">
                <a:moveTo>
                  <a:pt x="0" y="933051"/>
                </a:moveTo>
                <a:lnTo>
                  <a:pt x="919628" y="279389"/>
                </a:lnTo>
                <a:lnTo>
                  <a:pt x="919628" y="0"/>
                </a:lnTo>
                <a:lnTo>
                  <a:pt x="0" y="808838"/>
                </a:lnTo>
                <a:lnTo>
                  <a:pt x="0" y="933051"/>
                </a:lnTo>
                <a:close/>
              </a:path>
            </a:pathLst>
          </a:custGeom>
          <a:gradFill>
            <a:gsLst>
              <a:gs pos="76000">
                <a:schemeClr val="bg1">
                  <a:alpha val="0"/>
                </a:schemeClr>
              </a:gs>
              <a:gs pos="0">
                <a:schemeClr val="bg1">
                  <a:lumMod val="75000"/>
                  <a:alpha val="65000"/>
                </a:schemeClr>
              </a:gs>
              <a:gs pos="31000">
                <a:schemeClr val="bg1">
                  <a:lumMod val="90000"/>
                  <a:alpha val="65000"/>
                </a:schemeClr>
              </a:gs>
            </a:gsLst>
            <a:lin ang="0" scaled="0"/>
          </a:gradFill>
          <a:ln w="9069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AR"/>
          </a:p>
        </p:txBody>
      </p:sp>
      <p:sp>
        <p:nvSpPr>
          <p:cNvPr id="113" name="Forma libre 112">
            <a:extLst>
              <a:ext uri="{FF2B5EF4-FFF2-40B4-BE49-F238E27FC236}">
                <a16:creationId xmlns:a16="http://schemas.microsoft.com/office/drawing/2014/main" id="{73674B25-D4AB-79D6-6AEA-6070A406E7A1}"/>
              </a:ext>
            </a:extLst>
          </p:cNvPr>
          <p:cNvSpPr/>
          <p:nvPr/>
        </p:nvSpPr>
        <p:spPr>
          <a:xfrm>
            <a:off x="3070025" y="2712111"/>
            <a:ext cx="790575" cy="645809"/>
          </a:xfrm>
          <a:custGeom>
            <a:avLst/>
            <a:gdLst>
              <a:gd name="connsiteX0" fmla="*/ 0 w 919628"/>
              <a:gd name="connsiteY0" fmla="*/ 933051 h 933051"/>
              <a:gd name="connsiteX1" fmla="*/ 919628 w 919628"/>
              <a:gd name="connsiteY1" fmla="*/ 124213 h 933051"/>
              <a:gd name="connsiteX2" fmla="*/ 919628 w 919628"/>
              <a:gd name="connsiteY2" fmla="*/ 0 h 933051"/>
              <a:gd name="connsiteX3" fmla="*/ 0 w 919628"/>
              <a:gd name="connsiteY3" fmla="*/ 839891 h 933051"/>
              <a:gd name="connsiteX4" fmla="*/ 0 w 919628"/>
              <a:gd name="connsiteY4" fmla="*/ 933051 h 933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628" h="933051">
                <a:moveTo>
                  <a:pt x="0" y="933051"/>
                </a:moveTo>
                <a:lnTo>
                  <a:pt x="919628" y="124213"/>
                </a:lnTo>
                <a:lnTo>
                  <a:pt x="919628" y="0"/>
                </a:lnTo>
                <a:lnTo>
                  <a:pt x="0" y="839891"/>
                </a:lnTo>
                <a:lnTo>
                  <a:pt x="0" y="933051"/>
                </a:lnTo>
                <a:close/>
              </a:path>
            </a:pathLst>
          </a:custGeom>
          <a:gradFill>
            <a:gsLst>
              <a:gs pos="76000">
                <a:schemeClr val="bg1">
                  <a:alpha val="0"/>
                </a:schemeClr>
              </a:gs>
              <a:gs pos="0">
                <a:schemeClr val="bg1">
                  <a:lumMod val="75000"/>
                  <a:alpha val="65000"/>
                </a:schemeClr>
              </a:gs>
              <a:gs pos="31000">
                <a:schemeClr val="bg1">
                  <a:lumMod val="90000"/>
                  <a:alpha val="65000"/>
                </a:schemeClr>
              </a:gs>
            </a:gsLst>
            <a:lin ang="0" scaled="0"/>
          </a:gradFill>
          <a:ln w="9069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AR"/>
          </a:p>
        </p:txBody>
      </p:sp>
      <p:sp>
        <p:nvSpPr>
          <p:cNvPr id="114" name="Forma libre 113">
            <a:extLst>
              <a:ext uri="{FF2B5EF4-FFF2-40B4-BE49-F238E27FC236}">
                <a16:creationId xmlns:a16="http://schemas.microsoft.com/office/drawing/2014/main" id="{0DB71A01-F3C7-AD9D-3048-95125A21F93A}"/>
              </a:ext>
            </a:extLst>
          </p:cNvPr>
          <p:cNvSpPr/>
          <p:nvPr/>
        </p:nvSpPr>
        <p:spPr>
          <a:xfrm>
            <a:off x="3068777" y="3034387"/>
            <a:ext cx="791822" cy="1095726"/>
          </a:xfrm>
          <a:custGeom>
            <a:avLst/>
            <a:gdLst>
              <a:gd name="connsiteX0" fmla="*/ 0 w 921079"/>
              <a:gd name="connsiteY0" fmla="*/ 1583082 h 1583081"/>
              <a:gd name="connsiteX1" fmla="*/ 921079 w 921079"/>
              <a:gd name="connsiteY1" fmla="*/ 1583082 h 1583081"/>
              <a:gd name="connsiteX2" fmla="*/ 921079 w 921079"/>
              <a:gd name="connsiteY2" fmla="*/ 0 h 1583081"/>
              <a:gd name="connsiteX3" fmla="*/ 0 w 921079"/>
              <a:gd name="connsiteY3" fmla="*/ 651847 h 1583081"/>
              <a:gd name="connsiteX4" fmla="*/ 0 w 921079"/>
              <a:gd name="connsiteY4" fmla="*/ 1583082 h 1583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1079" h="1583081">
                <a:moveTo>
                  <a:pt x="0" y="1583082"/>
                </a:moveTo>
                <a:lnTo>
                  <a:pt x="921079" y="1583082"/>
                </a:lnTo>
                <a:lnTo>
                  <a:pt x="921079" y="0"/>
                </a:lnTo>
                <a:lnTo>
                  <a:pt x="0" y="651847"/>
                </a:lnTo>
                <a:lnTo>
                  <a:pt x="0" y="1583082"/>
                </a:lnTo>
                <a:close/>
              </a:path>
            </a:pathLst>
          </a:custGeom>
          <a:gradFill>
            <a:gsLst>
              <a:gs pos="76000">
                <a:schemeClr val="bg1">
                  <a:alpha val="0"/>
                </a:schemeClr>
              </a:gs>
              <a:gs pos="0">
                <a:schemeClr val="bg1">
                  <a:lumMod val="75000"/>
                  <a:alpha val="65000"/>
                </a:schemeClr>
              </a:gs>
              <a:gs pos="31000">
                <a:schemeClr val="bg1">
                  <a:lumMod val="90000"/>
                  <a:alpha val="65000"/>
                </a:schemeClr>
              </a:gs>
            </a:gsLst>
            <a:lin ang="0" scaled="0"/>
          </a:gradFill>
          <a:ln w="9069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AR"/>
          </a:p>
        </p:txBody>
      </p:sp>
      <p:sp>
        <p:nvSpPr>
          <p:cNvPr id="115" name="Forma libre 114">
            <a:extLst>
              <a:ext uri="{FF2B5EF4-FFF2-40B4-BE49-F238E27FC236}">
                <a16:creationId xmlns:a16="http://schemas.microsoft.com/office/drawing/2014/main" id="{2E748064-D020-0EA6-9CE6-4F0E8DD57C5C}"/>
              </a:ext>
            </a:extLst>
          </p:cNvPr>
          <p:cNvSpPr/>
          <p:nvPr/>
        </p:nvSpPr>
        <p:spPr>
          <a:xfrm>
            <a:off x="5120998" y="1335336"/>
            <a:ext cx="794629" cy="1462749"/>
          </a:xfrm>
          <a:custGeom>
            <a:avLst/>
            <a:gdLst>
              <a:gd name="connsiteX0" fmla="*/ 0 w 924344"/>
              <a:gd name="connsiteY0" fmla="*/ 2113348 h 2113348"/>
              <a:gd name="connsiteX1" fmla="*/ 924344 w 924344"/>
              <a:gd name="connsiteY1" fmla="*/ 1800364 h 2113348"/>
              <a:gd name="connsiteX2" fmla="*/ 924344 w 924344"/>
              <a:gd name="connsiteY2" fmla="*/ 0 h 2113348"/>
              <a:gd name="connsiteX3" fmla="*/ 0 w 924344"/>
              <a:gd name="connsiteY3" fmla="*/ 1989135 h 2113348"/>
              <a:gd name="connsiteX4" fmla="*/ 0 w 924344"/>
              <a:gd name="connsiteY4" fmla="*/ 2113348 h 2113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4344" h="2113348">
                <a:moveTo>
                  <a:pt x="0" y="2113348"/>
                </a:moveTo>
                <a:lnTo>
                  <a:pt x="924344" y="1800364"/>
                </a:lnTo>
                <a:lnTo>
                  <a:pt x="924344" y="0"/>
                </a:lnTo>
                <a:lnTo>
                  <a:pt x="0" y="1989135"/>
                </a:lnTo>
                <a:lnTo>
                  <a:pt x="0" y="2113348"/>
                </a:lnTo>
                <a:close/>
              </a:path>
            </a:pathLst>
          </a:custGeom>
          <a:gradFill>
            <a:gsLst>
              <a:gs pos="76000">
                <a:schemeClr val="bg1">
                  <a:alpha val="0"/>
                </a:schemeClr>
              </a:gs>
              <a:gs pos="0">
                <a:schemeClr val="bg1">
                  <a:lumMod val="75000"/>
                  <a:alpha val="65000"/>
                </a:schemeClr>
              </a:gs>
              <a:gs pos="31000">
                <a:schemeClr val="bg1">
                  <a:lumMod val="90000"/>
                  <a:alpha val="65000"/>
                </a:schemeClr>
              </a:gs>
            </a:gsLst>
            <a:lin ang="0" scaled="0"/>
          </a:gradFill>
          <a:ln w="9069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AR"/>
          </a:p>
        </p:txBody>
      </p:sp>
      <p:sp>
        <p:nvSpPr>
          <p:cNvPr id="116" name="Forma libre 115">
            <a:extLst>
              <a:ext uri="{FF2B5EF4-FFF2-40B4-BE49-F238E27FC236}">
                <a16:creationId xmlns:a16="http://schemas.microsoft.com/office/drawing/2014/main" id="{567B406B-A5FD-0A48-5784-EDB06773C90B}"/>
              </a:ext>
            </a:extLst>
          </p:cNvPr>
          <p:cNvSpPr/>
          <p:nvPr/>
        </p:nvSpPr>
        <p:spPr>
          <a:xfrm>
            <a:off x="5120998" y="2604707"/>
            <a:ext cx="794629" cy="408186"/>
          </a:xfrm>
          <a:custGeom>
            <a:avLst/>
            <a:gdLst>
              <a:gd name="connsiteX0" fmla="*/ 0 w 924344"/>
              <a:gd name="connsiteY0" fmla="*/ 589740 h 589739"/>
              <a:gd name="connsiteX1" fmla="*/ 924344 w 924344"/>
              <a:gd name="connsiteY1" fmla="*/ 434564 h 589739"/>
              <a:gd name="connsiteX2" fmla="*/ 924344 w 924344"/>
              <a:gd name="connsiteY2" fmla="*/ 0 h 589739"/>
              <a:gd name="connsiteX3" fmla="*/ 0 w 924344"/>
              <a:gd name="connsiteY3" fmla="*/ 310351 h 589739"/>
              <a:gd name="connsiteX4" fmla="*/ 0 w 924344"/>
              <a:gd name="connsiteY4" fmla="*/ 589740 h 589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4344" h="589739">
                <a:moveTo>
                  <a:pt x="0" y="589740"/>
                </a:moveTo>
                <a:lnTo>
                  <a:pt x="924344" y="434564"/>
                </a:lnTo>
                <a:lnTo>
                  <a:pt x="924344" y="0"/>
                </a:lnTo>
                <a:lnTo>
                  <a:pt x="0" y="310351"/>
                </a:lnTo>
                <a:lnTo>
                  <a:pt x="0" y="589740"/>
                </a:lnTo>
                <a:close/>
              </a:path>
            </a:pathLst>
          </a:custGeom>
          <a:gradFill>
            <a:gsLst>
              <a:gs pos="76000">
                <a:schemeClr val="bg1">
                  <a:alpha val="0"/>
                </a:schemeClr>
              </a:gs>
              <a:gs pos="0">
                <a:schemeClr val="bg1">
                  <a:lumMod val="75000"/>
                  <a:alpha val="65000"/>
                </a:schemeClr>
              </a:gs>
              <a:gs pos="31000">
                <a:schemeClr val="bg1">
                  <a:lumMod val="90000"/>
                  <a:alpha val="65000"/>
                </a:schemeClr>
              </a:gs>
            </a:gsLst>
            <a:lin ang="0" scaled="0"/>
          </a:gradFill>
          <a:ln w="9069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AR"/>
          </a:p>
        </p:txBody>
      </p:sp>
      <p:sp>
        <p:nvSpPr>
          <p:cNvPr id="117" name="Forma libre 116">
            <a:extLst>
              <a:ext uri="{FF2B5EF4-FFF2-40B4-BE49-F238E27FC236}">
                <a16:creationId xmlns:a16="http://schemas.microsoft.com/office/drawing/2014/main" id="{D4CC11F8-C22D-B429-EB4B-875E32C51889}"/>
              </a:ext>
            </a:extLst>
          </p:cNvPr>
          <p:cNvSpPr/>
          <p:nvPr/>
        </p:nvSpPr>
        <p:spPr>
          <a:xfrm>
            <a:off x="5120998" y="2926983"/>
            <a:ext cx="794629" cy="1203130"/>
          </a:xfrm>
          <a:custGeom>
            <a:avLst/>
            <a:gdLst>
              <a:gd name="connsiteX0" fmla="*/ 0 w 924344"/>
              <a:gd name="connsiteY0" fmla="*/ 1738257 h 1738257"/>
              <a:gd name="connsiteX1" fmla="*/ 924344 w 924344"/>
              <a:gd name="connsiteY1" fmla="*/ 1738257 h 1738257"/>
              <a:gd name="connsiteX2" fmla="*/ 924344 w 924344"/>
              <a:gd name="connsiteY2" fmla="*/ 0 h 1738257"/>
              <a:gd name="connsiteX3" fmla="*/ 0 w 924344"/>
              <a:gd name="connsiteY3" fmla="*/ 155176 h 1738257"/>
              <a:gd name="connsiteX4" fmla="*/ 0 w 924344"/>
              <a:gd name="connsiteY4" fmla="*/ 1738257 h 1738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4344" h="1738257">
                <a:moveTo>
                  <a:pt x="0" y="1738257"/>
                </a:moveTo>
                <a:lnTo>
                  <a:pt x="924344" y="1738257"/>
                </a:lnTo>
                <a:lnTo>
                  <a:pt x="924344" y="0"/>
                </a:lnTo>
                <a:lnTo>
                  <a:pt x="0" y="155176"/>
                </a:lnTo>
                <a:lnTo>
                  <a:pt x="0" y="1738257"/>
                </a:lnTo>
                <a:close/>
              </a:path>
            </a:pathLst>
          </a:custGeom>
          <a:gradFill>
            <a:gsLst>
              <a:gs pos="76000">
                <a:schemeClr val="bg1">
                  <a:alpha val="0"/>
                </a:schemeClr>
              </a:gs>
              <a:gs pos="0">
                <a:schemeClr val="bg1">
                  <a:lumMod val="75000"/>
                  <a:alpha val="65000"/>
                </a:schemeClr>
              </a:gs>
              <a:gs pos="31000">
                <a:schemeClr val="bg1">
                  <a:lumMod val="90000"/>
                  <a:alpha val="65000"/>
                </a:schemeClr>
              </a:gs>
            </a:gsLst>
            <a:lin ang="0" scaled="0"/>
          </a:gradFill>
          <a:ln w="9069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AR"/>
          </a:p>
        </p:txBody>
      </p:sp>
      <p:sp>
        <p:nvSpPr>
          <p:cNvPr id="128" name="Rectángulo redondeado 127">
            <a:extLst>
              <a:ext uri="{FF2B5EF4-FFF2-40B4-BE49-F238E27FC236}">
                <a16:creationId xmlns:a16="http://schemas.microsoft.com/office/drawing/2014/main" id="{AEC3FA18-93BF-356C-620D-5DB940AFB361}"/>
              </a:ext>
            </a:extLst>
          </p:cNvPr>
          <p:cNvSpPr/>
          <p:nvPr/>
        </p:nvSpPr>
        <p:spPr>
          <a:xfrm>
            <a:off x="1962193" y="3019956"/>
            <a:ext cx="877469" cy="182187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AR" sz="1100">
                <a:solidFill>
                  <a:srgbClr val="FFFFFF"/>
                </a:solidFill>
                <a:latin typeface="Pulso" pitchFamily="2" charset="0"/>
              </a:rPr>
              <a:t>3.700</a:t>
            </a:r>
          </a:p>
        </p:txBody>
      </p:sp>
      <p:sp>
        <p:nvSpPr>
          <p:cNvPr id="129" name="Rectángulo redondeado 128">
            <a:extLst>
              <a:ext uri="{FF2B5EF4-FFF2-40B4-BE49-F238E27FC236}">
                <a16:creationId xmlns:a16="http://schemas.microsoft.com/office/drawing/2014/main" id="{E979902F-05C9-78B0-33B9-52767207295E}"/>
              </a:ext>
            </a:extLst>
          </p:cNvPr>
          <p:cNvSpPr/>
          <p:nvPr/>
        </p:nvSpPr>
        <p:spPr>
          <a:xfrm>
            <a:off x="4052857" y="2440009"/>
            <a:ext cx="877469" cy="182187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AR" sz="1100">
                <a:solidFill>
                  <a:srgbClr val="FFFFFF"/>
                </a:solidFill>
                <a:latin typeface="Pulso" pitchFamily="2" charset="0"/>
              </a:rPr>
              <a:t>6.400</a:t>
            </a:r>
          </a:p>
        </p:txBody>
      </p:sp>
      <p:sp>
        <p:nvSpPr>
          <p:cNvPr id="130" name="Rectángulo redondeado 129">
            <a:extLst>
              <a:ext uri="{FF2B5EF4-FFF2-40B4-BE49-F238E27FC236}">
                <a16:creationId xmlns:a16="http://schemas.microsoft.com/office/drawing/2014/main" id="{577BDCBB-E77B-E363-340C-C383793F2FE9}"/>
              </a:ext>
            </a:extLst>
          </p:cNvPr>
          <p:cNvSpPr/>
          <p:nvPr/>
        </p:nvSpPr>
        <p:spPr>
          <a:xfrm>
            <a:off x="6143491" y="1066612"/>
            <a:ext cx="877469" cy="182187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8100" cap="rnd" cmpd="sng">
            <a:noFill/>
            <a:prstDash val="sysDash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AR" sz="1100">
                <a:solidFill>
                  <a:srgbClr val="FFFFFF"/>
                </a:solidFill>
                <a:latin typeface="Pulso" pitchFamily="2" charset="0"/>
              </a:rPr>
              <a:t>12.800</a:t>
            </a:r>
          </a:p>
        </p:txBody>
      </p:sp>
      <p:grpSp>
        <p:nvGrpSpPr>
          <p:cNvPr id="131" name="Grupo 130">
            <a:extLst>
              <a:ext uri="{FF2B5EF4-FFF2-40B4-BE49-F238E27FC236}">
                <a16:creationId xmlns:a16="http://schemas.microsoft.com/office/drawing/2014/main" id="{E9A5E9A1-5A5A-3024-D9DA-66EA12B9C7C5}"/>
              </a:ext>
            </a:extLst>
          </p:cNvPr>
          <p:cNvGrpSpPr/>
          <p:nvPr/>
        </p:nvGrpSpPr>
        <p:grpSpPr>
          <a:xfrm>
            <a:off x="1835122" y="3295269"/>
            <a:ext cx="1205666" cy="834851"/>
            <a:chOff x="1257547" y="3162507"/>
            <a:chExt cx="1390293" cy="952293"/>
          </a:xfrm>
        </p:grpSpPr>
        <p:sp>
          <p:nvSpPr>
            <p:cNvPr id="132" name="Redondear rectángulo de esquina del mismo lado 131">
              <a:extLst>
                <a:ext uri="{FF2B5EF4-FFF2-40B4-BE49-F238E27FC236}">
                  <a16:creationId xmlns:a16="http://schemas.microsoft.com/office/drawing/2014/main" id="{04FBF73F-3187-CE04-9962-CBD0493826E0}"/>
                </a:ext>
              </a:extLst>
            </p:cNvPr>
            <p:cNvSpPr/>
            <p:nvPr/>
          </p:nvSpPr>
          <p:spPr>
            <a:xfrm>
              <a:off x="1258932" y="3381361"/>
              <a:ext cx="1388294" cy="733439"/>
            </a:xfrm>
            <a:prstGeom prst="round2SameRect">
              <a:avLst>
                <a:gd name="adj1" fmla="val 5412"/>
                <a:gd name="adj2" fmla="val 0"/>
              </a:avLst>
            </a:prstGeom>
            <a:solidFill>
              <a:schemeClr val="accent2"/>
            </a:solidFill>
            <a:ln w="906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es-AR" sz="1200">
                  <a:solidFill>
                    <a:srgbClr val="FFFFFF"/>
                  </a:solidFill>
                  <a:latin typeface="Pulso" pitchFamily="2" charset="0"/>
                </a:rPr>
                <a:t>3.000</a:t>
              </a:r>
            </a:p>
          </p:txBody>
        </p:sp>
        <p:sp>
          <p:nvSpPr>
            <p:cNvPr id="133" name="Rectángulo redondeado 132">
              <a:extLst>
                <a:ext uri="{FF2B5EF4-FFF2-40B4-BE49-F238E27FC236}">
                  <a16:creationId xmlns:a16="http://schemas.microsoft.com/office/drawing/2014/main" id="{29B53A9F-AD1A-721C-CA68-424F9495BA5C}"/>
                </a:ext>
              </a:extLst>
            </p:cNvPr>
            <p:cNvSpPr/>
            <p:nvPr/>
          </p:nvSpPr>
          <p:spPr>
            <a:xfrm>
              <a:off x="1258240" y="3257534"/>
              <a:ext cx="1389600" cy="100800"/>
            </a:xfrm>
            <a:prstGeom prst="roundRect">
              <a:avLst>
                <a:gd name="adj" fmla="val 44570"/>
              </a:avLst>
            </a:prstGeom>
            <a:solidFill>
              <a:schemeClr val="accent2"/>
            </a:solidFill>
            <a:ln w="90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AR"/>
            </a:p>
          </p:txBody>
        </p:sp>
        <p:sp>
          <p:nvSpPr>
            <p:cNvPr id="134" name="Rectángulo redondeado 133">
              <a:extLst>
                <a:ext uri="{FF2B5EF4-FFF2-40B4-BE49-F238E27FC236}">
                  <a16:creationId xmlns:a16="http://schemas.microsoft.com/office/drawing/2014/main" id="{6BD7FBC1-89D6-10E8-1F65-D1ADFF5588C9}"/>
                </a:ext>
              </a:extLst>
            </p:cNvPr>
            <p:cNvSpPr/>
            <p:nvPr/>
          </p:nvSpPr>
          <p:spPr>
            <a:xfrm>
              <a:off x="1257547" y="3162507"/>
              <a:ext cx="1389600" cy="72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 w="90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AR"/>
            </a:p>
          </p:txBody>
        </p:sp>
      </p:grpSp>
      <p:sp>
        <p:nvSpPr>
          <p:cNvPr id="139" name="Rectángulo redondeado 138">
            <a:extLst>
              <a:ext uri="{FF2B5EF4-FFF2-40B4-BE49-F238E27FC236}">
                <a16:creationId xmlns:a16="http://schemas.microsoft.com/office/drawing/2014/main" id="{CFD7619C-5780-D4B4-FBD8-6062A7835B9B}"/>
              </a:ext>
            </a:extLst>
          </p:cNvPr>
          <p:cNvSpPr/>
          <p:nvPr/>
        </p:nvSpPr>
        <p:spPr>
          <a:xfrm>
            <a:off x="2497833" y="3340080"/>
            <a:ext cx="327882" cy="151767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6350" cap="rnd" cmpd="sng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 anchorCtr="0">
            <a:spAutoFit/>
          </a:bodyPr>
          <a:lstStyle/>
          <a:p>
            <a:pPr algn="ctr">
              <a:spcBef>
                <a:spcPts val="1000"/>
              </a:spcBef>
            </a:pPr>
            <a:r>
              <a:rPr lang="es-AR" sz="800">
                <a:solidFill>
                  <a:srgbClr val="FFFFFF"/>
                </a:solidFill>
                <a:latin typeface="Pulso" pitchFamily="2" charset="0"/>
              </a:rPr>
              <a:t>400</a:t>
            </a:r>
          </a:p>
        </p:txBody>
      </p:sp>
      <p:sp>
        <p:nvSpPr>
          <p:cNvPr id="140" name="Rectángulo redondeado 139">
            <a:extLst>
              <a:ext uri="{FF2B5EF4-FFF2-40B4-BE49-F238E27FC236}">
                <a16:creationId xmlns:a16="http://schemas.microsoft.com/office/drawing/2014/main" id="{C1F84D5E-AE20-3E38-A1BF-53E5B1F2C7A7}"/>
              </a:ext>
            </a:extLst>
          </p:cNvPr>
          <p:cNvSpPr/>
          <p:nvPr/>
        </p:nvSpPr>
        <p:spPr>
          <a:xfrm>
            <a:off x="1962193" y="3244485"/>
            <a:ext cx="327882" cy="151767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6350" cap="rnd" cmpd="sng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 anchorCtr="0">
            <a:spAutoFit/>
          </a:bodyPr>
          <a:lstStyle/>
          <a:p>
            <a:pPr algn="ctr">
              <a:spcBef>
                <a:spcPts val="1000"/>
              </a:spcBef>
            </a:pPr>
            <a:r>
              <a:rPr lang="es-AR" sz="800">
                <a:solidFill>
                  <a:srgbClr val="FFFFFF"/>
                </a:solidFill>
                <a:latin typeface="Pulso" pitchFamily="2" charset="0"/>
              </a:rPr>
              <a:t>300</a:t>
            </a:r>
          </a:p>
        </p:txBody>
      </p:sp>
      <p:sp>
        <p:nvSpPr>
          <p:cNvPr id="142" name="Forma libre 141">
            <a:extLst>
              <a:ext uri="{FF2B5EF4-FFF2-40B4-BE49-F238E27FC236}">
                <a16:creationId xmlns:a16="http://schemas.microsoft.com/office/drawing/2014/main" id="{A4D85788-E8F7-21BC-34E8-BEF75BA6E087}"/>
              </a:ext>
            </a:extLst>
          </p:cNvPr>
          <p:cNvSpPr/>
          <p:nvPr/>
        </p:nvSpPr>
        <p:spPr>
          <a:xfrm>
            <a:off x="3888501" y="3395574"/>
            <a:ext cx="1205665" cy="734539"/>
          </a:xfrm>
          <a:custGeom>
            <a:avLst/>
            <a:gdLst>
              <a:gd name="connsiteX0" fmla="*/ 0 w 1402478"/>
              <a:gd name="connsiteY0" fmla="*/ 0 h 1055357"/>
              <a:gd name="connsiteX1" fmla="*/ 1402479 w 1402478"/>
              <a:gd name="connsiteY1" fmla="*/ 0 h 1055357"/>
              <a:gd name="connsiteX2" fmla="*/ 1402479 w 1402478"/>
              <a:gd name="connsiteY2" fmla="*/ 1055358 h 1055357"/>
              <a:gd name="connsiteX3" fmla="*/ 0 w 1402478"/>
              <a:gd name="connsiteY3" fmla="*/ 1055358 h 1055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02478" h="1055357">
                <a:moveTo>
                  <a:pt x="0" y="0"/>
                </a:moveTo>
                <a:lnTo>
                  <a:pt x="1402479" y="0"/>
                </a:lnTo>
                <a:lnTo>
                  <a:pt x="1402479" y="1055358"/>
                </a:lnTo>
                <a:lnTo>
                  <a:pt x="0" y="1055358"/>
                </a:lnTo>
                <a:close/>
              </a:path>
            </a:pathLst>
          </a:custGeom>
          <a:solidFill>
            <a:schemeClr val="accent2"/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0"/>
              </a:spcBef>
            </a:pPr>
            <a:endParaRPr lang="es-AR" sz="1200">
              <a:solidFill>
                <a:srgbClr val="FFFFFF"/>
              </a:solidFill>
              <a:latin typeface="Pulso" pitchFamily="2" charset="0"/>
            </a:endParaRPr>
          </a:p>
        </p:txBody>
      </p:sp>
      <p:sp>
        <p:nvSpPr>
          <p:cNvPr id="143" name="Redondear rectángulo de esquina del mismo lado 142">
            <a:extLst>
              <a:ext uri="{FF2B5EF4-FFF2-40B4-BE49-F238E27FC236}">
                <a16:creationId xmlns:a16="http://schemas.microsoft.com/office/drawing/2014/main" id="{576172AA-2F54-270F-8127-66DCA00C94EA}"/>
              </a:ext>
            </a:extLst>
          </p:cNvPr>
          <p:cNvSpPr/>
          <p:nvPr/>
        </p:nvSpPr>
        <p:spPr>
          <a:xfrm>
            <a:off x="3888333" y="2705803"/>
            <a:ext cx="1206000" cy="45719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66FF"/>
          </a:solidFill>
          <a:ln w="9069" cap="flat">
            <a:noFill/>
            <a:prstDash val="solid"/>
            <a:miter/>
          </a:ln>
          <a:effectLst>
            <a:outerShdw blurRad="38100" dist="12700" dir="5400000" sx="101000" sy="101000" algn="ctr" rotWithShape="0">
              <a:srgbClr val="000000">
                <a:alpha val="20000"/>
              </a:srgbClr>
            </a:outerShdw>
          </a:effectLst>
        </p:spPr>
        <p:txBody>
          <a:bodyPr rtlCol="0" anchor="ctr"/>
          <a:lstStyle/>
          <a:p>
            <a:endParaRPr lang="es-AR">
              <a:solidFill>
                <a:srgbClr val="808080"/>
              </a:solidFill>
              <a:latin typeface="FrutigerBold" pitchFamily="2" charset="0"/>
              <a:cs typeface="Arial" pitchFamily="34" charset="0"/>
            </a:endParaRPr>
          </a:p>
        </p:txBody>
      </p:sp>
      <p:sp>
        <p:nvSpPr>
          <p:cNvPr id="144" name="Redondear rectángulo de esquina del mismo lado 143">
            <a:extLst>
              <a:ext uri="{FF2B5EF4-FFF2-40B4-BE49-F238E27FC236}">
                <a16:creationId xmlns:a16="http://schemas.microsoft.com/office/drawing/2014/main" id="{338651E7-8F52-8287-5E0B-E1ED249213F1}"/>
              </a:ext>
            </a:extLst>
          </p:cNvPr>
          <p:cNvSpPr/>
          <p:nvPr/>
        </p:nvSpPr>
        <p:spPr>
          <a:xfrm>
            <a:off x="3889203" y="2823233"/>
            <a:ext cx="1204260" cy="8219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66FF"/>
          </a:solidFill>
          <a:ln w="9069" cap="flat">
            <a:noFill/>
            <a:prstDash val="solid"/>
            <a:miter/>
          </a:ln>
          <a:effectLst>
            <a:outerShdw blurRad="38100" dist="12700" dir="5400000" sx="101000" sy="101000" algn="ctr" rotWithShape="0">
              <a:srgbClr val="000000">
                <a:alpha val="20000"/>
              </a:srgbClr>
            </a:outerShdw>
          </a:effectLst>
        </p:spPr>
        <p:txBody>
          <a:bodyPr rtlCol="0" anchor="ctr"/>
          <a:lstStyle/>
          <a:p>
            <a:endParaRPr lang="es-AR"/>
          </a:p>
        </p:txBody>
      </p:sp>
      <p:sp>
        <p:nvSpPr>
          <p:cNvPr id="145" name="Redondear rectángulo de esquina del mismo lado 144">
            <a:extLst>
              <a:ext uri="{FF2B5EF4-FFF2-40B4-BE49-F238E27FC236}">
                <a16:creationId xmlns:a16="http://schemas.microsoft.com/office/drawing/2014/main" id="{4184C313-41D2-258A-14E1-B3CED1585883}"/>
              </a:ext>
            </a:extLst>
          </p:cNvPr>
          <p:cNvSpPr/>
          <p:nvPr/>
        </p:nvSpPr>
        <p:spPr>
          <a:xfrm>
            <a:off x="3888501" y="3030258"/>
            <a:ext cx="1205665" cy="365316"/>
          </a:xfrm>
          <a:prstGeom prst="round2SameRect">
            <a:avLst>
              <a:gd name="adj1" fmla="val 10555"/>
              <a:gd name="adj2" fmla="val 0"/>
            </a:avLst>
          </a:prstGeom>
          <a:solidFill>
            <a:srgbClr val="0066FF"/>
          </a:solidFill>
          <a:ln w="9069" cap="flat">
            <a:noFill/>
            <a:prstDash val="solid"/>
            <a:miter/>
          </a:ln>
        </p:spPr>
        <p:txBody>
          <a:bodyPr rtlCol="0" anchor="ctr" anchorCtr="0"/>
          <a:lstStyle/>
          <a:p>
            <a:pPr algn="ctr"/>
            <a:endParaRPr lang="es-AR" sz="1200">
              <a:solidFill>
                <a:srgbClr val="FFFFFF"/>
              </a:solidFill>
              <a:latin typeface="Pulso" pitchFamily="2" charset="0"/>
            </a:endParaRPr>
          </a:p>
        </p:txBody>
      </p:sp>
      <p:sp>
        <p:nvSpPr>
          <p:cNvPr id="146" name="Redondear rectángulo de esquina del mismo lado 145">
            <a:extLst>
              <a:ext uri="{FF2B5EF4-FFF2-40B4-BE49-F238E27FC236}">
                <a16:creationId xmlns:a16="http://schemas.microsoft.com/office/drawing/2014/main" id="{9AEDDAA8-A87D-4957-FD20-9F274FA2651C}"/>
              </a:ext>
            </a:extLst>
          </p:cNvPr>
          <p:cNvSpPr/>
          <p:nvPr/>
        </p:nvSpPr>
        <p:spPr>
          <a:xfrm rot="10800000">
            <a:off x="3889203" y="2901671"/>
            <a:ext cx="1204260" cy="111219"/>
          </a:xfrm>
          <a:prstGeom prst="round2SameRect">
            <a:avLst>
              <a:gd name="adj1" fmla="val 25953"/>
              <a:gd name="adj2" fmla="val 0"/>
            </a:avLst>
          </a:prstGeom>
          <a:solidFill>
            <a:schemeClr val="accent2"/>
          </a:solidFill>
          <a:ln w="9069" cap="flat">
            <a:noFill/>
            <a:prstDash val="solid"/>
            <a:miter/>
          </a:ln>
          <a:effectLst>
            <a:outerShdw blurRad="38100" dist="12700" dir="5400000" sx="101000" sy="101000" algn="ctr" rotWithShape="0">
              <a:srgbClr val="000000">
                <a:alpha val="20000"/>
              </a:srgbClr>
            </a:outerShdw>
          </a:effectLst>
        </p:spPr>
        <p:txBody>
          <a:bodyPr rtlCol="0" anchor="ctr"/>
          <a:lstStyle/>
          <a:p>
            <a:endParaRPr lang="es-AR"/>
          </a:p>
        </p:txBody>
      </p:sp>
      <p:sp>
        <p:nvSpPr>
          <p:cNvPr id="147" name="Redondear rectángulo de esquina del mismo lado 146">
            <a:extLst>
              <a:ext uri="{FF2B5EF4-FFF2-40B4-BE49-F238E27FC236}">
                <a16:creationId xmlns:a16="http://schemas.microsoft.com/office/drawing/2014/main" id="{81D12192-C0E4-6419-5F18-AAC7F3D79804}"/>
              </a:ext>
            </a:extLst>
          </p:cNvPr>
          <p:cNvSpPr/>
          <p:nvPr/>
        </p:nvSpPr>
        <p:spPr>
          <a:xfrm rot="10800000">
            <a:off x="3889204" y="2751580"/>
            <a:ext cx="1204258" cy="4571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 w="9069" cap="flat">
            <a:noFill/>
            <a:prstDash val="solid"/>
            <a:miter/>
          </a:ln>
          <a:effectLst>
            <a:outerShdw blurRad="38100" dist="12700" dir="5400000" sx="101000" sy="101000" algn="ctr" rotWithShape="0">
              <a:srgbClr val="000000">
                <a:alpha val="20000"/>
              </a:srgbClr>
            </a:outerShdw>
          </a:effectLst>
        </p:spPr>
        <p:txBody>
          <a:bodyPr rtlCol="0" anchor="ctr"/>
          <a:lstStyle/>
          <a:p>
            <a:endParaRPr lang="es-AR">
              <a:solidFill>
                <a:srgbClr val="808080"/>
              </a:solidFill>
              <a:latin typeface="FrutigerBold" pitchFamily="2" charset="0"/>
              <a:cs typeface="Arial" pitchFamily="34" charset="0"/>
            </a:endParaRPr>
          </a:p>
        </p:txBody>
      </p:sp>
      <p:sp>
        <p:nvSpPr>
          <p:cNvPr id="148" name="Redondear rectángulo de esquina del mismo lado 147">
            <a:extLst>
              <a:ext uri="{FF2B5EF4-FFF2-40B4-BE49-F238E27FC236}">
                <a16:creationId xmlns:a16="http://schemas.microsoft.com/office/drawing/2014/main" id="{9640CD9D-200B-1664-1E3F-75534C385D8E}"/>
              </a:ext>
            </a:extLst>
          </p:cNvPr>
          <p:cNvSpPr/>
          <p:nvPr/>
        </p:nvSpPr>
        <p:spPr>
          <a:xfrm>
            <a:off x="5941956" y="2929907"/>
            <a:ext cx="1206000" cy="1200206"/>
          </a:xfrm>
          <a:prstGeom prst="round2SameRect">
            <a:avLst>
              <a:gd name="adj1" fmla="val 3216"/>
              <a:gd name="adj2" fmla="val 0"/>
            </a:avLst>
          </a:prstGeom>
          <a:gradFill flip="none" rotWithShape="1">
            <a:gsLst>
              <a:gs pos="0">
                <a:srgbClr val="0066FF"/>
              </a:gs>
              <a:gs pos="57000">
                <a:schemeClr val="bg2"/>
              </a:gs>
            </a:gsLst>
            <a:lin ang="5400000" scaled="0"/>
            <a:tileRect/>
          </a:gra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AR" sz="1200">
                <a:solidFill>
                  <a:srgbClr val="FFFFFF"/>
                </a:solidFill>
                <a:latin typeface="Pulso" pitchFamily="2" charset="0"/>
              </a:rPr>
              <a:t>5.600</a:t>
            </a:r>
          </a:p>
        </p:txBody>
      </p:sp>
      <p:sp>
        <p:nvSpPr>
          <p:cNvPr id="149" name="Rectángulo redondeado 148">
            <a:extLst>
              <a:ext uri="{FF2B5EF4-FFF2-40B4-BE49-F238E27FC236}">
                <a16:creationId xmlns:a16="http://schemas.microsoft.com/office/drawing/2014/main" id="{7E096379-2F6B-49F2-90A3-78EB53B53FBA}"/>
              </a:ext>
            </a:extLst>
          </p:cNvPr>
          <p:cNvSpPr/>
          <p:nvPr/>
        </p:nvSpPr>
        <p:spPr>
          <a:xfrm>
            <a:off x="5942292" y="2604706"/>
            <a:ext cx="1206000" cy="300051"/>
          </a:xfrm>
          <a:prstGeom prst="roundRect">
            <a:avLst>
              <a:gd name="adj" fmla="val 12957"/>
            </a:avLst>
          </a:prstGeom>
          <a:gradFill flip="none" rotWithShape="1">
            <a:gsLst>
              <a:gs pos="0">
                <a:srgbClr val="0066FF"/>
              </a:gs>
              <a:gs pos="100000">
                <a:schemeClr val="bg2"/>
              </a:gs>
            </a:gsLst>
            <a:lin ang="5400000" scaled="0"/>
            <a:tileRect/>
          </a:gradFill>
          <a:ln w="38100" cap="rnd" cmpd="sng">
            <a:noFill/>
            <a:prstDash val="sysDash"/>
            <a:miter lim="800000"/>
          </a:ln>
          <a:effectLst>
            <a:outerShdw blurRad="38100" dist="12700" dir="5400000" sx="100570" sy="100570" algn="t" rotWithShape="0">
              <a:prstClr val="black">
                <a:alpha val="19602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AR" sz="1200">
                <a:solidFill>
                  <a:srgbClr val="FFFFFF"/>
                </a:solidFill>
                <a:latin typeface="Pulso" pitchFamily="2" charset="0"/>
              </a:rPr>
              <a:t>1.800</a:t>
            </a:r>
          </a:p>
        </p:txBody>
      </p:sp>
      <p:sp>
        <p:nvSpPr>
          <p:cNvPr id="150" name="Rectángulo redondeado 149">
            <a:extLst>
              <a:ext uri="{FF2B5EF4-FFF2-40B4-BE49-F238E27FC236}">
                <a16:creationId xmlns:a16="http://schemas.microsoft.com/office/drawing/2014/main" id="{EC4DD6E0-06D4-44AF-0699-5F0C06CC62C9}"/>
              </a:ext>
            </a:extLst>
          </p:cNvPr>
          <p:cNvSpPr/>
          <p:nvPr/>
        </p:nvSpPr>
        <p:spPr>
          <a:xfrm>
            <a:off x="5942294" y="1335336"/>
            <a:ext cx="1206000" cy="1244790"/>
          </a:xfrm>
          <a:prstGeom prst="roundRect">
            <a:avLst>
              <a:gd name="adj" fmla="val 3403"/>
            </a:avLst>
          </a:prstGeom>
          <a:gradFill flip="none" rotWithShape="1">
            <a:gsLst>
              <a:gs pos="0">
                <a:srgbClr val="0066FF"/>
              </a:gs>
              <a:gs pos="61000">
                <a:schemeClr val="bg2"/>
              </a:gs>
            </a:gsLst>
            <a:lin ang="5400000" scaled="0"/>
            <a:tileRect/>
          </a:gradFill>
          <a:ln w="38100" cap="rnd" cmpd="sng">
            <a:noFill/>
            <a:prstDash val="sysDash"/>
            <a:miter lim="800000"/>
          </a:ln>
          <a:effectLst>
            <a:outerShdw blurRad="38100" dist="12700" dir="5400000" sx="100570" sy="100570" algn="t" rotWithShape="0">
              <a:prstClr val="black">
                <a:alpha val="19602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AR" sz="1200">
                <a:solidFill>
                  <a:srgbClr val="FFFFFF"/>
                </a:solidFill>
                <a:latin typeface="Pulso" pitchFamily="2" charset="0"/>
              </a:rPr>
              <a:t>5.400</a:t>
            </a:r>
          </a:p>
        </p:txBody>
      </p:sp>
      <p:cxnSp>
        <p:nvCxnSpPr>
          <p:cNvPr id="151" name="Conector recto 150">
            <a:extLst>
              <a:ext uri="{FF2B5EF4-FFF2-40B4-BE49-F238E27FC236}">
                <a16:creationId xmlns:a16="http://schemas.microsoft.com/office/drawing/2014/main" id="{D83E8676-584D-8775-3328-408FAFF96DCA}"/>
              </a:ext>
            </a:extLst>
          </p:cNvPr>
          <p:cNvCxnSpPr>
            <a:cxnSpLocks/>
          </p:cNvCxnSpPr>
          <p:nvPr/>
        </p:nvCxnSpPr>
        <p:spPr>
          <a:xfrm>
            <a:off x="1522047" y="4125063"/>
            <a:ext cx="5970737" cy="0"/>
          </a:xfrm>
          <a:prstGeom prst="line">
            <a:avLst/>
          </a:prstGeom>
          <a:ln w="19050" cap="rnd">
            <a:solidFill>
              <a:schemeClr val="bg1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Title 1">
            <a:extLst>
              <a:ext uri="{FF2B5EF4-FFF2-40B4-BE49-F238E27FC236}">
                <a16:creationId xmlns:a16="http://schemas.microsoft.com/office/drawing/2014/main" id="{9B54F586-A4F7-26F9-AD3C-09D1B102B016}"/>
              </a:ext>
            </a:extLst>
          </p:cNvPr>
          <p:cNvSpPr txBox="1">
            <a:spLocks/>
          </p:cNvSpPr>
          <p:nvPr/>
        </p:nvSpPr>
        <p:spPr>
          <a:xfrm>
            <a:off x="2250404" y="4213491"/>
            <a:ext cx="375103" cy="184666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200" b="0" spc="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2024</a:t>
            </a:r>
          </a:p>
        </p:txBody>
      </p:sp>
      <p:sp>
        <p:nvSpPr>
          <p:cNvPr id="153" name="Title 1">
            <a:extLst>
              <a:ext uri="{FF2B5EF4-FFF2-40B4-BE49-F238E27FC236}">
                <a16:creationId xmlns:a16="http://schemas.microsoft.com/office/drawing/2014/main" id="{1438AB47-5A91-FDAF-0E64-D616F98681A0}"/>
              </a:ext>
            </a:extLst>
          </p:cNvPr>
          <p:cNvSpPr txBox="1">
            <a:spLocks/>
          </p:cNvSpPr>
          <p:nvPr/>
        </p:nvSpPr>
        <p:spPr>
          <a:xfrm>
            <a:off x="4343296" y="4232327"/>
            <a:ext cx="306548" cy="161892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200" b="0" spc="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2025</a:t>
            </a:r>
          </a:p>
        </p:txBody>
      </p:sp>
      <p:sp>
        <p:nvSpPr>
          <p:cNvPr id="154" name="Title 1">
            <a:extLst>
              <a:ext uri="{FF2B5EF4-FFF2-40B4-BE49-F238E27FC236}">
                <a16:creationId xmlns:a16="http://schemas.microsoft.com/office/drawing/2014/main" id="{CBC1E0AC-EC31-0061-49D8-DB9F5D3F37E0}"/>
              </a:ext>
            </a:extLst>
          </p:cNvPr>
          <p:cNvSpPr txBox="1">
            <a:spLocks/>
          </p:cNvSpPr>
          <p:nvPr/>
        </p:nvSpPr>
        <p:spPr>
          <a:xfrm>
            <a:off x="6391682" y="4232327"/>
            <a:ext cx="306548" cy="161892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200" b="0" spc="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2030</a:t>
            </a:r>
          </a:p>
        </p:txBody>
      </p:sp>
      <p:sp>
        <p:nvSpPr>
          <p:cNvPr id="156" name="Title 1">
            <a:extLst>
              <a:ext uri="{FF2B5EF4-FFF2-40B4-BE49-F238E27FC236}">
                <a16:creationId xmlns:a16="http://schemas.microsoft.com/office/drawing/2014/main" id="{E1D3774A-7F2C-F8AA-752E-7DADF21F408F}"/>
              </a:ext>
            </a:extLst>
          </p:cNvPr>
          <p:cNvSpPr txBox="1">
            <a:spLocks/>
          </p:cNvSpPr>
          <p:nvPr/>
        </p:nvSpPr>
        <p:spPr>
          <a:xfrm>
            <a:off x="7711770" y="1418270"/>
            <a:ext cx="889667" cy="1077218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  <a:spcAft>
                <a:spcPts val="600"/>
              </a:spcAft>
              <a:buClr>
                <a:schemeClr val="tx2">
                  <a:lumMod val="75000"/>
                  <a:lumOff val="25000"/>
                </a:schemeClr>
              </a:buClr>
            </a:pPr>
            <a:r>
              <a:rPr lang="es-ES_tradnl" sz="1000" b="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Regionalización</a:t>
            </a:r>
          </a:p>
          <a:p>
            <a:pPr>
              <a:lnSpc>
                <a:spcPct val="100000"/>
              </a:lnSpc>
              <a:spcAft>
                <a:spcPts val="600"/>
              </a:spcAft>
              <a:buClr>
                <a:schemeClr val="tx2">
                  <a:lumMod val="75000"/>
                  <a:lumOff val="25000"/>
                </a:schemeClr>
              </a:buClr>
            </a:pPr>
            <a:r>
              <a:rPr lang="es-ES_tradnl" sz="1000" b="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Energía</a:t>
            </a:r>
          </a:p>
          <a:p>
            <a:pPr>
              <a:lnSpc>
                <a:spcPct val="100000"/>
              </a:lnSpc>
              <a:spcAft>
                <a:spcPts val="600"/>
              </a:spcAft>
              <a:buClr>
                <a:schemeClr val="tx2">
                  <a:lumMod val="75000"/>
                  <a:lumOff val="25000"/>
                </a:schemeClr>
              </a:buClr>
            </a:pPr>
            <a:r>
              <a:rPr lang="es-ES_tradnl" sz="1000" b="0" spc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Smarthome</a:t>
            </a:r>
            <a:endParaRPr lang="es-ES_tradnl" sz="1000" b="0" spc="0">
              <a:solidFill>
                <a:schemeClr val="bg1">
                  <a:lumMod val="25000"/>
                </a:schemeClr>
              </a:solidFill>
              <a:latin typeface="Pulso Light" pitchFamily="2" charset="0"/>
            </a:endParaRPr>
          </a:p>
          <a:p>
            <a:pPr>
              <a:lnSpc>
                <a:spcPct val="100000"/>
              </a:lnSpc>
              <a:spcAft>
                <a:spcPts val="600"/>
              </a:spcAft>
              <a:buClr>
                <a:schemeClr val="tx2">
                  <a:lumMod val="75000"/>
                  <a:lumOff val="25000"/>
                </a:schemeClr>
              </a:buClr>
            </a:pPr>
            <a:r>
              <a:rPr lang="es-ES_tradnl" sz="1000" b="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Tienda</a:t>
            </a:r>
          </a:p>
          <a:p>
            <a:pPr>
              <a:lnSpc>
                <a:spcPct val="100000"/>
              </a:lnSpc>
              <a:spcAft>
                <a:spcPts val="600"/>
              </a:spcAft>
              <a:buClr>
                <a:schemeClr val="tx2">
                  <a:lumMod val="75000"/>
                  <a:lumOff val="25000"/>
                </a:schemeClr>
              </a:buClr>
            </a:pPr>
            <a:r>
              <a:rPr lang="es-ES_tradnl" sz="1000" b="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Fintech</a:t>
            </a:r>
            <a:endParaRPr lang="es-ES_tradnl" sz="1000" b="0" spc="0" noProof="0">
              <a:solidFill>
                <a:schemeClr val="bg1">
                  <a:lumMod val="25000"/>
                </a:schemeClr>
              </a:solidFill>
              <a:latin typeface="Pulso Light" pitchFamily="2" charset="0"/>
            </a:endParaRPr>
          </a:p>
        </p:txBody>
      </p:sp>
      <p:sp>
        <p:nvSpPr>
          <p:cNvPr id="157" name="Title 1">
            <a:extLst>
              <a:ext uri="{FF2B5EF4-FFF2-40B4-BE49-F238E27FC236}">
                <a16:creationId xmlns:a16="http://schemas.microsoft.com/office/drawing/2014/main" id="{DB18B1DB-F968-E408-D51D-6ED6D9A26BD9}"/>
              </a:ext>
            </a:extLst>
          </p:cNvPr>
          <p:cNvSpPr txBox="1">
            <a:spLocks/>
          </p:cNvSpPr>
          <p:nvPr/>
        </p:nvSpPr>
        <p:spPr>
          <a:xfrm>
            <a:off x="7703698" y="3213453"/>
            <a:ext cx="1112484" cy="615553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  <a:spcAft>
                <a:spcPts val="600"/>
              </a:spcAft>
              <a:buClr>
                <a:schemeClr val="tx2">
                  <a:lumMod val="75000"/>
                  <a:lumOff val="25000"/>
                </a:schemeClr>
              </a:buClr>
            </a:pPr>
            <a:r>
              <a:rPr lang="es-ES_tradnl" sz="1000" b="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Conectividad móvil</a:t>
            </a:r>
          </a:p>
          <a:p>
            <a:pPr>
              <a:lnSpc>
                <a:spcPct val="100000"/>
              </a:lnSpc>
              <a:spcAft>
                <a:spcPts val="600"/>
              </a:spcAft>
              <a:buClr>
                <a:schemeClr val="tx2">
                  <a:lumMod val="75000"/>
                  <a:lumOff val="25000"/>
                </a:schemeClr>
              </a:buClr>
            </a:pPr>
            <a:r>
              <a:rPr lang="es-ES_tradnl" sz="1000" b="0" spc="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Conectividad </a:t>
            </a:r>
            <a:r>
              <a:rPr lang="es-ES_tradnl" sz="1000" b="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fija</a:t>
            </a:r>
          </a:p>
          <a:p>
            <a:pPr>
              <a:lnSpc>
                <a:spcPct val="100000"/>
              </a:lnSpc>
              <a:spcAft>
                <a:spcPts val="600"/>
              </a:spcAft>
              <a:buClr>
                <a:schemeClr val="tx2">
                  <a:lumMod val="75000"/>
                  <a:lumOff val="25000"/>
                </a:schemeClr>
              </a:buClr>
            </a:pPr>
            <a:r>
              <a:rPr lang="es-ES_tradnl" sz="1000" b="0" spc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Entretenimiento</a:t>
            </a:r>
            <a:endParaRPr lang="es-ES_tradnl" sz="1000" b="0" spc="0" noProof="0">
              <a:solidFill>
                <a:schemeClr val="bg1">
                  <a:lumMod val="25000"/>
                </a:schemeClr>
              </a:solidFill>
              <a:latin typeface="Pulso Light" pitchFamily="2" charset="0"/>
            </a:endParaRPr>
          </a:p>
        </p:txBody>
      </p:sp>
      <p:sp>
        <p:nvSpPr>
          <p:cNvPr id="158" name="Rectángulo redondeado 157">
            <a:extLst>
              <a:ext uri="{FF2B5EF4-FFF2-40B4-BE49-F238E27FC236}">
                <a16:creationId xmlns:a16="http://schemas.microsoft.com/office/drawing/2014/main" id="{F13EB812-CE99-0968-2FA1-9C3FFF8F96C9}"/>
              </a:ext>
            </a:extLst>
          </p:cNvPr>
          <p:cNvSpPr/>
          <p:nvPr/>
        </p:nvSpPr>
        <p:spPr>
          <a:xfrm>
            <a:off x="4183513" y="3371781"/>
            <a:ext cx="626114" cy="25213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66FF"/>
              </a:gs>
              <a:gs pos="57000">
                <a:schemeClr val="bg2"/>
              </a:gs>
            </a:gsLst>
            <a:lin ang="5400000" scaled="0"/>
            <a:tileRect/>
          </a:gradFill>
          <a:ln w="6350" cap="rnd" cmpd="sng">
            <a:solidFill>
              <a:srgbClr val="FFFFFF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AR" sz="1200">
                <a:solidFill>
                  <a:srgbClr val="FFFFFF"/>
                </a:solidFill>
                <a:latin typeface="Pulso" pitchFamily="2" charset="0"/>
              </a:rPr>
              <a:t>5.100</a:t>
            </a:r>
          </a:p>
        </p:txBody>
      </p:sp>
      <p:sp>
        <p:nvSpPr>
          <p:cNvPr id="159" name="Rectángulo redondeado 158">
            <a:extLst>
              <a:ext uri="{FF2B5EF4-FFF2-40B4-BE49-F238E27FC236}">
                <a16:creationId xmlns:a16="http://schemas.microsoft.com/office/drawing/2014/main" id="{0C26CF97-E8EB-1E53-7791-FCA6A635C043}"/>
              </a:ext>
            </a:extLst>
          </p:cNvPr>
          <p:cNvSpPr/>
          <p:nvPr/>
        </p:nvSpPr>
        <p:spPr>
          <a:xfrm>
            <a:off x="4282635" y="2828991"/>
            <a:ext cx="427870" cy="16339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66FF"/>
              </a:gs>
              <a:gs pos="57000">
                <a:schemeClr val="bg2"/>
              </a:gs>
            </a:gsLst>
            <a:lin ang="5400000" scaled="0"/>
            <a:tileRect/>
          </a:gradFill>
          <a:ln w="6350" cap="rnd" cmpd="sng">
            <a:solidFill>
              <a:srgbClr val="FFFFFF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AR" sz="1050">
                <a:solidFill>
                  <a:srgbClr val="FFFFFF"/>
                </a:solidFill>
                <a:latin typeface="Pulso" pitchFamily="2" charset="0"/>
              </a:rPr>
              <a:t>900</a:t>
            </a:r>
          </a:p>
        </p:txBody>
      </p:sp>
      <p:sp>
        <p:nvSpPr>
          <p:cNvPr id="160" name="Rectángulo redondeado 159">
            <a:extLst>
              <a:ext uri="{FF2B5EF4-FFF2-40B4-BE49-F238E27FC236}">
                <a16:creationId xmlns:a16="http://schemas.microsoft.com/office/drawing/2014/main" id="{BB770C09-C21C-83B4-921E-7501CC6E1EBF}"/>
              </a:ext>
            </a:extLst>
          </p:cNvPr>
          <p:cNvSpPr/>
          <p:nvPr/>
        </p:nvSpPr>
        <p:spPr>
          <a:xfrm>
            <a:off x="4317427" y="2670657"/>
            <a:ext cx="358286" cy="14351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66FF"/>
              </a:gs>
              <a:gs pos="57000">
                <a:schemeClr val="bg2"/>
              </a:gs>
            </a:gsLst>
            <a:lin ang="5400000" scaled="0"/>
            <a:tileRect/>
          </a:gradFill>
          <a:ln w="6350" cap="rnd" cmpd="sng">
            <a:solidFill>
              <a:srgbClr val="FFFFFF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0"/>
              </a:spcBef>
            </a:pPr>
            <a:r>
              <a:rPr lang="es-AR" sz="800">
                <a:solidFill>
                  <a:srgbClr val="FFFFFF"/>
                </a:solidFill>
                <a:latin typeface="Pulso" pitchFamily="2" charset="0"/>
              </a:rPr>
              <a:t>400</a:t>
            </a:r>
          </a:p>
        </p:txBody>
      </p:sp>
      <p:sp>
        <p:nvSpPr>
          <p:cNvPr id="161" name="Flecha curva 160">
            <a:extLst>
              <a:ext uri="{FF2B5EF4-FFF2-40B4-BE49-F238E27FC236}">
                <a16:creationId xmlns:a16="http://schemas.microsoft.com/office/drawing/2014/main" id="{9B41216E-7FF3-0AD8-6B7B-3BD30287C2C6}"/>
              </a:ext>
            </a:extLst>
          </p:cNvPr>
          <p:cNvSpPr/>
          <p:nvPr/>
        </p:nvSpPr>
        <p:spPr>
          <a:xfrm>
            <a:off x="2371851" y="2459762"/>
            <a:ext cx="1614318" cy="495870"/>
          </a:xfrm>
          <a:prstGeom prst="bentArrow">
            <a:avLst>
              <a:gd name="adj1" fmla="val 12768"/>
              <a:gd name="adj2" fmla="val 14807"/>
              <a:gd name="adj3" fmla="val 16845"/>
              <a:gd name="adj4" fmla="val 43750"/>
            </a:avLst>
          </a:prstGeom>
          <a:solidFill>
            <a:schemeClr val="bg1">
              <a:lumMod val="90000"/>
            </a:schemeClr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</a:endParaRPr>
          </a:p>
        </p:txBody>
      </p:sp>
      <p:sp>
        <p:nvSpPr>
          <p:cNvPr id="162" name="Flecha curva 161">
            <a:extLst>
              <a:ext uri="{FF2B5EF4-FFF2-40B4-BE49-F238E27FC236}">
                <a16:creationId xmlns:a16="http://schemas.microsoft.com/office/drawing/2014/main" id="{9BB0B50A-7403-B8D4-3AD4-8EA5CF03B2CD}"/>
              </a:ext>
            </a:extLst>
          </p:cNvPr>
          <p:cNvSpPr/>
          <p:nvPr/>
        </p:nvSpPr>
        <p:spPr>
          <a:xfrm>
            <a:off x="4458795" y="1077087"/>
            <a:ext cx="1602113" cy="1325956"/>
          </a:xfrm>
          <a:prstGeom prst="bentArrow">
            <a:avLst>
              <a:gd name="adj1" fmla="val 5640"/>
              <a:gd name="adj2" fmla="val 5496"/>
              <a:gd name="adj3" fmla="val 7741"/>
              <a:gd name="adj4" fmla="val 17679"/>
            </a:avLst>
          </a:prstGeom>
          <a:solidFill>
            <a:schemeClr val="bg1">
              <a:lumMod val="90000"/>
            </a:schemeClr>
          </a:solidFill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</a:endParaRPr>
          </a:p>
        </p:txBody>
      </p:sp>
      <p:sp>
        <p:nvSpPr>
          <p:cNvPr id="163" name="CuadroTexto 162">
            <a:extLst>
              <a:ext uri="{FF2B5EF4-FFF2-40B4-BE49-F238E27FC236}">
                <a16:creationId xmlns:a16="http://schemas.microsoft.com/office/drawing/2014/main" id="{6ADC7858-2DFA-DF2D-4C8A-354CA55AB176}"/>
              </a:ext>
            </a:extLst>
          </p:cNvPr>
          <p:cNvSpPr txBox="1"/>
          <p:nvPr/>
        </p:nvSpPr>
        <p:spPr>
          <a:xfrm>
            <a:off x="5156788" y="949113"/>
            <a:ext cx="20612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AR" sz="1000">
                <a:latin typeface="Pulso" pitchFamily="2" charset="0"/>
              </a:rPr>
              <a:t>2x</a:t>
            </a:r>
          </a:p>
        </p:txBody>
      </p:sp>
      <p:sp>
        <p:nvSpPr>
          <p:cNvPr id="164" name="CuadroTexto 163">
            <a:extLst>
              <a:ext uri="{FF2B5EF4-FFF2-40B4-BE49-F238E27FC236}">
                <a16:creationId xmlns:a16="http://schemas.microsoft.com/office/drawing/2014/main" id="{93D14C8E-67CA-3273-E1EC-16B9AED48611}"/>
              </a:ext>
            </a:extLst>
          </p:cNvPr>
          <p:cNvSpPr txBox="1"/>
          <p:nvPr/>
        </p:nvSpPr>
        <p:spPr>
          <a:xfrm>
            <a:off x="2994557" y="2335673"/>
            <a:ext cx="36890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AR" sz="1000">
                <a:latin typeface="Pulso" pitchFamily="2" charset="0"/>
              </a:rPr>
              <a:t>1,7x</a:t>
            </a:r>
          </a:p>
        </p:txBody>
      </p:sp>
      <p:cxnSp>
        <p:nvCxnSpPr>
          <p:cNvPr id="166" name="Conector recto 165">
            <a:extLst>
              <a:ext uri="{FF2B5EF4-FFF2-40B4-BE49-F238E27FC236}">
                <a16:creationId xmlns:a16="http://schemas.microsoft.com/office/drawing/2014/main" id="{A569CFB3-EB97-CDB8-1561-71FD4EDE5EDB}"/>
              </a:ext>
            </a:extLst>
          </p:cNvPr>
          <p:cNvCxnSpPr>
            <a:cxnSpLocks/>
            <a:stCxn id="115" idx="3"/>
            <a:endCxn id="115" idx="2"/>
          </p:cNvCxnSpPr>
          <p:nvPr/>
        </p:nvCxnSpPr>
        <p:spPr>
          <a:xfrm flipV="1">
            <a:off x="5120998" y="1335336"/>
            <a:ext cx="794629" cy="1376775"/>
          </a:xfrm>
          <a:prstGeom prst="line">
            <a:avLst/>
          </a:prstGeom>
          <a:gradFill>
            <a:gsLst>
              <a:gs pos="76000">
                <a:schemeClr val="bg1">
                  <a:alpha val="0"/>
                </a:schemeClr>
              </a:gs>
              <a:gs pos="0">
                <a:schemeClr val="bg1">
                  <a:lumMod val="75000"/>
                  <a:alpha val="69606"/>
                </a:schemeClr>
              </a:gs>
              <a:gs pos="31000">
                <a:schemeClr val="bg1">
                  <a:lumMod val="90000"/>
                  <a:alpha val="70000"/>
                </a:schemeClr>
              </a:gs>
            </a:gsLst>
            <a:lin ang="0" scaled="0"/>
          </a:gradFill>
          <a:ln cap="rnd"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Conector recto 166">
            <a:extLst>
              <a:ext uri="{FF2B5EF4-FFF2-40B4-BE49-F238E27FC236}">
                <a16:creationId xmlns:a16="http://schemas.microsoft.com/office/drawing/2014/main" id="{332A1431-C931-1F08-4DF0-A1975B0E0714}"/>
              </a:ext>
            </a:extLst>
          </p:cNvPr>
          <p:cNvCxnSpPr>
            <a:cxnSpLocks/>
            <a:stCxn id="116" idx="3"/>
            <a:endCxn id="116" idx="2"/>
          </p:cNvCxnSpPr>
          <p:nvPr/>
        </p:nvCxnSpPr>
        <p:spPr>
          <a:xfrm flipV="1">
            <a:off x="5120998" y="2604707"/>
            <a:ext cx="794629" cy="214808"/>
          </a:xfrm>
          <a:prstGeom prst="line">
            <a:avLst/>
          </a:prstGeom>
          <a:gradFill>
            <a:gsLst>
              <a:gs pos="76000">
                <a:schemeClr val="bg1">
                  <a:alpha val="0"/>
                </a:schemeClr>
              </a:gs>
              <a:gs pos="0">
                <a:schemeClr val="bg1">
                  <a:lumMod val="75000"/>
                  <a:alpha val="69606"/>
                </a:schemeClr>
              </a:gs>
              <a:gs pos="31000">
                <a:schemeClr val="bg1">
                  <a:lumMod val="90000"/>
                  <a:alpha val="70000"/>
                </a:schemeClr>
              </a:gs>
            </a:gsLst>
            <a:lin ang="0" scaled="0"/>
          </a:gradFill>
          <a:ln cap="rnd"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Conector recto 167">
            <a:extLst>
              <a:ext uri="{FF2B5EF4-FFF2-40B4-BE49-F238E27FC236}">
                <a16:creationId xmlns:a16="http://schemas.microsoft.com/office/drawing/2014/main" id="{974911F7-C33C-0C04-A800-7C3AF14C15B5}"/>
              </a:ext>
            </a:extLst>
          </p:cNvPr>
          <p:cNvCxnSpPr>
            <a:cxnSpLocks/>
            <a:stCxn id="117" idx="3"/>
            <a:endCxn id="117" idx="2"/>
          </p:cNvCxnSpPr>
          <p:nvPr/>
        </p:nvCxnSpPr>
        <p:spPr>
          <a:xfrm flipV="1">
            <a:off x="5120998" y="2926983"/>
            <a:ext cx="794629" cy="107405"/>
          </a:xfrm>
          <a:prstGeom prst="line">
            <a:avLst/>
          </a:prstGeom>
          <a:gradFill>
            <a:gsLst>
              <a:gs pos="76000">
                <a:schemeClr val="bg1">
                  <a:alpha val="0"/>
                </a:schemeClr>
              </a:gs>
              <a:gs pos="0">
                <a:schemeClr val="bg1">
                  <a:lumMod val="75000"/>
                  <a:alpha val="69606"/>
                </a:schemeClr>
              </a:gs>
              <a:gs pos="31000">
                <a:schemeClr val="bg1">
                  <a:lumMod val="90000"/>
                  <a:alpha val="70000"/>
                </a:schemeClr>
              </a:gs>
            </a:gsLst>
            <a:lin ang="0" scaled="0"/>
          </a:gradFill>
          <a:ln cap="rnd"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CuadroTexto 168">
            <a:extLst>
              <a:ext uri="{FF2B5EF4-FFF2-40B4-BE49-F238E27FC236}">
                <a16:creationId xmlns:a16="http://schemas.microsoft.com/office/drawing/2014/main" id="{A05FBB63-DFBD-EBBA-6AD7-530519A7AF46}"/>
              </a:ext>
            </a:extLst>
          </p:cNvPr>
          <p:cNvSpPr txBox="1"/>
          <p:nvPr/>
        </p:nvSpPr>
        <p:spPr>
          <a:xfrm rot="17964824">
            <a:off x="5376461" y="1921815"/>
            <a:ext cx="219228" cy="76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AR" sz="600">
                <a:solidFill>
                  <a:schemeClr val="accent1"/>
                </a:solidFill>
                <a:latin typeface="Pulso" pitchFamily="2" charset="0"/>
              </a:rPr>
              <a:t>2x</a:t>
            </a:r>
          </a:p>
        </p:txBody>
      </p:sp>
      <p:sp>
        <p:nvSpPr>
          <p:cNvPr id="170" name="CuadroTexto 169">
            <a:extLst>
              <a:ext uri="{FF2B5EF4-FFF2-40B4-BE49-F238E27FC236}">
                <a16:creationId xmlns:a16="http://schemas.microsoft.com/office/drawing/2014/main" id="{92650F85-8824-F196-5262-C4A0241A3D9E}"/>
              </a:ext>
            </a:extLst>
          </p:cNvPr>
          <p:cNvSpPr txBox="1"/>
          <p:nvPr/>
        </p:nvSpPr>
        <p:spPr>
          <a:xfrm rot="20774650">
            <a:off x="5421112" y="2600193"/>
            <a:ext cx="206127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AR" sz="600">
                <a:solidFill>
                  <a:schemeClr val="accent1"/>
                </a:solidFill>
                <a:latin typeface="Pulso" pitchFamily="2" charset="0"/>
              </a:rPr>
              <a:t>2x</a:t>
            </a:r>
          </a:p>
        </p:txBody>
      </p:sp>
      <p:sp>
        <p:nvSpPr>
          <p:cNvPr id="171" name="CuadroTexto 170">
            <a:extLst>
              <a:ext uri="{FF2B5EF4-FFF2-40B4-BE49-F238E27FC236}">
                <a16:creationId xmlns:a16="http://schemas.microsoft.com/office/drawing/2014/main" id="{463BC009-FB2D-7942-896D-256C844CA0E4}"/>
              </a:ext>
            </a:extLst>
          </p:cNvPr>
          <p:cNvSpPr txBox="1"/>
          <p:nvPr/>
        </p:nvSpPr>
        <p:spPr>
          <a:xfrm rot="21059055">
            <a:off x="5417937" y="2885796"/>
            <a:ext cx="206127" cy="809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AR" sz="600">
                <a:solidFill>
                  <a:schemeClr val="accent1"/>
                </a:solidFill>
                <a:latin typeface="Pulso" pitchFamily="2" charset="0"/>
              </a:rPr>
              <a:t>1,1x</a:t>
            </a:r>
          </a:p>
        </p:txBody>
      </p:sp>
      <p:cxnSp>
        <p:nvCxnSpPr>
          <p:cNvPr id="178" name="Conector recto 177">
            <a:extLst>
              <a:ext uri="{FF2B5EF4-FFF2-40B4-BE49-F238E27FC236}">
                <a16:creationId xmlns:a16="http://schemas.microsoft.com/office/drawing/2014/main" id="{25B857B2-EC69-A463-B32A-B9557F5E1AB5}"/>
              </a:ext>
            </a:extLst>
          </p:cNvPr>
          <p:cNvCxnSpPr>
            <a:cxnSpLocks/>
            <a:stCxn id="114" idx="3"/>
            <a:endCxn id="114" idx="2"/>
          </p:cNvCxnSpPr>
          <p:nvPr/>
        </p:nvCxnSpPr>
        <p:spPr>
          <a:xfrm flipV="1">
            <a:off x="3068777" y="3034387"/>
            <a:ext cx="791822" cy="451174"/>
          </a:xfrm>
          <a:prstGeom prst="line">
            <a:avLst/>
          </a:prstGeom>
          <a:ln cap="rnd"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Conector recto 178">
            <a:extLst>
              <a:ext uri="{FF2B5EF4-FFF2-40B4-BE49-F238E27FC236}">
                <a16:creationId xmlns:a16="http://schemas.microsoft.com/office/drawing/2014/main" id="{B2239F75-C5F5-E50A-4669-19E1EA626B33}"/>
              </a:ext>
            </a:extLst>
          </p:cNvPr>
          <p:cNvCxnSpPr>
            <a:cxnSpLocks/>
            <a:stCxn id="112" idx="3"/>
            <a:endCxn id="112" idx="2"/>
          </p:cNvCxnSpPr>
          <p:nvPr/>
        </p:nvCxnSpPr>
        <p:spPr>
          <a:xfrm flipV="1">
            <a:off x="3070025" y="2819516"/>
            <a:ext cx="790575" cy="559835"/>
          </a:xfrm>
          <a:prstGeom prst="line">
            <a:avLst/>
          </a:prstGeom>
          <a:ln cap="rnd"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CuadroTexto 179">
            <a:extLst>
              <a:ext uri="{FF2B5EF4-FFF2-40B4-BE49-F238E27FC236}">
                <a16:creationId xmlns:a16="http://schemas.microsoft.com/office/drawing/2014/main" id="{61634965-CA11-BA14-9033-8D348944C09D}"/>
              </a:ext>
            </a:extLst>
          </p:cNvPr>
          <p:cNvSpPr txBox="1"/>
          <p:nvPr/>
        </p:nvSpPr>
        <p:spPr>
          <a:xfrm rot="19537208">
            <a:off x="3317186" y="3032071"/>
            <a:ext cx="206127" cy="809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AR" sz="600">
                <a:solidFill>
                  <a:schemeClr val="accent1"/>
                </a:solidFill>
                <a:latin typeface="Pulso" pitchFamily="2" charset="0"/>
              </a:rPr>
              <a:t>2,3x</a:t>
            </a:r>
          </a:p>
        </p:txBody>
      </p:sp>
      <p:sp>
        <p:nvSpPr>
          <p:cNvPr id="181" name="CuadroTexto 180">
            <a:extLst>
              <a:ext uri="{FF2B5EF4-FFF2-40B4-BE49-F238E27FC236}">
                <a16:creationId xmlns:a16="http://schemas.microsoft.com/office/drawing/2014/main" id="{C2C631DD-2E6B-DF39-32CE-5F5E090B94F8}"/>
              </a:ext>
            </a:extLst>
          </p:cNvPr>
          <p:cNvSpPr txBox="1"/>
          <p:nvPr/>
        </p:nvSpPr>
        <p:spPr>
          <a:xfrm rot="19745848">
            <a:off x="3406747" y="3128012"/>
            <a:ext cx="206127" cy="809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AR" sz="600">
                <a:solidFill>
                  <a:schemeClr val="accent1"/>
                </a:solidFill>
                <a:latin typeface="Pulso" pitchFamily="2" charset="0"/>
              </a:rPr>
              <a:t>1,7x</a:t>
            </a:r>
          </a:p>
        </p:txBody>
      </p:sp>
      <p:cxnSp>
        <p:nvCxnSpPr>
          <p:cNvPr id="182" name="Conector recto 181">
            <a:extLst>
              <a:ext uri="{FF2B5EF4-FFF2-40B4-BE49-F238E27FC236}">
                <a16:creationId xmlns:a16="http://schemas.microsoft.com/office/drawing/2014/main" id="{DC1EA218-271F-6C64-0E18-7F1C3988F7EE}"/>
              </a:ext>
            </a:extLst>
          </p:cNvPr>
          <p:cNvCxnSpPr>
            <a:cxnSpLocks/>
            <a:stCxn id="113" idx="3"/>
            <a:endCxn id="113" idx="2"/>
          </p:cNvCxnSpPr>
          <p:nvPr/>
        </p:nvCxnSpPr>
        <p:spPr>
          <a:xfrm flipV="1">
            <a:off x="3070025" y="2712111"/>
            <a:ext cx="790575" cy="581329"/>
          </a:xfrm>
          <a:prstGeom prst="line">
            <a:avLst/>
          </a:prstGeom>
          <a:ln cap="rnd"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CuadroTexto 182">
            <a:extLst>
              <a:ext uri="{FF2B5EF4-FFF2-40B4-BE49-F238E27FC236}">
                <a16:creationId xmlns:a16="http://schemas.microsoft.com/office/drawing/2014/main" id="{26A6C4AB-33B8-FDD6-8D0B-5B084BABD487}"/>
              </a:ext>
            </a:extLst>
          </p:cNvPr>
          <p:cNvSpPr txBox="1"/>
          <p:nvPr/>
        </p:nvSpPr>
        <p:spPr>
          <a:xfrm rot="19364383">
            <a:off x="3270122" y="2958894"/>
            <a:ext cx="206127" cy="809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AR" sz="600">
                <a:solidFill>
                  <a:schemeClr val="accent1"/>
                </a:solidFill>
                <a:latin typeface="Pulso" pitchFamily="2" charset="0"/>
              </a:rPr>
              <a:t>1,7x</a:t>
            </a:r>
          </a:p>
        </p:txBody>
      </p:sp>
      <p:grpSp>
        <p:nvGrpSpPr>
          <p:cNvPr id="190" name="Grupo 189">
            <a:extLst>
              <a:ext uri="{FF2B5EF4-FFF2-40B4-BE49-F238E27FC236}">
                <a16:creationId xmlns:a16="http://schemas.microsoft.com/office/drawing/2014/main" id="{1BCF424C-4B3B-258C-0643-DBA427B1B714}"/>
              </a:ext>
            </a:extLst>
          </p:cNvPr>
          <p:cNvGrpSpPr/>
          <p:nvPr/>
        </p:nvGrpSpPr>
        <p:grpSpPr>
          <a:xfrm>
            <a:off x="448232" y="3685277"/>
            <a:ext cx="518292" cy="207801"/>
            <a:chOff x="2070604" y="1046077"/>
            <a:chExt cx="718323" cy="288000"/>
          </a:xfrm>
        </p:grpSpPr>
        <p:pic>
          <p:nvPicPr>
            <p:cNvPr id="191" name="Imagen 190">
              <a:extLst>
                <a:ext uri="{FF2B5EF4-FFF2-40B4-BE49-F238E27FC236}">
                  <a16:creationId xmlns:a16="http://schemas.microsoft.com/office/drawing/2014/main" id="{215E083A-0D76-3B66-7B76-0699E79D40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500927" y="1046077"/>
              <a:ext cx="288000" cy="288000"/>
            </a:xfrm>
            <a:prstGeom prst="rect">
              <a:avLst/>
            </a:prstGeom>
            <a:noFill/>
            <a:ln w="38100" cap="rnd" cmpd="sng">
              <a:noFill/>
              <a:prstDash val="sysDash"/>
              <a:miter lim="800000"/>
            </a:ln>
            <a:effectLst>
              <a:outerShdw blurRad="38100" dist="12700" dir="5400000" sx="100570" sy="100570" algn="t" rotWithShape="0">
                <a:prstClr val="black">
                  <a:alpha val="19602"/>
                </a:prstClr>
              </a:outerShdw>
            </a:effectLst>
          </p:spPr>
        </p:pic>
        <p:pic>
          <p:nvPicPr>
            <p:cNvPr id="192" name="Imagen 191">
              <a:extLst>
                <a:ext uri="{FF2B5EF4-FFF2-40B4-BE49-F238E27FC236}">
                  <a16:creationId xmlns:a16="http://schemas.microsoft.com/office/drawing/2014/main" id="{72D165E4-5C54-9B4E-61E0-00544D0835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85765" y="1046077"/>
              <a:ext cx="288002" cy="288000"/>
            </a:xfrm>
            <a:prstGeom prst="rect">
              <a:avLst/>
            </a:prstGeom>
            <a:noFill/>
            <a:ln w="38100" cap="rnd" cmpd="sng">
              <a:noFill/>
              <a:prstDash val="sysDash"/>
              <a:miter lim="800000"/>
            </a:ln>
            <a:effectLst>
              <a:outerShdw blurRad="38100" dist="12700" dir="5400000" sx="100570" sy="100570" algn="t" rotWithShape="0">
                <a:prstClr val="black">
                  <a:alpha val="19602"/>
                </a:prstClr>
              </a:outerShdw>
            </a:effectLst>
          </p:spPr>
        </p:pic>
        <p:pic>
          <p:nvPicPr>
            <p:cNvPr id="193" name="Imagen 192">
              <a:extLst>
                <a:ext uri="{FF2B5EF4-FFF2-40B4-BE49-F238E27FC236}">
                  <a16:creationId xmlns:a16="http://schemas.microsoft.com/office/drawing/2014/main" id="{6DCCFD65-C69F-BFB1-051C-0E674E49860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70604" y="1046077"/>
              <a:ext cx="288000" cy="288000"/>
            </a:xfrm>
            <a:prstGeom prst="rect">
              <a:avLst/>
            </a:prstGeom>
            <a:noFill/>
            <a:ln w="38100" cap="rnd" cmpd="sng">
              <a:noFill/>
              <a:prstDash val="sysDash"/>
              <a:miter lim="800000"/>
            </a:ln>
            <a:effectLst>
              <a:outerShdw blurRad="38100" dist="12700" dir="5400000" sx="100570" sy="100570" algn="t" rotWithShape="0">
                <a:prstClr val="black">
                  <a:alpha val="19602"/>
                </a:prstClr>
              </a:outerShdw>
            </a:effectLst>
          </p:spPr>
        </p:pic>
      </p:grpSp>
      <p:pic>
        <p:nvPicPr>
          <p:cNvPr id="194" name="Imagen 193">
            <a:extLst>
              <a:ext uri="{FF2B5EF4-FFF2-40B4-BE49-F238E27FC236}">
                <a16:creationId xmlns:a16="http://schemas.microsoft.com/office/drawing/2014/main" id="{B453189F-C448-8A17-7F20-D0FD09189F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8723" y="3260001"/>
            <a:ext cx="207801" cy="207801"/>
          </a:xfrm>
          <a:prstGeom prst="rect">
            <a:avLst/>
          </a:prstGeom>
          <a:noFill/>
          <a:ln w="38100" cap="rnd" cmpd="sng">
            <a:noFill/>
            <a:prstDash val="sysDash"/>
            <a:miter lim="800000"/>
          </a:ln>
          <a:effectLst>
            <a:outerShdw blurRad="38100" dist="12700" dir="5400000" sx="100570" sy="100570" algn="t" rotWithShape="0">
              <a:prstClr val="black">
                <a:alpha val="19602"/>
              </a:prstClr>
            </a:outerShdw>
          </a:effectLst>
        </p:spPr>
      </p:pic>
      <p:pic>
        <p:nvPicPr>
          <p:cNvPr id="195" name="Imagen 194">
            <a:extLst>
              <a:ext uri="{FF2B5EF4-FFF2-40B4-BE49-F238E27FC236}">
                <a16:creationId xmlns:a16="http://schemas.microsoft.com/office/drawing/2014/main" id="{11EB3931-998C-BCF2-66C5-A2031A56BD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4833" y="2941438"/>
            <a:ext cx="207801" cy="207801"/>
          </a:xfrm>
          <a:prstGeom prst="rect">
            <a:avLst/>
          </a:prstGeom>
          <a:noFill/>
          <a:ln w="38100" cap="rnd" cmpd="sng">
            <a:noFill/>
            <a:prstDash val="sysDash"/>
            <a:miter lim="800000"/>
          </a:ln>
          <a:effectLst>
            <a:outerShdw blurRad="38100" dist="12700" dir="5400000" sx="100570" sy="100570" algn="t" rotWithShape="0">
              <a:prstClr val="black">
                <a:alpha val="19602"/>
              </a:prstClr>
            </a:outerShdw>
          </a:effectLst>
        </p:spPr>
      </p:pic>
      <p:sp>
        <p:nvSpPr>
          <p:cNvPr id="196" name="CuadroTexto 195">
            <a:extLst>
              <a:ext uri="{FF2B5EF4-FFF2-40B4-BE49-F238E27FC236}">
                <a16:creationId xmlns:a16="http://schemas.microsoft.com/office/drawing/2014/main" id="{F965B982-A5FF-02E5-EBE0-662F22F6C678}"/>
              </a:ext>
            </a:extLst>
          </p:cNvPr>
          <p:cNvSpPr txBox="1"/>
          <p:nvPr/>
        </p:nvSpPr>
        <p:spPr>
          <a:xfrm>
            <a:off x="961885" y="3668588"/>
            <a:ext cx="608479" cy="276999"/>
          </a:xfrm>
          <a:prstGeom prst="rect">
            <a:avLst/>
          </a:prstGeom>
          <a:noFill/>
        </p:spPr>
        <p:txBody>
          <a:bodyPr wrap="none" lIns="72000" tIns="0" rIns="72000" bIns="0" rtlCol="0">
            <a:spAutoFit/>
          </a:bodyPr>
          <a:lstStyle>
            <a:defPPr>
              <a:defRPr lang="en-US"/>
            </a:defPPr>
            <a:lvl1pPr>
              <a:defRPr sz="900">
                <a:solidFill>
                  <a:schemeClr val="tx2"/>
                </a:solidFill>
                <a:latin typeface="Pulso" pitchFamily="2" charset="0"/>
              </a:defRPr>
            </a:lvl1pPr>
          </a:lstStyle>
          <a:p>
            <a:r>
              <a:rPr lang="es-AR"/>
              <a:t>Negocios</a:t>
            </a:r>
            <a:br>
              <a:rPr lang="es-AR"/>
            </a:br>
            <a:r>
              <a:rPr lang="es-AR"/>
              <a:t>Core</a:t>
            </a:r>
          </a:p>
        </p:txBody>
      </p:sp>
      <p:sp>
        <p:nvSpPr>
          <p:cNvPr id="197" name="CuadroTexto 196">
            <a:extLst>
              <a:ext uri="{FF2B5EF4-FFF2-40B4-BE49-F238E27FC236}">
                <a16:creationId xmlns:a16="http://schemas.microsoft.com/office/drawing/2014/main" id="{5DB7E766-3614-2E76-3586-369A7951776D}"/>
              </a:ext>
            </a:extLst>
          </p:cNvPr>
          <p:cNvSpPr txBox="1"/>
          <p:nvPr/>
        </p:nvSpPr>
        <p:spPr>
          <a:xfrm>
            <a:off x="961885" y="3237358"/>
            <a:ext cx="697404" cy="276999"/>
          </a:xfrm>
          <a:prstGeom prst="rect">
            <a:avLst/>
          </a:prstGeom>
          <a:noFill/>
        </p:spPr>
        <p:txBody>
          <a:bodyPr wrap="none" lIns="72000" tIns="0" rIns="72000" bIns="0" rtlCol="0">
            <a:spAutoFit/>
          </a:bodyPr>
          <a:lstStyle>
            <a:defPPr>
              <a:defRPr lang="en-US"/>
            </a:defPPr>
            <a:lvl1pPr>
              <a:defRPr sz="900">
                <a:solidFill>
                  <a:schemeClr val="tx2"/>
                </a:solidFill>
                <a:latin typeface="Pulso" pitchFamily="2" charset="0"/>
              </a:defRPr>
            </a:lvl1pPr>
          </a:lstStyle>
          <a:p>
            <a:r>
              <a:rPr lang="es-AR"/>
              <a:t>Soluciones</a:t>
            </a:r>
            <a:br>
              <a:rPr lang="es-AR"/>
            </a:br>
            <a:r>
              <a:rPr lang="es-AR" err="1"/>
              <a:t>Tech</a:t>
            </a:r>
            <a:endParaRPr lang="es-AR"/>
          </a:p>
        </p:txBody>
      </p:sp>
      <p:sp>
        <p:nvSpPr>
          <p:cNvPr id="198" name="CuadroTexto 197">
            <a:extLst>
              <a:ext uri="{FF2B5EF4-FFF2-40B4-BE49-F238E27FC236}">
                <a16:creationId xmlns:a16="http://schemas.microsoft.com/office/drawing/2014/main" id="{0EE7DD40-8431-8DA3-8268-A68A1AAD4700}"/>
              </a:ext>
            </a:extLst>
          </p:cNvPr>
          <p:cNvSpPr txBox="1"/>
          <p:nvPr/>
        </p:nvSpPr>
        <p:spPr>
          <a:xfrm>
            <a:off x="972634" y="2973276"/>
            <a:ext cx="448374" cy="138499"/>
          </a:xfrm>
          <a:prstGeom prst="rect">
            <a:avLst/>
          </a:prstGeom>
          <a:noFill/>
        </p:spPr>
        <p:txBody>
          <a:bodyPr wrap="none" lIns="72000" tIns="0" rIns="72000" bIns="0" rtlCol="0">
            <a:spAutoFit/>
          </a:bodyPr>
          <a:lstStyle/>
          <a:p>
            <a:pPr>
              <a:spcAft>
                <a:spcPts val="300"/>
              </a:spcAft>
              <a:buClr>
                <a:schemeClr val="bg2"/>
              </a:buClr>
            </a:pPr>
            <a:r>
              <a:rPr lang="es-AR" sz="900">
                <a:solidFill>
                  <a:schemeClr val="tx2"/>
                </a:solidFill>
                <a:latin typeface="Pulso" pitchFamily="2" charset="0"/>
              </a:rPr>
              <a:t>Otros</a:t>
            </a:r>
            <a:endParaRPr lang="es-AR" sz="900">
              <a:solidFill>
                <a:schemeClr val="bg1">
                  <a:lumMod val="25000"/>
                </a:schemeClr>
              </a:solidFill>
              <a:latin typeface="Pulso Light" pitchFamily="2" charset="0"/>
            </a:endParaRPr>
          </a:p>
        </p:txBody>
      </p:sp>
      <p:sp>
        <p:nvSpPr>
          <p:cNvPr id="199" name="Title 1">
            <a:extLst>
              <a:ext uri="{FF2B5EF4-FFF2-40B4-BE49-F238E27FC236}">
                <a16:creationId xmlns:a16="http://schemas.microsoft.com/office/drawing/2014/main" id="{30F613EA-8740-741B-2842-7C53580C7F49}"/>
              </a:ext>
            </a:extLst>
          </p:cNvPr>
          <p:cNvSpPr txBox="1">
            <a:spLocks/>
          </p:cNvSpPr>
          <p:nvPr/>
        </p:nvSpPr>
        <p:spPr>
          <a:xfrm>
            <a:off x="7260366" y="1802990"/>
            <a:ext cx="117563" cy="307777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s-ES_tradnl" sz="2000" spc="0">
                <a:solidFill>
                  <a:schemeClr val="tx2">
                    <a:lumMod val="75000"/>
                    <a:lumOff val="25000"/>
                  </a:schemeClr>
                </a:solidFill>
              </a:rPr>
              <a:t>+</a:t>
            </a:r>
            <a:endParaRPr lang="es-ES_tradnl" sz="2000" spc="0" noProof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00" name="Conector recto 199">
            <a:extLst>
              <a:ext uri="{FF2B5EF4-FFF2-40B4-BE49-F238E27FC236}">
                <a16:creationId xmlns:a16="http://schemas.microsoft.com/office/drawing/2014/main" id="{360531DB-F47D-9AED-1879-EE994747D989}"/>
              </a:ext>
            </a:extLst>
          </p:cNvPr>
          <p:cNvCxnSpPr>
            <a:cxnSpLocks/>
            <a:stCxn id="198" idx="3"/>
          </p:cNvCxnSpPr>
          <p:nvPr/>
        </p:nvCxnSpPr>
        <p:spPr>
          <a:xfrm>
            <a:off x="1421008" y="3042526"/>
            <a:ext cx="414114" cy="284298"/>
          </a:xfrm>
          <a:prstGeom prst="line">
            <a:avLst/>
          </a:prstGeom>
          <a:gradFill>
            <a:gsLst>
              <a:gs pos="76000">
                <a:schemeClr val="bg1">
                  <a:alpha val="0"/>
                </a:schemeClr>
              </a:gs>
              <a:gs pos="0">
                <a:schemeClr val="bg1">
                  <a:lumMod val="75000"/>
                  <a:alpha val="69606"/>
                </a:schemeClr>
              </a:gs>
              <a:gs pos="31000">
                <a:schemeClr val="bg1">
                  <a:lumMod val="90000"/>
                  <a:alpha val="70000"/>
                </a:schemeClr>
              </a:gs>
            </a:gsLst>
            <a:lin ang="0" scaled="0"/>
          </a:gradFill>
          <a:ln w="9525" cap="rnd">
            <a:solidFill>
              <a:schemeClr val="tx2"/>
            </a:solidFill>
            <a:prstDash val="sysDot"/>
            <a:round/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Conector recto 200">
            <a:extLst>
              <a:ext uri="{FF2B5EF4-FFF2-40B4-BE49-F238E27FC236}">
                <a16:creationId xmlns:a16="http://schemas.microsoft.com/office/drawing/2014/main" id="{DC7BFDD4-72BD-E01C-4033-BDEE79BB8321}"/>
              </a:ext>
            </a:extLst>
          </p:cNvPr>
          <p:cNvCxnSpPr>
            <a:cxnSpLocks/>
          </p:cNvCxnSpPr>
          <p:nvPr/>
        </p:nvCxnSpPr>
        <p:spPr>
          <a:xfrm>
            <a:off x="1659289" y="3375858"/>
            <a:ext cx="168926" cy="40107"/>
          </a:xfrm>
          <a:prstGeom prst="line">
            <a:avLst/>
          </a:prstGeom>
          <a:gradFill>
            <a:gsLst>
              <a:gs pos="76000">
                <a:schemeClr val="bg1">
                  <a:alpha val="0"/>
                </a:schemeClr>
              </a:gs>
              <a:gs pos="0">
                <a:schemeClr val="bg1">
                  <a:lumMod val="75000"/>
                  <a:alpha val="69606"/>
                </a:schemeClr>
              </a:gs>
              <a:gs pos="31000">
                <a:schemeClr val="bg1">
                  <a:lumMod val="90000"/>
                  <a:alpha val="70000"/>
                </a:schemeClr>
              </a:gs>
            </a:gsLst>
            <a:lin ang="0" scaled="0"/>
          </a:gradFill>
          <a:ln w="9525" cap="rnd">
            <a:solidFill>
              <a:schemeClr val="tx2"/>
            </a:solidFill>
            <a:prstDash val="sysDot"/>
            <a:round/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Conector recto 201">
            <a:extLst>
              <a:ext uri="{FF2B5EF4-FFF2-40B4-BE49-F238E27FC236}">
                <a16:creationId xmlns:a16="http://schemas.microsoft.com/office/drawing/2014/main" id="{C265AEB8-F358-F367-E2AB-36C93C631CBF}"/>
              </a:ext>
            </a:extLst>
          </p:cNvPr>
          <p:cNvCxnSpPr>
            <a:cxnSpLocks/>
            <a:stCxn id="196" idx="3"/>
          </p:cNvCxnSpPr>
          <p:nvPr/>
        </p:nvCxnSpPr>
        <p:spPr>
          <a:xfrm flipV="1">
            <a:off x="1570364" y="3801828"/>
            <a:ext cx="258421" cy="0"/>
          </a:xfrm>
          <a:prstGeom prst="line">
            <a:avLst/>
          </a:prstGeom>
          <a:gradFill>
            <a:gsLst>
              <a:gs pos="76000">
                <a:schemeClr val="bg1">
                  <a:alpha val="0"/>
                </a:schemeClr>
              </a:gs>
              <a:gs pos="0">
                <a:schemeClr val="bg1">
                  <a:lumMod val="75000"/>
                  <a:alpha val="69606"/>
                </a:schemeClr>
              </a:gs>
              <a:gs pos="31000">
                <a:schemeClr val="bg1">
                  <a:lumMod val="90000"/>
                  <a:alpha val="70000"/>
                </a:schemeClr>
              </a:gs>
            </a:gsLst>
            <a:lin ang="0" scaled="0"/>
          </a:gradFill>
          <a:ln w="9525" cap="rnd">
            <a:solidFill>
              <a:schemeClr val="tx2"/>
            </a:solidFill>
            <a:prstDash val="sysDot"/>
            <a:round/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upo 12">
            <a:extLst>
              <a:ext uri="{FF2B5EF4-FFF2-40B4-BE49-F238E27FC236}">
                <a16:creationId xmlns:a16="http://schemas.microsoft.com/office/drawing/2014/main" id="{97492E7A-3FB1-1F00-E429-B7B45A1E3726}"/>
              </a:ext>
            </a:extLst>
          </p:cNvPr>
          <p:cNvGrpSpPr/>
          <p:nvPr/>
        </p:nvGrpSpPr>
        <p:grpSpPr>
          <a:xfrm>
            <a:off x="791000" y="1911159"/>
            <a:ext cx="811641" cy="811641"/>
            <a:chOff x="758723" y="1524000"/>
            <a:chExt cx="811641" cy="811641"/>
          </a:xfrm>
        </p:grpSpPr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3D17B04E-3A90-5708-16EC-AE0DE7519D83}"/>
                </a:ext>
              </a:extLst>
            </p:cNvPr>
            <p:cNvSpPr/>
            <p:nvPr/>
          </p:nvSpPr>
          <p:spPr>
            <a:xfrm>
              <a:off x="758723" y="1524000"/>
              <a:ext cx="811641" cy="811641"/>
            </a:xfrm>
            <a:prstGeom prst="ellipse">
              <a:avLst/>
            </a:prstGeom>
            <a:solidFill>
              <a:schemeClr val="tx1">
                <a:lumMod val="10000"/>
                <a:lumOff val="90000"/>
              </a:schemeClr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AR" sz="1400" b="1">
                <a:solidFill>
                  <a:schemeClr val="tx1"/>
                </a:solidFill>
              </a:endParaRPr>
            </a:p>
          </p:txBody>
        </p:sp>
        <p:sp>
          <p:nvSpPr>
            <p:cNvPr id="10" name="CuadroTexto 9">
              <a:extLst>
                <a:ext uri="{FF2B5EF4-FFF2-40B4-BE49-F238E27FC236}">
                  <a16:creationId xmlns:a16="http://schemas.microsoft.com/office/drawing/2014/main" id="{F844C32C-785A-70B0-A284-8AA8025EE8F2}"/>
                </a:ext>
              </a:extLst>
            </p:cNvPr>
            <p:cNvSpPr txBox="1"/>
            <p:nvPr/>
          </p:nvSpPr>
          <p:spPr>
            <a:xfrm>
              <a:off x="874354" y="1649995"/>
              <a:ext cx="654938" cy="5616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300"/>
                </a:spcAft>
                <a:buClr>
                  <a:schemeClr val="bg2"/>
                </a:buClr>
              </a:pPr>
              <a:r>
                <a:rPr lang="es-AR" sz="700">
                  <a:solidFill>
                    <a:schemeClr val="bg1">
                      <a:lumMod val="50000"/>
                    </a:schemeClr>
                  </a:solidFill>
                  <a:latin typeface="Pulso Light" pitchFamily="2" charset="0"/>
                </a:rPr>
                <a:t>Tienda: </a:t>
              </a:r>
              <a:br>
                <a:rPr lang="es-AR" sz="700">
                  <a:solidFill>
                    <a:schemeClr val="bg1">
                      <a:lumMod val="50000"/>
                    </a:schemeClr>
                  </a:solidFill>
                  <a:latin typeface="Pulso Light" pitchFamily="2" charset="0"/>
                </a:rPr>
              </a:br>
              <a:r>
                <a:rPr lang="es-AR" sz="700">
                  <a:solidFill>
                    <a:schemeClr val="bg1">
                      <a:lumMod val="50000"/>
                    </a:schemeClr>
                  </a:solidFill>
                  <a:latin typeface="Pulso Light" pitchFamily="2" charset="0"/>
                </a:rPr>
                <a:t>U$ 280MM </a:t>
              </a:r>
            </a:p>
            <a:p>
              <a:pPr>
                <a:spcAft>
                  <a:spcPts val="300"/>
                </a:spcAft>
                <a:buClr>
                  <a:schemeClr val="bg2"/>
                </a:buClr>
              </a:pPr>
              <a:r>
                <a:rPr lang="es-AR" sz="700">
                  <a:solidFill>
                    <a:schemeClr val="bg1">
                      <a:lumMod val="50000"/>
                    </a:schemeClr>
                  </a:solidFill>
                  <a:latin typeface="Pulso Light" pitchFamily="2" charset="0"/>
                </a:rPr>
                <a:t>Fintech: </a:t>
              </a:r>
              <a:br>
                <a:rPr lang="es-AR" sz="700">
                  <a:solidFill>
                    <a:schemeClr val="bg1">
                      <a:lumMod val="50000"/>
                    </a:schemeClr>
                  </a:solidFill>
                  <a:latin typeface="Pulso Light" pitchFamily="2" charset="0"/>
                </a:rPr>
              </a:br>
              <a:r>
                <a:rPr lang="es-AR" sz="700">
                  <a:solidFill>
                    <a:schemeClr val="bg1">
                      <a:lumMod val="50000"/>
                    </a:schemeClr>
                  </a:solidFill>
                  <a:latin typeface="Pulso Light" pitchFamily="2" charset="0"/>
                </a:rPr>
                <a:t>U$20MM</a:t>
              </a:r>
            </a:p>
          </p:txBody>
        </p:sp>
      </p:grpSp>
      <p:sp>
        <p:nvSpPr>
          <p:cNvPr id="2" name="Gráfico 15">
            <a:extLst>
              <a:ext uri="{FF2B5EF4-FFF2-40B4-BE49-F238E27FC236}">
                <a16:creationId xmlns:a16="http://schemas.microsoft.com/office/drawing/2014/main" id="{31071FE8-7B2B-4C0A-67BA-11A9DDF47A80}"/>
              </a:ext>
            </a:extLst>
          </p:cNvPr>
          <p:cNvSpPr/>
          <p:nvPr/>
        </p:nvSpPr>
        <p:spPr>
          <a:xfrm>
            <a:off x="7476386" y="3682166"/>
            <a:ext cx="159167" cy="132639"/>
          </a:xfrm>
          <a:custGeom>
            <a:avLst/>
            <a:gdLst>
              <a:gd name="connsiteX0" fmla="*/ 21807 w 196266"/>
              <a:gd name="connsiteY0" fmla="*/ 21807 h 163555"/>
              <a:gd name="connsiteX1" fmla="*/ 21807 w 196266"/>
              <a:gd name="connsiteY1" fmla="*/ 103585 h 163555"/>
              <a:gd name="connsiteX2" fmla="*/ 174459 w 196266"/>
              <a:gd name="connsiteY2" fmla="*/ 103585 h 163555"/>
              <a:gd name="connsiteX3" fmla="*/ 174459 w 196266"/>
              <a:gd name="connsiteY3" fmla="*/ 21807 h 163555"/>
              <a:gd name="connsiteX4" fmla="*/ 21807 w 196266"/>
              <a:gd name="connsiteY4" fmla="*/ 21807 h 163555"/>
              <a:gd name="connsiteX5" fmla="*/ 0 w 196266"/>
              <a:gd name="connsiteY5" fmla="*/ 21807 h 163555"/>
              <a:gd name="connsiteX6" fmla="*/ 21807 w 196266"/>
              <a:gd name="connsiteY6" fmla="*/ 0 h 163555"/>
              <a:gd name="connsiteX7" fmla="*/ 174459 w 196266"/>
              <a:gd name="connsiteY7" fmla="*/ 0 h 163555"/>
              <a:gd name="connsiteX8" fmla="*/ 196267 w 196266"/>
              <a:gd name="connsiteY8" fmla="*/ 21807 h 163555"/>
              <a:gd name="connsiteX9" fmla="*/ 196267 w 196266"/>
              <a:gd name="connsiteY9" fmla="*/ 103585 h 163555"/>
              <a:gd name="connsiteX10" fmla="*/ 174459 w 196266"/>
              <a:gd name="connsiteY10" fmla="*/ 125393 h 163555"/>
              <a:gd name="connsiteX11" fmla="*/ 21807 w 196266"/>
              <a:gd name="connsiteY11" fmla="*/ 125393 h 163555"/>
              <a:gd name="connsiteX12" fmla="*/ 0 w 196266"/>
              <a:gd name="connsiteY12" fmla="*/ 103585 h 163555"/>
              <a:gd name="connsiteX13" fmla="*/ 0 w 196266"/>
              <a:gd name="connsiteY13" fmla="*/ 21807 h 163555"/>
              <a:gd name="connsiteX14" fmla="*/ 54519 w 196266"/>
              <a:gd name="connsiteY14" fmla="*/ 141748 h 163555"/>
              <a:gd name="connsiteX15" fmla="*/ 141748 w 196266"/>
              <a:gd name="connsiteY15" fmla="*/ 141748 h 163555"/>
              <a:gd name="connsiteX16" fmla="*/ 152652 w 196266"/>
              <a:gd name="connsiteY16" fmla="*/ 152652 h 163555"/>
              <a:gd name="connsiteX17" fmla="*/ 141748 w 196266"/>
              <a:gd name="connsiteY17" fmla="*/ 163556 h 163555"/>
              <a:gd name="connsiteX18" fmla="*/ 54519 w 196266"/>
              <a:gd name="connsiteY18" fmla="*/ 163556 h 163555"/>
              <a:gd name="connsiteX19" fmla="*/ 43615 w 196266"/>
              <a:gd name="connsiteY19" fmla="*/ 152652 h 163555"/>
              <a:gd name="connsiteX20" fmla="*/ 54519 w 196266"/>
              <a:gd name="connsiteY20" fmla="*/ 141748 h 16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96266" h="163555">
                <a:moveTo>
                  <a:pt x="21807" y="21807"/>
                </a:moveTo>
                <a:lnTo>
                  <a:pt x="21807" y="103585"/>
                </a:lnTo>
                <a:lnTo>
                  <a:pt x="174459" y="103585"/>
                </a:lnTo>
                <a:lnTo>
                  <a:pt x="174459" y="21807"/>
                </a:lnTo>
                <a:lnTo>
                  <a:pt x="21807" y="21807"/>
                </a:lnTo>
                <a:close/>
                <a:moveTo>
                  <a:pt x="0" y="21807"/>
                </a:moveTo>
                <a:cubicBezTo>
                  <a:pt x="0" y="9779"/>
                  <a:pt x="9779" y="0"/>
                  <a:pt x="21807" y="0"/>
                </a:cubicBezTo>
                <a:lnTo>
                  <a:pt x="174459" y="0"/>
                </a:lnTo>
                <a:cubicBezTo>
                  <a:pt x="186487" y="0"/>
                  <a:pt x="196267" y="9779"/>
                  <a:pt x="196267" y="21807"/>
                </a:cubicBezTo>
                <a:lnTo>
                  <a:pt x="196267" y="103585"/>
                </a:lnTo>
                <a:cubicBezTo>
                  <a:pt x="196267" y="115613"/>
                  <a:pt x="186487" y="125393"/>
                  <a:pt x="174459" y="125393"/>
                </a:cubicBezTo>
                <a:lnTo>
                  <a:pt x="21807" y="125393"/>
                </a:lnTo>
                <a:cubicBezTo>
                  <a:pt x="9779" y="125393"/>
                  <a:pt x="0" y="115613"/>
                  <a:pt x="0" y="103585"/>
                </a:cubicBezTo>
                <a:lnTo>
                  <a:pt x="0" y="21807"/>
                </a:lnTo>
                <a:close/>
                <a:moveTo>
                  <a:pt x="54519" y="141748"/>
                </a:moveTo>
                <a:lnTo>
                  <a:pt x="141748" y="141748"/>
                </a:lnTo>
                <a:cubicBezTo>
                  <a:pt x="147779" y="141748"/>
                  <a:pt x="152652" y="146621"/>
                  <a:pt x="152652" y="152652"/>
                </a:cubicBezTo>
                <a:cubicBezTo>
                  <a:pt x="152652" y="158683"/>
                  <a:pt x="147779" y="163556"/>
                  <a:pt x="141748" y="163556"/>
                </a:cubicBezTo>
                <a:lnTo>
                  <a:pt x="54519" y="163556"/>
                </a:lnTo>
                <a:cubicBezTo>
                  <a:pt x="48487" y="163556"/>
                  <a:pt x="43615" y="158683"/>
                  <a:pt x="43615" y="152652"/>
                </a:cubicBezTo>
                <a:cubicBezTo>
                  <a:pt x="43615" y="146621"/>
                  <a:pt x="48487" y="141748"/>
                  <a:pt x="54519" y="141748"/>
                </a:cubicBezTo>
                <a:close/>
              </a:path>
            </a:pathLst>
          </a:custGeom>
          <a:solidFill>
            <a:schemeClr val="tx2">
              <a:lumMod val="75000"/>
              <a:lumOff val="25000"/>
            </a:schemeClr>
          </a:solidFill>
          <a:ln w="327" cap="flat">
            <a:noFill/>
            <a:prstDash val="solid"/>
            <a:miter/>
          </a:ln>
        </p:spPr>
        <p:txBody>
          <a:bodyPr rtlCol="0" anchor="ctr"/>
          <a:lstStyle/>
          <a:p>
            <a:endParaRPr lang="es-AR"/>
          </a:p>
        </p:txBody>
      </p:sp>
      <p:sp>
        <p:nvSpPr>
          <p:cNvPr id="3" name="Gráfico 16">
            <a:extLst>
              <a:ext uri="{FF2B5EF4-FFF2-40B4-BE49-F238E27FC236}">
                <a16:creationId xmlns:a16="http://schemas.microsoft.com/office/drawing/2014/main" id="{224906E0-4985-329E-7D96-DCD0E280D3C0}"/>
              </a:ext>
            </a:extLst>
          </p:cNvPr>
          <p:cNvSpPr/>
          <p:nvPr/>
        </p:nvSpPr>
        <p:spPr>
          <a:xfrm>
            <a:off x="7514549" y="3220709"/>
            <a:ext cx="97269" cy="141483"/>
          </a:xfrm>
          <a:custGeom>
            <a:avLst/>
            <a:gdLst>
              <a:gd name="connsiteX0" fmla="*/ 21807 w 119940"/>
              <a:gd name="connsiteY0" fmla="*/ 0 h 174459"/>
              <a:gd name="connsiteX1" fmla="*/ 0 w 119940"/>
              <a:gd name="connsiteY1" fmla="*/ 21807 h 174459"/>
              <a:gd name="connsiteX2" fmla="*/ 0 w 119940"/>
              <a:gd name="connsiteY2" fmla="*/ 152652 h 174459"/>
              <a:gd name="connsiteX3" fmla="*/ 21807 w 119940"/>
              <a:gd name="connsiteY3" fmla="*/ 174459 h 174459"/>
              <a:gd name="connsiteX4" fmla="*/ 98133 w 119940"/>
              <a:gd name="connsiteY4" fmla="*/ 174459 h 174459"/>
              <a:gd name="connsiteX5" fmla="*/ 119941 w 119940"/>
              <a:gd name="connsiteY5" fmla="*/ 152652 h 174459"/>
              <a:gd name="connsiteX6" fmla="*/ 119941 w 119940"/>
              <a:gd name="connsiteY6" fmla="*/ 21807 h 174459"/>
              <a:gd name="connsiteX7" fmla="*/ 98133 w 119940"/>
              <a:gd name="connsiteY7" fmla="*/ 0 h 174459"/>
              <a:gd name="connsiteX8" fmla="*/ 21807 w 119940"/>
              <a:gd name="connsiteY8" fmla="*/ 0 h 174459"/>
              <a:gd name="connsiteX9" fmla="*/ 59970 w 119940"/>
              <a:gd name="connsiteY9" fmla="*/ 158104 h 174459"/>
              <a:gd name="connsiteX10" fmla="*/ 49067 w 119940"/>
              <a:gd name="connsiteY10" fmla="*/ 147200 h 174459"/>
              <a:gd name="connsiteX11" fmla="*/ 59970 w 119940"/>
              <a:gd name="connsiteY11" fmla="*/ 136296 h 174459"/>
              <a:gd name="connsiteX12" fmla="*/ 70874 w 119940"/>
              <a:gd name="connsiteY12" fmla="*/ 147200 h 174459"/>
              <a:gd name="connsiteX13" fmla="*/ 59970 w 119940"/>
              <a:gd name="connsiteY13" fmla="*/ 158104 h 174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9940" h="174459">
                <a:moveTo>
                  <a:pt x="21807" y="0"/>
                </a:moveTo>
                <a:cubicBezTo>
                  <a:pt x="9779" y="0"/>
                  <a:pt x="0" y="9779"/>
                  <a:pt x="0" y="21807"/>
                </a:cubicBezTo>
                <a:lnTo>
                  <a:pt x="0" y="152652"/>
                </a:lnTo>
                <a:cubicBezTo>
                  <a:pt x="0" y="164680"/>
                  <a:pt x="9779" y="174459"/>
                  <a:pt x="21807" y="174459"/>
                </a:cubicBezTo>
                <a:lnTo>
                  <a:pt x="98133" y="174459"/>
                </a:lnTo>
                <a:cubicBezTo>
                  <a:pt x="110161" y="174459"/>
                  <a:pt x="119941" y="164680"/>
                  <a:pt x="119941" y="152652"/>
                </a:cubicBezTo>
                <a:lnTo>
                  <a:pt x="119941" y="21807"/>
                </a:lnTo>
                <a:cubicBezTo>
                  <a:pt x="119941" y="9779"/>
                  <a:pt x="110161" y="0"/>
                  <a:pt x="98133" y="0"/>
                </a:cubicBezTo>
                <a:lnTo>
                  <a:pt x="21807" y="0"/>
                </a:lnTo>
                <a:close/>
                <a:moveTo>
                  <a:pt x="59970" y="158104"/>
                </a:moveTo>
                <a:cubicBezTo>
                  <a:pt x="53939" y="158104"/>
                  <a:pt x="49067" y="153231"/>
                  <a:pt x="49067" y="147200"/>
                </a:cubicBezTo>
                <a:cubicBezTo>
                  <a:pt x="49067" y="141169"/>
                  <a:pt x="53939" y="136296"/>
                  <a:pt x="59970" y="136296"/>
                </a:cubicBezTo>
                <a:cubicBezTo>
                  <a:pt x="66001" y="136296"/>
                  <a:pt x="70874" y="141169"/>
                  <a:pt x="70874" y="147200"/>
                </a:cubicBezTo>
                <a:cubicBezTo>
                  <a:pt x="70874" y="153231"/>
                  <a:pt x="66001" y="158104"/>
                  <a:pt x="59970" y="158104"/>
                </a:cubicBezTo>
                <a:close/>
              </a:path>
            </a:pathLst>
          </a:custGeom>
          <a:solidFill>
            <a:schemeClr val="tx2">
              <a:lumMod val="75000"/>
              <a:lumOff val="25000"/>
            </a:schemeClr>
          </a:solidFill>
          <a:ln w="327" cap="flat">
            <a:noFill/>
            <a:prstDash val="solid"/>
            <a:miter/>
          </a:ln>
        </p:spPr>
        <p:txBody>
          <a:bodyPr rtlCol="0" anchor="ctr"/>
          <a:lstStyle/>
          <a:p>
            <a:endParaRPr lang="es-AR"/>
          </a:p>
        </p:txBody>
      </p:sp>
      <p:sp>
        <p:nvSpPr>
          <p:cNvPr id="11" name="Gráfico 17">
            <a:extLst>
              <a:ext uri="{FF2B5EF4-FFF2-40B4-BE49-F238E27FC236}">
                <a16:creationId xmlns:a16="http://schemas.microsoft.com/office/drawing/2014/main" id="{59B0A4E2-471A-AE73-C6A4-19C48ABEED4B}"/>
              </a:ext>
            </a:extLst>
          </p:cNvPr>
          <p:cNvSpPr/>
          <p:nvPr/>
        </p:nvSpPr>
        <p:spPr>
          <a:xfrm>
            <a:off x="7476401" y="3454705"/>
            <a:ext cx="159146" cy="123797"/>
          </a:xfrm>
          <a:custGeom>
            <a:avLst/>
            <a:gdLst>
              <a:gd name="connsiteX0" fmla="*/ 98096 w 196239"/>
              <a:gd name="connsiteY0" fmla="*/ 21807 h 152651"/>
              <a:gd name="connsiteX1" fmla="*/ 18465 w 196239"/>
              <a:gd name="connsiteY1" fmla="*/ 54041 h 152651"/>
              <a:gd name="connsiteX2" fmla="*/ 3063 w 196239"/>
              <a:gd name="connsiteY2" fmla="*/ 53803 h 152651"/>
              <a:gd name="connsiteX3" fmla="*/ 3302 w 196239"/>
              <a:gd name="connsiteY3" fmla="*/ 38401 h 152651"/>
              <a:gd name="connsiteX4" fmla="*/ 98096 w 196239"/>
              <a:gd name="connsiteY4" fmla="*/ 0 h 152651"/>
              <a:gd name="connsiteX5" fmla="*/ 192924 w 196239"/>
              <a:gd name="connsiteY5" fmla="*/ 38401 h 152651"/>
              <a:gd name="connsiteX6" fmla="*/ 193163 w 196239"/>
              <a:gd name="connsiteY6" fmla="*/ 53803 h 152651"/>
              <a:gd name="connsiteX7" fmla="*/ 177761 w 196239"/>
              <a:gd name="connsiteY7" fmla="*/ 54041 h 152651"/>
              <a:gd name="connsiteX8" fmla="*/ 98096 w 196239"/>
              <a:gd name="connsiteY8" fmla="*/ 21807 h 152651"/>
              <a:gd name="connsiteX9" fmla="*/ 81740 w 196239"/>
              <a:gd name="connsiteY9" fmla="*/ 136296 h 152651"/>
              <a:gd name="connsiteX10" fmla="*/ 98096 w 196239"/>
              <a:gd name="connsiteY10" fmla="*/ 119941 h 152651"/>
              <a:gd name="connsiteX11" fmla="*/ 114452 w 196239"/>
              <a:gd name="connsiteY11" fmla="*/ 136296 h 152651"/>
              <a:gd name="connsiteX12" fmla="*/ 98096 w 196239"/>
              <a:gd name="connsiteY12" fmla="*/ 152652 h 152651"/>
              <a:gd name="connsiteX13" fmla="*/ 81740 w 196239"/>
              <a:gd name="connsiteY13" fmla="*/ 136296 h 152651"/>
              <a:gd name="connsiteX14" fmla="*/ 57207 w 196239"/>
              <a:gd name="connsiteY14" fmla="*/ 100246 h 152651"/>
              <a:gd name="connsiteX15" fmla="*/ 41806 w 196239"/>
              <a:gd name="connsiteY15" fmla="*/ 101200 h 152651"/>
              <a:gd name="connsiteX16" fmla="*/ 40852 w 196239"/>
              <a:gd name="connsiteY16" fmla="*/ 85798 h 152651"/>
              <a:gd name="connsiteX17" fmla="*/ 98096 w 196239"/>
              <a:gd name="connsiteY17" fmla="*/ 59970 h 152651"/>
              <a:gd name="connsiteX18" fmla="*/ 155340 w 196239"/>
              <a:gd name="connsiteY18" fmla="*/ 85798 h 152651"/>
              <a:gd name="connsiteX19" fmla="*/ 154386 w 196239"/>
              <a:gd name="connsiteY19" fmla="*/ 101200 h 152651"/>
              <a:gd name="connsiteX20" fmla="*/ 138985 w 196239"/>
              <a:gd name="connsiteY20" fmla="*/ 100246 h 152651"/>
              <a:gd name="connsiteX21" fmla="*/ 98096 w 196239"/>
              <a:gd name="connsiteY21" fmla="*/ 81778 h 152651"/>
              <a:gd name="connsiteX22" fmla="*/ 57207 w 196239"/>
              <a:gd name="connsiteY22" fmla="*/ 100246 h 152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96239" h="152651">
                <a:moveTo>
                  <a:pt x="98096" y="21807"/>
                </a:moveTo>
                <a:cubicBezTo>
                  <a:pt x="67123" y="21807"/>
                  <a:pt x="39080" y="34074"/>
                  <a:pt x="18465" y="54041"/>
                </a:cubicBezTo>
                <a:cubicBezTo>
                  <a:pt x="14138" y="58233"/>
                  <a:pt x="7220" y="58130"/>
                  <a:pt x="3063" y="53803"/>
                </a:cubicBezTo>
                <a:cubicBezTo>
                  <a:pt x="-1094" y="49476"/>
                  <a:pt x="-1025" y="42559"/>
                  <a:pt x="3302" y="38401"/>
                </a:cubicBezTo>
                <a:cubicBezTo>
                  <a:pt x="27801" y="14618"/>
                  <a:pt x="61262" y="0"/>
                  <a:pt x="98096" y="0"/>
                </a:cubicBezTo>
                <a:cubicBezTo>
                  <a:pt x="134930" y="0"/>
                  <a:pt x="168391" y="14618"/>
                  <a:pt x="192924" y="38401"/>
                </a:cubicBezTo>
                <a:cubicBezTo>
                  <a:pt x="197252" y="42593"/>
                  <a:pt x="197354" y="49510"/>
                  <a:pt x="193163" y="53803"/>
                </a:cubicBezTo>
                <a:cubicBezTo>
                  <a:pt x="188972" y="58096"/>
                  <a:pt x="182055" y="58233"/>
                  <a:pt x="177761" y="54041"/>
                </a:cubicBezTo>
                <a:cubicBezTo>
                  <a:pt x="157112" y="34074"/>
                  <a:pt x="129069" y="21807"/>
                  <a:pt x="98096" y="21807"/>
                </a:cubicBezTo>
                <a:close/>
                <a:moveTo>
                  <a:pt x="81740" y="136296"/>
                </a:moveTo>
                <a:cubicBezTo>
                  <a:pt x="81740" y="127267"/>
                  <a:pt x="89066" y="119941"/>
                  <a:pt x="98096" y="119941"/>
                </a:cubicBezTo>
                <a:cubicBezTo>
                  <a:pt x="107126" y="119941"/>
                  <a:pt x="114452" y="127267"/>
                  <a:pt x="114452" y="136296"/>
                </a:cubicBezTo>
                <a:cubicBezTo>
                  <a:pt x="114452" y="145326"/>
                  <a:pt x="107126" y="152652"/>
                  <a:pt x="98096" y="152652"/>
                </a:cubicBezTo>
                <a:cubicBezTo>
                  <a:pt x="89066" y="152652"/>
                  <a:pt x="81740" y="145326"/>
                  <a:pt x="81740" y="136296"/>
                </a:cubicBezTo>
                <a:close/>
                <a:moveTo>
                  <a:pt x="57207" y="100246"/>
                </a:moveTo>
                <a:cubicBezTo>
                  <a:pt x="53220" y="104778"/>
                  <a:pt x="46338" y="105187"/>
                  <a:pt x="41806" y="101200"/>
                </a:cubicBezTo>
                <a:cubicBezTo>
                  <a:pt x="37274" y="97213"/>
                  <a:pt x="36865" y="90330"/>
                  <a:pt x="40852" y="85798"/>
                </a:cubicBezTo>
                <a:cubicBezTo>
                  <a:pt x="54822" y="69988"/>
                  <a:pt x="75300" y="59970"/>
                  <a:pt x="98096" y="59970"/>
                </a:cubicBezTo>
                <a:cubicBezTo>
                  <a:pt x="120892" y="59970"/>
                  <a:pt x="141370" y="69988"/>
                  <a:pt x="155340" y="85798"/>
                </a:cubicBezTo>
                <a:cubicBezTo>
                  <a:pt x="159327" y="90330"/>
                  <a:pt x="158884" y="97213"/>
                  <a:pt x="154386" y="101200"/>
                </a:cubicBezTo>
                <a:cubicBezTo>
                  <a:pt x="149889" y="105187"/>
                  <a:pt x="142972" y="104744"/>
                  <a:pt x="138985" y="100246"/>
                </a:cubicBezTo>
                <a:cubicBezTo>
                  <a:pt x="128967" y="88899"/>
                  <a:pt x="114383" y="81778"/>
                  <a:pt x="98096" y="81778"/>
                </a:cubicBezTo>
                <a:cubicBezTo>
                  <a:pt x="81809" y="81778"/>
                  <a:pt x="67225" y="88899"/>
                  <a:pt x="57207" y="100246"/>
                </a:cubicBezTo>
                <a:close/>
              </a:path>
            </a:pathLst>
          </a:custGeom>
          <a:solidFill>
            <a:schemeClr val="tx2">
              <a:lumMod val="75000"/>
              <a:lumOff val="25000"/>
            </a:schemeClr>
          </a:solidFill>
          <a:ln w="327" cap="flat">
            <a:noFill/>
            <a:prstDash val="solid"/>
            <a:miter/>
          </a:ln>
        </p:spPr>
        <p:txBody>
          <a:bodyPr rtlCol="0" anchor="ctr"/>
          <a:lstStyle/>
          <a:p>
            <a:endParaRPr lang="es-AR"/>
          </a:p>
        </p:txBody>
      </p:sp>
      <p:sp>
        <p:nvSpPr>
          <p:cNvPr id="15" name="Gráfico 18">
            <a:extLst>
              <a:ext uri="{FF2B5EF4-FFF2-40B4-BE49-F238E27FC236}">
                <a16:creationId xmlns:a16="http://schemas.microsoft.com/office/drawing/2014/main" id="{14FA965A-BF14-C5DB-C6E7-C8AD5C713BDE}"/>
              </a:ext>
            </a:extLst>
          </p:cNvPr>
          <p:cNvSpPr/>
          <p:nvPr/>
        </p:nvSpPr>
        <p:spPr>
          <a:xfrm>
            <a:off x="7487291" y="2353591"/>
            <a:ext cx="141482" cy="114954"/>
          </a:xfrm>
          <a:custGeom>
            <a:avLst/>
            <a:gdLst>
              <a:gd name="connsiteX0" fmla="*/ 21807 w 174459"/>
              <a:gd name="connsiteY0" fmla="*/ 0 h 141748"/>
              <a:gd name="connsiteX1" fmla="*/ 0 w 174459"/>
              <a:gd name="connsiteY1" fmla="*/ 21807 h 141748"/>
              <a:gd name="connsiteX2" fmla="*/ 0 w 174459"/>
              <a:gd name="connsiteY2" fmla="*/ 119941 h 141748"/>
              <a:gd name="connsiteX3" fmla="*/ 21807 w 174459"/>
              <a:gd name="connsiteY3" fmla="*/ 141748 h 141748"/>
              <a:gd name="connsiteX4" fmla="*/ 152652 w 174459"/>
              <a:gd name="connsiteY4" fmla="*/ 141748 h 141748"/>
              <a:gd name="connsiteX5" fmla="*/ 174459 w 174459"/>
              <a:gd name="connsiteY5" fmla="*/ 119941 h 141748"/>
              <a:gd name="connsiteX6" fmla="*/ 174459 w 174459"/>
              <a:gd name="connsiteY6" fmla="*/ 54519 h 141748"/>
              <a:gd name="connsiteX7" fmla="*/ 152652 w 174459"/>
              <a:gd name="connsiteY7" fmla="*/ 32711 h 141748"/>
              <a:gd name="connsiteX8" fmla="*/ 24533 w 174459"/>
              <a:gd name="connsiteY8" fmla="*/ 32711 h 141748"/>
              <a:gd name="connsiteX9" fmla="*/ 16356 w 174459"/>
              <a:gd name="connsiteY9" fmla="*/ 24533 h 141748"/>
              <a:gd name="connsiteX10" fmla="*/ 24533 w 174459"/>
              <a:gd name="connsiteY10" fmla="*/ 16356 h 141748"/>
              <a:gd name="connsiteX11" fmla="*/ 155378 w 174459"/>
              <a:gd name="connsiteY11" fmla="*/ 16356 h 141748"/>
              <a:gd name="connsiteX12" fmla="*/ 163556 w 174459"/>
              <a:gd name="connsiteY12" fmla="*/ 8178 h 141748"/>
              <a:gd name="connsiteX13" fmla="*/ 155378 w 174459"/>
              <a:gd name="connsiteY13" fmla="*/ 0 h 141748"/>
              <a:gd name="connsiteX14" fmla="*/ 21807 w 174459"/>
              <a:gd name="connsiteY14" fmla="*/ 0 h 141748"/>
              <a:gd name="connsiteX15" fmla="*/ 141748 w 174459"/>
              <a:gd name="connsiteY15" fmla="*/ 76326 h 141748"/>
              <a:gd name="connsiteX16" fmla="*/ 152652 w 174459"/>
              <a:gd name="connsiteY16" fmla="*/ 87230 h 141748"/>
              <a:gd name="connsiteX17" fmla="*/ 141748 w 174459"/>
              <a:gd name="connsiteY17" fmla="*/ 98133 h 141748"/>
              <a:gd name="connsiteX18" fmla="*/ 130844 w 174459"/>
              <a:gd name="connsiteY18" fmla="*/ 87230 h 141748"/>
              <a:gd name="connsiteX19" fmla="*/ 141748 w 174459"/>
              <a:gd name="connsiteY19" fmla="*/ 76326 h 141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74459" h="141748">
                <a:moveTo>
                  <a:pt x="21807" y="0"/>
                </a:moveTo>
                <a:cubicBezTo>
                  <a:pt x="9779" y="0"/>
                  <a:pt x="0" y="9779"/>
                  <a:pt x="0" y="21807"/>
                </a:cubicBezTo>
                <a:lnTo>
                  <a:pt x="0" y="119941"/>
                </a:lnTo>
                <a:cubicBezTo>
                  <a:pt x="0" y="131969"/>
                  <a:pt x="9779" y="141748"/>
                  <a:pt x="21807" y="141748"/>
                </a:cubicBezTo>
                <a:lnTo>
                  <a:pt x="152652" y="141748"/>
                </a:lnTo>
                <a:cubicBezTo>
                  <a:pt x="164680" y="141748"/>
                  <a:pt x="174459" y="131969"/>
                  <a:pt x="174459" y="119941"/>
                </a:cubicBezTo>
                <a:lnTo>
                  <a:pt x="174459" y="54519"/>
                </a:lnTo>
                <a:cubicBezTo>
                  <a:pt x="174459" y="42490"/>
                  <a:pt x="164680" y="32711"/>
                  <a:pt x="152652" y="32711"/>
                </a:cubicBezTo>
                <a:lnTo>
                  <a:pt x="24533" y="32711"/>
                </a:lnTo>
                <a:cubicBezTo>
                  <a:pt x="20001" y="32711"/>
                  <a:pt x="16356" y="29065"/>
                  <a:pt x="16356" y="24533"/>
                </a:cubicBezTo>
                <a:cubicBezTo>
                  <a:pt x="16356" y="20001"/>
                  <a:pt x="20001" y="16356"/>
                  <a:pt x="24533" y="16356"/>
                </a:cubicBezTo>
                <a:lnTo>
                  <a:pt x="155378" y="16356"/>
                </a:lnTo>
                <a:cubicBezTo>
                  <a:pt x="159910" y="16356"/>
                  <a:pt x="163556" y="12710"/>
                  <a:pt x="163556" y="8178"/>
                </a:cubicBezTo>
                <a:cubicBezTo>
                  <a:pt x="163556" y="3646"/>
                  <a:pt x="159910" y="0"/>
                  <a:pt x="155378" y="0"/>
                </a:cubicBezTo>
                <a:lnTo>
                  <a:pt x="21807" y="0"/>
                </a:lnTo>
                <a:close/>
                <a:moveTo>
                  <a:pt x="141748" y="76326"/>
                </a:moveTo>
                <a:cubicBezTo>
                  <a:pt x="147779" y="76326"/>
                  <a:pt x="152652" y="81198"/>
                  <a:pt x="152652" y="87230"/>
                </a:cubicBezTo>
                <a:cubicBezTo>
                  <a:pt x="152652" y="93261"/>
                  <a:pt x="147779" y="98133"/>
                  <a:pt x="141748" y="98133"/>
                </a:cubicBezTo>
                <a:cubicBezTo>
                  <a:pt x="135717" y="98133"/>
                  <a:pt x="130844" y="93261"/>
                  <a:pt x="130844" y="87230"/>
                </a:cubicBezTo>
                <a:cubicBezTo>
                  <a:pt x="130844" y="81198"/>
                  <a:pt x="135717" y="76326"/>
                  <a:pt x="141748" y="76326"/>
                </a:cubicBezTo>
                <a:close/>
              </a:path>
            </a:pathLst>
          </a:custGeom>
          <a:solidFill>
            <a:schemeClr val="tx2">
              <a:lumMod val="75000"/>
              <a:lumOff val="25000"/>
            </a:schemeClr>
          </a:solidFill>
          <a:ln w="327" cap="flat">
            <a:noFill/>
            <a:prstDash val="solid"/>
            <a:miter/>
          </a:ln>
        </p:spPr>
        <p:txBody>
          <a:bodyPr rtlCol="0" anchor="ctr"/>
          <a:lstStyle/>
          <a:p>
            <a:endParaRPr lang="es-AR"/>
          </a:p>
        </p:txBody>
      </p:sp>
      <p:sp>
        <p:nvSpPr>
          <p:cNvPr id="16" name="Gráfico 19">
            <a:extLst>
              <a:ext uri="{FF2B5EF4-FFF2-40B4-BE49-F238E27FC236}">
                <a16:creationId xmlns:a16="http://schemas.microsoft.com/office/drawing/2014/main" id="{0553F7BC-C449-4BA5-D849-5412AC82EF90}"/>
              </a:ext>
            </a:extLst>
          </p:cNvPr>
          <p:cNvSpPr/>
          <p:nvPr/>
        </p:nvSpPr>
        <p:spPr>
          <a:xfrm>
            <a:off x="7488119" y="2132436"/>
            <a:ext cx="140137" cy="125539"/>
          </a:xfrm>
          <a:custGeom>
            <a:avLst/>
            <a:gdLst>
              <a:gd name="connsiteX0" fmla="*/ 8891 w 171658"/>
              <a:gd name="connsiteY0" fmla="*/ 13732 h 152651"/>
              <a:gd name="connsiteX1" fmla="*/ 27189 w 171658"/>
              <a:gd name="connsiteY1" fmla="*/ 0 h 152651"/>
              <a:gd name="connsiteX2" fmla="*/ 144404 w 171658"/>
              <a:gd name="connsiteY2" fmla="*/ 0 h 152651"/>
              <a:gd name="connsiteX3" fmla="*/ 162735 w 171658"/>
              <a:gd name="connsiteY3" fmla="*/ 13732 h 152651"/>
              <a:gd name="connsiteX4" fmla="*/ 170709 w 171658"/>
              <a:gd name="connsiteY4" fmla="*/ 41059 h 152651"/>
              <a:gd name="connsiteX5" fmla="*/ 148356 w 171658"/>
              <a:gd name="connsiteY5" fmla="*/ 70874 h 152651"/>
              <a:gd name="connsiteX6" fmla="*/ 127639 w 171658"/>
              <a:gd name="connsiteY6" fmla="*/ 58233 h 152651"/>
              <a:gd name="connsiteX7" fmla="*/ 106718 w 171658"/>
              <a:gd name="connsiteY7" fmla="*/ 70874 h 152651"/>
              <a:gd name="connsiteX8" fmla="*/ 85830 w 171658"/>
              <a:gd name="connsiteY8" fmla="*/ 58267 h 152651"/>
              <a:gd name="connsiteX9" fmla="*/ 64943 w 171658"/>
              <a:gd name="connsiteY9" fmla="*/ 70874 h 152651"/>
              <a:gd name="connsiteX10" fmla="*/ 44021 w 171658"/>
              <a:gd name="connsiteY10" fmla="*/ 58233 h 152651"/>
              <a:gd name="connsiteX11" fmla="*/ 23304 w 171658"/>
              <a:gd name="connsiteY11" fmla="*/ 70874 h 152651"/>
              <a:gd name="connsiteX12" fmla="*/ 952 w 171658"/>
              <a:gd name="connsiteY12" fmla="*/ 41059 h 152651"/>
              <a:gd name="connsiteX13" fmla="*/ 8891 w 171658"/>
              <a:gd name="connsiteY13" fmla="*/ 13732 h 152651"/>
              <a:gd name="connsiteX14" fmla="*/ 31278 w 171658"/>
              <a:gd name="connsiteY14" fmla="*/ 109037 h 152651"/>
              <a:gd name="connsiteX15" fmla="*/ 140315 w 171658"/>
              <a:gd name="connsiteY15" fmla="*/ 109037 h 152651"/>
              <a:gd name="connsiteX16" fmla="*/ 140315 w 171658"/>
              <a:gd name="connsiteY16" fmla="*/ 86412 h 152651"/>
              <a:gd name="connsiteX17" fmla="*/ 148322 w 171658"/>
              <a:gd name="connsiteY17" fmla="*/ 87230 h 152651"/>
              <a:gd name="connsiteX18" fmla="*/ 162122 w 171658"/>
              <a:gd name="connsiteY18" fmla="*/ 84776 h 152651"/>
              <a:gd name="connsiteX19" fmla="*/ 162122 w 171658"/>
              <a:gd name="connsiteY19" fmla="*/ 136296 h 152651"/>
              <a:gd name="connsiteX20" fmla="*/ 145766 w 171658"/>
              <a:gd name="connsiteY20" fmla="*/ 152652 h 152651"/>
              <a:gd name="connsiteX21" fmla="*/ 25826 w 171658"/>
              <a:gd name="connsiteY21" fmla="*/ 152652 h 152651"/>
              <a:gd name="connsiteX22" fmla="*/ 9470 w 171658"/>
              <a:gd name="connsiteY22" fmla="*/ 136296 h 152651"/>
              <a:gd name="connsiteX23" fmla="*/ 9470 w 171658"/>
              <a:gd name="connsiteY23" fmla="*/ 84776 h 152651"/>
              <a:gd name="connsiteX24" fmla="*/ 23270 w 171658"/>
              <a:gd name="connsiteY24" fmla="*/ 87230 h 152651"/>
              <a:gd name="connsiteX25" fmla="*/ 31278 w 171658"/>
              <a:gd name="connsiteY25" fmla="*/ 86412 h 152651"/>
              <a:gd name="connsiteX26" fmla="*/ 31278 w 171658"/>
              <a:gd name="connsiteY26" fmla="*/ 109037 h 152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71658" h="152651">
                <a:moveTo>
                  <a:pt x="8891" y="13732"/>
                </a:moveTo>
                <a:cubicBezTo>
                  <a:pt x="11242" y="5588"/>
                  <a:pt x="18704" y="0"/>
                  <a:pt x="27189" y="0"/>
                </a:cubicBezTo>
                <a:lnTo>
                  <a:pt x="144404" y="0"/>
                </a:lnTo>
                <a:cubicBezTo>
                  <a:pt x="152888" y="0"/>
                  <a:pt x="160350" y="5588"/>
                  <a:pt x="162735" y="13732"/>
                </a:cubicBezTo>
                <a:lnTo>
                  <a:pt x="170709" y="41059"/>
                </a:lnTo>
                <a:cubicBezTo>
                  <a:pt x="175070" y="55950"/>
                  <a:pt x="163860" y="70874"/>
                  <a:pt x="148356" y="70874"/>
                </a:cubicBezTo>
                <a:cubicBezTo>
                  <a:pt x="139395" y="70874"/>
                  <a:pt x="131524" y="65797"/>
                  <a:pt x="127639" y="58233"/>
                </a:cubicBezTo>
                <a:cubicBezTo>
                  <a:pt x="123686" y="65695"/>
                  <a:pt x="115849" y="70874"/>
                  <a:pt x="106718" y="70874"/>
                </a:cubicBezTo>
                <a:cubicBezTo>
                  <a:pt x="97654" y="70874"/>
                  <a:pt x="89783" y="65763"/>
                  <a:pt x="85830" y="58267"/>
                </a:cubicBezTo>
                <a:cubicBezTo>
                  <a:pt x="81878" y="65763"/>
                  <a:pt x="74007" y="70874"/>
                  <a:pt x="64943" y="70874"/>
                </a:cubicBezTo>
                <a:cubicBezTo>
                  <a:pt x="55811" y="70874"/>
                  <a:pt x="47974" y="65729"/>
                  <a:pt x="44021" y="58233"/>
                </a:cubicBezTo>
                <a:cubicBezTo>
                  <a:pt x="40137" y="65763"/>
                  <a:pt x="32266" y="70874"/>
                  <a:pt x="23304" y="70874"/>
                </a:cubicBezTo>
                <a:cubicBezTo>
                  <a:pt x="7767" y="70874"/>
                  <a:pt x="-3410" y="55984"/>
                  <a:pt x="952" y="41059"/>
                </a:cubicBezTo>
                <a:lnTo>
                  <a:pt x="8891" y="13732"/>
                </a:lnTo>
                <a:close/>
                <a:moveTo>
                  <a:pt x="31278" y="109037"/>
                </a:moveTo>
                <a:lnTo>
                  <a:pt x="140315" y="109037"/>
                </a:lnTo>
                <a:lnTo>
                  <a:pt x="140315" y="86412"/>
                </a:lnTo>
                <a:cubicBezTo>
                  <a:pt x="142904" y="86957"/>
                  <a:pt x="145596" y="87230"/>
                  <a:pt x="148322" y="87230"/>
                </a:cubicBezTo>
                <a:cubicBezTo>
                  <a:pt x="153195" y="87230"/>
                  <a:pt x="157863" y="86344"/>
                  <a:pt x="162122" y="84776"/>
                </a:cubicBezTo>
                <a:lnTo>
                  <a:pt x="162122" y="136296"/>
                </a:lnTo>
                <a:cubicBezTo>
                  <a:pt x="162122" y="145326"/>
                  <a:pt x="154796" y="152652"/>
                  <a:pt x="145766" y="152652"/>
                </a:cubicBezTo>
                <a:lnTo>
                  <a:pt x="25826" y="152652"/>
                </a:lnTo>
                <a:cubicBezTo>
                  <a:pt x="16796" y="152652"/>
                  <a:pt x="9470" y="145326"/>
                  <a:pt x="9470" y="136296"/>
                </a:cubicBezTo>
                <a:lnTo>
                  <a:pt x="9470" y="84776"/>
                </a:lnTo>
                <a:cubicBezTo>
                  <a:pt x="13729" y="86344"/>
                  <a:pt x="18364" y="87230"/>
                  <a:pt x="23270" y="87230"/>
                </a:cubicBezTo>
                <a:cubicBezTo>
                  <a:pt x="26030" y="87230"/>
                  <a:pt x="28688" y="86957"/>
                  <a:pt x="31278" y="86412"/>
                </a:cubicBezTo>
                <a:lnTo>
                  <a:pt x="31278" y="109037"/>
                </a:lnTo>
                <a:close/>
              </a:path>
            </a:pathLst>
          </a:custGeom>
          <a:solidFill>
            <a:schemeClr val="tx2">
              <a:lumMod val="75000"/>
              <a:lumOff val="25000"/>
            </a:schemeClr>
          </a:solidFill>
          <a:ln w="327" cap="flat">
            <a:noFill/>
            <a:prstDash val="solid"/>
            <a:miter/>
          </a:ln>
        </p:spPr>
        <p:txBody>
          <a:bodyPr rtlCol="0" anchor="ctr"/>
          <a:lstStyle/>
          <a:p>
            <a:endParaRPr lang="es-AR"/>
          </a:p>
        </p:txBody>
      </p:sp>
      <p:sp>
        <p:nvSpPr>
          <p:cNvPr id="17" name="Gráfico 20">
            <a:extLst>
              <a:ext uri="{FF2B5EF4-FFF2-40B4-BE49-F238E27FC236}">
                <a16:creationId xmlns:a16="http://schemas.microsoft.com/office/drawing/2014/main" id="{DB99D5E8-3463-6EAC-2EE5-7A2C61FC8400}"/>
              </a:ext>
            </a:extLst>
          </p:cNvPr>
          <p:cNvSpPr/>
          <p:nvPr/>
        </p:nvSpPr>
        <p:spPr>
          <a:xfrm>
            <a:off x="7481838" y="1888428"/>
            <a:ext cx="150325" cy="154746"/>
          </a:xfrm>
          <a:custGeom>
            <a:avLst/>
            <a:gdLst>
              <a:gd name="connsiteX0" fmla="*/ 175788 w 185362"/>
              <a:gd name="connsiteY0" fmla="*/ 87230 h 190814"/>
              <a:gd name="connsiteX1" fmla="*/ 169007 w 185362"/>
              <a:gd name="connsiteY1" fmla="*/ 87230 h 190814"/>
              <a:gd name="connsiteX2" fmla="*/ 169007 w 185362"/>
              <a:gd name="connsiteY2" fmla="*/ 136296 h 190814"/>
              <a:gd name="connsiteX3" fmla="*/ 147200 w 185362"/>
              <a:gd name="connsiteY3" fmla="*/ 158104 h 190814"/>
              <a:gd name="connsiteX4" fmla="*/ 100518 w 185362"/>
              <a:gd name="connsiteY4" fmla="*/ 158104 h 190814"/>
              <a:gd name="connsiteX5" fmla="*/ 38163 w 185362"/>
              <a:gd name="connsiteY5" fmla="*/ 91898 h 190814"/>
              <a:gd name="connsiteX6" fmla="*/ 38163 w 185362"/>
              <a:gd name="connsiteY6" fmla="*/ 87230 h 190814"/>
              <a:gd name="connsiteX7" fmla="*/ 31382 w 185362"/>
              <a:gd name="connsiteY7" fmla="*/ 87230 h 190814"/>
              <a:gd name="connsiteX8" fmla="*/ 21807 w 185362"/>
              <a:gd name="connsiteY8" fmla="*/ 77655 h 190814"/>
              <a:gd name="connsiteX9" fmla="*/ 24738 w 185362"/>
              <a:gd name="connsiteY9" fmla="*/ 70772 h 190814"/>
              <a:gd name="connsiteX10" fmla="*/ 94215 w 185362"/>
              <a:gd name="connsiteY10" fmla="*/ 3782 h 190814"/>
              <a:gd name="connsiteX11" fmla="*/ 103585 w 185362"/>
              <a:gd name="connsiteY11" fmla="*/ 0 h 190814"/>
              <a:gd name="connsiteX12" fmla="*/ 112956 w 185362"/>
              <a:gd name="connsiteY12" fmla="*/ 3782 h 190814"/>
              <a:gd name="connsiteX13" fmla="*/ 182433 w 185362"/>
              <a:gd name="connsiteY13" fmla="*/ 70772 h 190814"/>
              <a:gd name="connsiteX14" fmla="*/ 185363 w 185362"/>
              <a:gd name="connsiteY14" fmla="*/ 77655 h 190814"/>
              <a:gd name="connsiteX15" fmla="*/ 175788 w 185362"/>
              <a:gd name="connsiteY15" fmla="*/ 87230 h 190814"/>
              <a:gd name="connsiteX16" fmla="*/ 95407 w 185362"/>
              <a:gd name="connsiteY16" fmla="*/ 70874 h 190814"/>
              <a:gd name="connsiteX17" fmla="*/ 87230 w 185362"/>
              <a:gd name="connsiteY17" fmla="*/ 79052 h 190814"/>
              <a:gd name="connsiteX18" fmla="*/ 87230 w 185362"/>
              <a:gd name="connsiteY18" fmla="*/ 95407 h 190814"/>
              <a:gd name="connsiteX19" fmla="*/ 95407 w 185362"/>
              <a:gd name="connsiteY19" fmla="*/ 103585 h 190814"/>
              <a:gd name="connsiteX20" fmla="*/ 111763 w 185362"/>
              <a:gd name="connsiteY20" fmla="*/ 103585 h 190814"/>
              <a:gd name="connsiteX21" fmla="*/ 119941 w 185362"/>
              <a:gd name="connsiteY21" fmla="*/ 95407 h 190814"/>
              <a:gd name="connsiteX22" fmla="*/ 119941 w 185362"/>
              <a:gd name="connsiteY22" fmla="*/ 79052 h 190814"/>
              <a:gd name="connsiteX23" fmla="*/ 111763 w 185362"/>
              <a:gd name="connsiteY23" fmla="*/ 70874 h 190814"/>
              <a:gd name="connsiteX24" fmla="*/ 95407 w 185362"/>
              <a:gd name="connsiteY24" fmla="*/ 70874 h 190814"/>
              <a:gd name="connsiteX25" fmla="*/ 8178 w 185362"/>
              <a:gd name="connsiteY25" fmla="*/ 103585 h 190814"/>
              <a:gd name="connsiteX26" fmla="*/ 87230 w 185362"/>
              <a:gd name="connsiteY26" fmla="*/ 182637 h 190814"/>
              <a:gd name="connsiteX27" fmla="*/ 79052 w 185362"/>
              <a:gd name="connsiteY27" fmla="*/ 190815 h 190814"/>
              <a:gd name="connsiteX28" fmla="*/ 70874 w 185362"/>
              <a:gd name="connsiteY28" fmla="*/ 182637 h 190814"/>
              <a:gd name="connsiteX29" fmla="*/ 8178 w 185362"/>
              <a:gd name="connsiteY29" fmla="*/ 119941 h 190814"/>
              <a:gd name="connsiteX30" fmla="*/ 0 w 185362"/>
              <a:gd name="connsiteY30" fmla="*/ 111763 h 190814"/>
              <a:gd name="connsiteX31" fmla="*/ 8178 w 185362"/>
              <a:gd name="connsiteY31" fmla="*/ 103585 h 190814"/>
              <a:gd name="connsiteX32" fmla="*/ 10904 w 185362"/>
              <a:gd name="connsiteY32" fmla="*/ 169007 h 190814"/>
              <a:gd name="connsiteX33" fmla="*/ 21807 w 185362"/>
              <a:gd name="connsiteY33" fmla="*/ 179911 h 190814"/>
              <a:gd name="connsiteX34" fmla="*/ 10904 w 185362"/>
              <a:gd name="connsiteY34" fmla="*/ 190815 h 190814"/>
              <a:gd name="connsiteX35" fmla="*/ 0 w 185362"/>
              <a:gd name="connsiteY35" fmla="*/ 179911 h 190814"/>
              <a:gd name="connsiteX36" fmla="*/ 10904 w 185362"/>
              <a:gd name="connsiteY36" fmla="*/ 169007 h 190814"/>
              <a:gd name="connsiteX37" fmla="*/ 0 w 185362"/>
              <a:gd name="connsiteY37" fmla="*/ 144474 h 190814"/>
              <a:gd name="connsiteX38" fmla="*/ 8178 w 185362"/>
              <a:gd name="connsiteY38" fmla="*/ 136296 h 190814"/>
              <a:gd name="connsiteX39" fmla="*/ 54519 w 185362"/>
              <a:gd name="connsiteY39" fmla="*/ 182637 h 190814"/>
              <a:gd name="connsiteX40" fmla="*/ 46341 w 185362"/>
              <a:gd name="connsiteY40" fmla="*/ 190815 h 190814"/>
              <a:gd name="connsiteX41" fmla="*/ 38163 w 185362"/>
              <a:gd name="connsiteY41" fmla="*/ 182637 h 190814"/>
              <a:gd name="connsiteX42" fmla="*/ 8178 w 185362"/>
              <a:gd name="connsiteY42" fmla="*/ 152652 h 190814"/>
              <a:gd name="connsiteX43" fmla="*/ 0 w 185362"/>
              <a:gd name="connsiteY43" fmla="*/ 144474 h 190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85362" h="190814">
                <a:moveTo>
                  <a:pt x="175788" y="87230"/>
                </a:moveTo>
                <a:lnTo>
                  <a:pt x="169007" y="87230"/>
                </a:lnTo>
                <a:lnTo>
                  <a:pt x="169007" y="136296"/>
                </a:lnTo>
                <a:cubicBezTo>
                  <a:pt x="169007" y="148324"/>
                  <a:pt x="159228" y="158104"/>
                  <a:pt x="147200" y="158104"/>
                </a:cubicBezTo>
                <a:lnTo>
                  <a:pt x="100518" y="158104"/>
                </a:lnTo>
                <a:cubicBezTo>
                  <a:pt x="92341" y="126858"/>
                  <a:pt x="68659" y="101881"/>
                  <a:pt x="38163" y="91898"/>
                </a:cubicBezTo>
                <a:lnTo>
                  <a:pt x="38163" y="87230"/>
                </a:lnTo>
                <a:lnTo>
                  <a:pt x="31382" y="87230"/>
                </a:lnTo>
                <a:cubicBezTo>
                  <a:pt x="26101" y="87230"/>
                  <a:pt x="21807" y="82936"/>
                  <a:pt x="21807" y="77655"/>
                </a:cubicBezTo>
                <a:cubicBezTo>
                  <a:pt x="21807" y="75065"/>
                  <a:pt x="22864" y="72578"/>
                  <a:pt x="24738" y="70772"/>
                </a:cubicBezTo>
                <a:lnTo>
                  <a:pt x="94215" y="3782"/>
                </a:lnTo>
                <a:cubicBezTo>
                  <a:pt x="96736" y="1363"/>
                  <a:pt x="100076" y="0"/>
                  <a:pt x="103585" y="0"/>
                </a:cubicBezTo>
                <a:cubicBezTo>
                  <a:pt x="107095" y="0"/>
                  <a:pt x="110434" y="1363"/>
                  <a:pt x="112956" y="3782"/>
                </a:cubicBezTo>
                <a:lnTo>
                  <a:pt x="182433" y="70772"/>
                </a:lnTo>
                <a:cubicBezTo>
                  <a:pt x="184307" y="72578"/>
                  <a:pt x="185363" y="75065"/>
                  <a:pt x="185363" y="77655"/>
                </a:cubicBezTo>
                <a:cubicBezTo>
                  <a:pt x="185363" y="82936"/>
                  <a:pt x="181070" y="87230"/>
                  <a:pt x="175788" y="87230"/>
                </a:cubicBezTo>
                <a:close/>
                <a:moveTo>
                  <a:pt x="95407" y="70874"/>
                </a:moveTo>
                <a:cubicBezTo>
                  <a:pt x="90876" y="70874"/>
                  <a:pt x="87230" y="74520"/>
                  <a:pt x="87230" y="79052"/>
                </a:cubicBezTo>
                <a:lnTo>
                  <a:pt x="87230" y="95407"/>
                </a:lnTo>
                <a:cubicBezTo>
                  <a:pt x="87230" y="99939"/>
                  <a:pt x="90876" y="103585"/>
                  <a:pt x="95407" y="103585"/>
                </a:cubicBezTo>
                <a:lnTo>
                  <a:pt x="111763" y="103585"/>
                </a:lnTo>
                <a:cubicBezTo>
                  <a:pt x="116295" y="103585"/>
                  <a:pt x="119941" y="99939"/>
                  <a:pt x="119941" y="95407"/>
                </a:cubicBezTo>
                <a:lnTo>
                  <a:pt x="119941" y="79052"/>
                </a:lnTo>
                <a:cubicBezTo>
                  <a:pt x="119941" y="74520"/>
                  <a:pt x="116295" y="70874"/>
                  <a:pt x="111763" y="70874"/>
                </a:cubicBezTo>
                <a:lnTo>
                  <a:pt x="95407" y="70874"/>
                </a:lnTo>
                <a:close/>
                <a:moveTo>
                  <a:pt x="8178" y="103585"/>
                </a:moveTo>
                <a:cubicBezTo>
                  <a:pt x="51827" y="103585"/>
                  <a:pt x="87230" y="138988"/>
                  <a:pt x="87230" y="182637"/>
                </a:cubicBezTo>
                <a:cubicBezTo>
                  <a:pt x="87230" y="187169"/>
                  <a:pt x="83584" y="190815"/>
                  <a:pt x="79052" y="190815"/>
                </a:cubicBezTo>
                <a:cubicBezTo>
                  <a:pt x="74520" y="190815"/>
                  <a:pt x="70874" y="187169"/>
                  <a:pt x="70874" y="182637"/>
                </a:cubicBezTo>
                <a:cubicBezTo>
                  <a:pt x="70874" y="148018"/>
                  <a:pt x="42797" y="119941"/>
                  <a:pt x="8178" y="119941"/>
                </a:cubicBezTo>
                <a:cubicBezTo>
                  <a:pt x="3646" y="119941"/>
                  <a:pt x="0" y="116295"/>
                  <a:pt x="0" y="111763"/>
                </a:cubicBezTo>
                <a:cubicBezTo>
                  <a:pt x="0" y="107231"/>
                  <a:pt x="3646" y="103585"/>
                  <a:pt x="8178" y="103585"/>
                </a:cubicBezTo>
                <a:close/>
                <a:moveTo>
                  <a:pt x="10904" y="169007"/>
                </a:moveTo>
                <a:cubicBezTo>
                  <a:pt x="16935" y="169007"/>
                  <a:pt x="21807" y="173880"/>
                  <a:pt x="21807" y="179911"/>
                </a:cubicBezTo>
                <a:cubicBezTo>
                  <a:pt x="21807" y="185942"/>
                  <a:pt x="16935" y="190815"/>
                  <a:pt x="10904" y="190815"/>
                </a:cubicBezTo>
                <a:cubicBezTo>
                  <a:pt x="4873" y="190815"/>
                  <a:pt x="0" y="185942"/>
                  <a:pt x="0" y="179911"/>
                </a:cubicBezTo>
                <a:cubicBezTo>
                  <a:pt x="0" y="173880"/>
                  <a:pt x="4873" y="169007"/>
                  <a:pt x="10904" y="169007"/>
                </a:cubicBezTo>
                <a:close/>
                <a:moveTo>
                  <a:pt x="0" y="144474"/>
                </a:moveTo>
                <a:cubicBezTo>
                  <a:pt x="0" y="139942"/>
                  <a:pt x="3646" y="136296"/>
                  <a:pt x="8178" y="136296"/>
                </a:cubicBezTo>
                <a:cubicBezTo>
                  <a:pt x="33767" y="136296"/>
                  <a:pt x="54519" y="157047"/>
                  <a:pt x="54519" y="182637"/>
                </a:cubicBezTo>
                <a:cubicBezTo>
                  <a:pt x="54519" y="187169"/>
                  <a:pt x="50873" y="190815"/>
                  <a:pt x="46341" y="190815"/>
                </a:cubicBezTo>
                <a:cubicBezTo>
                  <a:pt x="41809" y="190815"/>
                  <a:pt x="38163" y="187169"/>
                  <a:pt x="38163" y="182637"/>
                </a:cubicBezTo>
                <a:cubicBezTo>
                  <a:pt x="38163" y="166077"/>
                  <a:pt x="24738" y="152652"/>
                  <a:pt x="8178" y="152652"/>
                </a:cubicBezTo>
                <a:cubicBezTo>
                  <a:pt x="3646" y="152652"/>
                  <a:pt x="0" y="149006"/>
                  <a:pt x="0" y="144474"/>
                </a:cubicBezTo>
                <a:close/>
              </a:path>
            </a:pathLst>
          </a:custGeom>
          <a:solidFill>
            <a:schemeClr val="tx2">
              <a:lumMod val="75000"/>
              <a:lumOff val="25000"/>
            </a:schemeClr>
          </a:solidFill>
          <a:ln w="327" cap="flat">
            <a:noFill/>
            <a:prstDash val="solid"/>
            <a:miter/>
          </a:ln>
        </p:spPr>
        <p:txBody>
          <a:bodyPr rtlCol="0" anchor="ctr"/>
          <a:lstStyle/>
          <a:p>
            <a:endParaRPr lang="es-AR"/>
          </a:p>
        </p:txBody>
      </p:sp>
      <p:sp>
        <p:nvSpPr>
          <p:cNvPr id="18" name="Gráfico 21">
            <a:extLst>
              <a:ext uri="{FF2B5EF4-FFF2-40B4-BE49-F238E27FC236}">
                <a16:creationId xmlns:a16="http://schemas.microsoft.com/office/drawing/2014/main" id="{4391A933-4C6E-3CA4-955B-67A31E6013A5}"/>
              </a:ext>
            </a:extLst>
          </p:cNvPr>
          <p:cNvSpPr/>
          <p:nvPr/>
        </p:nvSpPr>
        <p:spPr>
          <a:xfrm>
            <a:off x="7479078" y="1675193"/>
            <a:ext cx="154804" cy="132640"/>
          </a:xfrm>
          <a:custGeom>
            <a:avLst/>
            <a:gdLst>
              <a:gd name="connsiteX0" fmla="*/ 38761 w 190885"/>
              <a:gd name="connsiteY0" fmla="*/ 0 h 163555"/>
              <a:gd name="connsiteX1" fmla="*/ 17465 w 190885"/>
              <a:gd name="connsiteY1" fmla="*/ 17071 h 163555"/>
              <a:gd name="connsiteX2" fmla="*/ 530 w 190885"/>
              <a:gd name="connsiteY2" fmla="*/ 93397 h 163555"/>
              <a:gd name="connsiteX3" fmla="*/ 21793 w 190885"/>
              <a:gd name="connsiteY3" fmla="*/ 119941 h 163555"/>
              <a:gd name="connsiteX4" fmla="*/ 84523 w 190885"/>
              <a:gd name="connsiteY4" fmla="*/ 119941 h 163555"/>
              <a:gd name="connsiteX5" fmla="*/ 84523 w 190885"/>
              <a:gd name="connsiteY5" fmla="*/ 141748 h 163555"/>
              <a:gd name="connsiteX6" fmla="*/ 62715 w 190885"/>
              <a:gd name="connsiteY6" fmla="*/ 141748 h 163555"/>
              <a:gd name="connsiteX7" fmla="*/ 51812 w 190885"/>
              <a:gd name="connsiteY7" fmla="*/ 152652 h 163555"/>
              <a:gd name="connsiteX8" fmla="*/ 62715 w 190885"/>
              <a:gd name="connsiteY8" fmla="*/ 163556 h 163555"/>
              <a:gd name="connsiteX9" fmla="*/ 128138 w 190885"/>
              <a:gd name="connsiteY9" fmla="*/ 163556 h 163555"/>
              <a:gd name="connsiteX10" fmla="*/ 139041 w 190885"/>
              <a:gd name="connsiteY10" fmla="*/ 152652 h 163555"/>
              <a:gd name="connsiteX11" fmla="*/ 128138 w 190885"/>
              <a:gd name="connsiteY11" fmla="*/ 141748 h 163555"/>
              <a:gd name="connsiteX12" fmla="*/ 106330 w 190885"/>
              <a:gd name="connsiteY12" fmla="*/ 141748 h 163555"/>
              <a:gd name="connsiteX13" fmla="*/ 106330 w 190885"/>
              <a:gd name="connsiteY13" fmla="*/ 119941 h 163555"/>
              <a:gd name="connsiteX14" fmla="*/ 169061 w 190885"/>
              <a:gd name="connsiteY14" fmla="*/ 119941 h 163555"/>
              <a:gd name="connsiteX15" fmla="*/ 190357 w 190885"/>
              <a:gd name="connsiteY15" fmla="*/ 93397 h 163555"/>
              <a:gd name="connsiteX16" fmla="*/ 173388 w 190885"/>
              <a:gd name="connsiteY16" fmla="*/ 17071 h 163555"/>
              <a:gd name="connsiteX17" fmla="*/ 152126 w 190885"/>
              <a:gd name="connsiteY17" fmla="*/ 0 h 163555"/>
              <a:gd name="connsiteX18" fmla="*/ 38761 w 190885"/>
              <a:gd name="connsiteY18" fmla="*/ 0 h 163555"/>
              <a:gd name="connsiteX19" fmla="*/ 80945 w 190885"/>
              <a:gd name="connsiteY19" fmla="*/ 21807 h 163555"/>
              <a:gd name="connsiteX20" fmla="*/ 109976 w 190885"/>
              <a:gd name="connsiteY20" fmla="*/ 21807 h 163555"/>
              <a:gd name="connsiteX21" fmla="*/ 112464 w 190885"/>
              <a:gd name="connsiteY21" fmla="*/ 51793 h 163555"/>
              <a:gd name="connsiteX22" fmla="*/ 78458 w 190885"/>
              <a:gd name="connsiteY22" fmla="*/ 51793 h 163555"/>
              <a:gd name="connsiteX23" fmla="*/ 80945 w 190885"/>
              <a:gd name="connsiteY23" fmla="*/ 21807 h 163555"/>
              <a:gd name="connsiteX24" fmla="*/ 62034 w 190885"/>
              <a:gd name="connsiteY24" fmla="*/ 51793 h 163555"/>
              <a:gd name="connsiteX25" fmla="*/ 32117 w 190885"/>
              <a:gd name="connsiteY25" fmla="*/ 51793 h 163555"/>
              <a:gd name="connsiteX26" fmla="*/ 38795 w 190885"/>
              <a:gd name="connsiteY26" fmla="*/ 21807 h 163555"/>
              <a:gd name="connsiteX27" fmla="*/ 64555 w 190885"/>
              <a:gd name="connsiteY27" fmla="*/ 21807 h 163555"/>
              <a:gd name="connsiteX28" fmla="*/ 62068 w 190885"/>
              <a:gd name="connsiteY28" fmla="*/ 51793 h 163555"/>
              <a:gd name="connsiteX29" fmla="*/ 28471 w 190885"/>
              <a:gd name="connsiteY29" fmla="*/ 68148 h 163555"/>
              <a:gd name="connsiteX30" fmla="*/ 60671 w 190885"/>
              <a:gd name="connsiteY30" fmla="*/ 68148 h 163555"/>
              <a:gd name="connsiteX31" fmla="*/ 58184 w 190885"/>
              <a:gd name="connsiteY31" fmla="*/ 98133 h 163555"/>
              <a:gd name="connsiteX32" fmla="*/ 21827 w 190885"/>
              <a:gd name="connsiteY32" fmla="*/ 98133 h 163555"/>
              <a:gd name="connsiteX33" fmla="*/ 28505 w 190885"/>
              <a:gd name="connsiteY33" fmla="*/ 68148 h 163555"/>
              <a:gd name="connsiteX34" fmla="*/ 77061 w 190885"/>
              <a:gd name="connsiteY34" fmla="*/ 68148 h 163555"/>
              <a:gd name="connsiteX35" fmla="*/ 113792 w 190885"/>
              <a:gd name="connsiteY35" fmla="*/ 68148 h 163555"/>
              <a:gd name="connsiteX36" fmla="*/ 116280 w 190885"/>
              <a:gd name="connsiteY36" fmla="*/ 98133 h 163555"/>
              <a:gd name="connsiteX37" fmla="*/ 74539 w 190885"/>
              <a:gd name="connsiteY37" fmla="*/ 98133 h 163555"/>
              <a:gd name="connsiteX38" fmla="*/ 77027 w 190885"/>
              <a:gd name="connsiteY38" fmla="*/ 68148 h 163555"/>
              <a:gd name="connsiteX39" fmla="*/ 130216 w 190885"/>
              <a:gd name="connsiteY39" fmla="*/ 68148 h 163555"/>
              <a:gd name="connsiteX40" fmla="*/ 162416 w 190885"/>
              <a:gd name="connsiteY40" fmla="*/ 68148 h 163555"/>
              <a:gd name="connsiteX41" fmla="*/ 169095 w 190885"/>
              <a:gd name="connsiteY41" fmla="*/ 98133 h 163555"/>
              <a:gd name="connsiteX42" fmla="*/ 132738 w 190885"/>
              <a:gd name="connsiteY42" fmla="*/ 98133 h 163555"/>
              <a:gd name="connsiteX43" fmla="*/ 130250 w 190885"/>
              <a:gd name="connsiteY43" fmla="*/ 68148 h 163555"/>
              <a:gd name="connsiteX44" fmla="*/ 158770 w 190885"/>
              <a:gd name="connsiteY44" fmla="*/ 51793 h 163555"/>
              <a:gd name="connsiteX45" fmla="*/ 128853 w 190885"/>
              <a:gd name="connsiteY45" fmla="*/ 51793 h 163555"/>
              <a:gd name="connsiteX46" fmla="*/ 126366 w 190885"/>
              <a:gd name="connsiteY46" fmla="*/ 21807 h 163555"/>
              <a:gd name="connsiteX47" fmla="*/ 152126 w 190885"/>
              <a:gd name="connsiteY47" fmla="*/ 21807 h 163555"/>
              <a:gd name="connsiteX48" fmla="*/ 158804 w 190885"/>
              <a:gd name="connsiteY48" fmla="*/ 51793 h 16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90885" h="163555">
                <a:moveTo>
                  <a:pt x="38761" y="0"/>
                </a:moveTo>
                <a:cubicBezTo>
                  <a:pt x="28539" y="0"/>
                  <a:pt x="19680" y="7087"/>
                  <a:pt x="17465" y="17071"/>
                </a:cubicBezTo>
                <a:lnTo>
                  <a:pt x="530" y="93397"/>
                </a:lnTo>
                <a:cubicBezTo>
                  <a:pt x="-2502" y="107027"/>
                  <a:pt x="7856" y="119941"/>
                  <a:pt x="21793" y="119941"/>
                </a:cubicBezTo>
                <a:lnTo>
                  <a:pt x="84523" y="119941"/>
                </a:lnTo>
                <a:lnTo>
                  <a:pt x="84523" y="141748"/>
                </a:lnTo>
                <a:lnTo>
                  <a:pt x="62715" y="141748"/>
                </a:lnTo>
                <a:cubicBezTo>
                  <a:pt x="56684" y="141748"/>
                  <a:pt x="51812" y="146621"/>
                  <a:pt x="51812" y="152652"/>
                </a:cubicBezTo>
                <a:cubicBezTo>
                  <a:pt x="51812" y="158683"/>
                  <a:pt x="56684" y="163556"/>
                  <a:pt x="62715" y="163556"/>
                </a:cubicBezTo>
                <a:lnTo>
                  <a:pt x="128138" y="163556"/>
                </a:lnTo>
                <a:cubicBezTo>
                  <a:pt x="134169" y="163556"/>
                  <a:pt x="139041" y="158683"/>
                  <a:pt x="139041" y="152652"/>
                </a:cubicBezTo>
                <a:cubicBezTo>
                  <a:pt x="139041" y="146621"/>
                  <a:pt x="134169" y="141748"/>
                  <a:pt x="128138" y="141748"/>
                </a:cubicBezTo>
                <a:lnTo>
                  <a:pt x="106330" y="141748"/>
                </a:lnTo>
                <a:lnTo>
                  <a:pt x="106330" y="119941"/>
                </a:lnTo>
                <a:lnTo>
                  <a:pt x="169061" y="119941"/>
                </a:lnTo>
                <a:cubicBezTo>
                  <a:pt x="182997" y="119941"/>
                  <a:pt x="193389" y="107027"/>
                  <a:pt x="190357" y="93397"/>
                </a:cubicBezTo>
                <a:lnTo>
                  <a:pt x="173388" y="17071"/>
                </a:lnTo>
                <a:cubicBezTo>
                  <a:pt x="171173" y="7087"/>
                  <a:pt x="162348" y="0"/>
                  <a:pt x="152126" y="0"/>
                </a:cubicBezTo>
                <a:lnTo>
                  <a:pt x="38761" y="0"/>
                </a:lnTo>
                <a:close/>
                <a:moveTo>
                  <a:pt x="80945" y="21807"/>
                </a:moveTo>
                <a:lnTo>
                  <a:pt x="109976" y="21807"/>
                </a:lnTo>
                <a:lnTo>
                  <a:pt x="112464" y="51793"/>
                </a:lnTo>
                <a:lnTo>
                  <a:pt x="78458" y="51793"/>
                </a:lnTo>
                <a:lnTo>
                  <a:pt x="80945" y="21807"/>
                </a:lnTo>
                <a:close/>
                <a:moveTo>
                  <a:pt x="62034" y="51793"/>
                </a:moveTo>
                <a:lnTo>
                  <a:pt x="32117" y="51793"/>
                </a:lnTo>
                <a:lnTo>
                  <a:pt x="38795" y="21807"/>
                </a:lnTo>
                <a:lnTo>
                  <a:pt x="64555" y="21807"/>
                </a:lnTo>
                <a:lnTo>
                  <a:pt x="62068" y="51793"/>
                </a:lnTo>
                <a:close/>
                <a:moveTo>
                  <a:pt x="28471" y="68148"/>
                </a:moveTo>
                <a:lnTo>
                  <a:pt x="60671" y="68148"/>
                </a:lnTo>
                <a:lnTo>
                  <a:pt x="58184" y="98133"/>
                </a:lnTo>
                <a:lnTo>
                  <a:pt x="21827" y="98133"/>
                </a:lnTo>
                <a:lnTo>
                  <a:pt x="28505" y="68148"/>
                </a:lnTo>
                <a:close/>
                <a:moveTo>
                  <a:pt x="77061" y="68148"/>
                </a:moveTo>
                <a:lnTo>
                  <a:pt x="113792" y="68148"/>
                </a:lnTo>
                <a:lnTo>
                  <a:pt x="116280" y="98133"/>
                </a:lnTo>
                <a:lnTo>
                  <a:pt x="74539" y="98133"/>
                </a:lnTo>
                <a:lnTo>
                  <a:pt x="77027" y="68148"/>
                </a:lnTo>
                <a:close/>
                <a:moveTo>
                  <a:pt x="130216" y="68148"/>
                </a:moveTo>
                <a:lnTo>
                  <a:pt x="162416" y="68148"/>
                </a:lnTo>
                <a:lnTo>
                  <a:pt x="169095" y="98133"/>
                </a:lnTo>
                <a:lnTo>
                  <a:pt x="132738" y="98133"/>
                </a:lnTo>
                <a:lnTo>
                  <a:pt x="130250" y="68148"/>
                </a:lnTo>
                <a:close/>
                <a:moveTo>
                  <a:pt x="158770" y="51793"/>
                </a:moveTo>
                <a:lnTo>
                  <a:pt x="128853" y="51793"/>
                </a:lnTo>
                <a:lnTo>
                  <a:pt x="126366" y="21807"/>
                </a:lnTo>
                <a:lnTo>
                  <a:pt x="152126" y="21807"/>
                </a:lnTo>
                <a:lnTo>
                  <a:pt x="158804" y="51793"/>
                </a:lnTo>
                <a:close/>
              </a:path>
            </a:pathLst>
          </a:custGeom>
          <a:solidFill>
            <a:schemeClr val="tx2">
              <a:lumMod val="75000"/>
              <a:lumOff val="25000"/>
            </a:schemeClr>
          </a:solidFill>
          <a:ln w="327" cap="flat">
            <a:noFill/>
            <a:prstDash val="solid"/>
            <a:miter/>
          </a:ln>
        </p:spPr>
        <p:txBody>
          <a:bodyPr rtlCol="0" anchor="ctr"/>
          <a:lstStyle/>
          <a:p>
            <a:endParaRPr lang="es-AR"/>
          </a:p>
        </p:txBody>
      </p:sp>
      <p:sp>
        <p:nvSpPr>
          <p:cNvPr id="19" name="Gráfico 23">
            <a:extLst>
              <a:ext uri="{FF2B5EF4-FFF2-40B4-BE49-F238E27FC236}">
                <a16:creationId xmlns:a16="http://schemas.microsoft.com/office/drawing/2014/main" id="{D2DEFBD5-9F70-3873-B114-A7F5E0F88E5A}"/>
              </a:ext>
            </a:extLst>
          </p:cNvPr>
          <p:cNvSpPr>
            <a:spLocks noChangeAspect="1"/>
          </p:cNvSpPr>
          <p:nvPr/>
        </p:nvSpPr>
        <p:spPr>
          <a:xfrm>
            <a:off x="7488119" y="1420503"/>
            <a:ext cx="140137" cy="140137"/>
          </a:xfrm>
          <a:custGeom>
            <a:avLst/>
            <a:gdLst>
              <a:gd name="connsiteX0" fmla="*/ 447645 w 4114800"/>
              <a:gd name="connsiteY0" fmla="*/ 1604933 h 4114800"/>
              <a:gd name="connsiteX1" fmla="*/ 695980 w 4114800"/>
              <a:gd name="connsiteY1" fmla="*/ 1853267 h 4114800"/>
              <a:gd name="connsiteX2" fmla="*/ 877610 w 4114800"/>
              <a:gd name="connsiteY2" fmla="*/ 1928813 h 4114800"/>
              <a:gd name="connsiteX3" fmla="*/ 1050399 w 4114800"/>
              <a:gd name="connsiteY3" fmla="*/ 1928813 h 4114800"/>
              <a:gd name="connsiteX4" fmla="*/ 1232029 w 4114800"/>
              <a:gd name="connsiteY4" fmla="*/ 2004358 h 4114800"/>
              <a:gd name="connsiteX5" fmla="*/ 1467505 w 4114800"/>
              <a:gd name="connsiteY5" fmla="*/ 2239834 h 4114800"/>
              <a:gd name="connsiteX6" fmla="*/ 1543050 w 4114800"/>
              <a:gd name="connsiteY6" fmla="*/ 2421463 h 4114800"/>
              <a:gd name="connsiteX7" fmla="*/ 1543050 w 4114800"/>
              <a:gd name="connsiteY7" fmla="*/ 2722840 h 4114800"/>
              <a:gd name="connsiteX8" fmla="*/ 1618595 w 4114800"/>
              <a:gd name="connsiteY8" fmla="*/ 2904470 h 4114800"/>
              <a:gd name="connsiteX9" fmla="*/ 1725484 w 4114800"/>
              <a:gd name="connsiteY9" fmla="*/ 3011359 h 4114800"/>
              <a:gd name="connsiteX10" fmla="*/ 1801029 w 4114800"/>
              <a:gd name="connsiteY10" fmla="*/ 3192988 h 4114800"/>
              <a:gd name="connsiteX11" fmla="*/ 1801029 w 4114800"/>
              <a:gd name="connsiteY11" fmla="*/ 3343275 h 4114800"/>
              <a:gd name="connsiteX12" fmla="*/ 2058204 w 4114800"/>
              <a:gd name="connsiteY12" fmla="*/ 3600450 h 4114800"/>
              <a:gd name="connsiteX13" fmla="*/ 2315379 w 4114800"/>
              <a:gd name="connsiteY13" fmla="*/ 3343275 h 4114800"/>
              <a:gd name="connsiteX14" fmla="*/ 2315379 w 4114800"/>
              <a:gd name="connsiteY14" fmla="*/ 3321576 h 4114800"/>
              <a:gd name="connsiteX15" fmla="*/ 2390924 w 4114800"/>
              <a:gd name="connsiteY15" fmla="*/ 3139946 h 4114800"/>
              <a:gd name="connsiteX16" fmla="*/ 2754987 w 4114800"/>
              <a:gd name="connsiteY16" fmla="*/ 2775883 h 4114800"/>
              <a:gd name="connsiteX17" fmla="*/ 2830533 w 4114800"/>
              <a:gd name="connsiteY17" fmla="*/ 2594253 h 4114800"/>
              <a:gd name="connsiteX18" fmla="*/ 2830533 w 4114800"/>
              <a:gd name="connsiteY18" fmla="*/ 2315379 h 4114800"/>
              <a:gd name="connsiteX19" fmla="*/ 2573358 w 4114800"/>
              <a:gd name="connsiteY19" fmla="*/ 2058204 h 4114800"/>
              <a:gd name="connsiteX20" fmla="*/ 1908721 w 4114800"/>
              <a:gd name="connsiteY20" fmla="*/ 2058204 h 4114800"/>
              <a:gd name="connsiteX21" fmla="*/ 1727091 w 4114800"/>
              <a:gd name="connsiteY21" fmla="*/ 1982659 h 4114800"/>
              <a:gd name="connsiteX22" fmla="*/ 1598503 w 4114800"/>
              <a:gd name="connsiteY22" fmla="*/ 1854071 h 4114800"/>
              <a:gd name="connsiteX23" fmla="*/ 1545461 w 4114800"/>
              <a:gd name="connsiteY23" fmla="*/ 1725484 h 4114800"/>
              <a:gd name="connsiteX24" fmla="*/ 1727091 w 4114800"/>
              <a:gd name="connsiteY24" fmla="*/ 1543854 h 4114800"/>
              <a:gd name="connsiteX25" fmla="*/ 2005965 w 4114800"/>
              <a:gd name="connsiteY25" fmla="*/ 1543854 h 4114800"/>
              <a:gd name="connsiteX26" fmla="*/ 2187595 w 4114800"/>
              <a:gd name="connsiteY26" fmla="*/ 1362224 h 4114800"/>
              <a:gd name="connsiteX27" fmla="*/ 2134553 w 4114800"/>
              <a:gd name="connsiteY27" fmla="*/ 1233636 h 4114800"/>
              <a:gd name="connsiteX28" fmla="*/ 1976229 w 4114800"/>
              <a:gd name="connsiteY28" fmla="*/ 1075313 h 4114800"/>
              <a:gd name="connsiteX29" fmla="*/ 1928813 w 4114800"/>
              <a:gd name="connsiteY29" fmla="*/ 964406 h 4114800"/>
              <a:gd name="connsiteX30" fmla="*/ 1974622 w 4114800"/>
              <a:gd name="connsiteY30" fmla="*/ 854303 h 4114800"/>
              <a:gd name="connsiteX31" fmla="*/ 2113657 w 4114800"/>
              <a:gd name="connsiteY31" fmla="*/ 715268 h 4114800"/>
              <a:gd name="connsiteX32" fmla="*/ 2186791 w 4114800"/>
              <a:gd name="connsiteY32" fmla="*/ 539264 h 4114800"/>
              <a:gd name="connsiteX33" fmla="*/ 2135356 w 4114800"/>
              <a:gd name="connsiteY33" fmla="*/ 387370 h 4114800"/>
              <a:gd name="connsiteX34" fmla="*/ 2058204 w 4114800"/>
              <a:gd name="connsiteY34" fmla="*/ 385763 h 4114800"/>
              <a:gd name="connsiteX35" fmla="*/ 448449 w 4114800"/>
              <a:gd name="connsiteY35" fmla="*/ 1604933 h 4114800"/>
              <a:gd name="connsiteX36" fmla="*/ 3729038 w 4114800"/>
              <a:gd name="connsiteY36" fmla="*/ 2057400 h 4114800"/>
              <a:gd name="connsiteX37" fmla="*/ 3540978 w 4114800"/>
              <a:gd name="connsiteY37" fmla="*/ 1287482 h 4114800"/>
              <a:gd name="connsiteX38" fmla="*/ 3397121 w 4114800"/>
              <a:gd name="connsiteY38" fmla="*/ 1360617 h 4114800"/>
              <a:gd name="connsiteX39" fmla="*/ 3289429 w 4114800"/>
              <a:gd name="connsiteY39" fmla="*/ 1468309 h 4114800"/>
              <a:gd name="connsiteX40" fmla="*/ 3213884 w 4114800"/>
              <a:gd name="connsiteY40" fmla="*/ 1649938 h 4114800"/>
              <a:gd name="connsiteX41" fmla="*/ 3213884 w 4114800"/>
              <a:gd name="connsiteY41" fmla="*/ 1928813 h 4114800"/>
              <a:gd name="connsiteX42" fmla="*/ 3471059 w 4114800"/>
              <a:gd name="connsiteY42" fmla="*/ 2185988 h 4114800"/>
              <a:gd name="connsiteX43" fmla="*/ 3664744 w 4114800"/>
              <a:gd name="connsiteY43" fmla="*/ 2185988 h 4114800"/>
              <a:gd name="connsiteX44" fmla="*/ 3723412 w 4114800"/>
              <a:gd name="connsiteY44" fmla="*/ 2179558 h 4114800"/>
              <a:gd name="connsiteX45" fmla="*/ 3727430 w 4114800"/>
              <a:gd name="connsiteY45" fmla="*/ 2057400 h 4114800"/>
              <a:gd name="connsiteX46" fmla="*/ 0 w 4114800"/>
              <a:gd name="connsiteY46" fmla="*/ 2057400 h 4114800"/>
              <a:gd name="connsiteX47" fmla="*/ 2057400 w 4114800"/>
              <a:gd name="connsiteY47" fmla="*/ 0 h 4114800"/>
              <a:gd name="connsiteX48" fmla="*/ 4114800 w 4114800"/>
              <a:gd name="connsiteY48" fmla="*/ 2057400 h 4114800"/>
              <a:gd name="connsiteX49" fmla="*/ 2057400 w 4114800"/>
              <a:gd name="connsiteY49" fmla="*/ 4114800 h 4114800"/>
              <a:gd name="connsiteX50" fmla="*/ 0 w 4114800"/>
              <a:gd name="connsiteY50" fmla="*/ 2057400 h 41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4114800" h="4114800">
                <a:moveTo>
                  <a:pt x="447645" y="1604933"/>
                </a:moveTo>
                <a:lnTo>
                  <a:pt x="695980" y="1853267"/>
                </a:lnTo>
                <a:cubicBezTo>
                  <a:pt x="744200" y="1901488"/>
                  <a:pt x="809298" y="1928813"/>
                  <a:pt x="877610" y="1928813"/>
                </a:cubicBezTo>
                <a:lnTo>
                  <a:pt x="1050399" y="1928813"/>
                </a:lnTo>
                <a:cubicBezTo>
                  <a:pt x="1118711" y="1928813"/>
                  <a:pt x="1183809" y="1956137"/>
                  <a:pt x="1232029" y="2004358"/>
                </a:cubicBezTo>
                <a:lnTo>
                  <a:pt x="1467505" y="2239834"/>
                </a:lnTo>
                <a:cubicBezTo>
                  <a:pt x="1515725" y="2288054"/>
                  <a:pt x="1543050" y="2353151"/>
                  <a:pt x="1543050" y="2421463"/>
                </a:cubicBezTo>
                <a:lnTo>
                  <a:pt x="1543050" y="2722840"/>
                </a:lnTo>
                <a:cubicBezTo>
                  <a:pt x="1543050" y="2791152"/>
                  <a:pt x="1570375" y="2856250"/>
                  <a:pt x="1618595" y="2904470"/>
                </a:cubicBezTo>
                <a:lnTo>
                  <a:pt x="1725484" y="3011359"/>
                </a:lnTo>
                <a:cubicBezTo>
                  <a:pt x="1773704" y="3059579"/>
                  <a:pt x="1801029" y="3124676"/>
                  <a:pt x="1801029" y="3192988"/>
                </a:cubicBezTo>
                <a:lnTo>
                  <a:pt x="1801029" y="3343275"/>
                </a:lnTo>
                <a:cubicBezTo>
                  <a:pt x="1801029" y="3485525"/>
                  <a:pt x="1915954" y="3600450"/>
                  <a:pt x="2058204" y="3600450"/>
                </a:cubicBezTo>
                <a:cubicBezTo>
                  <a:pt x="2200454" y="3600450"/>
                  <a:pt x="2315379" y="3485525"/>
                  <a:pt x="2315379" y="3343275"/>
                </a:cubicBezTo>
                <a:lnTo>
                  <a:pt x="2315379" y="3321576"/>
                </a:lnTo>
                <a:cubicBezTo>
                  <a:pt x="2315379" y="3253264"/>
                  <a:pt x="2342704" y="3188167"/>
                  <a:pt x="2390924" y="3139946"/>
                </a:cubicBezTo>
                <a:lnTo>
                  <a:pt x="2754987" y="2775883"/>
                </a:lnTo>
                <a:cubicBezTo>
                  <a:pt x="2803208" y="2727662"/>
                  <a:pt x="2830533" y="2662565"/>
                  <a:pt x="2830533" y="2594253"/>
                </a:cubicBezTo>
                <a:lnTo>
                  <a:pt x="2830533" y="2315379"/>
                </a:lnTo>
                <a:cubicBezTo>
                  <a:pt x="2830533" y="2173129"/>
                  <a:pt x="2715607" y="2058204"/>
                  <a:pt x="2573358" y="2058204"/>
                </a:cubicBezTo>
                <a:lnTo>
                  <a:pt x="1908721" y="2058204"/>
                </a:lnTo>
                <a:cubicBezTo>
                  <a:pt x="1840409" y="2058204"/>
                  <a:pt x="1775311" y="2030879"/>
                  <a:pt x="1727091" y="1982659"/>
                </a:cubicBezTo>
                <a:lnTo>
                  <a:pt x="1598503" y="1854071"/>
                </a:lnTo>
                <a:cubicBezTo>
                  <a:pt x="1564749" y="1820317"/>
                  <a:pt x="1545461" y="1773704"/>
                  <a:pt x="1545461" y="1725484"/>
                </a:cubicBezTo>
                <a:cubicBezTo>
                  <a:pt x="1545461" y="1625025"/>
                  <a:pt x="1626632" y="1543854"/>
                  <a:pt x="1727091" y="1543854"/>
                </a:cubicBezTo>
                <a:lnTo>
                  <a:pt x="2005965" y="1543854"/>
                </a:lnTo>
                <a:cubicBezTo>
                  <a:pt x="2106424" y="1543854"/>
                  <a:pt x="2187595" y="1462683"/>
                  <a:pt x="2187595" y="1362224"/>
                </a:cubicBezTo>
                <a:cubicBezTo>
                  <a:pt x="2187595" y="1314004"/>
                  <a:pt x="2168307" y="1267391"/>
                  <a:pt x="2134553" y="1233636"/>
                </a:cubicBezTo>
                <a:lnTo>
                  <a:pt x="1976229" y="1075313"/>
                </a:lnTo>
                <a:cubicBezTo>
                  <a:pt x="1944886" y="1044773"/>
                  <a:pt x="1928813" y="1005394"/>
                  <a:pt x="1928813" y="964406"/>
                </a:cubicBezTo>
                <a:cubicBezTo>
                  <a:pt x="1928813" y="923419"/>
                  <a:pt x="1944886" y="884039"/>
                  <a:pt x="1974622" y="854303"/>
                </a:cubicBezTo>
                <a:lnTo>
                  <a:pt x="2113657" y="715268"/>
                </a:lnTo>
                <a:cubicBezTo>
                  <a:pt x="2160270" y="668655"/>
                  <a:pt x="2186791" y="605165"/>
                  <a:pt x="2186791" y="539264"/>
                </a:cubicBezTo>
                <a:cubicBezTo>
                  <a:pt x="2186791" y="481399"/>
                  <a:pt x="2167503" y="429161"/>
                  <a:pt x="2135356" y="387370"/>
                </a:cubicBezTo>
                <a:cubicBezTo>
                  <a:pt x="2109639" y="386566"/>
                  <a:pt x="2083921" y="385763"/>
                  <a:pt x="2058204" y="385763"/>
                </a:cubicBezTo>
                <a:cubicBezTo>
                  <a:pt x="1291501" y="385763"/>
                  <a:pt x="646152" y="901720"/>
                  <a:pt x="448449" y="1604933"/>
                </a:cubicBezTo>
                <a:close/>
                <a:moveTo>
                  <a:pt x="3729038" y="2057400"/>
                </a:moveTo>
                <a:cubicBezTo>
                  <a:pt x="3729038" y="1779330"/>
                  <a:pt x="3661529" y="1517333"/>
                  <a:pt x="3540978" y="1287482"/>
                </a:cubicBezTo>
                <a:cubicBezTo>
                  <a:pt x="3489544" y="1294716"/>
                  <a:pt x="3438912" y="1318826"/>
                  <a:pt x="3397121" y="1360617"/>
                </a:cubicBezTo>
                <a:lnTo>
                  <a:pt x="3289429" y="1468309"/>
                </a:lnTo>
                <a:cubicBezTo>
                  <a:pt x="3241209" y="1516529"/>
                  <a:pt x="3213884" y="1581626"/>
                  <a:pt x="3213884" y="1649938"/>
                </a:cubicBezTo>
                <a:lnTo>
                  <a:pt x="3213884" y="1928813"/>
                </a:lnTo>
                <a:cubicBezTo>
                  <a:pt x="3213884" y="2071063"/>
                  <a:pt x="3328809" y="2185988"/>
                  <a:pt x="3471059" y="2185988"/>
                </a:cubicBezTo>
                <a:lnTo>
                  <a:pt x="3664744" y="2185988"/>
                </a:lnTo>
                <a:cubicBezTo>
                  <a:pt x="3684836" y="2185988"/>
                  <a:pt x="3704927" y="2183577"/>
                  <a:pt x="3723412" y="2179558"/>
                </a:cubicBezTo>
                <a:cubicBezTo>
                  <a:pt x="3726627" y="2139375"/>
                  <a:pt x="3727430" y="2098387"/>
                  <a:pt x="3727430" y="2057400"/>
                </a:cubicBezTo>
                <a:close/>
                <a:moveTo>
                  <a:pt x="0" y="2057400"/>
                </a:moveTo>
                <a:cubicBezTo>
                  <a:pt x="0" y="921008"/>
                  <a:pt x="921008" y="0"/>
                  <a:pt x="2057400" y="0"/>
                </a:cubicBezTo>
                <a:cubicBezTo>
                  <a:pt x="3193792" y="0"/>
                  <a:pt x="4114800" y="921008"/>
                  <a:pt x="4114800" y="2057400"/>
                </a:cubicBezTo>
                <a:cubicBezTo>
                  <a:pt x="4114800" y="3193792"/>
                  <a:pt x="3193792" y="4114800"/>
                  <a:pt x="2057400" y="4114800"/>
                </a:cubicBezTo>
                <a:cubicBezTo>
                  <a:pt x="921008" y="4114800"/>
                  <a:pt x="0" y="3193792"/>
                  <a:pt x="0" y="2057400"/>
                </a:cubicBezTo>
                <a:close/>
              </a:path>
            </a:pathLst>
          </a:custGeom>
          <a:solidFill>
            <a:schemeClr val="tx2">
              <a:lumMod val="75000"/>
              <a:lumOff val="25000"/>
            </a:schemeClr>
          </a:solidFill>
          <a:ln w="8037" cap="flat">
            <a:noFill/>
            <a:prstDash val="solid"/>
            <a:miter/>
          </a:ln>
        </p:spPr>
        <p:txBody>
          <a:bodyPr rtlCol="0" anchor="ctr"/>
          <a:lstStyle/>
          <a:p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4162784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B84B97-E835-2E92-2B1E-3FD8DA037D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2742E3D5-573C-322B-24C3-12DBAD96D93F}"/>
              </a:ext>
            </a:extLst>
          </p:cNvPr>
          <p:cNvSpPr txBox="1">
            <a:spLocks/>
          </p:cNvSpPr>
          <p:nvPr/>
        </p:nvSpPr>
        <p:spPr>
          <a:xfrm>
            <a:off x="540657" y="564893"/>
            <a:ext cx="4414350" cy="393377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200"/>
              </a:lnSpc>
            </a:pPr>
            <a:r>
              <a:rPr lang="es-ES_tradnl" sz="2600" b="0" noProof="0">
                <a:solidFill>
                  <a:schemeClr val="tx2"/>
                </a:solidFill>
                <a:latin typeface="Pulso Light" pitchFamily="2" charset="0"/>
              </a:rPr>
              <a:t>Contexto: </a:t>
            </a: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Global de la industria</a:t>
            </a:r>
          </a:p>
        </p:txBody>
      </p:sp>
      <p:sp>
        <p:nvSpPr>
          <p:cNvPr id="5" name="Rectángulo redondeado 4">
            <a:extLst>
              <a:ext uri="{FF2B5EF4-FFF2-40B4-BE49-F238E27FC236}">
                <a16:creationId xmlns:a16="http://schemas.microsoft.com/office/drawing/2014/main" id="{B0833D84-A59C-576E-4E95-C9D7276A2655}"/>
              </a:ext>
            </a:extLst>
          </p:cNvPr>
          <p:cNvSpPr>
            <a:spLocks/>
          </p:cNvSpPr>
          <p:nvPr/>
        </p:nvSpPr>
        <p:spPr>
          <a:xfrm>
            <a:off x="540658" y="1132808"/>
            <a:ext cx="4148527" cy="1038902"/>
          </a:xfrm>
          <a:prstGeom prst="roundRect">
            <a:avLst>
              <a:gd name="adj" fmla="val 5535"/>
            </a:avLst>
          </a:prstGeom>
          <a:solidFill>
            <a:srgbClr val="FFFFFF"/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8" name="Rectángulo redondeado 7">
            <a:extLst>
              <a:ext uri="{FF2B5EF4-FFF2-40B4-BE49-F238E27FC236}">
                <a16:creationId xmlns:a16="http://schemas.microsoft.com/office/drawing/2014/main" id="{CAD47320-105E-1C80-28C6-6336FDAB143B}"/>
              </a:ext>
            </a:extLst>
          </p:cNvPr>
          <p:cNvSpPr>
            <a:spLocks/>
          </p:cNvSpPr>
          <p:nvPr/>
        </p:nvSpPr>
        <p:spPr>
          <a:xfrm>
            <a:off x="4759616" y="1132807"/>
            <a:ext cx="3843728" cy="2482893"/>
          </a:xfrm>
          <a:prstGeom prst="roundRect">
            <a:avLst>
              <a:gd name="adj" fmla="val 2353"/>
            </a:avLst>
          </a:prstGeom>
          <a:solidFill>
            <a:srgbClr val="FFFFFF"/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242E286-9C87-B327-DC0A-C62D82DB0CE5}"/>
              </a:ext>
            </a:extLst>
          </p:cNvPr>
          <p:cNvSpPr txBox="1">
            <a:spLocks/>
          </p:cNvSpPr>
          <p:nvPr/>
        </p:nvSpPr>
        <p:spPr>
          <a:xfrm>
            <a:off x="1449447" y="1270342"/>
            <a:ext cx="2330948" cy="16927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100" b="0" spc="0" noProof="0">
                <a:solidFill>
                  <a:schemeClr val="tx2"/>
                </a:solidFill>
              </a:rPr>
              <a:t>Transformación de la industria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ECFDAAB-D78E-95C5-0243-37F3B737B1F4}"/>
              </a:ext>
            </a:extLst>
          </p:cNvPr>
          <p:cNvSpPr txBox="1">
            <a:spLocks/>
          </p:cNvSpPr>
          <p:nvPr/>
        </p:nvSpPr>
        <p:spPr>
          <a:xfrm>
            <a:off x="5439212" y="1270342"/>
            <a:ext cx="2484536" cy="16927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100" b="0" spc="0" noProof="0">
                <a:solidFill>
                  <a:schemeClr val="tx2"/>
                </a:solidFill>
              </a:rPr>
              <a:t>Tendencia de Fusione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EC24EA6-9C27-1D6A-EB1D-C70C44E0B39B}"/>
              </a:ext>
            </a:extLst>
          </p:cNvPr>
          <p:cNvSpPr txBox="1">
            <a:spLocks/>
          </p:cNvSpPr>
          <p:nvPr/>
        </p:nvSpPr>
        <p:spPr>
          <a:xfrm>
            <a:off x="951823" y="1487128"/>
            <a:ext cx="3326196" cy="554832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ts val="1100"/>
              </a:lnSpc>
            </a:pPr>
            <a:r>
              <a:rPr lang="es-ES_tradnl" sz="800" b="0" spc="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La irrupción de los </a:t>
            </a:r>
            <a:r>
              <a:rPr lang="es-ES_tradnl" sz="800" spc="0" noProof="0">
                <a:solidFill>
                  <a:schemeClr val="bg1">
                    <a:lumMod val="25000"/>
                  </a:schemeClr>
                </a:solidFill>
              </a:rPr>
              <a:t>OTT e hiperescaladores </a:t>
            </a:r>
            <a:r>
              <a:rPr lang="es-ES_tradnl" sz="800" b="0" spc="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han </a:t>
            </a:r>
            <a:r>
              <a:rPr lang="es-ES_tradnl" sz="800" spc="0" noProof="0">
                <a:solidFill>
                  <a:schemeClr val="bg1">
                    <a:lumMod val="25000"/>
                  </a:schemeClr>
                </a:solidFill>
              </a:rPr>
              <a:t>transformado</a:t>
            </a:r>
            <a:r>
              <a:rPr lang="es-ES_tradnl" sz="800" b="0" spc="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la industria de telecomunicaciones a un </a:t>
            </a:r>
            <a:r>
              <a:rPr lang="es-ES_tradnl" sz="800" spc="0" noProof="0">
                <a:solidFill>
                  <a:schemeClr val="bg1">
                    <a:lumMod val="25000"/>
                  </a:schemeClr>
                </a:solidFill>
              </a:rPr>
              <a:t>ecosistema digital</a:t>
            </a:r>
            <a:r>
              <a:rPr lang="es-ES_tradnl" sz="800" b="0" spc="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.  La asimetría de escala y la creciente necesidad de inversiones </a:t>
            </a:r>
            <a:r>
              <a:rPr lang="es-ES_tradnl" sz="800" spc="0" noProof="0">
                <a:solidFill>
                  <a:schemeClr val="bg1">
                    <a:lumMod val="25000"/>
                  </a:schemeClr>
                </a:solidFill>
              </a:rPr>
              <a:t>desencadenaron</a:t>
            </a:r>
            <a:r>
              <a:rPr lang="es-ES_tradnl" sz="800" b="0" spc="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 una </a:t>
            </a:r>
            <a:r>
              <a:rPr lang="es-ES_tradnl" sz="800" spc="0" noProof="0">
                <a:solidFill>
                  <a:schemeClr val="bg1">
                    <a:lumMod val="25000"/>
                  </a:schemeClr>
                </a:solidFill>
              </a:rPr>
              <a:t>transformación estructural </a:t>
            </a:r>
            <a:r>
              <a:rPr lang="es-ES_tradnl" sz="800" b="0" spc="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en la industria de las </a:t>
            </a:r>
            <a:r>
              <a:rPr lang="es-ES_tradnl" sz="800" b="0" spc="0" noProof="0" err="1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telcos</a:t>
            </a:r>
            <a:r>
              <a:rPr lang="es-ES_tradnl" sz="800" b="0" spc="0" noProof="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rPr>
              <a:t>.</a:t>
            </a:r>
          </a:p>
        </p:txBody>
      </p:sp>
      <p:sp>
        <p:nvSpPr>
          <p:cNvPr id="179" name="Title 1">
            <a:extLst>
              <a:ext uri="{FF2B5EF4-FFF2-40B4-BE49-F238E27FC236}">
                <a16:creationId xmlns:a16="http://schemas.microsoft.com/office/drawing/2014/main" id="{C7609310-73C9-23C4-E2B8-9CC284730623}"/>
              </a:ext>
            </a:extLst>
          </p:cNvPr>
          <p:cNvSpPr txBox="1">
            <a:spLocks/>
          </p:cNvSpPr>
          <p:nvPr/>
        </p:nvSpPr>
        <p:spPr>
          <a:xfrm>
            <a:off x="4861511" y="1487128"/>
            <a:ext cx="3639938" cy="132152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ts val="1100"/>
              </a:lnSpc>
            </a:pPr>
            <a:r>
              <a:rPr lang="es-ES_tradnl" sz="800" b="0" spc="0" noProof="0">
                <a:solidFill>
                  <a:schemeClr val="bg2"/>
                </a:solidFill>
              </a:rPr>
              <a:t>Cantidad de operaciones de fusiones y adquisiciones en 2024, por industria</a:t>
            </a:r>
          </a:p>
        </p:txBody>
      </p:sp>
      <p:sp>
        <p:nvSpPr>
          <p:cNvPr id="187" name="Rectángulo redondeado 186">
            <a:extLst>
              <a:ext uri="{FF2B5EF4-FFF2-40B4-BE49-F238E27FC236}">
                <a16:creationId xmlns:a16="http://schemas.microsoft.com/office/drawing/2014/main" id="{40861024-332D-E542-F8B5-217CC8D3142D}"/>
              </a:ext>
            </a:extLst>
          </p:cNvPr>
          <p:cNvSpPr>
            <a:spLocks/>
          </p:cNvSpPr>
          <p:nvPr/>
        </p:nvSpPr>
        <p:spPr>
          <a:xfrm>
            <a:off x="540658" y="2248174"/>
            <a:ext cx="4148527" cy="2328857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88" name="Rectángulo redondeado 187">
            <a:extLst>
              <a:ext uri="{FF2B5EF4-FFF2-40B4-BE49-F238E27FC236}">
                <a16:creationId xmlns:a16="http://schemas.microsoft.com/office/drawing/2014/main" id="{3FAA5353-444C-68BC-F5FF-5354B45ADB86}"/>
              </a:ext>
            </a:extLst>
          </p:cNvPr>
          <p:cNvSpPr>
            <a:spLocks/>
          </p:cNvSpPr>
          <p:nvPr/>
        </p:nvSpPr>
        <p:spPr>
          <a:xfrm>
            <a:off x="4759616" y="3666828"/>
            <a:ext cx="3843728" cy="914129"/>
          </a:xfrm>
          <a:prstGeom prst="roundRect">
            <a:avLst>
              <a:gd name="adj" fmla="val 4662"/>
            </a:avLst>
          </a:prstGeom>
          <a:solidFill>
            <a:srgbClr val="FFFFFF"/>
          </a:solidFill>
          <a:ln w="25400"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ES_tradnl" sz="8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89" name="Title 1">
            <a:extLst>
              <a:ext uri="{FF2B5EF4-FFF2-40B4-BE49-F238E27FC236}">
                <a16:creationId xmlns:a16="http://schemas.microsoft.com/office/drawing/2014/main" id="{79867D43-8DBF-A74C-2B48-9660EA2439D8}"/>
              </a:ext>
            </a:extLst>
          </p:cNvPr>
          <p:cNvSpPr txBox="1">
            <a:spLocks/>
          </p:cNvSpPr>
          <p:nvPr/>
        </p:nvSpPr>
        <p:spPr>
          <a:xfrm>
            <a:off x="1449447" y="2385710"/>
            <a:ext cx="2330948" cy="16927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100" b="0" spc="0" noProof="0">
                <a:solidFill>
                  <a:schemeClr val="tx2"/>
                </a:solidFill>
              </a:rPr>
              <a:t>Escala Global versus Local</a:t>
            </a:r>
          </a:p>
        </p:txBody>
      </p:sp>
      <p:sp>
        <p:nvSpPr>
          <p:cNvPr id="191" name="Title 1">
            <a:extLst>
              <a:ext uri="{FF2B5EF4-FFF2-40B4-BE49-F238E27FC236}">
                <a16:creationId xmlns:a16="http://schemas.microsoft.com/office/drawing/2014/main" id="{02F1924E-E603-20CD-13D7-2C1D0D8A273F}"/>
              </a:ext>
            </a:extLst>
          </p:cNvPr>
          <p:cNvSpPr txBox="1">
            <a:spLocks/>
          </p:cNvSpPr>
          <p:nvPr/>
        </p:nvSpPr>
        <p:spPr>
          <a:xfrm>
            <a:off x="771648" y="2593576"/>
            <a:ext cx="3686546" cy="273216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ts val="1100"/>
              </a:lnSpc>
            </a:pPr>
            <a:r>
              <a:rPr lang="es-ES_tradnl" sz="800" b="0" spc="0">
                <a:solidFill>
                  <a:schemeClr val="bg2"/>
                </a:solidFill>
              </a:rPr>
              <a:t>Ingresos y capitalización de mercado de </a:t>
            </a:r>
            <a:r>
              <a:rPr lang="es-ES_tradnl" sz="800" b="0" spc="0" err="1">
                <a:solidFill>
                  <a:schemeClr val="bg2"/>
                </a:solidFill>
              </a:rPr>
              <a:t>hiperescaladores</a:t>
            </a:r>
            <a:r>
              <a:rPr lang="es-ES_tradnl" sz="800" b="0" spc="0">
                <a:solidFill>
                  <a:schemeClr val="bg2"/>
                </a:solidFill>
              </a:rPr>
              <a:t> (Facebook, Amazon, Netflix y Google) comparado con empresas de telecomunicaciones por región</a:t>
            </a:r>
          </a:p>
        </p:txBody>
      </p:sp>
      <p:sp>
        <p:nvSpPr>
          <p:cNvPr id="192" name="Title 1">
            <a:extLst>
              <a:ext uri="{FF2B5EF4-FFF2-40B4-BE49-F238E27FC236}">
                <a16:creationId xmlns:a16="http://schemas.microsoft.com/office/drawing/2014/main" id="{50ABA354-5E5E-3724-3322-D877B4C0C5B3}"/>
              </a:ext>
            </a:extLst>
          </p:cNvPr>
          <p:cNvSpPr txBox="1">
            <a:spLocks/>
          </p:cNvSpPr>
          <p:nvPr/>
        </p:nvSpPr>
        <p:spPr>
          <a:xfrm>
            <a:off x="5115518" y="4021149"/>
            <a:ext cx="3131924" cy="414281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ts val="1100"/>
              </a:lnSpc>
            </a:pPr>
            <a:r>
              <a:rPr lang="es-ES_tradnl" sz="800" b="0" spc="0" noProof="0">
                <a:solidFill>
                  <a:schemeClr val="bg1">
                    <a:lumMod val="25000"/>
                  </a:schemeClr>
                </a:solidFill>
                <a:latin typeface="Pulso Light"/>
              </a:rPr>
              <a:t>En </a:t>
            </a:r>
            <a:r>
              <a:rPr lang="es-ES_tradnl" sz="800" spc="0" noProof="0">
                <a:solidFill>
                  <a:schemeClr val="bg1">
                    <a:lumMod val="25000"/>
                  </a:schemeClr>
                </a:solidFill>
                <a:latin typeface="Pulso"/>
              </a:rPr>
              <a:t>2019 inició </a:t>
            </a:r>
            <a:r>
              <a:rPr lang="es-ES_tradnl" sz="800" b="0" spc="0" noProof="0">
                <a:solidFill>
                  <a:schemeClr val="bg1">
                    <a:lumMod val="25000"/>
                  </a:schemeClr>
                </a:solidFill>
                <a:latin typeface="Pulso Light"/>
              </a:rPr>
              <a:t>un </a:t>
            </a:r>
            <a:r>
              <a:rPr lang="es-ES_tradnl" sz="800" spc="0" noProof="0">
                <a:solidFill>
                  <a:schemeClr val="bg1">
                    <a:lumMod val="25000"/>
                  </a:schemeClr>
                </a:solidFill>
                <a:latin typeface="Pulso"/>
              </a:rPr>
              <a:t>proceso</a:t>
            </a:r>
            <a:r>
              <a:rPr lang="es-ES_tradnl" sz="800" b="0" spc="0" noProof="0">
                <a:solidFill>
                  <a:schemeClr val="bg1">
                    <a:lumMod val="25000"/>
                  </a:schemeClr>
                </a:solidFill>
                <a:latin typeface="Pulso Light"/>
              </a:rPr>
              <a:t> de </a:t>
            </a:r>
            <a:r>
              <a:rPr lang="es-ES_tradnl" sz="800" spc="0" noProof="0">
                <a:solidFill>
                  <a:schemeClr val="bg1">
                    <a:lumMod val="25000"/>
                  </a:schemeClr>
                </a:solidFill>
                <a:latin typeface="Pulso"/>
              </a:rPr>
              <a:t>consolidación</a:t>
            </a:r>
            <a:r>
              <a:rPr lang="es-ES_tradnl" sz="800" b="0" spc="0" noProof="0">
                <a:solidFill>
                  <a:schemeClr val="bg1">
                    <a:lumMod val="25000"/>
                  </a:schemeClr>
                </a:solidFill>
                <a:latin typeface="Pulso Light"/>
              </a:rPr>
              <a:t> de su operación en España, Reino Unido, Alemania y Brasil, </a:t>
            </a:r>
            <a:r>
              <a:rPr lang="es-ES_tradnl" sz="800" spc="0" noProof="0">
                <a:solidFill>
                  <a:schemeClr val="bg1">
                    <a:lumMod val="25000"/>
                  </a:schemeClr>
                </a:solidFill>
                <a:latin typeface="Pulso"/>
              </a:rPr>
              <a:t>desinvirtiendo</a:t>
            </a:r>
            <a:r>
              <a:rPr lang="es-ES_tradnl" sz="800" b="0" spc="0" noProof="0">
                <a:solidFill>
                  <a:schemeClr val="bg1">
                    <a:lumMod val="25000"/>
                  </a:schemeClr>
                </a:solidFill>
                <a:latin typeface="Pulso Light"/>
              </a:rPr>
              <a:t> en </a:t>
            </a:r>
            <a:r>
              <a:rPr lang="es-ES_tradnl" sz="800" spc="0" noProof="0">
                <a:solidFill>
                  <a:schemeClr val="bg1">
                    <a:lumMod val="25000"/>
                  </a:schemeClr>
                </a:solidFill>
                <a:latin typeface="Pulso"/>
              </a:rPr>
              <a:t>Argentina</a:t>
            </a:r>
            <a:r>
              <a:rPr lang="es-ES_tradnl" sz="800" b="0" spc="0" noProof="0">
                <a:solidFill>
                  <a:schemeClr val="bg1">
                    <a:lumMod val="25000"/>
                  </a:schemeClr>
                </a:solidFill>
                <a:latin typeface="Pulso Light"/>
              </a:rPr>
              <a:t> y el resto de los países en los que </a:t>
            </a:r>
            <a:r>
              <a:rPr lang="es-ES_tradnl" sz="800" b="0" spc="0">
                <a:solidFill>
                  <a:schemeClr val="bg1">
                    <a:lumMod val="25000"/>
                  </a:schemeClr>
                </a:solidFill>
                <a:latin typeface="Pulso Light"/>
              </a:rPr>
              <a:t>tenía</a:t>
            </a:r>
            <a:r>
              <a:rPr lang="es-ES_tradnl" sz="800" b="0" spc="0" noProof="0">
                <a:solidFill>
                  <a:schemeClr val="bg1">
                    <a:lumMod val="25000"/>
                  </a:schemeClr>
                </a:solidFill>
                <a:latin typeface="Pulso Light"/>
              </a:rPr>
              <a:t> presencia.</a:t>
            </a:r>
          </a:p>
        </p:txBody>
      </p:sp>
      <p:grpSp>
        <p:nvGrpSpPr>
          <p:cNvPr id="236" name="Grupo 235">
            <a:extLst>
              <a:ext uri="{FF2B5EF4-FFF2-40B4-BE49-F238E27FC236}">
                <a16:creationId xmlns:a16="http://schemas.microsoft.com/office/drawing/2014/main" id="{471480C0-7F44-9363-F8CD-81C7E3AAAFB5}"/>
              </a:ext>
            </a:extLst>
          </p:cNvPr>
          <p:cNvGrpSpPr/>
          <p:nvPr/>
        </p:nvGrpSpPr>
        <p:grpSpPr>
          <a:xfrm>
            <a:off x="4935642" y="1805818"/>
            <a:ext cx="3481906" cy="1687235"/>
            <a:chOff x="4935642" y="1805880"/>
            <a:chExt cx="3481906" cy="1687235"/>
          </a:xfrm>
        </p:grpSpPr>
        <p:grpSp>
          <p:nvGrpSpPr>
            <p:cNvPr id="223" name="Grupo 222">
              <a:extLst>
                <a:ext uri="{FF2B5EF4-FFF2-40B4-BE49-F238E27FC236}">
                  <a16:creationId xmlns:a16="http://schemas.microsoft.com/office/drawing/2014/main" id="{AB147E8C-1C85-2F79-4EBB-313390AF2D82}"/>
                </a:ext>
              </a:extLst>
            </p:cNvPr>
            <p:cNvGrpSpPr/>
            <p:nvPr/>
          </p:nvGrpSpPr>
          <p:grpSpPr>
            <a:xfrm>
              <a:off x="6807176" y="1842232"/>
              <a:ext cx="1304733" cy="1636008"/>
              <a:chOff x="6692797" y="1849266"/>
              <a:chExt cx="1786597" cy="1636008"/>
            </a:xfrm>
          </p:grpSpPr>
          <p:sp>
            <p:nvSpPr>
              <p:cNvPr id="201" name="Rectángulo 200">
                <a:extLst>
                  <a:ext uri="{FF2B5EF4-FFF2-40B4-BE49-F238E27FC236}">
                    <a16:creationId xmlns:a16="http://schemas.microsoft.com/office/drawing/2014/main" id="{5F434AFE-7EBD-5CF7-9558-8FA902A86901}"/>
                  </a:ext>
                </a:extLst>
              </p:cNvPr>
              <p:cNvSpPr/>
              <p:nvPr/>
            </p:nvSpPr>
            <p:spPr>
              <a:xfrm>
                <a:off x="6692797" y="1849266"/>
                <a:ext cx="1786597" cy="184975"/>
              </a:xfrm>
              <a:prstGeom prst="rect">
                <a:avLst/>
              </a:prstGeom>
              <a:solidFill>
                <a:schemeClr val="accent1"/>
              </a:solidFill>
              <a:ln w="38100" cap="rnd" cmpd="sng">
                <a:noFill/>
                <a:prstDash val="sysDash"/>
                <a:miter lim="800000"/>
              </a:ln>
              <a:effectLst>
                <a:outerShdw blurRad="38100" dist="12700" dir="5400000" algn="t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noAutofit/>
              </a:bodyPr>
              <a:lstStyle/>
              <a:p>
                <a:pPr algn="ctr">
                  <a:spcBef>
                    <a:spcPts val="1000"/>
                  </a:spcBef>
                </a:pPr>
                <a:endParaRPr lang="es-ES_tradnl" sz="14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3" name="Rectángulo 202">
                <a:extLst>
                  <a:ext uri="{FF2B5EF4-FFF2-40B4-BE49-F238E27FC236}">
                    <a16:creationId xmlns:a16="http://schemas.microsoft.com/office/drawing/2014/main" id="{972F082A-2FE9-6FD3-E07B-19A66D3FC785}"/>
                  </a:ext>
                </a:extLst>
              </p:cNvPr>
              <p:cNvSpPr/>
              <p:nvPr/>
            </p:nvSpPr>
            <p:spPr>
              <a:xfrm>
                <a:off x="6692798" y="2159680"/>
                <a:ext cx="1280159" cy="92009"/>
              </a:xfrm>
              <a:prstGeom prst="rect">
                <a:avLst/>
              </a:prstGeom>
              <a:solidFill>
                <a:schemeClr val="tx2">
                  <a:lumMod val="50000"/>
                  <a:lumOff val="50000"/>
                </a:schemeClr>
              </a:solidFill>
              <a:ln w="38100" cap="rnd" cmpd="sng">
                <a:noFill/>
                <a:prstDash val="sysDash"/>
                <a:miter lim="800000"/>
              </a:ln>
              <a:effectLst>
                <a:outerShdw blurRad="38100" dist="12700" dir="5400000" algn="t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noAutofit/>
              </a:bodyPr>
              <a:lstStyle/>
              <a:p>
                <a:pPr algn="ctr">
                  <a:spcBef>
                    <a:spcPts val="1000"/>
                  </a:spcBef>
                </a:pPr>
                <a:endParaRPr lang="es-ES_tradnl" sz="14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4" name="Rectángulo 203">
                <a:extLst>
                  <a:ext uri="{FF2B5EF4-FFF2-40B4-BE49-F238E27FC236}">
                    <a16:creationId xmlns:a16="http://schemas.microsoft.com/office/drawing/2014/main" id="{4E35A01C-D3D4-5A3D-2869-17725A68EC50}"/>
                  </a:ext>
                </a:extLst>
              </p:cNvPr>
              <p:cNvSpPr/>
              <p:nvPr/>
            </p:nvSpPr>
            <p:spPr>
              <a:xfrm>
                <a:off x="6692798" y="2313878"/>
                <a:ext cx="1041010" cy="92009"/>
              </a:xfrm>
              <a:prstGeom prst="rect">
                <a:avLst/>
              </a:prstGeom>
              <a:solidFill>
                <a:schemeClr val="tx2">
                  <a:lumMod val="50000"/>
                  <a:lumOff val="50000"/>
                </a:schemeClr>
              </a:solidFill>
              <a:ln w="38100" cap="rnd" cmpd="sng">
                <a:noFill/>
                <a:prstDash val="sysDash"/>
                <a:miter lim="800000"/>
              </a:ln>
              <a:effectLst>
                <a:outerShdw blurRad="38100" dist="12700" dir="5400000" algn="t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noAutofit/>
              </a:bodyPr>
              <a:lstStyle/>
              <a:p>
                <a:pPr algn="ctr">
                  <a:spcBef>
                    <a:spcPts val="1000"/>
                  </a:spcBef>
                </a:pPr>
                <a:endParaRPr lang="es-ES_tradnl" sz="14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Rectángulo 204">
                <a:extLst>
                  <a:ext uri="{FF2B5EF4-FFF2-40B4-BE49-F238E27FC236}">
                    <a16:creationId xmlns:a16="http://schemas.microsoft.com/office/drawing/2014/main" id="{367B3068-BE0E-2800-51FB-8A9EE36A1B61}"/>
                  </a:ext>
                </a:extLst>
              </p:cNvPr>
              <p:cNvSpPr/>
              <p:nvPr/>
            </p:nvSpPr>
            <p:spPr>
              <a:xfrm>
                <a:off x="6692798" y="2468076"/>
                <a:ext cx="777240" cy="92009"/>
              </a:xfrm>
              <a:prstGeom prst="rect">
                <a:avLst/>
              </a:prstGeom>
              <a:solidFill>
                <a:schemeClr val="tx2">
                  <a:lumMod val="50000"/>
                  <a:lumOff val="50000"/>
                </a:schemeClr>
              </a:solidFill>
              <a:ln w="38100" cap="rnd" cmpd="sng">
                <a:noFill/>
                <a:prstDash val="sysDash"/>
                <a:miter lim="800000"/>
              </a:ln>
              <a:effectLst>
                <a:outerShdw blurRad="38100" dist="12700" dir="5400000" algn="t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noAutofit/>
              </a:bodyPr>
              <a:lstStyle/>
              <a:p>
                <a:pPr algn="ctr">
                  <a:spcBef>
                    <a:spcPts val="1000"/>
                  </a:spcBef>
                </a:pPr>
                <a:endParaRPr lang="es-ES_tradnl" sz="14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6" name="Rectángulo 205">
                <a:extLst>
                  <a:ext uri="{FF2B5EF4-FFF2-40B4-BE49-F238E27FC236}">
                    <a16:creationId xmlns:a16="http://schemas.microsoft.com/office/drawing/2014/main" id="{38571827-BA28-1E14-D392-73CE3AB0C5F8}"/>
                  </a:ext>
                </a:extLst>
              </p:cNvPr>
              <p:cNvSpPr/>
              <p:nvPr/>
            </p:nvSpPr>
            <p:spPr>
              <a:xfrm>
                <a:off x="6692798" y="2622274"/>
                <a:ext cx="689317" cy="92009"/>
              </a:xfrm>
              <a:prstGeom prst="rect">
                <a:avLst/>
              </a:prstGeom>
              <a:solidFill>
                <a:schemeClr val="tx2">
                  <a:lumMod val="50000"/>
                  <a:lumOff val="50000"/>
                </a:schemeClr>
              </a:solidFill>
              <a:ln w="38100" cap="rnd" cmpd="sng">
                <a:noFill/>
                <a:prstDash val="sysDash"/>
                <a:miter lim="800000"/>
              </a:ln>
              <a:effectLst>
                <a:outerShdw blurRad="38100" dist="12700" dir="5400000" algn="t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noAutofit/>
              </a:bodyPr>
              <a:lstStyle/>
              <a:p>
                <a:pPr algn="ctr">
                  <a:spcBef>
                    <a:spcPts val="1000"/>
                  </a:spcBef>
                </a:pPr>
                <a:endParaRPr lang="es-ES_tradnl" sz="14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Rectángulo 206">
                <a:extLst>
                  <a:ext uri="{FF2B5EF4-FFF2-40B4-BE49-F238E27FC236}">
                    <a16:creationId xmlns:a16="http://schemas.microsoft.com/office/drawing/2014/main" id="{045FE1D2-1A6B-81BA-95D5-9DBA3C4CF1A6}"/>
                  </a:ext>
                </a:extLst>
              </p:cNvPr>
              <p:cNvSpPr/>
              <p:nvPr/>
            </p:nvSpPr>
            <p:spPr>
              <a:xfrm>
                <a:off x="6692798" y="2776473"/>
                <a:ext cx="597877" cy="92009"/>
              </a:xfrm>
              <a:prstGeom prst="rect">
                <a:avLst/>
              </a:prstGeom>
              <a:solidFill>
                <a:schemeClr val="tx2">
                  <a:lumMod val="50000"/>
                  <a:lumOff val="50000"/>
                </a:schemeClr>
              </a:solidFill>
              <a:ln w="38100" cap="rnd" cmpd="sng">
                <a:noFill/>
                <a:prstDash val="sysDash"/>
                <a:miter lim="800000"/>
              </a:ln>
              <a:effectLst>
                <a:outerShdw blurRad="38100" dist="12700" dir="5400000" algn="t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noAutofit/>
              </a:bodyPr>
              <a:lstStyle/>
              <a:p>
                <a:pPr algn="ctr">
                  <a:spcBef>
                    <a:spcPts val="1000"/>
                  </a:spcBef>
                </a:pPr>
                <a:endParaRPr lang="es-ES_tradnl" sz="14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8" name="Rectángulo 207">
                <a:extLst>
                  <a:ext uri="{FF2B5EF4-FFF2-40B4-BE49-F238E27FC236}">
                    <a16:creationId xmlns:a16="http://schemas.microsoft.com/office/drawing/2014/main" id="{B690FD67-1C14-3E11-DE90-1FB723409804}"/>
                  </a:ext>
                </a:extLst>
              </p:cNvPr>
              <p:cNvSpPr/>
              <p:nvPr/>
            </p:nvSpPr>
            <p:spPr>
              <a:xfrm>
                <a:off x="6692798" y="2930671"/>
                <a:ext cx="562708" cy="92009"/>
              </a:xfrm>
              <a:prstGeom prst="rect">
                <a:avLst/>
              </a:prstGeom>
              <a:solidFill>
                <a:schemeClr val="tx2">
                  <a:lumMod val="50000"/>
                  <a:lumOff val="50000"/>
                </a:schemeClr>
              </a:solidFill>
              <a:ln w="38100" cap="rnd" cmpd="sng">
                <a:noFill/>
                <a:prstDash val="sysDash"/>
                <a:miter lim="800000"/>
              </a:ln>
              <a:effectLst>
                <a:outerShdw blurRad="38100" dist="12700" dir="5400000" algn="t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noAutofit/>
              </a:bodyPr>
              <a:lstStyle/>
              <a:p>
                <a:pPr algn="ctr">
                  <a:spcBef>
                    <a:spcPts val="1000"/>
                  </a:spcBef>
                </a:pPr>
                <a:endParaRPr lang="es-ES_tradnl" sz="14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Rectángulo 208">
                <a:extLst>
                  <a:ext uri="{FF2B5EF4-FFF2-40B4-BE49-F238E27FC236}">
                    <a16:creationId xmlns:a16="http://schemas.microsoft.com/office/drawing/2014/main" id="{0B9DE6B1-C10F-4649-B463-80DAAB4D734F}"/>
                  </a:ext>
                </a:extLst>
              </p:cNvPr>
              <p:cNvSpPr/>
              <p:nvPr/>
            </p:nvSpPr>
            <p:spPr>
              <a:xfrm>
                <a:off x="6692798" y="3084869"/>
                <a:ext cx="320040" cy="92009"/>
              </a:xfrm>
              <a:prstGeom prst="rect">
                <a:avLst/>
              </a:prstGeom>
              <a:solidFill>
                <a:schemeClr val="tx2">
                  <a:lumMod val="50000"/>
                  <a:lumOff val="50000"/>
                </a:schemeClr>
              </a:solidFill>
              <a:ln w="38100" cap="rnd" cmpd="sng">
                <a:noFill/>
                <a:prstDash val="sysDash"/>
                <a:miter lim="800000"/>
              </a:ln>
              <a:effectLst>
                <a:outerShdw blurRad="38100" dist="12700" dir="5400000" algn="t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noAutofit/>
              </a:bodyPr>
              <a:lstStyle/>
              <a:p>
                <a:pPr algn="ctr">
                  <a:spcBef>
                    <a:spcPts val="1000"/>
                  </a:spcBef>
                </a:pPr>
                <a:endParaRPr lang="es-ES_tradnl" sz="14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0" name="Rectángulo 209">
                <a:extLst>
                  <a:ext uri="{FF2B5EF4-FFF2-40B4-BE49-F238E27FC236}">
                    <a16:creationId xmlns:a16="http://schemas.microsoft.com/office/drawing/2014/main" id="{3C1EFDA9-3F5B-D004-99E0-8C2FF125707E}"/>
                  </a:ext>
                </a:extLst>
              </p:cNvPr>
              <p:cNvSpPr/>
              <p:nvPr/>
            </p:nvSpPr>
            <p:spPr>
              <a:xfrm>
                <a:off x="6692797" y="3239067"/>
                <a:ext cx="246185" cy="92009"/>
              </a:xfrm>
              <a:prstGeom prst="rect">
                <a:avLst/>
              </a:prstGeom>
              <a:solidFill>
                <a:schemeClr val="tx2">
                  <a:lumMod val="50000"/>
                  <a:lumOff val="50000"/>
                </a:schemeClr>
              </a:solidFill>
              <a:ln w="38100" cap="rnd" cmpd="sng">
                <a:noFill/>
                <a:prstDash val="sysDash"/>
                <a:miter lim="800000"/>
              </a:ln>
              <a:effectLst>
                <a:outerShdw blurRad="38100" dist="12700" dir="5400000" algn="t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noAutofit/>
              </a:bodyPr>
              <a:lstStyle/>
              <a:p>
                <a:pPr algn="ctr">
                  <a:spcBef>
                    <a:spcPts val="1000"/>
                  </a:spcBef>
                </a:pPr>
                <a:endParaRPr lang="es-ES_tradnl" sz="14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Rectángulo 210">
                <a:extLst>
                  <a:ext uri="{FF2B5EF4-FFF2-40B4-BE49-F238E27FC236}">
                    <a16:creationId xmlns:a16="http://schemas.microsoft.com/office/drawing/2014/main" id="{461F5554-09D8-974D-3793-D2EE4C0F419A}"/>
                  </a:ext>
                </a:extLst>
              </p:cNvPr>
              <p:cNvSpPr/>
              <p:nvPr/>
            </p:nvSpPr>
            <p:spPr>
              <a:xfrm>
                <a:off x="6692797" y="3393265"/>
                <a:ext cx="218051" cy="92009"/>
              </a:xfrm>
              <a:prstGeom prst="rect">
                <a:avLst/>
              </a:prstGeom>
              <a:solidFill>
                <a:schemeClr val="tx2">
                  <a:lumMod val="50000"/>
                  <a:lumOff val="50000"/>
                </a:schemeClr>
              </a:solidFill>
              <a:ln w="38100" cap="rnd" cmpd="sng">
                <a:noFill/>
                <a:prstDash val="sysDash"/>
                <a:miter lim="800000"/>
              </a:ln>
              <a:effectLst>
                <a:outerShdw blurRad="38100" dist="12700" dir="5400000" algn="t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noAutofit/>
              </a:bodyPr>
              <a:lstStyle/>
              <a:p>
                <a:pPr algn="ctr">
                  <a:spcBef>
                    <a:spcPts val="1000"/>
                  </a:spcBef>
                </a:pPr>
                <a:endParaRPr lang="es-ES_tradnl" sz="1400" b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13" name="CuadroTexto 212">
              <a:extLst>
                <a:ext uri="{FF2B5EF4-FFF2-40B4-BE49-F238E27FC236}">
                  <a16:creationId xmlns:a16="http://schemas.microsoft.com/office/drawing/2014/main" id="{BBCE56B0-B64D-ABFF-6E5C-53AB2D0A75B3}"/>
                </a:ext>
              </a:extLst>
            </p:cNvPr>
            <p:cNvSpPr txBox="1"/>
            <p:nvPr/>
          </p:nvSpPr>
          <p:spPr>
            <a:xfrm>
              <a:off x="4935642" y="1805880"/>
              <a:ext cx="1825761" cy="246221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 algn="r">
                <a:lnSpc>
                  <a:spcPct val="100000"/>
                </a:lnSpc>
              </a:pPr>
              <a:r>
                <a:rPr lang="es-ES_tradnl" b="1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Tecnología, medios y telecomunicaciones</a:t>
              </a:r>
            </a:p>
          </p:txBody>
        </p:sp>
        <p:sp>
          <p:nvSpPr>
            <p:cNvPr id="214" name="CuadroTexto 213">
              <a:extLst>
                <a:ext uri="{FF2B5EF4-FFF2-40B4-BE49-F238E27FC236}">
                  <a16:creationId xmlns:a16="http://schemas.microsoft.com/office/drawing/2014/main" id="{71C311BC-4BCA-CA8E-499A-6E9CB3E9D2F6}"/>
                </a:ext>
              </a:extLst>
            </p:cNvPr>
            <p:cNvSpPr txBox="1"/>
            <p:nvPr/>
          </p:nvSpPr>
          <p:spPr>
            <a:xfrm>
              <a:off x="5036234" y="2128132"/>
              <a:ext cx="1700511" cy="132152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 algn="r"/>
              <a:r>
                <a:rPr lang="es-ES_tradnl" sz="7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Servicios corporativos</a:t>
              </a:r>
            </a:p>
          </p:txBody>
        </p:sp>
        <p:sp>
          <p:nvSpPr>
            <p:cNvPr id="215" name="CuadroTexto 214">
              <a:extLst>
                <a:ext uri="{FF2B5EF4-FFF2-40B4-BE49-F238E27FC236}">
                  <a16:creationId xmlns:a16="http://schemas.microsoft.com/office/drawing/2014/main" id="{D7FBE432-B8C4-8CAB-0427-A44825021357}"/>
                </a:ext>
              </a:extLst>
            </p:cNvPr>
            <p:cNvSpPr txBox="1"/>
            <p:nvPr/>
          </p:nvSpPr>
          <p:spPr>
            <a:xfrm>
              <a:off x="5036234" y="2282236"/>
              <a:ext cx="1700511" cy="132152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 algn="r"/>
              <a:r>
                <a:rPr lang="es-ES_tradnl" sz="700">
                  <a:solidFill>
                    <a:schemeClr val="bg1">
                      <a:lumMod val="25000"/>
                    </a:schemeClr>
                  </a:solidFill>
                  <a:latin typeface="Pulso Light"/>
                </a:rPr>
                <a:t>Manufacturera y química</a:t>
              </a:r>
              <a:endParaRPr lang="es-ES_tradnl" sz="70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endParaRPr>
            </a:p>
          </p:txBody>
        </p:sp>
        <p:sp>
          <p:nvSpPr>
            <p:cNvPr id="216" name="CuadroTexto 215">
              <a:extLst>
                <a:ext uri="{FF2B5EF4-FFF2-40B4-BE49-F238E27FC236}">
                  <a16:creationId xmlns:a16="http://schemas.microsoft.com/office/drawing/2014/main" id="{11BBC395-30B0-589D-A092-78B1AF30441D}"/>
                </a:ext>
              </a:extLst>
            </p:cNvPr>
            <p:cNvSpPr txBox="1"/>
            <p:nvPr/>
          </p:nvSpPr>
          <p:spPr>
            <a:xfrm>
              <a:off x="5036234" y="2436340"/>
              <a:ext cx="1700511" cy="132152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 algn="r"/>
              <a:r>
                <a:rPr lang="es-ES_tradnl" sz="7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Consumo</a:t>
              </a:r>
            </a:p>
          </p:txBody>
        </p:sp>
        <p:sp>
          <p:nvSpPr>
            <p:cNvPr id="217" name="CuadroTexto 216">
              <a:extLst>
                <a:ext uri="{FF2B5EF4-FFF2-40B4-BE49-F238E27FC236}">
                  <a16:creationId xmlns:a16="http://schemas.microsoft.com/office/drawing/2014/main" id="{8B5F3B33-045D-752F-CD73-88B6A2EA2325}"/>
                </a:ext>
              </a:extLst>
            </p:cNvPr>
            <p:cNvSpPr txBox="1"/>
            <p:nvPr/>
          </p:nvSpPr>
          <p:spPr>
            <a:xfrm>
              <a:off x="5036234" y="2590444"/>
              <a:ext cx="1700511" cy="132152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 algn="r"/>
              <a:r>
                <a:rPr lang="es-ES_tradnl" sz="7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Farmacéutica, médica y </a:t>
              </a:r>
              <a:r>
                <a:rPr lang="es-ES_tradnl" sz="700" err="1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biotech</a:t>
              </a:r>
              <a:endParaRPr lang="es-ES_tradnl" sz="70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endParaRPr>
            </a:p>
          </p:txBody>
        </p:sp>
        <p:sp>
          <p:nvSpPr>
            <p:cNvPr id="218" name="CuadroTexto 217">
              <a:extLst>
                <a:ext uri="{FF2B5EF4-FFF2-40B4-BE49-F238E27FC236}">
                  <a16:creationId xmlns:a16="http://schemas.microsoft.com/office/drawing/2014/main" id="{69D710B1-8375-2100-065A-7DCAE4BA06E6}"/>
                </a:ext>
              </a:extLst>
            </p:cNvPr>
            <p:cNvSpPr txBox="1"/>
            <p:nvPr/>
          </p:nvSpPr>
          <p:spPr>
            <a:xfrm>
              <a:off x="5036234" y="2744548"/>
              <a:ext cx="1700511" cy="132152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 algn="r"/>
              <a:r>
                <a:rPr lang="es-ES_tradnl" sz="7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Servicios financieros</a:t>
              </a:r>
            </a:p>
          </p:txBody>
        </p:sp>
        <p:sp>
          <p:nvSpPr>
            <p:cNvPr id="219" name="CuadroTexto 218">
              <a:extLst>
                <a:ext uri="{FF2B5EF4-FFF2-40B4-BE49-F238E27FC236}">
                  <a16:creationId xmlns:a16="http://schemas.microsoft.com/office/drawing/2014/main" id="{397279AC-52F6-E3A8-1098-ED46716EDA74}"/>
                </a:ext>
              </a:extLst>
            </p:cNvPr>
            <p:cNvSpPr txBox="1"/>
            <p:nvPr/>
          </p:nvSpPr>
          <p:spPr>
            <a:xfrm>
              <a:off x="5036234" y="2898652"/>
              <a:ext cx="1700511" cy="132152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 algn="r"/>
              <a:r>
                <a:rPr lang="es-ES_tradnl" sz="7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Energía, minas y servicios públicos</a:t>
              </a:r>
            </a:p>
          </p:txBody>
        </p:sp>
        <p:sp>
          <p:nvSpPr>
            <p:cNvPr id="220" name="CuadroTexto 219">
              <a:extLst>
                <a:ext uri="{FF2B5EF4-FFF2-40B4-BE49-F238E27FC236}">
                  <a16:creationId xmlns:a16="http://schemas.microsoft.com/office/drawing/2014/main" id="{44A13259-DDDC-3A3E-CAB1-3C17E0E2406B}"/>
                </a:ext>
              </a:extLst>
            </p:cNvPr>
            <p:cNvSpPr txBox="1"/>
            <p:nvPr/>
          </p:nvSpPr>
          <p:spPr>
            <a:xfrm>
              <a:off x="5036234" y="3052756"/>
              <a:ext cx="1700511" cy="132152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 algn="r"/>
              <a:r>
                <a:rPr lang="es-ES_tradnl" sz="7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Construcción</a:t>
              </a:r>
            </a:p>
          </p:txBody>
        </p:sp>
        <p:sp>
          <p:nvSpPr>
            <p:cNvPr id="221" name="CuadroTexto 220">
              <a:extLst>
                <a:ext uri="{FF2B5EF4-FFF2-40B4-BE49-F238E27FC236}">
                  <a16:creationId xmlns:a16="http://schemas.microsoft.com/office/drawing/2014/main" id="{579D38FC-715E-4250-89F1-CEE7B4DCDE96}"/>
                </a:ext>
              </a:extLst>
            </p:cNvPr>
            <p:cNvSpPr txBox="1"/>
            <p:nvPr/>
          </p:nvSpPr>
          <p:spPr>
            <a:xfrm>
              <a:off x="5036234" y="3206860"/>
              <a:ext cx="1700511" cy="132152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 algn="r"/>
              <a:r>
                <a:rPr lang="es-ES_tradnl" sz="7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Transporte</a:t>
              </a:r>
            </a:p>
          </p:txBody>
        </p:sp>
        <p:sp>
          <p:nvSpPr>
            <p:cNvPr id="222" name="CuadroTexto 221">
              <a:extLst>
                <a:ext uri="{FF2B5EF4-FFF2-40B4-BE49-F238E27FC236}">
                  <a16:creationId xmlns:a16="http://schemas.microsoft.com/office/drawing/2014/main" id="{3FDB8361-2699-D07B-504D-D5F17E82394C}"/>
                </a:ext>
              </a:extLst>
            </p:cNvPr>
            <p:cNvSpPr txBox="1"/>
            <p:nvPr/>
          </p:nvSpPr>
          <p:spPr>
            <a:xfrm>
              <a:off x="5036234" y="3360963"/>
              <a:ext cx="1700511" cy="132152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 algn="r"/>
              <a:r>
                <a:rPr lang="es-ES_tradnl" sz="7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Inmobiliaria</a:t>
              </a:r>
            </a:p>
          </p:txBody>
        </p:sp>
        <p:sp>
          <p:nvSpPr>
            <p:cNvPr id="224" name="CuadroTexto 223">
              <a:extLst>
                <a:ext uri="{FF2B5EF4-FFF2-40B4-BE49-F238E27FC236}">
                  <a16:creationId xmlns:a16="http://schemas.microsoft.com/office/drawing/2014/main" id="{2F45DC35-6E12-2084-E280-43DFC50D4FCE}"/>
                </a:ext>
              </a:extLst>
            </p:cNvPr>
            <p:cNvSpPr txBox="1"/>
            <p:nvPr/>
          </p:nvSpPr>
          <p:spPr>
            <a:xfrm>
              <a:off x="8111909" y="1866211"/>
              <a:ext cx="305639" cy="132152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 algn="r"/>
              <a:r>
                <a:rPr lang="es-ES_tradnl">
                  <a:solidFill>
                    <a:schemeClr val="accent1"/>
                  </a:solidFill>
                </a:rPr>
                <a:t>9.216</a:t>
              </a:r>
            </a:p>
          </p:txBody>
        </p:sp>
        <p:sp>
          <p:nvSpPr>
            <p:cNvPr id="225" name="CuadroTexto 224">
              <a:extLst>
                <a:ext uri="{FF2B5EF4-FFF2-40B4-BE49-F238E27FC236}">
                  <a16:creationId xmlns:a16="http://schemas.microsoft.com/office/drawing/2014/main" id="{EB9312E1-4D02-435C-85F6-2BF94D1FD66B}"/>
                </a:ext>
              </a:extLst>
            </p:cNvPr>
            <p:cNvSpPr txBox="1"/>
            <p:nvPr/>
          </p:nvSpPr>
          <p:spPr>
            <a:xfrm>
              <a:off x="7739332" y="2128132"/>
              <a:ext cx="305639" cy="132152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 algn="r"/>
              <a:r>
                <a:rPr lang="es-ES_tradnl" sz="70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6.588</a:t>
              </a:r>
            </a:p>
          </p:txBody>
        </p:sp>
        <p:sp>
          <p:nvSpPr>
            <p:cNvPr id="226" name="CuadroTexto 225">
              <a:extLst>
                <a:ext uri="{FF2B5EF4-FFF2-40B4-BE49-F238E27FC236}">
                  <a16:creationId xmlns:a16="http://schemas.microsoft.com/office/drawing/2014/main" id="{DD4EF25C-1CA2-23F4-82CC-EF3F3B672890}"/>
                </a:ext>
              </a:extLst>
            </p:cNvPr>
            <p:cNvSpPr txBox="1"/>
            <p:nvPr/>
          </p:nvSpPr>
          <p:spPr>
            <a:xfrm>
              <a:off x="7564684" y="2282236"/>
              <a:ext cx="305639" cy="132152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 algn="r"/>
              <a:r>
                <a:rPr lang="es-ES_tradnl" sz="70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5.372</a:t>
              </a:r>
            </a:p>
          </p:txBody>
        </p:sp>
        <p:sp>
          <p:nvSpPr>
            <p:cNvPr id="227" name="CuadroTexto 226">
              <a:extLst>
                <a:ext uri="{FF2B5EF4-FFF2-40B4-BE49-F238E27FC236}">
                  <a16:creationId xmlns:a16="http://schemas.microsoft.com/office/drawing/2014/main" id="{BCE7711C-B1BE-90F2-004C-A4107755C293}"/>
                </a:ext>
              </a:extLst>
            </p:cNvPr>
            <p:cNvSpPr txBox="1"/>
            <p:nvPr/>
          </p:nvSpPr>
          <p:spPr>
            <a:xfrm>
              <a:off x="7372055" y="2436340"/>
              <a:ext cx="305639" cy="132152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 algn="r"/>
              <a:r>
                <a:rPr lang="es-ES_tradnl" sz="70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3.979</a:t>
              </a:r>
            </a:p>
          </p:txBody>
        </p:sp>
        <p:sp>
          <p:nvSpPr>
            <p:cNvPr id="228" name="CuadroTexto 227">
              <a:extLst>
                <a:ext uri="{FF2B5EF4-FFF2-40B4-BE49-F238E27FC236}">
                  <a16:creationId xmlns:a16="http://schemas.microsoft.com/office/drawing/2014/main" id="{124974A6-39F0-59D3-6778-60B188DB21DE}"/>
                </a:ext>
              </a:extLst>
            </p:cNvPr>
            <p:cNvSpPr txBox="1"/>
            <p:nvPr/>
          </p:nvSpPr>
          <p:spPr>
            <a:xfrm>
              <a:off x="7310578" y="2590444"/>
              <a:ext cx="305639" cy="132152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 algn="r"/>
              <a:r>
                <a:rPr lang="es-ES_tradnl" sz="70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3.540</a:t>
              </a:r>
            </a:p>
          </p:txBody>
        </p:sp>
        <p:sp>
          <p:nvSpPr>
            <p:cNvPr id="229" name="CuadroTexto 228">
              <a:extLst>
                <a:ext uri="{FF2B5EF4-FFF2-40B4-BE49-F238E27FC236}">
                  <a16:creationId xmlns:a16="http://schemas.microsoft.com/office/drawing/2014/main" id="{B94D5715-EE48-342B-F15F-914171DE6649}"/>
                </a:ext>
              </a:extLst>
            </p:cNvPr>
            <p:cNvSpPr txBox="1"/>
            <p:nvPr/>
          </p:nvSpPr>
          <p:spPr>
            <a:xfrm>
              <a:off x="7240146" y="2744548"/>
              <a:ext cx="305639" cy="132152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 algn="r"/>
              <a:r>
                <a:rPr lang="es-ES_tradnl" sz="70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3.077</a:t>
              </a:r>
            </a:p>
          </p:txBody>
        </p:sp>
        <p:sp>
          <p:nvSpPr>
            <p:cNvPr id="230" name="CuadroTexto 229">
              <a:extLst>
                <a:ext uri="{FF2B5EF4-FFF2-40B4-BE49-F238E27FC236}">
                  <a16:creationId xmlns:a16="http://schemas.microsoft.com/office/drawing/2014/main" id="{110858C3-A7E6-8287-5D1A-884E5BAA0DAB}"/>
                </a:ext>
              </a:extLst>
            </p:cNvPr>
            <p:cNvSpPr txBox="1"/>
            <p:nvPr/>
          </p:nvSpPr>
          <p:spPr>
            <a:xfrm>
              <a:off x="7219235" y="2898652"/>
              <a:ext cx="305639" cy="132152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 algn="r"/>
              <a:r>
                <a:rPr lang="es-ES_tradnl" sz="70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2.893</a:t>
              </a:r>
            </a:p>
          </p:txBody>
        </p:sp>
        <p:sp>
          <p:nvSpPr>
            <p:cNvPr id="231" name="CuadroTexto 230">
              <a:extLst>
                <a:ext uri="{FF2B5EF4-FFF2-40B4-BE49-F238E27FC236}">
                  <a16:creationId xmlns:a16="http://schemas.microsoft.com/office/drawing/2014/main" id="{4121BFDB-BD87-B390-6905-E09C450DA672}"/>
                </a:ext>
              </a:extLst>
            </p:cNvPr>
            <p:cNvSpPr txBox="1"/>
            <p:nvPr/>
          </p:nvSpPr>
          <p:spPr>
            <a:xfrm>
              <a:off x="7038167" y="3052756"/>
              <a:ext cx="305639" cy="132152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 algn="r"/>
              <a:r>
                <a:rPr lang="es-ES_tradnl" sz="70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1.637</a:t>
              </a:r>
            </a:p>
          </p:txBody>
        </p:sp>
        <p:sp>
          <p:nvSpPr>
            <p:cNvPr id="232" name="CuadroTexto 231">
              <a:extLst>
                <a:ext uri="{FF2B5EF4-FFF2-40B4-BE49-F238E27FC236}">
                  <a16:creationId xmlns:a16="http://schemas.microsoft.com/office/drawing/2014/main" id="{C35298E8-E4C0-3E99-39B4-2AFA411F04D1}"/>
                </a:ext>
              </a:extLst>
            </p:cNvPr>
            <p:cNvSpPr txBox="1"/>
            <p:nvPr/>
          </p:nvSpPr>
          <p:spPr>
            <a:xfrm>
              <a:off x="6982745" y="3206860"/>
              <a:ext cx="305639" cy="132152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 algn="r"/>
              <a:r>
                <a:rPr lang="es-ES_tradnl" sz="70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1.246</a:t>
              </a:r>
            </a:p>
          </p:txBody>
        </p:sp>
        <p:sp>
          <p:nvSpPr>
            <p:cNvPr id="233" name="CuadroTexto 232">
              <a:extLst>
                <a:ext uri="{FF2B5EF4-FFF2-40B4-BE49-F238E27FC236}">
                  <a16:creationId xmlns:a16="http://schemas.microsoft.com/office/drawing/2014/main" id="{ED08B062-39DA-DC90-4A38-D1DD8129F5FF}"/>
                </a:ext>
              </a:extLst>
            </p:cNvPr>
            <p:cNvSpPr txBox="1"/>
            <p:nvPr/>
          </p:nvSpPr>
          <p:spPr>
            <a:xfrm>
              <a:off x="6966416" y="3360963"/>
              <a:ext cx="305639" cy="132152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 algn="r"/>
              <a:r>
                <a:rPr lang="es-ES_tradnl" sz="70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1.102</a:t>
              </a:r>
            </a:p>
          </p:txBody>
        </p:sp>
      </p:grpSp>
      <p:sp>
        <p:nvSpPr>
          <p:cNvPr id="317" name="Title 1">
            <a:extLst>
              <a:ext uri="{FF2B5EF4-FFF2-40B4-BE49-F238E27FC236}">
                <a16:creationId xmlns:a16="http://schemas.microsoft.com/office/drawing/2014/main" id="{34E13C70-D134-5EE6-28C3-59B9BCFAF6AD}"/>
              </a:ext>
            </a:extLst>
          </p:cNvPr>
          <p:cNvSpPr txBox="1">
            <a:spLocks/>
          </p:cNvSpPr>
          <p:nvPr/>
        </p:nvSpPr>
        <p:spPr>
          <a:xfrm>
            <a:off x="5516006" y="3800744"/>
            <a:ext cx="2330948" cy="169277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s-ES_tradnl" sz="1100" b="0" spc="0" noProof="0">
                <a:solidFill>
                  <a:schemeClr val="tx2"/>
                </a:solidFill>
              </a:rPr>
              <a:t>Telefónica España</a:t>
            </a:r>
          </a:p>
        </p:txBody>
      </p:sp>
      <p:grpSp>
        <p:nvGrpSpPr>
          <p:cNvPr id="353" name="Grupo 352">
            <a:extLst>
              <a:ext uri="{FF2B5EF4-FFF2-40B4-BE49-F238E27FC236}">
                <a16:creationId xmlns:a16="http://schemas.microsoft.com/office/drawing/2014/main" id="{802B82A2-54C1-12B3-1193-33BEE0FDC7BA}"/>
              </a:ext>
            </a:extLst>
          </p:cNvPr>
          <p:cNvGrpSpPr/>
          <p:nvPr/>
        </p:nvGrpSpPr>
        <p:grpSpPr>
          <a:xfrm>
            <a:off x="1222520" y="2976213"/>
            <a:ext cx="3054606" cy="1519821"/>
            <a:chOff x="1222520" y="3294297"/>
            <a:chExt cx="3054606" cy="1390581"/>
          </a:xfrm>
        </p:grpSpPr>
        <p:sp>
          <p:nvSpPr>
            <p:cNvPr id="251" name="CuadroTexto 250">
              <a:extLst>
                <a:ext uri="{FF2B5EF4-FFF2-40B4-BE49-F238E27FC236}">
                  <a16:creationId xmlns:a16="http://schemas.microsoft.com/office/drawing/2014/main" id="{BE257624-A415-7541-FCBD-8E8645269451}"/>
                </a:ext>
              </a:extLst>
            </p:cNvPr>
            <p:cNvSpPr txBox="1"/>
            <p:nvPr/>
          </p:nvSpPr>
          <p:spPr>
            <a:xfrm>
              <a:off x="1391486" y="3298662"/>
              <a:ext cx="1164535" cy="107722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s-ES_tradnl" sz="700">
                  <a:solidFill>
                    <a:schemeClr val="tx2"/>
                  </a:solidFill>
                </a:rPr>
                <a:t>Revenues (2015 vs. 2021)</a:t>
              </a:r>
            </a:p>
          </p:txBody>
        </p:sp>
        <p:sp>
          <p:nvSpPr>
            <p:cNvPr id="252" name="CuadroTexto 251">
              <a:extLst>
                <a:ext uri="{FF2B5EF4-FFF2-40B4-BE49-F238E27FC236}">
                  <a16:creationId xmlns:a16="http://schemas.microsoft.com/office/drawing/2014/main" id="{99D33905-D1EB-8816-CD02-12591DA67EDE}"/>
                </a:ext>
              </a:extLst>
            </p:cNvPr>
            <p:cNvSpPr txBox="1"/>
            <p:nvPr/>
          </p:nvSpPr>
          <p:spPr>
            <a:xfrm>
              <a:off x="2995015" y="3294297"/>
              <a:ext cx="1164535" cy="107722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s-ES_tradnl" sz="700">
                  <a:solidFill>
                    <a:schemeClr val="tx2"/>
                  </a:solidFill>
                </a:rPr>
                <a:t>Market </a:t>
              </a:r>
              <a:r>
                <a:rPr lang="es-ES_tradnl" sz="700" err="1">
                  <a:solidFill>
                    <a:schemeClr val="tx2"/>
                  </a:solidFill>
                </a:rPr>
                <a:t>cap</a:t>
              </a:r>
              <a:r>
                <a:rPr lang="es-ES_tradnl" sz="700">
                  <a:solidFill>
                    <a:schemeClr val="tx2"/>
                  </a:solidFill>
                </a:rPr>
                <a:t> (2015 vs. 2021)</a:t>
              </a:r>
            </a:p>
          </p:txBody>
        </p:sp>
        <p:sp>
          <p:nvSpPr>
            <p:cNvPr id="312" name="Rectángulo 311">
              <a:extLst>
                <a:ext uri="{FF2B5EF4-FFF2-40B4-BE49-F238E27FC236}">
                  <a16:creationId xmlns:a16="http://schemas.microsoft.com/office/drawing/2014/main" id="{5502BBF7-A8EE-CB03-DD86-1EBBFDE99060}"/>
                </a:ext>
              </a:extLst>
            </p:cNvPr>
            <p:cNvSpPr/>
            <p:nvPr/>
          </p:nvSpPr>
          <p:spPr>
            <a:xfrm>
              <a:off x="1393880" y="3572056"/>
              <a:ext cx="163168" cy="734546"/>
            </a:xfrm>
            <a:prstGeom prst="rect">
              <a:avLst/>
            </a:prstGeom>
            <a:solidFill>
              <a:schemeClr val="bg2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1400" b="1">
                <a:solidFill>
                  <a:schemeClr val="tx1"/>
                </a:solidFill>
              </a:endParaRPr>
            </a:p>
          </p:txBody>
        </p:sp>
        <p:sp>
          <p:nvSpPr>
            <p:cNvPr id="313" name="Rectángulo 312">
              <a:extLst>
                <a:ext uri="{FF2B5EF4-FFF2-40B4-BE49-F238E27FC236}">
                  <a16:creationId xmlns:a16="http://schemas.microsoft.com/office/drawing/2014/main" id="{8259111B-8BE8-9446-6DC7-04E4E8B41600}"/>
                </a:ext>
              </a:extLst>
            </p:cNvPr>
            <p:cNvSpPr/>
            <p:nvPr/>
          </p:nvSpPr>
          <p:spPr>
            <a:xfrm>
              <a:off x="1726872" y="4289334"/>
              <a:ext cx="163168" cy="17269"/>
            </a:xfrm>
            <a:prstGeom prst="rect">
              <a:avLst/>
            </a:prstGeom>
            <a:solidFill>
              <a:schemeClr val="bg2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1400" b="1">
                <a:solidFill>
                  <a:schemeClr val="tx1"/>
                </a:solidFill>
              </a:endParaRPr>
            </a:p>
          </p:txBody>
        </p:sp>
        <p:sp>
          <p:nvSpPr>
            <p:cNvPr id="314" name="Rectángulo 313">
              <a:extLst>
                <a:ext uri="{FF2B5EF4-FFF2-40B4-BE49-F238E27FC236}">
                  <a16:creationId xmlns:a16="http://schemas.microsoft.com/office/drawing/2014/main" id="{F203EBCC-ACEE-4FAC-AF42-F9801B4B13E7}"/>
                </a:ext>
              </a:extLst>
            </p:cNvPr>
            <p:cNvSpPr/>
            <p:nvPr/>
          </p:nvSpPr>
          <p:spPr>
            <a:xfrm>
              <a:off x="2392854" y="4305171"/>
              <a:ext cx="163168" cy="17269"/>
            </a:xfrm>
            <a:prstGeom prst="rect">
              <a:avLst/>
            </a:prstGeom>
            <a:solidFill>
              <a:schemeClr val="accent5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1400" b="1">
                <a:solidFill>
                  <a:schemeClr val="tx1"/>
                </a:solidFill>
              </a:endParaRPr>
            </a:p>
          </p:txBody>
        </p:sp>
        <p:sp>
          <p:nvSpPr>
            <p:cNvPr id="319" name="CuadroTexto 318">
              <a:extLst>
                <a:ext uri="{FF2B5EF4-FFF2-40B4-BE49-F238E27FC236}">
                  <a16:creationId xmlns:a16="http://schemas.microsoft.com/office/drawing/2014/main" id="{FFA6A708-A2F4-E9D8-7968-6D7FF9245FAC}"/>
                </a:ext>
              </a:extLst>
            </p:cNvPr>
            <p:cNvSpPr txBox="1"/>
            <p:nvPr/>
          </p:nvSpPr>
          <p:spPr>
            <a:xfrm>
              <a:off x="1361600" y="3465093"/>
              <a:ext cx="227718" cy="110509"/>
            </a:xfrm>
            <a:prstGeom prst="rect">
              <a:avLst/>
            </a:prstGeom>
            <a:effectLst/>
          </p:spPr>
          <p:txBody>
            <a:bodyPr vert="horz" wrap="square" lIns="0" tIns="0" rIns="0" bIns="1800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s-ES_tradnl" sz="60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500%</a:t>
              </a:r>
            </a:p>
          </p:txBody>
        </p:sp>
        <p:sp>
          <p:nvSpPr>
            <p:cNvPr id="320" name="CuadroTexto 319">
              <a:extLst>
                <a:ext uri="{FF2B5EF4-FFF2-40B4-BE49-F238E27FC236}">
                  <a16:creationId xmlns:a16="http://schemas.microsoft.com/office/drawing/2014/main" id="{47B1036F-1431-2D07-5504-65B564443CFD}"/>
                </a:ext>
              </a:extLst>
            </p:cNvPr>
            <p:cNvSpPr txBox="1"/>
            <p:nvPr/>
          </p:nvSpPr>
          <p:spPr>
            <a:xfrm>
              <a:off x="1695435" y="4176293"/>
              <a:ext cx="227718" cy="110509"/>
            </a:xfrm>
            <a:prstGeom prst="rect">
              <a:avLst/>
            </a:prstGeom>
            <a:effectLst/>
          </p:spPr>
          <p:txBody>
            <a:bodyPr vert="horz" wrap="square" lIns="0" tIns="0" rIns="0" bIns="1800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s-ES_tradnl" sz="60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7%</a:t>
              </a:r>
            </a:p>
          </p:txBody>
        </p:sp>
        <p:sp>
          <p:nvSpPr>
            <p:cNvPr id="321" name="CuadroTexto 320">
              <a:extLst>
                <a:ext uri="{FF2B5EF4-FFF2-40B4-BE49-F238E27FC236}">
                  <a16:creationId xmlns:a16="http://schemas.microsoft.com/office/drawing/2014/main" id="{4BE19F78-235C-8D57-9CAA-F64A38AA4A5D}"/>
                </a:ext>
              </a:extLst>
            </p:cNvPr>
            <p:cNvSpPr txBox="1"/>
            <p:nvPr/>
          </p:nvSpPr>
          <p:spPr>
            <a:xfrm>
              <a:off x="2025642" y="4194436"/>
              <a:ext cx="227718" cy="110509"/>
            </a:xfrm>
            <a:prstGeom prst="rect">
              <a:avLst/>
            </a:prstGeom>
            <a:effectLst/>
          </p:spPr>
          <p:txBody>
            <a:bodyPr vert="horz" wrap="square" lIns="0" tIns="0" rIns="0" bIns="1800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s-ES_tradnl" sz="60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0%</a:t>
              </a:r>
            </a:p>
          </p:txBody>
        </p:sp>
        <p:sp>
          <p:nvSpPr>
            <p:cNvPr id="322" name="CuadroTexto 321">
              <a:extLst>
                <a:ext uri="{FF2B5EF4-FFF2-40B4-BE49-F238E27FC236}">
                  <a16:creationId xmlns:a16="http://schemas.microsoft.com/office/drawing/2014/main" id="{74914616-DCA2-0C92-A6B2-F71CFB626AED}"/>
                </a:ext>
              </a:extLst>
            </p:cNvPr>
            <p:cNvSpPr txBox="1"/>
            <p:nvPr/>
          </p:nvSpPr>
          <p:spPr>
            <a:xfrm>
              <a:off x="2355848" y="4318992"/>
              <a:ext cx="227718" cy="128685"/>
            </a:xfrm>
            <a:prstGeom prst="rect">
              <a:avLst/>
            </a:prstGeom>
            <a:effectLst/>
          </p:spPr>
          <p:txBody>
            <a:bodyPr vert="horz" wrap="square" lIns="0" tIns="18000" rIns="0" bIns="1800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s-ES_tradnl" sz="60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-7%</a:t>
              </a:r>
            </a:p>
          </p:txBody>
        </p:sp>
        <p:sp>
          <p:nvSpPr>
            <p:cNvPr id="323" name="CuadroTexto 322">
              <a:extLst>
                <a:ext uri="{FF2B5EF4-FFF2-40B4-BE49-F238E27FC236}">
                  <a16:creationId xmlns:a16="http://schemas.microsoft.com/office/drawing/2014/main" id="{79D6AAC4-4762-85E8-D36B-C6C051C41047}"/>
                </a:ext>
              </a:extLst>
            </p:cNvPr>
            <p:cNvSpPr txBox="1"/>
            <p:nvPr/>
          </p:nvSpPr>
          <p:spPr>
            <a:xfrm>
              <a:off x="3959697" y="4373421"/>
              <a:ext cx="227718" cy="128685"/>
            </a:xfrm>
            <a:prstGeom prst="rect">
              <a:avLst/>
            </a:prstGeom>
            <a:effectLst/>
          </p:spPr>
          <p:txBody>
            <a:bodyPr vert="horz" wrap="square" lIns="0" tIns="18000" rIns="0" bIns="1800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s-ES_tradnl" sz="60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-40%</a:t>
              </a:r>
            </a:p>
          </p:txBody>
        </p:sp>
        <p:sp>
          <p:nvSpPr>
            <p:cNvPr id="324" name="CuadroTexto 323">
              <a:extLst>
                <a:ext uri="{FF2B5EF4-FFF2-40B4-BE49-F238E27FC236}">
                  <a16:creationId xmlns:a16="http://schemas.microsoft.com/office/drawing/2014/main" id="{542E3793-7F15-F128-631A-8A62E03C409B}"/>
                </a:ext>
              </a:extLst>
            </p:cNvPr>
            <p:cNvSpPr txBox="1"/>
            <p:nvPr/>
          </p:nvSpPr>
          <p:spPr>
            <a:xfrm>
              <a:off x="3631116" y="4161469"/>
              <a:ext cx="227718" cy="128685"/>
            </a:xfrm>
            <a:prstGeom prst="rect">
              <a:avLst/>
            </a:prstGeom>
            <a:effectLst/>
          </p:spPr>
          <p:txBody>
            <a:bodyPr vert="horz" wrap="square" lIns="0" tIns="18000" rIns="0" bIns="1800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s-ES_tradnl" sz="60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+5%</a:t>
              </a:r>
            </a:p>
          </p:txBody>
        </p:sp>
        <p:sp>
          <p:nvSpPr>
            <p:cNvPr id="326" name="Rectángulo 325">
              <a:extLst>
                <a:ext uri="{FF2B5EF4-FFF2-40B4-BE49-F238E27FC236}">
                  <a16:creationId xmlns:a16="http://schemas.microsoft.com/office/drawing/2014/main" id="{65889EE6-9F65-7B62-F94B-42156CAEA936}"/>
                </a:ext>
              </a:extLst>
            </p:cNvPr>
            <p:cNvSpPr/>
            <p:nvPr/>
          </p:nvSpPr>
          <p:spPr>
            <a:xfrm>
              <a:off x="2997408" y="3745772"/>
              <a:ext cx="163168" cy="561915"/>
            </a:xfrm>
            <a:prstGeom prst="rect">
              <a:avLst/>
            </a:prstGeom>
            <a:solidFill>
              <a:schemeClr val="bg2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1400" b="1">
                <a:solidFill>
                  <a:schemeClr val="bg2"/>
                </a:solidFill>
              </a:endParaRPr>
            </a:p>
          </p:txBody>
        </p:sp>
        <p:sp>
          <p:nvSpPr>
            <p:cNvPr id="327" name="Rectángulo 326">
              <a:extLst>
                <a:ext uri="{FF2B5EF4-FFF2-40B4-BE49-F238E27FC236}">
                  <a16:creationId xmlns:a16="http://schemas.microsoft.com/office/drawing/2014/main" id="{EE5F0FAD-551A-4D1D-CCCA-DF87561EA011}"/>
                </a:ext>
              </a:extLst>
            </p:cNvPr>
            <p:cNvSpPr/>
            <p:nvPr/>
          </p:nvSpPr>
          <p:spPr>
            <a:xfrm>
              <a:off x="3330400" y="4173439"/>
              <a:ext cx="163168" cy="134248"/>
            </a:xfrm>
            <a:prstGeom prst="rect">
              <a:avLst/>
            </a:prstGeom>
            <a:solidFill>
              <a:schemeClr val="bg2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1400" b="1">
                <a:solidFill>
                  <a:schemeClr val="bg2"/>
                </a:solidFill>
              </a:endParaRPr>
            </a:p>
          </p:txBody>
        </p:sp>
        <p:sp>
          <p:nvSpPr>
            <p:cNvPr id="328" name="Rectángulo 327">
              <a:extLst>
                <a:ext uri="{FF2B5EF4-FFF2-40B4-BE49-F238E27FC236}">
                  <a16:creationId xmlns:a16="http://schemas.microsoft.com/office/drawing/2014/main" id="{D8EC920D-88C4-4CCA-A91D-85AB3220DF2A}"/>
                </a:ext>
              </a:extLst>
            </p:cNvPr>
            <p:cNvSpPr/>
            <p:nvPr/>
          </p:nvSpPr>
          <p:spPr>
            <a:xfrm>
              <a:off x="3663391" y="4297066"/>
              <a:ext cx="163168" cy="10798"/>
            </a:xfrm>
            <a:prstGeom prst="rect">
              <a:avLst/>
            </a:prstGeom>
            <a:solidFill>
              <a:schemeClr val="bg2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1400" b="1">
                <a:solidFill>
                  <a:schemeClr val="bg2"/>
                </a:solidFill>
              </a:endParaRPr>
            </a:p>
          </p:txBody>
        </p:sp>
        <p:sp>
          <p:nvSpPr>
            <p:cNvPr id="329" name="Rectángulo 328">
              <a:extLst>
                <a:ext uri="{FF2B5EF4-FFF2-40B4-BE49-F238E27FC236}">
                  <a16:creationId xmlns:a16="http://schemas.microsoft.com/office/drawing/2014/main" id="{C136C03F-BA43-853B-CB8A-58BAB6F69A8D}"/>
                </a:ext>
              </a:extLst>
            </p:cNvPr>
            <p:cNvSpPr/>
            <p:nvPr/>
          </p:nvSpPr>
          <p:spPr>
            <a:xfrm>
              <a:off x="3996383" y="4309915"/>
              <a:ext cx="163168" cy="61620"/>
            </a:xfrm>
            <a:prstGeom prst="rect">
              <a:avLst/>
            </a:prstGeom>
            <a:solidFill>
              <a:schemeClr val="accent5"/>
            </a:solidFill>
            <a:ln w="38100" cap="rnd" cmpd="sng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ES_tradnl" sz="1400" b="1">
                <a:solidFill>
                  <a:schemeClr val="bg2"/>
                </a:solidFill>
              </a:endParaRPr>
            </a:p>
          </p:txBody>
        </p:sp>
        <p:grpSp>
          <p:nvGrpSpPr>
            <p:cNvPr id="330" name="Grupo 329">
              <a:extLst>
                <a:ext uri="{FF2B5EF4-FFF2-40B4-BE49-F238E27FC236}">
                  <a16:creationId xmlns:a16="http://schemas.microsoft.com/office/drawing/2014/main" id="{CB2B869C-53B7-F974-5296-7F5B4482D6D0}"/>
                </a:ext>
              </a:extLst>
            </p:cNvPr>
            <p:cNvGrpSpPr/>
            <p:nvPr/>
          </p:nvGrpSpPr>
          <p:grpSpPr>
            <a:xfrm>
              <a:off x="1222520" y="3423796"/>
              <a:ext cx="3054606" cy="1031060"/>
              <a:chOff x="881296" y="1351528"/>
              <a:chExt cx="8087321" cy="2729818"/>
            </a:xfrm>
          </p:grpSpPr>
          <p:cxnSp>
            <p:nvCxnSpPr>
              <p:cNvPr id="331" name="Conector recto 330">
                <a:extLst>
                  <a:ext uri="{FF2B5EF4-FFF2-40B4-BE49-F238E27FC236}">
                    <a16:creationId xmlns:a16="http://schemas.microsoft.com/office/drawing/2014/main" id="{C6067AAD-041E-2926-8C69-2BC299306D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1296" y="1351528"/>
                <a:ext cx="77728" cy="0"/>
              </a:xfrm>
              <a:prstGeom prst="line">
                <a:avLst/>
              </a:prstGeom>
              <a:ln w="12700" cap="rnd">
                <a:solidFill>
                  <a:schemeClr val="bg1">
                    <a:lumMod val="2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2" name="Conector recto 331">
                <a:extLst>
                  <a:ext uri="{FF2B5EF4-FFF2-40B4-BE49-F238E27FC236}">
                    <a16:creationId xmlns:a16="http://schemas.microsoft.com/office/drawing/2014/main" id="{2D996FCC-83E9-E952-8F8B-63DA62CB98D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1296" y="1741502"/>
                <a:ext cx="77728" cy="0"/>
              </a:xfrm>
              <a:prstGeom prst="line">
                <a:avLst/>
              </a:prstGeom>
              <a:ln w="12700" cap="rnd">
                <a:solidFill>
                  <a:schemeClr val="bg1">
                    <a:lumMod val="2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Conector recto 332">
                <a:extLst>
                  <a:ext uri="{FF2B5EF4-FFF2-40B4-BE49-F238E27FC236}">
                    <a16:creationId xmlns:a16="http://schemas.microsoft.com/office/drawing/2014/main" id="{AB03B146-CA35-70FC-F937-169B246F84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1296" y="2131476"/>
                <a:ext cx="77728" cy="0"/>
              </a:xfrm>
              <a:prstGeom prst="line">
                <a:avLst/>
              </a:prstGeom>
              <a:ln w="12700" cap="rnd">
                <a:solidFill>
                  <a:schemeClr val="bg1">
                    <a:lumMod val="2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Conector recto 333">
                <a:extLst>
                  <a:ext uri="{FF2B5EF4-FFF2-40B4-BE49-F238E27FC236}">
                    <a16:creationId xmlns:a16="http://schemas.microsoft.com/office/drawing/2014/main" id="{B9025F92-EFA1-2F55-B121-A3B3AAEE488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1296" y="2521450"/>
                <a:ext cx="77728" cy="0"/>
              </a:xfrm>
              <a:prstGeom prst="line">
                <a:avLst/>
              </a:prstGeom>
              <a:ln w="12700" cap="rnd">
                <a:solidFill>
                  <a:schemeClr val="bg1">
                    <a:lumMod val="2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5" name="Conector recto 334">
                <a:extLst>
                  <a:ext uri="{FF2B5EF4-FFF2-40B4-BE49-F238E27FC236}">
                    <a16:creationId xmlns:a16="http://schemas.microsoft.com/office/drawing/2014/main" id="{A26DF0E8-B50D-518F-7549-8DADA524ED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1296" y="2911424"/>
                <a:ext cx="77728" cy="0"/>
              </a:xfrm>
              <a:prstGeom prst="line">
                <a:avLst/>
              </a:prstGeom>
              <a:ln w="12700" cap="rnd">
                <a:solidFill>
                  <a:schemeClr val="bg1">
                    <a:lumMod val="2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6" name="Conector recto 335">
                <a:extLst>
                  <a:ext uri="{FF2B5EF4-FFF2-40B4-BE49-F238E27FC236}">
                    <a16:creationId xmlns:a16="http://schemas.microsoft.com/office/drawing/2014/main" id="{40D3DFB8-4FE9-144E-1F08-379D10EF5A3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1296" y="3301398"/>
                <a:ext cx="77728" cy="0"/>
              </a:xfrm>
              <a:prstGeom prst="line">
                <a:avLst/>
              </a:prstGeom>
              <a:ln w="12700" cap="rnd">
                <a:solidFill>
                  <a:schemeClr val="bg1">
                    <a:lumMod val="2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7" name="Conector recto 336">
                <a:extLst>
                  <a:ext uri="{FF2B5EF4-FFF2-40B4-BE49-F238E27FC236}">
                    <a16:creationId xmlns:a16="http://schemas.microsoft.com/office/drawing/2014/main" id="{BD56372E-7D32-F056-DA73-2BB9CB233E3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1296" y="3691373"/>
                <a:ext cx="8087321" cy="0"/>
              </a:xfrm>
              <a:prstGeom prst="line">
                <a:avLst/>
              </a:prstGeom>
              <a:ln w="12700" cap="rnd">
                <a:solidFill>
                  <a:schemeClr val="bg1">
                    <a:lumMod val="2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8" name="Conector recto 337">
                <a:extLst>
                  <a:ext uri="{FF2B5EF4-FFF2-40B4-BE49-F238E27FC236}">
                    <a16:creationId xmlns:a16="http://schemas.microsoft.com/office/drawing/2014/main" id="{50F7A5BD-3DDA-E245-B2DA-C0E91EEABC7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1296" y="4081346"/>
                <a:ext cx="77728" cy="0"/>
              </a:xfrm>
              <a:prstGeom prst="line">
                <a:avLst/>
              </a:prstGeom>
              <a:ln w="12700" cap="rnd">
                <a:solidFill>
                  <a:schemeClr val="bg1">
                    <a:lumMod val="2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9" name="Conector recto 338">
                <a:extLst>
                  <a:ext uri="{FF2B5EF4-FFF2-40B4-BE49-F238E27FC236}">
                    <a16:creationId xmlns:a16="http://schemas.microsoft.com/office/drawing/2014/main" id="{99692D1B-FFFE-D364-F792-FB914F3BAB92}"/>
                  </a:ext>
                </a:extLst>
              </p:cNvPr>
              <p:cNvCxnSpPr/>
              <p:nvPr/>
            </p:nvCxnSpPr>
            <p:spPr>
              <a:xfrm>
                <a:off x="959024" y="1351528"/>
                <a:ext cx="0" cy="2729818"/>
              </a:xfrm>
              <a:prstGeom prst="line">
                <a:avLst/>
              </a:prstGeom>
              <a:ln w="12700" cap="rnd">
                <a:solidFill>
                  <a:schemeClr val="bg1">
                    <a:lumMod val="2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0" name="CuadroTexto 339">
              <a:extLst>
                <a:ext uri="{FF2B5EF4-FFF2-40B4-BE49-F238E27FC236}">
                  <a16:creationId xmlns:a16="http://schemas.microsoft.com/office/drawing/2014/main" id="{D7308B9C-8D7A-3295-D5E1-A49E974CDC9F}"/>
                </a:ext>
              </a:extLst>
            </p:cNvPr>
            <p:cNvSpPr txBox="1"/>
            <p:nvPr/>
          </p:nvSpPr>
          <p:spPr>
            <a:xfrm>
              <a:off x="3300909" y="4045355"/>
              <a:ext cx="227718" cy="128685"/>
            </a:xfrm>
            <a:prstGeom prst="rect">
              <a:avLst/>
            </a:prstGeom>
            <a:effectLst/>
          </p:spPr>
          <p:txBody>
            <a:bodyPr vert="horz" wrap="square" lIns="0" tIns="18000" rIns="0" bIns="1800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s-ES_tradnl" sz="60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+90%</a:t>
              </a:r>
            </a:p>
          </p:txBody>
        </p:sp>
        <p:sp>
          <p:nvSpPr>
            <p:cNvPr id="341" name="CuadroTexto 340">
              <a:extLst>
                <a:ext uri="{FF2B5EF4-FFF2-40B4-BE49-F238E27FC236}">
                  <a16:creationId xmlns:a16="http://schemas.microsoft.com/office/drawing/2014/main" id="{B0EAAA8C-6503-F6B1-ACFC-C0A863CFD705}"/>
                </a:ext>
              </a:extLst>
            </p:cNvPr>
            <p:cNvSpPr txBox="1"/>
            <p:nvPr/>
          </p:nvSpPr>
          <p:spPr>
            <a:xfrm>
              <a:off x="2957814" y="3613555"/>
              <a:ext cx="246238" cy="128685"/>
            </a:xfrm>
            <a:prstGeom prst="rect">
              <a:avLst/>
            </a:prstGeom>
            <a:effectLst/>
          </p:spPr>
          <p:txBody>
            <a:bodyPr vert="horz" wrap="square" lIns="0" tIns="18000" rIns="0" bIns="1800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s-ES_tradnl" sz="60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+385%</a:t>
              </a:r>
            </a:p>
          </p:txBody>
        </p:sp>
        <p:sp>
          <p:nvSpPr>
            <p:cNvPr id="342" name="CuadroTexto 341">
              <a:extLst>
                <a:ext uri="{FF2B5EF4-FFF2-40B4-BE49-F238E27FC236}">
                  <a16:creationId xmlns:a16="http://schemas.microsoft.com/office/drawing/2014/main" id="{73306015-0DE6-673E-A52C-342C7E871E28}"/>
                </a:ext>
              </a:extLst>
            </p:cNvPr>
            <p:cNvSpPr txBox="1"/>
            <p:nvPr/>
          </p:nvSpPr>
          <p:spPr>
            <a:xfrm>
              <a:off x="1361600" y="4500212"/>
              <a:ext cx="227718" cy="92333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s-ES_tradnl" sz="6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FANG</a:t>
              </a:r>
            </a:p>
          </p:txBody>
        </p:sp>
        <p:sp>
          <p:nvSpPr>
            <p:cNvPr id="343" name="CuadroTexto 342">
              <a:extLst>
                <a:ext uri="{FF2B5EF4-FFF2-40B4-BE49-F238E27FC236}">
                  <a16:creationId xmlns:a16="http://schemas.microsoft.com/office/drawing/2014/main" id="{6C937510-3F01-2F00-C2D6-D8169F071E80}"/>
                </a:ext>
              </a:extLst>
            </p:cNvPr>
            <p:cNvSpPr txBox="1"/>
            <p:nvPr/>
          </p:nvSpPr>
          <p:spPr>
            <a:xfrm>
              <a:off x="1695435" y="4500212"/>
              <a:ext cx="227718" cy="184666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s-ES_tradnl" sz="600" err="1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Japan</a:t>
              </a:r>
              <a:br>
                <a:rPr lang="es-ES_tradnl" sz="6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</a:br>
              <a:r>
                <a:rPr lang="es-ES_tradnl" sz="600" err="1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telcos</a:t>
              </a:r>
              <a:endParaRPr lang="es-ES_tradnl" sz="60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endParaRPr>
            </a:p>
          </p:txBody>
        </p:sp>
        <p:sp>
          <p:nvSpPr>
            <p:cNvPr id="344" name="CuadroTexto 343">
              <a:extLst>
                <a:ext uri="{FF2B5EF4-FFF2-40B4-BE49-F238E27FC236}">
                  <a16:creationId xmlns:a16="http://schemas.microsoft.com/office/drawing/2014/main" id="{E903C526-C627-F41F-A123-58D4F2EE3BF8}"/>
                </a:ext>
              </a:extLst>
            </p:cNvPr>
            <p:cNvSpPr txBox="1"/>
            <p:nvPr/>
          </p:nvSpPr>
          <p:spPr>
            <a:xfrm>
              <a:off x="2025642" y="4500212"/>
              <a:ext cx="227718" cy="184666"/>
            </a:xfrm>
            <a:prstGeom prst="rect">
              <a:avLst/>
            </a:prstGeom>
            <a:effectLst/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s-ES_tradnl" sz="6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US </a:t>
              </a:r>
              <a:r>
                <a:rPr lang="es-ES_tradnl" sz="600" err="1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telcos</a:t>
              </a:r>
              <a:endParaRPr lang="es-ES_tradnl" sz="60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endParaRPr>
            </a:p>
          </p:txBody>
        </p:sp>
        <p:sp>
          <p:nvSpPr>
            <p:cNvPr id="345" name="CuadroTexto 344">
              <a:extLst>
                <a:ext uri="{FF2B5EF4-FFF2-40B4-BE49-F238E27FC236}">
                  <a16:creationId xmlns:a16="http://schemas.microsoft.com/office/drawing/2014/main" id="{3C2783D0-8099-40BE-6214-08D1C4446281}"/>
                </a:ext>
              </a:extLst>
            </p:cNvPr>
            <p:cNvSpPr txBox="1"/>
            <p:nvPr/>
          </p:nvSpPr>
          <p:spPr>
            <a:xfrm>
              <a:off x="2355848" y="4482036"/>
              <a:ext cx="227718" cy="202842"/>
            </a:xfrm>
            <a:prstGeom prst="rect">
              <a:avLst/>
            </a:prstGeom>
            <a:effectLst/>
          </p:spPr>
          <p:txBody>
            <a:bodyPr vert="horz" wrap="square" lIns="0" tIns="1800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s-ES_tradnl" sz="6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EU </a:t>
              </a:r>
              <a:r>
                <a:rPr lang="es-ES_tradnl" sz="600" err="1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telcos</a:t>
              </a:r>
              <a:endParaRPr lang="es-ES_tradnl" sz="60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endParaRPr>
            </a:p>
          </p:txBody>
        </p:sp>
        <p:sp>
          <p:nvSpPr>
            <p:cNvPr id="346" name="CuadroTexto 345">
              <a:extLst>
                <a:ext uri="{FF2B5EF4-FFF2-40B4-BE49-F238E27FC236}">
                  <a16:creationId xmlns:a16="http://schemas.microsoft.com/office/drawing/2014/main" id="{2C5B2EA1-CA14-59AD-5CD4-45DBCAC91F07}"/>
                </a:ext>
              </a:extLst>
            </p:cNvPr>
            <p:cNvSpPr txBox="1"/>
            <p:nvPr/>
          </p:nvSpPr>
          <p:spPr>
            <a:xfrm>
              <a:off x="3959697" y="4482036"/>
              <a:ext cx="227718" cy="202842"/>
            </a:xfrm>
            <a:prstGeom prst="rect">
              <a:avLst/>
            </a:prstGeom>
            <a:effectLst/>
          </p:spPr>
          <p:txBody>
            <a:bodyPr vert="horz" wrap="square" lIns="0" tIns="1800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s-ES_tradnl" sz="6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EU </a:t>
              </a:r>
              <a:r>
                <a:rPr lang="es-ES_tradnl" sz="600" err="1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telcos</a:t>
              </a:r>
              <a:endParaRPr lang="es-ES_tradnl" sz="60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endParaRPr>
            </a:p>
          </p:txBody>
        </p:sp>
        <p:sp>
          <p:nvSpPr>
            <p:cNvPr id="347" name="CuadroTexto 346">
              <a:extLst>
                <a:ext uri="{FF2B5EF4-FFF2-40B4-BE49-F238E27FC236}">
                  <a16:creationId xmlns:a16="http://schemas.microsoft.com/office/drawing/2014/main" id="{D9CA3A8D-23BA-6414-97B9-9F6EE18C0DE6}"/>
                </a:ext>
              </a:extLst>
            </p:cNvPr>
            <p:cNvSpPr txBox="1"/>
            <p:nvPr/>
          </p:nvSpPr>
          <p:spPr>
            <a:xfrm>
              <a:off x="3631116" y="4482036"/>
              <a:ext cx="227718" cy="202842"/>
            </a:xfrm>
            <a:prstGeom prst="rect">
              <a:avLst/>
            </a:prstGeom>
            <a:effectLst/>
          </p:spPr>
          <p:txBody>
            <a:bodyPr vert="horz" wrap="square" lIns="0" tIns="1800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s-ES_tradnl" sz="6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US </a:t>
              </a:r>
              <a:r>
                <a:rPr lang="es-ES_tradnl" sz="600" err="1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telcos</a:t>
              </a:r>
              <a:endParaRPr lang="es-ES_tradnl" sz="60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endParaRPr>
            </a:p>
          </p:txBody>
        </p:sp>
        <p:sp>
          <p:nvSpPr>
            <p:cNvPr id="348" name="CuadroTexto 347">
              <a:extLst>
                <a:ext uri="{FF2B5EF4-FFF2-40B4-BE49-F238E27FC236}">
                  <a16:creationId xmlns:a16="http://schemas.microsoft.com/office/drawing/2014/main" id="{20B6D144-E2B6-28EC-2A0A-7D8521EAA821}"/>
                </a:ext>
              </a:extLst>
            </p:cNvPr>
            <p:cNvSpPr txBox="1"/>
            <p:nvPr/>
          </p:nvSpPr>
          <p:spPr>
            <a:xfrm>
              <a:off x="3300909" y="4482036"/>
              <a:ext cx="227718" cy="202842"/>
            </a:xfrm>
            <a:prstGeom prst="rect">
              <a:avLst/>
            </a:prstGeom>
            <a:effectLst/>
          </p:spPr>
          <p:txBody>
            <a:bodyPr vert="horz" wrap="square" lIns="0" tIns="1800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s-ES_tradnl" sz="600" err="1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Japan</a:t>
              </a:r>
              <a:br>
                <a:rPr lang="es-ES_tradnl" sz="6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</a:br>
              <a:r>
                <a:rPr lang="es-ES_tradnl" sz="600" err="1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telcos</a:t>
              </a:r>
              <a:endParaRPr lang="es-ES_tradnl" sz="600">
                <a:solidFill>
                  <a:schemeClr val="bg1">
                    <a:lumMod val="25000"/>
                  </a:schemeClr>
                </a:solidFill>
                <a:latin typeface="Pulso Light" pitchFamily="2" charset="0"/>
              </a:endParaRPr>
            </a:p>
          </p:txBody>
        </p:sp>
        <p:sp>
          <p:nvSpPr>
            <p:cNvPr id="349" name="CuadroTexto 348">
              <a:extLst>
                <a:ext uri="{FF2B5EF4-FFF2-40B4-BE49-F238E27FC236}">
                  <a16:creationId xmlns:a16="http://schemas.microsoft.com/office/drawing/2014/main" id="{9C3F5995-E572-CDB7-B500-7702920C1BF8}"/>
                </a:ext>
              </a:extLst>
            </p:cNvPr>
            <p:cNvSpPr txBox="1"/>
            <p:nvPr/>
          </p:nvSpPr>
          <p:spPr>
            <a:xfrm>
              <a:off x="2957814" y="4482036"/>
              <a:ext cx="246238" cy="110509"/>
            </a:xfrm>
            <a:prstGeom prst="rect">
              <a:avLst/>
            </a:prstGeom>
            <a:effectLst/>
          </p:spPr>
          <p:txBody>
            <a:bodyPr vert="horz" wrap="square" lIns="0" tIns="18000" rIns="0" bIns="0" rtlCol="0" anchor="t" anchorCtr="0">
              <a:spAutoFit/>
            </a:bodyPr>
            <a:lstStyle>
              <a:defPPr>
                <a:defRPr lang="en-US"/>
              </a:defPPr>
              <a:lvl1pPr algn="ctr" defTabSz="642909" eaLnBrk="1" fontAlgn="auto" latinLnBrk="0" hangingPunct="1">
                <a:lnSpc>
                  <a:spcPts val="1100"/>
                </a:lnSpc>
                <a:spcAft>
                  <a:spcPts val="0"/>
                </a:spcAft>
                <a:buNone/>
                <a:defRPr sz="800" b="0" i="0" spc="0" baseline="0">
                  <a:solidFill>
                    <a:schemeClr val="bg2"/>
                  </a:solidFill>
                  <a:latin typeface="Pulso" pitchFamily="2" charset="0"/>
                  <a:ea typeface="Montserrat" charset="0"/>
                  <a:cs typeface="Montserrat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s-ES_tradnl" sz="600">
                  <a:solidFill>
                    <a:schemeClr val="bg1">
                      <a:lumMod val="25000"/>
                    </a:schemeClr>
                  </a:solidFill>
                  <a:latin typeface="Pulso Light" pitchFamily="2" charset="0"/>
                </a:rPr>
                <a:t>FANG</a:t>
              </a:r>
            </a:p>
          </p:txBody>
        </p:sp>
      </p:grpSp>
      <p:graphicFrame>
        <p:nvGraphicFramePr>
          <p:cNvPr id="352" name="Tabla 351">
            <a:extLst>
              <a:ext uri="{FF2B5EF4-FFF2-40B4-BE49-F238E27FC236}">
                <a16:creationId xmlns:a16="http://schemas.microsoft.com/office/drawing/2014/main" id="{EBA35280-68E1-EE05-1818-3E4C8680D2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666977"/>
              </p:ext>
            </p:extLst>
          </p:nvPr>
        </p:nvGraphicFramePr>
        <p:xfrm>
          <a:off x="951295" y="3075653"/>
          <a:ext cx="230152" cy="12865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0152">
                  <a:extLst>
                    <a:ext uri="{9D8B030D-6E8A-4147-A177-3AD203B41FA5}">
                      <a16:colId xmlns:a16="http://schemas.microsoft.com/office/drawing/2014/main" val="2384922268"/>
                    </a:ext>
                  </a:extLst>
                </a:gridCol>
              </a:tblGrid>
              <a:tr h="160813">
                <a:tc>
                  <a:txBody>
                    <a:bodyPr/>
                    <a:lstStyle/>
                    <a:p>
                      <a:pPr algn="r"/>
                      <a:r>
                        <a:rPr lang="es-ES_tradnl" sz="600" b="0" i="0">
                          <a:latin typeface="Pulso" pitchFamily="2" charset="0"/>
                        </a:rPr>
                        <a:t>600%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620748"/>
                  </a:ext>
                </a:extLst>
              </a:tr>
              <a:tr h="160813">
                <a:tc>
                  <a:txBody>
                    <a:bodyPr/>
                    <a:lstStyle/>
                    <a:p>
                      <a:pPr algn="r"/>
                      <a:r>
                        <a:rPr lang="es-ES_tradnl" sz="600" b="0" i="0">
                          <a:latin typeface="Pulso" pitchFamily="2" charset="0"/>
                        </a:rPr>
                        <a:t>500%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1336146"/>
                  </a:ext>
                </a:extLst>
              </a:tr>
              <a:tr h="160813">
                <a:tc>
                  <a:txBody>
                    <a:bodyPr/>
                    <a:lstStyle/>
                    <a:p>
                      <a:pPr algn="r"/>
                      <a:r>
                        <a:rPr lang="es-ES_tradnl" sz="600" b="0" i="0">
                          <a:latin typeface="Pulso" pitchFamily="2" charset="0"/>
                        </a:rPr>
                        <a:t>400%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8398012"/>
                  </a:ext>
                </a:extLst>
              </a:tr>
              <a:tr h="160813">
                <a:tc>
                  <a:txBody>
                    <a:bodyPr/>
                    <a:lstStyle/>
                    <a:p>
                      <a:pPr algn="r"/>
                      <a:r>
                        <a:rPr lang="es-ES_tradnl" sz="600" b="0" i="0">
                          <a:latin typeface="Pulso" pitchFamily="2" charset="0"/>
                        </a:rPr>
                        <a:t>300%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9018554"/>
                  </a:ext>
                </a:extLst>
              </a:tr>
              <a:tr h="160813">
                <a:tc>
                  <a:txBody>
                    <a:bodyPr/>
                    <a:lstStyle/>
                    <a:p>
                      <a:pPr algn="r"/>
                      <a:r>
                        <a:rPr lang="es-ES_tradnl" sz="600" b="0" i="0">
                          <a:latin typeface="Pulso" pitchFamily="2" charset="0"/>
                        </a:rPr>
                        <a:t>200%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6192454"/>
                  </a:ext>
                </a:extLst>
              </a:tr>
              <a:tr h="160813">
                <a:tc>
                  <a:txBody>
                    <a:bodyPr/>
                    <a:lstStyle/>
                    <a:p>
                      <a:pPr algn="r"/>
                      <a:r>
                        <a:rPr lang="es-ES_tradnl" sz="600" b="0" i="0">
                          <a:latin typeface="Pulso" pitchFamily="2" charset="0"/>
                        </a:rPr>
                        <a:t>100%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9844042"/>
                  </a:ext>
                </a:extLst>
              </a:tr>
              <a:tr h="160813">
                <a:tc>
                  <a:txBody>
                    <a:bodyPr/>
                    <a:lstStyle/>
                    <a:p>
                      <a:pPr algn="r"/>
                      <a:r>
                        <a:rPr lang="es-ES_tradnl" sz="600" b="0" i="0">
                          <a:latin typeface="Pulso" pitchFamily="2" charset="0"/>
                        </a:rPr>
                        <a:t>0%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8508929"/>
                  </a:ext>
                </a:extLst>
              </a:tr>
              <a:tr h="160813">
                <a:tc>
                  <a:txBody>
                    <a:bodyPr/>
                    <a:lstStyle/>
                    <a:p>
                      <a:pPr algn="r"/>
                      <a:r>
                        <a:rPr lang="es-ES_tradnl" sz="600" b="0" i="0">
                          <a:latin typeface="Pulso" pitchFamily="2" charset="0"/>
                        </a:rPr>
                        <a:t>-100%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1467497"/>
                  </a:ext>
                </a:extLst>
              </a:tr>
            </a:tbl>
          </a:graphicData>
        </a:graphic>
      </p:graphicFrame>
      <p:sp>
        <p:nvSpPr>
          <p:cNvPr id="2" name="Rectángulo: esquinas redondeadas 5">
            <a:extLst>
              <a:ext uri="{FF2B5EF4-FFF2-40B4-BE49-F238E27FC236}">
                <a16:creationId xmlns:a16="http://schemas.microsoft.com/office/drawing/2014/main" id="{4159419C-0783-A374-DD63-69668614CC1E}"/>
              </a:ext>
            </a:extLst>
          </p:cNvPr>
          <p:cNvSpPr/>
          <p:nvPr/>
        </p:nvSpPr>
        <p:spPr>
          <a:xfrm>
            <a:off x="4854448" y="1775944"/>
            <a:ext cx="3654062" cy="310578"/>
          </a:xfrm>
          <a:prstGeom prst="roundRect">
            <a:avLst>
              <a:gd name="adj" fmla="val 50000"/>
            </a:avLst>
          </a:prstGeom>
          <a:noFill/>
          <a:ln w="12700" cap="rnd" cmpd="sng">
            <a:solidFill>
              <a:schemeClr val="accent1"/>
            </a:solidFill>
            <a:prstDash val="sysDot"/>
            <a:miter lim="800000"/>
          </a:ln>
          <a:effectLst>
            <a:glow rad="118854">
              <a:schemeClr val="accent1">
                <a:satMod val="175000"/>
                <a:alpha val="7644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750"/>
              </a:spcBef>
            </a:pPr>
            <a:endParaRPr lang="es-AR" sz="1050">
              <a:solidFill>
                <a:schemeClr val="tx1"/>
              </a:solidFill>
              <a:latin typeface="Pulso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9114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a libre 30">
            <a:extLst>
              <a:ext uri="{FF2B5EF4-FFF2-40B4-BE49-F238E27FC236}">
                <a16:creationId xmlns:a16="http://schemas.microsoft.com/office/drawing/2014/main" id="{DD4508F8-C777-A997-FA2E-3F5A71C5258B}"/>
              </a:ext>
            </a:extLst>
          </p:cNvPr>
          <p:cNvSpPr/>
          <p:nvPr/>
        </p:nvSpPr>
        <p:spPr>
          <a:xfrm flipV="1">
            <a:off x="902752" y="-1"/>
            <a:ext cx="7338508" cy="5143499"/>
          </a:xfrm>
          <a:custGeom>
            <a:avLst/>
            <a:gdLst>
              <a:gd name="connsiteX0" fmla="*/ 3669248 w 7338508"/>
              <a:gd name="connsiteY0" fmla="*/ 4786534 h 5143499"/>
              <a:gd name="connsiteX1" fmla="*/ 1454479 w 7338508"/>
              <a:gd name="connsiteY1" fmla="*/ 2571742 h 5143499"/>
              <a:gd name="connsiteX2" fmla="*/ 3669248 w 7338508"/>
              <a:gd name="connsiteY2" fmla="*/ 356962 h 5143499"/>
              <a:gd name="connsiteX3" fmla="*/ 5884029 w 7338508"/>
              <a:gd name="connsiteY3" fmla="*/ 2571742 h 5143499"/>
              <a:gd name="connsiteX4" fmla="*/ 3669248 w 7338508"/>
              <a:gd name="connsiteY4" fmla="*/ 4786534 h 5143499"/>
              <a:gd name="connsiteX5" fmla="*/ 1057043 w 7338508"/>
              <a:gd name="connsiteY5" fmla="*/ 5143499 h 5143499"/>
              <a:gd name="connsiteX6" fmla="*/ 6285242 w 7338508"/>
              <a:gd name="connsiteY6" fmla="*/ 5143499 h 5143499"/>
              <a:gd name="connsiteX7" fmla="*/ 6500944 w 7338508"/>
              <a:gd name="connsiteY7" fmla="*/ 4906151 h 5143499"/>
              <a:gd name="connsiteX8" fmla="*/ 7338508 w 7338508"/>
              <a:gd name="connsiteY8" fmla="*/ 2571742 h 5143499"/>
              <a:gd name="connsiteX9" fmla="*/ 6500944 w 7338508"/>
              <a:gd name="connsiteY9" fmla="*/ 241917 h 5143499"/>
              <a:gd name="connsiteX10" fmla="*/ 6281463 w 7338508"/>
              <a:gd name="connsiteY10" fmla="*/ 0 h 5143499"/>
              <a:gd name="connsiteX11" fmla="*/ 1057335 w 7338508"/>
              <a:gd name="connsiteY11" fmla="*/ 0 h 5143499"/>
              <a:gd name="connsiteX12" fmla="*/ 841121 w 7338508"/>
              <a:gd name="connsiteY12" fmla="*/ 237338 h 5143499"/>
              <a:gd name="connsiteX13" fmla="*/ 0 w 7338508"/>
              <a:gd name="connsiteY13" fmla="*/ 2571742 h 5143499"/>
              <a:gd name="connsiteX14" fmla="*/ 837560 w 7338508"/>
              <a:gd name="connsiteY14" fmla="*/ 4901577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338508" h="5143499">
                <a:moveTo>
                  <a:pt x="3669248" y="4786534"/>
                </a:moveTo>
                <a:cubicBezTo>
                  <a:pt x="2446170" y="4786534"/>
                  <a:pt x="1454479" y="3794839"/>
                  <a:pt x="1454479" y="2571742"/>
                </a:cubicBezTo>
                <a:cubicBezTo>
                  <a:pt x="1454479" y="1348657"/>
                  <a:pt x="2446170" y="356962"/>
                  <a:pt x="3669248" y="356962"/>
                </a:cubicBezTo>
                <a:cubicBezTo>
                  <a:pt x="4892339" y="356962"/>
                  <a:pt x="5884029" y="1348657"/>
                  <a:pt x="5884029" y="2571742"/>
                </a:cubicBezTo>
                <a:cubicBezTo>
                  <a:pt x="5884029" y="3794839"/>
                  <a:pt x="4892339" y="4786534"/>
                  <a:pt x="3669248" y="4786534"/>
                </a:cubicBezTo>
                <a:close/>
                <a:moveTo>
                  <a:pt x="1057043" y="5143499"/>
                </a:moveTo>
                <a:lnTo>
                  <a:pt x="6285242" y="5143499"/>
                </a:lnTo>
                <a:lnTo>
                  <a:pt x="6500944" y="4906151"/>
                </a:lnTo>
                <a:cubicBezTo>
                  <a:pt x="7024256" y="4271959"/>
                  <a:pt x="7338508" y="3458759"/>
                  <a:pt x="7338508" y="2571742"/>
                </a:cubicBezTo>
                <a:cubicBezTo>
                  <a:pt x="7338508" y="1689549"/>
                  <a:pt x="7024256" y="876954"/>
                  <a:pt x="6500944" y="241917"/>
                </a:cubicBezTo>
                <a:lnTo>
                  <a:pt x="6281463" y="0"/>
                </a:lnTo>
                <a:lnTo>
                  <a:pt x="1057335" y="0"/>
                </a:lnTo>
                <a:lnTo>
                  <a:pt x="841121" y="237338"/>
                </a:lnTo>
                <a:cubicBezTo>
                  <a:pt x="316360" y="871528"/>
                  <a:pt x="0" y="1684726"/>
                  <a:pt x="0" y="2571742"/>
                </a:cubicBezTo>
                <a:cubicBezTo>
                  <a:pt x="0" y="3453940"/>
                  <a:pt x="314250" y="4266538"/>
                  <a:pt x="837560" y="4901577"/>
                </a:cubicBezTo>
                <a:close/>
              </a:path>
            </a:pathLst>
          </a:custGeom>
          <a:gradFill flip="none" rotWithShape="1">
            <a:gsLst>
              <a:gs pos="19000">
                <a:schemeClr val="bg2">
                  <a:alpha val="0"/>
                </a:schemeClr>
              </a:gs>
              <a:gs pos="99000">
                <a:schemeClr val="bg2">
                  <a:alpha val="25030"/>
                </a:schemeClr>
              </a:gs>
            </a:gsLst>
            <a:lin ang="18000000" scaled="0"/>
            <a:tileRect/>
          </a:gradFill>
          <a:ln w="154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AR">
              <a:solidFill>
                <a:srgbClr val="808080"/>
              </a:solidFill>
              <a:latin typeface="Pulso" pitchFamily="2" charset="0"/>
              <a:cs typeface="Arial" pitchFamily="34" charset="0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04EF7E33-0675-4803-07AE-C8183B18A7CB}"/>
              </a:ext>
            </a:extLst>
          </p:cNvPr>
          <p:cNvSpPr/>
          <p:nvPr/>
        </p:nvSpPr>
        <p:spPr>
          <a:xfrm>
            <a:off x="2778913" y="2296749"/>
            <a:ext cx="3586175" cy="52405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4000" spc="-7" err="1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Muchas</a:t>
            </a:r>
            <a:r>
              <a:rPr lang="en-US" sz="4000" spc="-7">
                <a:solidFill>
                  <a:schemeClr val="tx2"/>
                </a:solidFill>
                <a:latin typeface="Pulso Light" pitchFamily="2" charset="0"/>
                <a:ea typeface="Inter Light BETA" panose="020B0402030000000004" pitchFamily="34" charset="0"/>
              </a:rPr>
              <a:t> gracias</a:t>
            </a:r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E337EF21-83DE-F00C-9CA4-22EA716562A2}"/>
              </a:ext>
            </a:extLst>
          </p:cNvPr>
          <p:cNvGrpSpPr/>
          <p:nvPr/>
        </p:nvGrpSpPr>
        <p:grpSpPr>
          <a:xfrm>
            <a:off x="564095" y="2486483"/>
            <a:ext cx="467586" cy="172800"/>
            <a:chOff x="564095" y="580298"/>
            <a:chExt cx="467586" cy="172800"/>
          </a:xfrm>
          <a:solidFill>
            <a:schemeClr val="bg2"/>
          </a:solidFill>
        </p:grpSpPr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9BF24761-0EE2-E348-4B83-C87EEE855E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4095" y="653105"/>
              <a:ext cx="28800" cy="28800"/>
            </a:xfrm>
            <a:prstGeom prst="ellipse">
              <a:avLst/>
            </a:prstGeom>
            <a:grpFill/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43543" tIns="21771" rIns="43543" bIns="2177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700">
                <a:solidFill>
                  <a:srgbClr val="808080"/>
                </a:solidFill>
                <a:latin typeface="+mj-lt"/>
              </a:endParaRPr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ABF54ECB-0BD6-4F79-FD22-1801AB55D7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5671" y="580298"/>
              <a:ext cx="386010" cy="172800"/>
            </a:xfrm>
            <a:custGeom>
              <a:avLst/>
              <a:gdLst>
                <a:gd name="connsiteX0" fmla="*/ 738293 w 969762"/>
                <a:gd name="connsiteY0" fmla="*/ 0 h 434120"/>
                <a:gd name="connsiteX1" fmla="*/ 765595 w 969762"/>
                <a:gd name="connsiteY1" fmla="*/ 10594 h 434120"/>
                <a:gd name="connsiteX2" fmla="*/ 958462 w 969762"/>
                <a:gd name="connsiteY2" fmla="*/ 191407 h 434120"/>
                <a:gd name="connsiteX3" fmla="*/ 958462 w 969762"/>
                <a:gd name="connsiteY3" fmla="*/ 242600 h 434120"/>
                <a:gd name="connsiteX4" fmla="*/ 958582 w 969762"/>
                <a:gd name="connsiteY4" fmla="*/ 242713 h 434120"/>
                <a:gd name="connsiteX5" fmla="*/ 765716 w 969762"/>
                <a:gd name="connsiteY5" fmla="*/ 423526 h 434120"/>
                <a:gd name="connsiteX6" fmla="*/ 711111 w 969762"/>
                <a:gd name="connsiteY6" fmla="*/ 423526 h 434120"/>
                <a:gd name="connsiteX7" fmla="*/ 711111 w 969762"/>
                <a:gd name="connsiteY7" fmla="*/ 372333 h 434120"/>
                <a:gd name="connsiteX8" fmla="*/ 838041 w 969762"/>
                <a:gd name="connsiteY8" fmla="*/ 253223 h 434120"/>
                <a:gd name="connsiteX9" fmla="*/ 499875 w 969762"/>
                <a:gd name="connsiteY9" fmla="*/ 253223 h 434120"/>
                <a:gd name="connsiteX10" fmla="*/ 499875 w 969762"/>
                <a:gd name="connsiteY10" fmla="*/ 253223 h 434120"/>
                <a:gd name="connsiteX11" fmla="*/ 275847 w 969762"/>
                <a:gd name="connsiteY11" fmla="*/ 253223 h 434120"/>
                <a:gd name="connsiteX12" fmla="*/ 262601 w 969762"/>
                <a:gd name="connsiteY12" fmla="*/ 253223 h 434120"/>
                <a:gd name="connsiteX13" fmla="*/ 38573 w 969762"/>
                <a:gd name="connsiteY13" fmla="*/ 253223 h 434120"/>
                <a:gd name="connsiteX14" fmla="*/ 0 w 969762"/>
                <a:gd name="connsiteY14" fmla="*/ 217060 h 434120"/>
                <a:gd name="connsiteX15" fmla="*/ 38573 w 969762"/>
                <a:gd name="connsiteY15" fmla="*/ 180898 h 434120"/>
                <a:gd name="connsiteX16" fmla="*/ 262601 w 969762"/>
                <a:gd name="connsiteY16" fmla="*/ 180898 h 434120"/>
                <a:gd name="connsiteX17" fmla="*/ 275847 w 969762"/>
                <a:gd name="connsiteY17" fmla="*/ 180898 h 434120"/>
                <a:gd name="connsiteX18" fmla="*/ 468339 w 969762"/>
                <a:gd name="connsiteY18" fmla="*/ 180898 h 434120"/>
                <a:gd name="connsiteX19" fmla="*/ 468340 w 969762"/>
                <a:gd name="connsiteY19" fmla="*/ 180897 h 434120"/>
                <a:gd name="connsiteX20" fmla="*/ 838161 w 969762"/>
                <a:gd name="connsiteY20" fmla="*/ 180897 h 434120"/>
                <a:gd name="connsiteX21" fmla="*/ 710990 w 969762"/>
                <a:gd name="connsiteY21" fmla="*/ 61787 h 434120"/>
                <a:gd name="connsiteX22" fmla="*/ 710990 w 969762"/>
                <a:gd name="connsiteY22" fmla="*/ 10594 h 434120"/>
                <a:gd name="connsiteX23" fmla="*/ 738293 w 969762"/>
                <a:gd name="connsiteY23" fmla="*/ 0 h 434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969762" h="434120">
                  <a:moveTo>
                    <a:pt x="738293" y="0"/>
                  </a:moveTo>
                  <a:cubicBezTo>
                    <a:pt x="748177" y="0"/>
                    <a:pt x="758062" y="3531"/>
                    <a:pt x="765595" y="10594"/>
                  </a:cubicBezTo>
                  <a:lnTo>
                    <a:pt x="958462" y="191407"/>
                  </a:lnTo>
                  <a:cubicBezTo>
                    <a:pt x="973529" y="205533"/>
                    <a:pt x="973529" y="228474"/>
                    <a:pt x="958462" y="242600"/>
                  </a:cubicBezTo>
                  <a:lnTo>
                    <a:pt x="958582" y="242713"/>
                  </a:lnTo>
                  <a:lnTo>
                    <a:pt x="765716" y="423526"/>
                  </a:lnTo>
                  <a:cubicBezTo>
                    <a:pt x="750648" y="437652"/>
                    <a:pt x="726178" y="437652"/>
                    <a:pt x="711111" y="423526"/>
                  </a:cubicBezTo>
                  <a:cubicBezTo>
                    <a:pt x="696043" y="409400"/>
                    <a:pt x="696043" y="386459"/>
                    <a:pt x="711111" y="372333"/>
                  </a:cubicBezTo>
                  <a:lnTo>
                    <a:pt x="838041" y="253223"/>
                  </a:lnTo>
                  <a:lnTo>
                    <a:pt x="499875" y="253223"/>
                  </a:lnTo>
                  <a:lnTo>
                    <a:pt x="499875" y="253223"/>
                  </a:lnTo>
                  <a:lnTo>
                    <a:pt x="275847" y="253223"/>
                  </a:lnTo>
                  <a:lnTo>
                    <a:pt x="262601" y="253223"/>
                  </a:lnTo>
                  <a:lnTo>
                    <a:pt x="38573" y="253223"/>
                  </a:lnTo>
                  <a:cubicBezTo>
                    <a:pt x="17238" y="253223"/>
                    <a:pt x="0" y="237063"/>
                    <a:pt x="0" y="217060"/>
                  </a:cubicBezTo>
                  <a:cubicBezTo>
                    <a:pt x="0" y="197058"/>
                    <a:pt x="17238" y="180898"/>
                    <a:pt x="38573" y="180898"/>
                  </a:cubicBezTo>
                  <a:lnTo>
                    <a:pt x="262601" y="180898"/>
                  </a:lnTo>
                  <a:lnTo>
                    <a:pt x="275847" y="180898"/>
                  </a:lnTo>
                  <a:lnTo>
                    <a:pt x="468339" y="180898"/>
                  </a:lnTo>
                  <a:lnTo>
                    <a:pt x="468340" y="180897"/>
                  </a:lnTo>
                  <a:lnTo>
                    <a:pt x="838161" y="180897"/>
                  </a:lnTo>
                  <a:lnTo>
                    <a:pt x="710990" y="61787"/>
                  </a:lnTo>
                  <a:cubicBezTo>
                    <a:pt x="695923" y="47661"/>
                    <a:pt x="695923" y="24720"/>
                    <a:pt x="710990" y="10594"/>
                  </a:cubicBezTo>
                  <a:cubicBezTo>
                    <a:pt x="718524" y="3531"/>
                    <a:pt x="728408" y="0"/>
                    <a:pt x="73829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43543" tIns="21771" rIns="43543" bIns="2177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700">
                <a:solidFill>
                  <a:srgbClr val="808080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5319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E42FDE-FF49-98C6-EA02-B6FF458FCC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orma libre 29">
            <a:extLst>
              <a:ext uri="{FF2B5EF4-FFF2-40B4-BE49-F238E27FC236}">
                <a16:creationId xmlns:a16="http://schemas.microsoft.com/office/drawing/2014/main" id="{195D080E-5CD8-ECEB-311F-336C4FC27DF3}"/>
              </a:ext>
            </a:extLst>
          </p:cNvPr>
          <p:cNvSpPr/>
          <p:nvPr/>
        </p:nvSpPr>
        <p:spPr>
          <a:xfrm>
            <a:off x="566346" y="2198503"/>
            <a:ext cx="226460" cy="158522"/>
          </a:xfrm>
          <a:custGeom>
            <a:avLst/>
            <a:gdLst>
              <a:gd name="connsiteX0" fmla="*/ 108000 w 270000"/>
              <a:gd name="connsiteY0" fmla="*/ 135000 h 189000"/>
              <a:gd name="connsiteX1" fmla="*/ 135000 w 270000"/>
              <a:gd name="connsiteY1" fmla="*/ 135000 h 189000"/>
              <a:gd name="connsiteX2" fmla="*/ 135000 w 270000"/>
              <a:gd name="connsiteY2" fmla="*/ 148500 h 189000"/>
              <a:gd name="connsiteX3" fmla="*/ 108000 w 270000"/>
              <a:gd name="connsiteY3" fmla="*/ 148500 h 189000"/>
              <a:gd name="connsiteX4" fmla="*/ 40500 w 270000"/>
              <a:gd name="connsiteY4" fmla="*/ 135000 h 189000"/>
              <a:gd name="connsiteX5" fmla="*/ 94500 w 270000"/>
              <a:gd name="connsiteY5" fmla="*/ 135000 h 189000"/>
              <a:gd name="connsiteX6" fmla="*/ 94500 w 270000"/>
              <a:gd name="connsiteY6" fmla="*/ 148500 h 189000"/>
              <a:gd name="connsiteX7" fmla="*/ 40500 w 270000"/>
              <a:gd name="connsiteY7" fmla="*/ 148500 h 189000"/>
              <a:gd name="connsiteX8" fmla="*/ 20250 w 270000"/>
              <a:gd name="connsiteY8" fmla="*/ 114750 h 189000"/>
              <a:gd name="connsiteX9" fmla="*/ 20250 w 270000"/>
              <a:gd name="connsiteY9" fmla="*/ 168750 h 189000"/>
              <a:gd name="connsiteX10" fmla="*/ 249750 w 270000"/>
              <a:gd name="connsiteY10" fmla="*/ 168750 h 189000"/>
              <a:gd name="connsiteX11" fmla="*/ 249750 w 270000"/>
              <a:gd name="connsiteY11" fmla="*/ 114750 h 189000"/>
              <a:gd name="connsiteX12" fmla="*/ 20250 w 270000"/>
              <a:gd name="connsiteY12" fmla="*/ 20250 h 189000"/>
              <a:gd name="connsiteX13" fmla="*/ 20250 w 270000"/>
              <a:gd name="connsiteY13" fmla="*/ 74250 h 189000"/>
              <a:gd name="connsiteX14" fmla="*/ 249750 w 270000"/>
              <a:gd name="connsiteY14" fmla="*/ 74250 h 189000"/>
              <a:gd name="connsiteX15" fmla="*/ 249750 w 270000"/>
              <a:gd name="connsiteY15" fmla="*/ 20250 h 189000"/>
              <a:gd name="connsiteX16" fmla="*/ 13500 w 270000"/>
              <a:gd name="connsiteY16" fmla="*/ 0 h 189000"/>
              <a:gd name="connsiteX17" fmla="*/ 256500 w 270000"/>
              <a:gd name="connsiteY17" fmla="*/ 0 h 189000"/>
              <a:gd name="connsiteX18" fmla="*/ 270000 w 270000"/>
              <a:gd name="connsiteY18" fmla="*/ 13500 h 189000"/>
              <a:gd name="connsiteX19" fmla="*/ 270000 w 270000"/>
              <a:gd name="connsiteY19" fmla="*/ 175500 h 189000"/>
              <a:gd name="connsiteX20" fmla="*/ 256500 w 270000"/>
              <a:gd name="connsiteY20" fmla="*/ 189000 h 189000"/>
              <a:gd name="connsiteX21" fmla="*/ 13500 w 270000"/>
              <a:gd name="connsiteY21" fmla="*/ 189000 h 189000"/>
              <a:gd name="connsiteX22" fmla="*/ 0 w 270000"/>
              <a:gd name="connsiteY22" fmla="*/ 175500 h 189000"/>
              <a:gd name="connsiteX23" fmla="*/ 0 w 270000"/>
              <a:gd name="connsiteY23" fmla="*/ 13500 h 189000"/>
              <a:gd name="connsiteX24" fmla="*/ 13500 w 270000"/>
              <a:gd name="connsiteY24" fmla="*/ 0 h 1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70000" h="189000">
                <a:moveTo>
                  <a:pt x="108000" y="135000"/>
                </a:moveTo>
                <a:lnTo>
                  <a:pt x="135000" y="135000"/>
                </a:lnTo>
                <a:lnTo>
                  <a:pt x="135000" y="148500"/>
                </a:lnTo>
                <a:lnTo>
                  <a:pt x="108000" y="148500"/>
                </a:lnTo>
                <a:close/>
                <a:moveTo>
                  <a:pt x="40500" y="135000"/>
                </a:moveTo>
                <a:lnTo>
                  <a:pt x="94500" y="135000"/>
                </a:lnTo>
                <a:lnTo>
                  <a:pt x="94500" y="148500"/>
                </a:lnTo>
                <a:lnTo>
                  <a:pt x="40500" y="148500"/>
                </a:lnTo>
                <a:close/>
                <a:moveTo>
                  <a:pt x="20250" y="114750"/>
                </a:moveTo>
                <a:lnTo>
                  <a:pt x="20250" y="168750"/>
                </a:lnTo>
                <a:lnTo>
                  <a:pt x="249750" y="168750"/>
                </a:lnTo>
                <a:lnTo>
                  <a:pt x="249750" y="114750"/>
                </a:lnTo>
                <a:close/>
                <a:moveTo>
                  <a:pt x="20250" y="20250"/>
                </a:moveTo>
                <a:lnTo>
                  <a:pt x="20250" y="74250"/>
                </a:lnTo>
                <a:lnTo>
                  <a:pt x="249750" y="74250"/>
                </a:lnTo>
                <a:lnTo>
                  <a:pt x="249750" y="20250"/>
                </a:lnTo>
                <a:close/>
                <a:moveTo>
                  <a:pt x="13500" y="0"/>
                </a:moveTo>
                <a:lnTo>
                  <a:pt x="256500" y="0"/>
                </a:lnTo>
                <a:cubicBezTo>
                  <a:pt x="263925" y="0"/>
                  <a:pt x="270000" y="6075"/>
                  <a:pt x="270000" y="13500"/>
                </a:cubicBezTo>
                <a:lnTo>
                  <a:pt x="270000" y="175500"/>
                </a:lnTo>
                <a:cubicBezTo>
                  <a:pt x="270000" y="182925"/>
                  <a:pt x="263925" y="189000"/>
                  <a:pt x="256500" y="189000"/>
                </a:cubicBezTo>
                <a:lnTo>
                  <a:pt x="13500" y="189000"/>
                </a:lnTo>
                <a:cubicBezTo>
                  <a:pt x="6075" y="189000"/>
                  <a:pt x="0" y="182925"/>
                  <a:pt x="0" y="175500"/>
                </a:cubicBezTo>
                <a:lnTo>
                  <a:pt x="0" y="13500"/>
                </a:lnTo>
                <a:cubicBezTo>
                  <a:pt x="0" y="6075"/>
                  <a:pt x="6075" y="0"/>
                  <a:pt x="13500" y="0"/>
                </a:cubicBezTo>
                <a:close/>
              </a:path>
            </a:pathLst>
          </a:custGeom>
          <a:solidFill>
            <a:schemeClr val="tx2">
              <a:lumMod val="75000"/>
              <a:lumOff val="25000"/>
            </a:schemeClr>
          </a:solidFill>
          <a:ln w="3373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E13ECF24-77B7-E20F-8047-889C371633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1868745"/>
              </p:ext>
            </p:extLst>
          </p:nvPr>
        </p:nvGraphicFramePr>
        <p:xfrm>
          <a:off x="1009558" y="575162"/>
          <a:ext cx="7454867" cy="39802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81238">
                  <a:extLst>
                    <a:ext uri="{9D8B030D-6E8A-4147-A177-3AD203B41FA5}">
                      <a16:colId xmlns:a16="http://schemas.microsoft.com/office/drawing/2014/main" val="1543092953"/>
                    </a:ext>
                  </a:extLst>
                </a:gridCol>
                <a:gridCol w="1179584">
                  <a:extLst>
                    <a:ext uri="{9D8B030D-6E8A-4147-A177-3AD203B41FA5}">
                      <a16:colId xmlns:a16="http://schemas.microsoft.com/office/drawing/2014/main" val="3576234694"/>
                    </a:ext>
                  </a:extLst>
                </a:gridCol>
                <a:gridCol w="1442576">
                  <a:extLst>
                    <a:ext uri="{9D8B030D-6E8A-4147-A177-3AD203B41FA5}">
                      <a16:colId xmlns:a16="http://schemas.microsoft.com/office/drawing/2014/main" val="1888766964"/>
                    </a:ext>
                  </a:extLst>
                </a:gridCol>
                <a:gridCol w="1268538">
                  <a:extLst>
                    <a:ext uri="{9D8B030D-6E8A-4147-A177-3AD203B41FA5}">
                      <a16:colId xmlns:a16="http://schemas.microsoft.com/office/drawing/2014/main" val="1732370048"/>
                    </a:ext>
                  </a:extLst>
                </a:gridCol>
                <a:gridCol w="819909">
                  <a:extLst>
                    <a:ext uri="{9D8B030D-6E8A-4147-A177-3AD203B41FA5}">
                      <a16:colId xmlns:a16="http://schemas.microsoft.com/office/drawing/2014/main" val="2950366774"/>
                    </a:ext>
                  </a:extLst>
                </a:gridCol>
                <a:gridCol w="1663022">
                  <a:extLst>
                    <a:ext uri="{9D8B030D-6E8A-4147-A177-3AD203B41FA5}">
                      <a16:colId xmlns:a16="http://schemas.microsoft.com/office/drawing/2014/main" val="1754844333"/>
                    </a:ext>
                  </a:extLst>
                </a:gridCol>
              </a:tblGrid>
              <a:tr h="521975">
                <a:tc>
                  <a:txBody>
                    <a:bodyPr/>
                    <a:lstStyle/>
                    <a:p>
                      <a:pPr algn="ctr"/>
                      <a:endParaRPr lang="es-AR" sz="1050" b="0">
                        <a:latin typeface="Pulso" pitchFamily="2" charset="0"/>
                      </a:endParaRPr>
                    </a:p>
                  </a:txBody>
                  <a:tcPr marL="27000" marR="27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800" b="0">
                          <a:solidFill>
                            <a:srgbClr val="FFFFFF"/>
                          </a:solidFill>
                          <a:latin typeface="Pulso" pitchFamily="2" charset="0"/>
                        </a:rPr>
                        <a:t>Situación </a:t>
                      </a:r>
                    </a:p>
                    <a:p>
                      <a:pPr algn="ctr"/>
                      <a:r>
                        <a:rPr lang="es-AR" sz="800" b="0">
                          <a:solidFill>
                            <a:srgbClr val="FFFFFF"/>
                          </a:solidFill>
                          <a:latin typeface="Pulso" pitchFamily="2" charset="0"/>
                        </a:rPr>
                        <a:t>Actual</a:t>
                      </a:r>
                    </a:p>
                  </a:txBody>
                  <a:tcPr marL="27000" marR="27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800" b="0" err="1">
                          <a:solidFill>
                            <a:srgbClr val="FFFFFF"/>
                          </a:solidFill>
                          <a:latin typeface="Pulso" pitchFamily="2" charset="0"/>
                        </a:rPr>
                        <a:t>Espectativas</a:t>
                      </a:r>
                      <a:endParaRPr lang="es-AR" sz="800" b="0">
                        <a:solidFill>
                          <a:srgbClr val="FFFFFF"/>
                        </a:solidFill>
                        <a:latin typeface="Pulso" pitchFamily="2" charset="0"/>
                      </a:endParaRPr>
                    </a:p>
                    <a:p>
                      <a:pPr algn="ctr"/>
                      <a:r>
                        <a:rPr lang="es-AR" sz="800" b="0">
                          <a:solidFill>
                            <a:srgbClr val="FFFFFF"/>
                          </a:solidFill>
                          <a:latin typeface="Pulso" pitchFamily="2" charset="0"/>
                        </a:rPr>
                        <a:t>2026</a:t>
                      </a:r>
                    </a:p>
                  </a:txBody>
                  <a:tcPr marL="27000" marR="27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800" b="0">
                          <a:solidFill>
                            <a:srgbClr val="FFFFFF"/>
                          </a:solidFill>
                          <a:latin typeface="Pulso" pitchFamily="2" charset="0"/>
                        </a:rPr>
                        <a:t>Hechos Relevantes</a:t>
                      </a:r>
                    </a:p>
                  </a:txBody>
                  <a:tcPr marL="27000" marR="27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800" b="0">
                          <a:solidFill>
                            <a:srgbClr val="FFFFFF"/>
                          </a:solidFill>
                          <a:latin typeface="Pulso" pitchFamily="2" charset="0"/>
                        </a:rPr>
                        <a:t>Índice de Digitalización (1-5)</a:t>
                      </a:r>
                    </a:p>
                  </a:txBody>
                  <a:tcPr marL="27000" marR="27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800" b="0">
                          <a:solidFill>
                            <a:srgbClr val="FFFFFF"/>
                          </a:solidFill>
                          <a:latin typeface="Pulso" pitchFamily="2" charset="0"/>
                        </a:rPr>
                        <a:t>Oportunidades </a:t>
                      </a:r>
                      <a:r>
                        <a:rPr lang="es-AR" sz="800" b="0" err="1">
                          <a:solidFill>
                            <a:srgbClr val="FFFFFF"/>
                          </a:solidFill>
                          <a:latin typeface="Pulso" pitchFamily="2" charset="0"/>
                        </a:rPr>
                        <a:t>TechCO</a:t>
                      </a:r>
                      <a:endParaRPr lang="es-AR" sz="800" b="0">
                        <a:solidFill>
                          <a:srgbClr val="FFFFFF"/>
                        </a:solidFill>
                        <a:latin typeface="Pulso" pitchFamily="2" charset="0"/>
                      </a:endParaRPr>
                    </a:p>
                  </a:txBody>
                  <a:tcPr marL="27000" marR="27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6452621"/>
                  </a:ext>
                </a:extLst>
              </a:tr>
              <a:tr h="388036">
                <a:tc>
                  <a:txBody>
                    <a:bodyPr/>
                    <a:lstStyle/>
                    <a:p>
                      <a:pPr algn="ctr"/>
                      <a:r>
                        <a:rPr lang="es-AR" sz="900" b="1">
                          <a:solidFill>
                            <a:schemeClr val="tx2">
                              <a:lumMod val="25000"/>
                              <a:lumOff val="75000"/>
                            </a:schemeClr>
                          </a:solidFill>
                          <a:latin typeface="Pulso" pitchFamily="2" charset="0"/>
                        </a:rPr>
                        <a:t>Agro</a:t>
                      </a: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700" b="0" i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Pulso Light" pitchFamily="2" charset="0"/>
                        </a:rPr>
                        <a:t>Campaña con fuerte rebote de cosecha</a:t>
                      </a:r>
                      <a:endParaRPr lang="es-AR" sz="700" b="0" i="0">
                        <a:solidFill>
                          <a:schemeClr val="bg1">
                            <a:lumMod val="75000"/>
                          </a:schemeClr>
                        </a:solidFill>
                        <a:latin typeface="Pulso Light" pitchFamily="2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700" b="0" i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Pulso Light" pitchFamily="2" charset="0"/>
                        </a:rPr>
                        <a:t>Más volumen logístico; foco en resiliencia climática</a:t>
                      </a:r>
                      <a:endParaRPr lang="es-AR" sz="700" b="0" i="0">
                        <a:solidFill>
                          <a:schemeClr val="bg1">
                            <a:lumMod val="75000"/>
                          </a:schemeClr>
                        </a:solidFill>
                        <a:latin typeface="Pulso Light" pitchFamily="2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700" b="0" i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Pulso Light" pitchFamily="2" charset="0"/>
                        </a:rPr>
                        <a:t>Mayor actividad en reestructuraciones</a:t>
                      </a:r>
                      <a:endParaRPr lang="es-AR" sz="700" b="0" i="0">
                        <a:solidFill>
                          <a:schemeClr val="bg1">
                            <a:lumMod val="75000"/>
                          </a:schemeClr>
                        </a:solidFill>
                        <a:latin typeface="Pulso Light" pitchFamily="2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100" b="1">
                          <a:solidFill>
                            <a:schemeClr val="tx2">
                              <a:lumMod val="25000"/>
                              <a:lumOff val="75000"/>
                            </a:schemeClr>
                          </a:solidFill>
                          <a:latin typeface="Pulso" pitchFamily="2" charset="0"/>
                        </a:rPr>
                        <a:t>2,7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700" b="0" i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Pulso Light" pitchFamily="2" charset="0"/>
                        </a:rPr>
                        <a:t>Conectividad híbrida, redes privadas, IoT con analítica; AgData Exchange</a:t>
                      </a: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2244417"/>
                  </a:ext>
                </a:extLst>
              </a:tr>
              <a:tr h="493626">
                <a:tc>
                  <a:txBody>
                    <a:bodyPr/>
                    <a:lstStyle/>
                    <a:p>
                      <a:pPr algn="ctr"/>
                      <a:r>
                        <a:rPr lang="es-AR" sz="900" b="1">
                          <a:solidFill>
                            <a:schemeClr val="tx2">
                              <a:lumMod val="25000"/>
                              <a:lumOff val="75000"/>
                            </a:schemeClr>
                          </a:solidFill>
                          <a:latin typeface="Pulso" pitchFamily="2" charset="0"/>
                        </a:rPr>
                        <a:t>Retail / Supermercados</a:t>
                      </a: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700" b="0" i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Pulso Light" pitchFamily="2" charset="0"/>
                        </a:rPr>
                        <a:t>Caida de volumen; E-commerce creciendo fuerte</a:t>
                      </a:r>
                      <a:endParaRPr lang="es-AR" sz="700" b="0" i="0">
                        <a:solidFill>
                          <a:schemeClr val="bg1">
                            <a:lumMod val="75000"/>
                          </a:schemeClr>
                        </a:solidFill>
                        <a:latin typeface="Pulso Light" pitchFamily="2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700" b="0" i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Pulso Light" pitchFamily="2" charset="0"/>
                        </a:rPr>
                        <a:t>Leve recuperación si mejora ingreso real; Mayorista y  proximidad ganan share</a:t>
                      </a:r>
                      <a:endParaRPr lang="es-AR" sz="700" b="0" i="0">
                        <a:solidFill>
                          <a:schemeClr val="bg1">
                            <a:lumMod val="75000"/>
                          </a:schemeClr>
                        </a:solidFill>
                        <a:latin typeface="Pulso Light" pitchFamily="2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700" b="0" i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Pulso Light" pitchFamily="2" charset="0"/>
                        </a:rPr>
                        <a:t>Cencosud compra de Makro y Basualdo; Carrefour en proceso de venta</a:t>
                      </a:r>
                      <a:endParaRPr lang="es-AR" sz="700" b="0" i="0">
                        <a:solidFill>
                          <a:schemeClr val="bg1">
                            <a:lumMod val="75000"/>
                          </a:schemeClr>
                        </a:solidFill>
                        <a:latin typeface="Pulso Light" pitchFamily="2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100" b="1">
                          <a:solidFill>
                            <a:schemeClr val="tx2">
                              <a:lumMod val="25000"/>
                              <a:lumOff val="75000"/>
                            </a:schemeClr>
                          </a:solidFill>
                          <a:latin typeface="Pulso" pitchFamily="2" charset="0"/>
                        </a:rPr>
                        <a:t>3,5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700" b="0" i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Pulso Light" pitchFamily="2" charset="0"/>
                        </a:rPr>
                        <a:t>E-commerce, edge en tienda, SD-WAN/SASE multi-sede, FinOps. Gest. Logistica</a:t>
                      </a: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300686"/>
                  </a:ext>
                </a:extLst>
              </a:tr>
              <a:tr h="585468">
                <a:tc>
                  <a:txBody>
                    <a:bodyPr/>
                    <a:lstStyle/>
                    <a:p>
                      <a:pPr algn="ctr"/>
                      <a:r>
                        <a:rPr lang="es-AR" sz="900" b="1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Pulso" pitchFamily="2" charset="0"/>
                        </a:rPr>
                        <a:t>Banca &amp;</a:t>
                      </a:r>
                      <a:br>
                        <a:rPr lang="es-AR" sz="900" b="1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Pulso" pitchFamily="2" charset="0"/>
                        </a:rPr>
                      </a:br>
                      <a:r>
                        <a:rPr lang="es-AR" sz="900" b="1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Pulso" pitchFamily="2" charset="0"/>
                        </a:rPr>
                        <a:t>Finanzas</a:t>
                      </a: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7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Morosidad al alza</a:t>
                      </a:r>
                      <a:endParaRPr lang="es-AR" sz="700" b="0" i="0">
                        <a:solidFill>
                          <a:schemeClr val="bg1">
                            <a:lumMod val="25000"/>
                          </a:schemeClr>
                        </a:solidFill>
                        <a:latin typeface="Pulso Light" pitchFamily="2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7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Normalización gradual si mejora salario real</a:t>
                      </a:r>
                      <a:endParaRPr lang="es-AR" sz="700" b="0" i="0">
                        <a:solidFill>
                          <a:schemeClr val="bg1">
                            <a:lumMod val="25000"/>
                          </a:schemeClr>
                        </a:solidFill>
                        <a:latin typeface="Pulso Light" pitchFamily="2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7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Macro cerró integración de Itaú Argentina; Galicia culminó compra de HSBC Argentina</a:t>
                      </a:r>
                      <a:endParaRPr lang="es-AR" sz="700" b="0" i="0">
                        <a:solidFill>
                          <a:schemeClr val="bg1">
                            <a:lumMod val="25000"/>
                          </a:schemeClr>
                        </a:solidFill>
                        <a:latin typeface="Pulso Light" pitchFamily="2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100" b="1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Pulso" pitchFamily="2" charset="0"/>
                        </a:rPr>
                        <a:t>4,0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7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APIs, Fraude + cobranzas+scoring con IA, FinOps, SASE/NaaS para sucursales, SOC 24x7</a:t>
                      </a: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0960865"/>
                  </a:ext>
                </a:extLst>
              </a:tr>
              <a:tr h="406561">
                <a:tc>
                  <a:txBody>
                    <a:bodyPr/>
                    <a:lstStyle/>
                    <a:p>
                      <a:pPr algn="ctr"/>
                      <a:r>
                        <a:rPr lang="es-AR" sz="900" b="1">
                          <a:solidFill>
                            <a:schemeClr val="tx2">
                              <a:lumMod val="25000"/>
                              <a:lumOff val="75000"/>
                            </a:schemeClr>
                          </a:solidFill>
                          <a:latin typeface="Pulso" pitchFamily="2" charset="0"/>
                        </a:rPr>
                        <a:t>Industria / Manufacturera</a:t>
                      </a: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700" b="0" i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Pulso Light" pitchFamily="2" charset="0"/>
                        </a:rPr>
                        <a:t>IPI manufacturero con baja puntual 2025</a:t>
                      </a:r>
                      <a:endParaRPr lang="es-AR" sz="700" b="0" i="0">
                        <a:solidFill>
                          <a:schemeClr val="bg1">
                            <a:lumMod val="75000"/>
                          </a:schemeClr>
                        </a:solidFill>
                        <a:latin typeface="Pulso Light" pitchFamily="2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700" b="0" i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Pulso Light" pitchFamily="2" charset="0"/>
                        </a:rPr>
                        <a:t>Reasignación de capex hacia automatización</a:t>
                      </a:r>
                      <a:endParaRPr lang="es-AR" sz="700" b="0" i="0">
                        <a:solidFill>
                          <a:schemeClr val="bg1">
                            <a:lumMod val="75000"/>
                          </a:schemeClr>
                        </a:solidFill>
                        <a:latin typeface="Pulso Light" pitchFamily="2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700" b="0" i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Pulso Light" pitchFamily="2" charset="0"/>
                        </a:rPr>
                        <a:t>M&amp;A selectivo (autopartes, envases, alimentos).</a:t>
                      </a: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100" b="1">
                          <a:solidFill>
                            <a:schemeClr val="tx2">
                              <a:lumMod val="25000"/>
                              <a:lumOff val="75000"/>
                            </a:schemeClr>
                          </a:solidFill>
                          <a:latin typeface="Pulso" pitchFamily="2" charset="0"/>
                        </a:rPr>
                        <a:t>2,8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700" b="0" i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Pulso Light" pitchFamily="2" charset="0"/>
                        </a:rPr>
                        <a:t>Vision Comp. Redes Privadas, IoT/OT CiberOT, Edge </a:t>
                      </a: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515407"/>
                  </a:ext>
                </a:extLst>
              </a:tr>
              <a:tr h="585468">
                <a:tc>
                  <a:txBody>
                    <a:bodyPr/>
                    <a:lstStyle/>
                    <a:p>
                      <a:pPr algn="ctr"/>
                      <a:r>
                        <a:rPr lang="es-AR" sz="900" b="1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Pulso" pitchFamily="2" charset="0"/>
                        </a:rPr>
                        <a:t>Minería,</a:t>
                      </a:r>
                    </a:p>
                    <a:p>
                      <a:pPr algn="ctr"/>
                      <a:r>
                        <a:rPr lang="es-AR" sz="900" b="1" err="1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Pulso" pitchFamily="2" charset="0"/>
                        </a:rPr>
                        <a:t>Oil</a:t>
                      </a:r>
                      <a:r>
                        <a:rPr lang="es-AR" sz="900" b="1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Pulso" pitchFamily="2" charset="0"/>
                        </a:rPr>
                        <a:t> &amp; Gas</a:t>
                      </a:r>
                      <a:r>
                        <a:rPr lang="es-AR" sz="900" b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Pulso" pitchFamily="2" charset="0"/>
                        </a:rPr>
                        <a:t> </a:t>
                      </a: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7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8 megaproyectos de cobre; Litio continúa ramp-ups; Oil&amp;Gas en máximos de producción</a:t>
                      </a:r>
                      <a:endParaRPr lang="es-AR" sz="700" b="0" i="0">
                        <a:solidFill>
                          <a:schemeClr val="bg1">
                            <a:lumMod val="25000"/>
                          </a:schemeClr>
                        </a:solidFill>
                        <a:latin typeface="Pulso Light" pitchFamily="2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7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2026 será año de FID para minería. Mayor evacuación de crudo y exportabilidad.</a:t>
                      </a:r>
                      <a:endParaRPr lang="es-AR" sz="700" b="0" i="0">
                        <a:solidFill>
                          <a:schemeClr val="bg1">
                            <a:lumMod val="25000"/>
                          </a:schemeClr>
                        </a:solidFill>
                        <a:latin typeface="Pulso Light" pitchFamily="2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7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Pipeline activo; </a:t>
                      </a:r>
                      <a:r>
                        <a:rPr lang="es-ES" sz="7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Rotación de carteras; Vista adquirió Petronas E&amp;P Arg</a:t>
                      </a:r>
                      <a:endParaRPr lang="es-AR" sz="700" b="0" i="0">
                        <a:solidFill>
                          <a:schemeClr val="bg1">
                            <a:lumMod val="25000"/>
                          </a:schemeClr>
                        </a:solidFill>
                        <a:latin typeface="Pulso Light" pitchFamily="2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100" b="1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Pulso" pitchFamily="2" charset="0"/>
                        </a:rPr>
                        <a:t>3,2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7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CampNet, </a:t>
                      </a:r>
                      <a:r>
                        <a:rPr lang="es-ES" sz="7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Redes Priv. Edge </a:t>
                      </a:r>
                      <a:r>
                        <a:rPr lang="es-AR" sz="7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video-analytics, IoT, NOC/SOC OT</a:t>
                      </a: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1630393"/>
                  </a:ext>
                </a:extLst>
              </a:tr>
              <a:tr h="460233">
                <a:tc>
                  <a:txBody>
                    <a:bodyPr/>
                    <a:lstStyle/>
                    <a:p>
                      <a:pPr algn="ctr"/>
                      <a:r>
                        <a:rPr lang="es-AR" sz="900" b="1">
                          <a:solidFill>
                            <a:schemeClr val="tx2">
                              <a:lumMod val="25000"/>
                              <a:lumOff val="75000"/>
                            </a:schemeClr>
                          </a:solidFill>
                          <a:latin typeface="Pulso" pitchFamily="2" charset="0"/>
                        </a:rPr>
                        <a:t>Energía &amp; Utilities</a:t>
                      </a: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700" b="0" i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Pulso Light" pitchFamily="2" charset="0"/>
                        </a:rPr>
                        <a:t>Normalización de deudas de distribuidoras con CAMMESA</a:t>
                      </a:r>
                      <a:endParaRPr lang="es-AR" sz="700" b="0" i="0">
                        <a:solidFill>
                          <a:schemeClr val="bg1">
                            <a:lumMod val="75000"/>
                          </a:schemeClr>
                        </a:solidFill>
                        <a:latin typeface="Pulso Light" pitchFamily="2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700" b="0" i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Pulso Light" pitchFamily="2" charset="0"/>
                        </a:rPr>
                        <a:t>Programas de AMI/Smart-grid, OT-Security</a:t>
                      </a:r>
                      <a:endParaRPr lang="es-AR" sz="700" b="0" i="0">
                        <a:solidFill>
                          <a:schemeClr val="bg1">
                            <a:lumMod val="75000"/>
                          </a:schemeClr>
                        </a:solidFill>
                        <a:latin typeface="Pulso Light" pitchFamily="2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700" b="0" i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Pulso Light" pitchFamily="2" charset="0"/>
                        </a:rPr>
                        <a:t>Hitos regulatorios;</a:t>
                      </a:r>
                      <a:r>
                        <a:rPr lang="es-ES" sz="700" b="0" i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Pulso Light" pitchFamily="2" charset="0"/>
                        </a:rPr>
                        <a:t> AySA en proceso de privatización</a:t>
                      </a:r>
                      <a:endParaRPr lang="es-AR" sz="700" b="0" i="0">
                        <a:solidFill>
                          <a:schemeClr val="bg1">
                            <a:lumMod val="75000"/>
                          </a:schemeClr>
                        </a:solidFill>
                        <a:latin typeface="Pulso Light" pitchFamily="2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100" b="1">
                          <a:solidFill>
                            <a:schemeClr val="tx2">
                              <a:lumMod val="25000"/>
                              <a:lumOff val="75000"/>
                            </a:schemeClr>
                          </a:solidFill>
                          <a:latin typeface="Pulso" pitchFamily="2" charset="0"/>
                        </a:rPr>
                        <a:t>3,0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700" b="0" i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Pulso Light" pitchFamily="2" charset="0"/>
                        </a:rPr>
                        <a:t>AMI/Smart-grid, edge OT-SOC, tele-medición.</a:t>
                      </a: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044881"/>
                  </a:ext>
                </a:extLst>
              </a:tr>
              <a:tr h="538913">
                <a:tc>
                  <a:txBody>
                    <a:bodyPr/>
                    <a:lstStyle/>
                    <a:p>
                      <a:pPr algn="ctr"/>
                      <a:r>
                        <a:rPr lang="es-AR" sz="900" b="1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Pulso" pitchFamily="2" charset="0"/>
                        </a:rPr>
                        <a:t>Sector </a:t>
                      </a:r>
                    </a:p>
                    <a:p>
                      <a:pPr algn="ctr"/>
                      <a:r>
                        <a:rPr lang="es-AR" sz="900" b="1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Pulso" pitchFamily="2" charset="0"/>
                        </a:rPr>
                        <a:t>Público</a:t>
                      </a: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AR" sz="700" b="0" i="0" kern="120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  <a:ea typeface="+mn-ea"/>
                          <a:cs typeface="+mn-cs"/>
                        </a:rPr>
                        <a:t>Presup.</a:t>
                      </a:r>
                    </a:p>
                    <a:p>
                      <a:r>
                        <a:rPr lang="es-AR" sz="700" b="0" i="0" kern="120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  <a:ea typeface="+mn-ea"/>
                          <a:cs typeface="+mn-cs"/>
                        </a:rPr>
                        <a:t>acotados, atraso TECH</a:t>
                      </a:r>
                    </a:p>
                    <a:p>
                      <a:r>
                        <a:rPr lang="es-AR" sz="700" b="0" i="0" kern="120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  <a:ea typeface="+mn-ea"/>
                          <a:cs typeface="+mn-cs"/>
                        </a:rPr>
                        <a:t>DC propios</a:t>
                      </a: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7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Identidad digital,e-justicia Ciber/SOC, soberanía Datos</a:t>
                      </a:r>
                      <a:endParaRPr lang="es-AR" sz="700" b="0" i="0">
                        <a:solidFill>
                          <a:schemeClr val="bg1">
                            <a:lumMod val="25000"/>
                          </a:schemeClr>
                        </a:solidFill>
                        <a:latin typeface="Pulso Light" pitchFamily="2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7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Modernización de Portales, Videovigilancia, tramites dig</a:t>
                      </a:r>
                      <a:endParaRPr lang="es-AR" sz="700" b="0" i="0">
                        <a:solidFill>
                          <a:schemeClr val="bg1">
                            <a:lumMod val="25000"/>
                          </a:schemeClr>
                        </a:solidFill>
                        <a:latin typeface="Pulso Light" pitchFamily="2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100" b="1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Pulso" pitchFamily="2" charset="0"/>
                        </a:rPr>
                        <a:t>3,0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700" b="0" i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Pulso Light" pitchFamily="2" charset="0"/>
                        </a:rPr>
                        <a:t>Plataformas de interoperabilidad, datos abiertos seguros, SOC 24x7; conectividad y cloud soberana </a:t>
                      </a:r>
                      <a:endParaRPr lang="es-AR" sz="700" b="0" i="0">
                        <a:solidFill>
                          <a:schemeClr val="bg1">
                            <a:lumMod val="25000"/>
                          </a:schemeClr>
                        </a:solidFill>
                        <a:latin typeface="Pulso Light" pitchFamily="2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8123221"/>
                  </a:ext>
                </a:extLst>
              </a:tr>
            </a:tbl>
          </a:graphicData>
        </a:graphic>
      </p:graphicFrame>
      <p:sp>
        <p:nvSpPr>
          <p:cNvPr id="28" name="Forma libre 27">
            <a:extLst>
              <a:ext uri="{FF2B5EF4-FFF2-40B4-BE49-F238E27FC236}">
                <a16:creationId xmlns:a16="http://schemas.microsoft.com/office/drawing/2014/main" id="{024DC26A-DC26-43EC-B7B8-B2065EDA4D2A}"/>
              </a:ext>
            </a:extLst>
          </p:cNvPr>
          <p:cNvSpPr/>
          <p:nvPr/>
        </p:nvSpPr>
        <p:spPr>
          <a:xfrm>
            <a:off x="574839" y="1611724"/>
            <a:ext cx="209475" cy="226459"/>
          </a:xfrm>
          <a:custGeom>
            <a:avLst/>
            <a:gdLst>
              <a:gd name="connsiteX0" fmla="*/ 209250 w 249750"/>
              <a:gd name="connsiteY0" fmla="*/ 229500 h 270000"/>
              <a:gd name="connsiteX1" fmla="*/ 229500 w 249750"/>
              <a:gd name="connsiteY1" fmla="*/ 249750 h 270000"/>
              <a:gd name="connsiteX2" fmla="*/ 209250 w 249750"/>
              <a:gd name="connsiteY2" fmla="*/ 270000 h 270000"/>
              <a:gd name="connsiteX3" fmla="*/ 189000 w 249750"/>
              <a:gd name="connsiteY3" fmla="*/ 249750 h 270000"/>
              <a:gd name="connsiteX4" fmla="*/ 209250 w 249750"/>
              <a:gd name="connsiteY4" fmla="*/ 229500 h 270000"/>
              <a:gd name="connsiteX5" fmla="*/ 60750 w 249750"/>
              <a:gd name="connsiteY5" fmla="*/ 229500 h 270000"/>
              <a:gd name="connsiteX6" fmla="*/ 81000 w 249750"/>
              <a:gd name="connsiteY6" fmla="*/ 249750 h 270000"/>
              <a:gd name="connsiteX7" fmla="*/ 60750 w 249750"/>
              <a:gd name="connsiteY7" fmla="*/ 270000 h 270000"/>
              <a:gd name="connsiteX8" fmla="*/ 40500 w 249750"/>
              <a:gd name="connsiteY8" fmla="*/ 249750 h 270000"/>
              <a:gd name="connsiteX9" fmla="*/ 60750 w 249750"/>
              <a:gd name="connsiteY9" fmla="*/ 229500 h 270000"/>
              <a:gd name="connsiteX10" fmla="*/ 192375 w 249750"/>
              <a:gd name="connsiteY10" fmla="*/ 128250 h 270000"/>
              <a:gd name="connsiteX11" fmla="*/ 192375 w 249750"/>
              <a:gd name="connsiteY11" fmla="*/ 146813 h 270000"/>
              <a:gd name="connsiteX12" fmla="*/ 229500 w 249750"/>
              <a:gd name="connsiteY12" fmla="*/ 143438 h 270000"/>
              <a:gd name="connsiteX13" fmla="*/ 229500 w 249750"/>
              <a:gd name="connsiteY13" fmla="*/ 128250 h 270000"/>
              <a:gd name="connsiteX14" fmla="*/ 141750 w 249750"/>
              <a:gd name="connsiteY14" fmla="*/ 128250 h 270000"/>
              <a:gd name="connsiteX15" fmla="*/ 141750 w 249750"/>
              <a:gd name="connsiteY15" fmla="*/ 151200 h 270000"/>
              <a:gd name="connsiteX16" fmla="*/ 178875 w 249750"/>
              <a:gd name="connsiteY16" fmla="*/ 147825 h 270000"/>
              <a:gd name="connsiteX17" fmla="*/ 178875 w 249750"/>
              <a:gd name="connsiteY17" fmla="*/ 128250 h 270000"/>
              <a:gd name="connsiteX18" fmla="*/ 91125 w 249750"/>
              <a:gd name="connsiteY18" fmla="*/ 128250 h 270000"/>
              <a:gd name="connsiteX19" fmla="*/ 91125 w 249750"/>
              <a:gd name="connsiteY19" fmla="*/ 155925 h 270000"/>
              <a:gd name="connsiteX20" fmla="*/ 128250 w 249750"/>
              <a:gd name="connsiteY20" fmla="*/ 152550 h 270000"/>
              <a:gd name="connsiteX21" fmla="*/ 128250 w 249750"/>
              <a:gd name="connsiteY21" fmla="*/ 128250 h 270000"/>
              <a:gd name="connsiteX22" fmla="*/ 40500 w 249750"/>
              <a:gd name="connsiteY22" fmla="*/ 128250 h 270000"/>
              <a:gd name="connsiteX23" fmla="*/ 40500 w 249750"/>
              <a:gd name="connsiteY23" fmla="*/ 160313 h 270000"/>
              <a:gd name="connsiteX24" fmla="*/ 77625 w 249750"/>
              <a:gd name="connsiteY24" fmla="*/ 156938 h 270000"/>
              <a:gd name="connsiteX25" fmla="*/ 77625 w 249750"/>
              <a:gd name="connsiteY25" fmla="*/ 128250 h 270000"/>
              <a:gd name="connsiteX26" fmla="*/ 192375 w 249750"/>
              <a:gd name="connsiteY26" fmla="*/ 91125 h 270000"/>
              <a:gd name="connsiteX27" fmla="*/ 192375 w 249750"/>
              <a:gd name="connsiteY27" fmla="*/ 114750 h 270000"/>
              <a:gd name="connsiteX28" fmla="*/ 229500 w 249750"/>
              <a:gd name="connsiteY28" fmla="*/ 114750 h 270000"/>
              <a:gd name="connsiteX29" fmla="*/ 229500 w 249750"/>
              <a:gd name="connsiteY29" fmla="*/ 91125 h 270000"/>
              <a:gd name="connsiteX30" fmla="*/ 141750 w 249750"/>
              <a:gd name="connsiteY30" fmla="*/ 91125 h 270000"/>
              <a:gd name="connsiteX31" fmla="*/ 141750 w 249750"/>
              <a:gd name="connsiteY31" fmla="*/ 114750 h 270000"/>
              <a:gd name="connsiteX32" fmla="*/ 178875 w 249750"/>
              <a:gd name="connsiteY32" fmla="*/ 114750 h 270000"/>
              <a:gd name="connsiteX33" fmla="*/ 178875 w 249750"/>
              <a:gd name="connsiteY33" fmla="*/ 91125 h 270000"/>
              <a:gd name="connsiteX34" fmla="*/ 91125 w 249750"/>
              <a:gd name="connsiteY34" fmla="*/ 91125 h 270000"/>
              <a:gd name="connsiteX35" fmla="*/ 91125 w 249750"/>
              <a:gd name="connsiteY35" fmla="*/ 114750 h 270000"/>
              <a:gd name="connsiteX36" fmla="*/ 128250 w 249750"/>
              <a:gd name="connsiteY36" fmla="*/ 114750 h 270000"/>
              <a:gd name="connsiteX37" fmla="*/ 128250 w 249750"/>
              <a:gd name="connsiteY37" fmla="*/ 91125 h 270000"/>
              <a:gd name="connsiteX38" fmla="*/ 40500 w 249750"/>
              <a:gd name="connsiteY38" fmla="*/ 91125 h 270000"/>
              <a:gd name="connsiteX39" fmla="*/ 40500 w 249750"/>
              <a:gd name="connsiteY39" fmla="*/ 114750 h 270000"/>
              <a:gd name="connsiteX40" fmla="*/ 77625 w 249750"/>
              <a:gd name="connsiteY40" fmla="*/ 114750 h 270000"/>
              <a:gd name="connsiteX41" fmla="*/ 77625 w 249750"/>
              <a:gd name="connsiteY41" fmla="*/ 91125 h 270000"/>
              <a:gd name="connsiteX42" fmla="*/ 192375 w 249750"/>
              <a:gd name="connsiteY42" fmla="*/ 54000 h 270000"/>
              <a:gd name="connsiteX43" fmla="*/ 192375 w 249750"/>
              <a:gd name="connsiteY43" fmla="*/ 77625 h 270000"/>
              <a:gd name="connsiteX44" fmla="*/ 229500 w 249750"/>
              <a:gd name="connsiteY44" fmla="*/ 77625 h 270000"/>
              <a:gd name="connsiteX45" fmla="*/ 229500 w 249750"/>
              <a:gd name="connsiteY45" fmla="*/ 54000 h 270000"/>
              <a:gd name="connsiteX46" fmla="*/ 141750 w 249750"/>
              <a:gd name="connsiteY46" fmla="*/ 54000 h 270000"/>
              <a:gd name="connsiteX47" fmla="*/ 141750 w 249750"/>
              <a:gd name="connsiteY47" fmla="*/ 77625 h 270000"/>
              <a:gd name="connsiteX48" fmla="*/ 178875 w 249750"/>
              <a:gd name="connsiteY48" fmla="*/ 77625 h 270000"/>
              <a:gd name="connsiteX49" fmla="*/ 178875 w 249750"/>
              <a:gd name="connsiteY49" fmla="*/ 54000 h 270000"/>
              <a:gd name="connsiteX50" fmla="*/ 91125 w 249750"/>
              <a:gd name="connsiteY50" fmla="*/ 54000 h 270000"/>
              <a:gd name="connsiteX51" fmla="*/ 91125 w 249750"/>
              <a:gd name="connsiteY51" fmla="*/ 77625 h 270000"/>
              <a:gd name="connsiteX52" fmla="*/ 128250 w 249750"/>
              <a:gd name="connsiteY52" fmla="*/ 77625 h 270000"/>
              <a:gd name="connsiteX53" fmla="*/ 128250 w 249750"/>
              <a:gd name="connsiteY53" fmla="*/ 54000 h 270000"/>
              <a:gd name="connsiteX54" fmla="*/ 40500 w 249750"/>
              <a:gd name="connsiteY54" fmla="*/ 54000 h 270000"/>
              <a:gd name="connsiteX55" fmla="*/ 40500 w 249750"/>
              <a:gd name="connsiteY55" fmla="*/ 77625 h 270000"/>
              <a:gd name="connsiteX56" fmla="*/ 77625 w 249750"/>
              <a:gd name="connsiteY56" fmla="*/ 77625 h 270000"/>
              <a:gd name="connsiteX57" fmla="*/ 77625 w 249750"/>
              <a:gd name="connsiteY57" fmla="*/ 54000 h 270000"/>
              <a:gd name="connsiteX58" fmla="*/ 10125 w 249750"/>
              <a:gd name="connsiteY58" fmla="*/ 0 h 270000"/>
              <a:gd name="connsiteX59" fmla="*/ 40500 w 249750"/>
              <a:gd name="connsiteY59" fmla="*/ 30375 h 270000"/>
              <a:gd name="connsiteX60" fmla="*/ 40500 w 249750"/>
              <a:gd name="connsiteY60" fmla="*/ 33750 h 270000"/>
              <a:gd name="connsiteX61" fmla="*/ 249750 w 249750"/>
              <a:gd name="connsiteY61" fmla="*/ 33750 h 270000"/>
              <a:gd name="connsiteX62" fmla="*/ 249750 w 249750"/>
              <a:gd name="connsiteY62" fmla="*/ 162000 h 270000"/>
              <a:gd name="connsiteX63" fmla="*/ 40500 w 249750"/>
              <a:gd name="connsiteY63" fmla="*/ 180563 h 270000"/>
              <a:gd name="connsiteX64" fmla="*/ 40500 w 249750"/>
              <a:gd name="connsiteY64" fmla="*/ 199125 h 270000"/>
              <a:gd name="connsiteX65" fmla="*/ 50625 w 249750"/>
              <a:gd name="connsiteY65" fmla="*/ 209250 h 270000"/>
              <a:gd name="connsiteX66" fmla="*/ 239625 w 249750"/>
              <a:gd name="connsiteY66" fmla="*/ 209250 h 270000"/>
              <a:gd name="connsiteX67" fmla="*/ 249750 w 249750"/>
              <a:gd name="connsiteY67" fmla="*/ 219375 h 270000"/>
              <a:gd name="connsiteX68" fmla="*/ 239625 w 249750"/>
              <a:gd name="connsiteY68" fmla="*/ 229500 h 270000"/>
              <a:gd name="connsiteX69" fmla="*/ 209250 w 249750"/>
              <a:gd name="connsiteY69" fmla="*/ 229500 h 270000"/>
              <a:gd name="connsiteX70" fmla="*/ 60750 w 249750"/>
              <a:gd name="connsiteY70" fmla="*/ 229500 h 270000"/>
              <a:gd name="connsiteX71" fmla="*/ 50625 w 249750"/>
              <a:gd name="connsiteY71" fmla="*/ 229500 h 270000"/>
              <a:gd name="connsiteX72" fmla="*/ 20250 w 249750"/>
              <a:gd name="connsiteY72" fmla="*/ 199125 h 270000"/>
              <a:gd name="connsiteX73" fmla="*/ 20250 w 249750"/>
              <a:gd name="connsiteY73" fmla="*/ 30375 h 270000"/>
              <a:gd name="connsiteX74" fmla="*/ 10125 w 249750"/>
              <a:gd name="connsiteY74" fmla="*/ 20250 h 270000"/>
              <a:gd name="connsiteX75" fmla="*/ 0 w 249750"/>
              <a:gd name="connsiteY75" fmla="*/ 10125 h 270000"/>
              <a:gd name="connsiteX76" fmla="*/ 10125 w 249750"/>
              <a:gd name="connsiteY76" fmla="*/ 0 h 2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249750" h="270000">
                <a:moveTo>
                  <a:pt x="209250" y="229500"/>
                </a:moveTo>
                <a:cubicBezTo>
                  <a:pt x="220434" y="229500"/>
                  <a:pt x="229500" y="238566"/>
                  <a:pt x="229500" y="249750"/>
                </a:cubicBezTo>
                <a:cubicBezTo>
                  <a:pt x="229500" y="260934"/>
                  <a:pt x="220434" y="270000"/>
                  <a:pt x="209250" y="270000"/>
                </a:cubicBezTo>
                <a:cubicBezTo>
                  <a:pt x="198066" y="270000"/>
                  <a:pt x="189000" y="260934"/>
                  <a:pt x="189000" y="249750"/>
                </a:cubicBezTo>
                <a:cubicBezTo>
                  <a:pt x="189000" y="238566"/>
                  <a:pt x="198066" y="229500"/>
                  <a:pt x="209250" y="229500"/>
                </a:cubicBezTo>
                <a:close/>
                <a:moveTo>
                  <a:pt x="60750" y="229500"/>
                </a:moveTo>
                <a:cubicBezTo>
                  <a:pt x="71934" y="229500"/>
                  <a:pt x="81000" y="238566"/>
                  <a:pt x="81000" y="249750"/>
                </a:cubicBezTo>
                <a:cubicBezTo>
                  <a:pt x="81000" y="260934"/>
                  <a:pt x="71934" y="270000"/>
                  <a:pt x="60750" y="270000"/>
                </a:cubicBezTo>
                <a:cubicBezTo>
                  <a:pt x="49566" y="270000"/>
                  <a:pt x="40500" y="260934"/>
                  <a:pt x="40500" y="249750"/>
                </a:cubicBezTo>
                <a:cubicBezTo>
                  <a:pt x="40500" y="238566"/>
                  <a:pt x="49566" y="229500"/>
                  <a:pt x="60750" y="229500"/>
                </a:cubicBezTo>
                <a:close/>
                <a:moveTo>
                  <a:pt x="192375" y="128250"/>
                </a:moveTo>
                <a:lnTo>
                  <a:pt x="192375" y="146813"/>
                </a:lnTo>
                <a:lnTo>
                  <a:pt x="229500" y="143438"/>
                </a:lnTo>
                <a:lnTo>
                  <a:pt x="229500" y="128250"/>
                </a:lnTo>
                <a:close/>
                <a:moveTo>
                  <a:pt x="141750" y="128250"/>
                </a:moveTo>
                <a:lnTo>
                  <a:pt x="141750" y="151200"/>
                </a:lnTo>
                <a:lnTo>
                  <a:pt x="178875" y="147825"/>
                </a:lnTo>
                <a:lnTo>
                  <a:pt x="178875" y="128250"/>
                </a:lnTo>
                <a:close/>
                <a:moveTo>
                  <a:pt x="91125" y="128250"/>
                </a:moveTo>
                <a:lnTo>
                  <a:pt x="91125" y="155925"/>
                </a:lnTo>
                <a:lnTo>
                  <a:pt x="128250" y="152550"/>
                </a:lnTo>
                <a:lnTo>
                  <a:pt x="128250" y="128250"/>
                </a:lnTo>
                <a:close/>
                <a:moveTo>
                  <a:pt x="40500" y="128250"/>
                </a:moveTo>
                <a:lnTo>
                  <a:pt x="40500" y="160313"/>
                </a:lnTo>
                <a:lnTo>
                  <a:pt x="77625" y="156938"/>
                </a:lnTo>
                <a:lnTo>
                  <a:pt x="77625" y="128250"/>
                </a:lnTo>
                <a:close/>
                <a:moveTo>
                  <a:pt x="192375" y="91125"/>
                </a:moveTo>
                <a:lnTo>
                  <a:pt x="192375" y="114750"/>
                </a:lnTo>
                <a:lnTo>
                  <a:pt x="229500" y="114750"/>
                </a:lnTo>
                <a:lnTo>
                  <a:pt x="229500" y="91125"/>
                </a:lnTo>
                <a:close/>
                <a:moveTo>
                  <a:pt x="141750" y="91125"/>
                </a:moveTo>
                <a:lnTo>
                  <a:pt x="141750" y="114750"/>
                </a:lnTo>
                <a:lnTo>
                  <a:pt x="178875" y="114750"/>
                </a:lnTo>
                <a:lnTo>
                  <a:pt x="178875" y="91125"/>
                </a:lnTo>
                <a:close/>
                <a:moveTo>
                  <a:pt x="91125" y="91125"/>
                </a:moveTo>
                <a:lnTo>
                  <a:pt x="91125" y="114750"/>
                </a:lnTo>
                <a:lnTo>
                  <a:pt x="128250" y="114750"/>
                </a:lnTo>
                <a:lnTo>
                  <a:pt x="128250" y="91125"/>
                </a:lnTo>
                <a:close/>
                <a:moveTo>
                  <a:pt x="40500" y="91125"/>
                </a:moveTo>
                <a:lnTo>
                  <a:pt x="40500" y="114750"/>
                </a:lnTo>
                <a:lnTo>
                  <a:pt x="77625" y="114750"/>
                </a:lnTo>
                <a:lnTo>
                  <a:pt x="77625" y="91125"/>
                </a:lnTo>
                <a:close/>
                <a:moveTo>
                  <a:pt x="192375" y="54000"/>
                </a:moveTo>
                <a:lnTo>
                  <a:pt x="192375" y="77625"/>
                </a:lnTo>
                <a:lnTo>
                  <a:pt x="229500" y="77625"/>
                </a:lnTo>
                <a:lnTo>
                  <a:pt x="229500" y="54000"/>
                </a:lnTo>
                <a:close/>
                <a:moveTo>
                  <a:pt x="141750" y="54000"/>
                </a:moveTo>
                <a:lnTo>
                  <a:pt x="141750" y="77625"/>
                </a:lnTo>
                <a:lnTo>
                  <a:pt x="178875" y="77625"/>
                </a:lnTo>
                <a:lnTo>
                  <a:pt x="178875" y="54000"/>
                </a:lnTo>
                <a:close/>
                <a:moveTo>
                  <a:pt x="91125" y="54000"/>
                </a:moveTo>
                <a:lnTo>
                  <a:pt x="91125" y="77625"/>
                </a:lnTo>
                <a:lnTo>
                  <a:pt x="128250" y="77625"/>
                </a:lnTo>
                <a:lnTo>
                  <a:pt x="128250" y="54000"/>
                </a:lnTo>
                <a:close/>
                <a:moveTo>
                  <a:pt x="40500" y="54000"/>
                </a:moveTo>
                <a:lnTo>
                  <a:pt x="40500" y="77625"/>
                </a:lnTo>
                <a:lnTo>
                  <a:pt x="77625" y="77625"/>
                </a:lnTo>
                <a:lnTo>
                  <a:pt x="77625" y="54000"/>
                </a:lnTo>
                <a:close/>
                <a:moveTo>
                  <a:pt x="10125" y="0"/>
                </a:moveTo>
                <a:cubicBezTo>
                  <a:pt x="27000" y="0"/>
                  <a:pt x="40500" y="13500"/>
                  <a:pt x="40500" y="30375"/>
                </a:cubicBezTo>
                <a:lnTo>
                  <a:pt x="40500" y="33750"/>
                </a:lnTo>
                <a:lnTo>
                  <a:pt x="249750" y="33750"/>
                </a:lnTo>
                <a:lnTo>
                  <a:pt x="249750" y="162000"/>
                </a:lnTo>
                <a:lnTo>
                  <a:pt x="40500" y="180563"/>
                </a:lnTo>
                <a:lnTo>
                  <a:pt x="40500" y="199125"/>
                </a:lnTo>
                <a:cubicBezTo>
                  <a:pt x="40500" y="204862"/>
                  <a:pt x="44887" y="209250"/>
                  <a:pt x="50625" y="209250"/>
                </a:cubicBezTo>
                <a:lnTo>
                  <a:pt x="239625" y="209250"/>
                </a:lnTo>
                <a:cubicBezTo>
                  <a:pt x="245362" y="209250"/>
                  <a:pt x="249750" y="213638"/>
                  <a:pt x="249750" y="219375"/>
                </a:cubicBezTo>
                <a:cubicBezTo>
                  <a:pt x="249750" y="225112"/>
                  <a:pt x="245362" y="229500"/>
                  <a:pt x="239625" y="229500"/>
                </a:cubicBezTo>
                <a:lnTo>
                  <a:pt x="209250" y="229500"/>
                </a:lnTo>
                <a:lnTo>
                  <a:pt x="60750" y="229500"/>
                </a:lnTo>
                <a:lnTo>
                  <a:pt x="50625" y="229500"/>
                </a:lnTo>
                <a:cubicBezTo>
                  <a:pt x="33750" y="229500"/>
                  <a:pt x="20250" y="216000"/>
                  <a:pt x="20250" y="199125"/>
                </a:cubicBezTo>
                <a:lnTo>
                  <a:pt x="20250" y="30375"/>
                </a:lnTo>
                <a:cubicBezTo>
                  <a:pt x="20250" y="24638"/>
                  <a:pt x="15862" y="20250"/>
                  <a:pt x="10125" y="20250"/>
                </a:cubicBezTo>
                <a:cubicBezTo>
                  <a:pt x="4388" y="20250"/>
                  <a:pt x="0" y="15862"/>
                  <a:pt x="0" y="10125"/>
                </a:cubicBezTo>
                <a:cubicBezTo>
                  <a:pt x="0" y="4388"/>
                  <a:pt x="4388" y="0"/>
                  <a:pt x="10125" y="0"/>
                </a:cubicBezTo>
                <a:close/>
              </a:path>
            </a:pathLst>
          </a:custGeom>
          <a:solidFill>
            <a:schemeClr val="tx2">
              <a:lumMod val="25000"/>
              <a:lumOff val="75000"/>
            </a:schemeClr>
          </a:solidFill>
          <a:ln w="3373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grpSp>
        <p:nvGrpSpPr>
          <p:cNvPr id="19" name="Gráfico 7" descr="Cultivos contorno">
            <a:extLst>
              <a:ext uri="{FF2B5EF4-FFF2-40B4-BE49-F238E27FC236}">
                <a16:creationId xmlns:a16="http://schemas.microsoft.com/office/drawing/2014/main" id="{54A6C76F-1EDE-071A-DB53-658514CB98B1}"/>
              </a:ext>
            </a:extLst>
          </p:cNvPr>
          <p:cNvGrpSpPr/>
          <p:nvPr/>
        </p:nvGrpSpPr>
        <p:grpSpPr>
          <a:xfrm>
            <a:off x="557854" y="1187684"/>
            <a:ext cx="243444" cy="203609"/>
            <a:chOff x="742116" y="1023995"/>
            <a:chExt cx="290250" cy="242753"/>
          </a:xfrm>
          <a:solidFill>
            <a:schemeClr val="tx2">
              <a:lumMod val="25000"/>
              <a:lumOff val="75000"/>
            </a:schemeClr>
          </a:solidFill>
        </p:grpSpPr>
        <p:sp>
          <p:nvSpPr>
            <p:cNvPr id="20" name="Forma libre 19">
              <a:extLst>
                <a:ext uri="{FF2B5EF4-FFF2-40B4-BE49-F238E27FC236}">
                  <a16:creationId xmlns:a16="http://schemas.microsoft.com/office/drawing/2014/main" id="{87AB96D0-D592-4517-E756-2CBCCECFAA01}"/>
                </a:ext>
              </a:extLst>
            </p:cNvPr>
            <p:cNvSpPr/>
            <p:nvPr/>
          </p:nvSpPr>
          <p:spPr>
            <a:xfrm>
              <a:off x="742116" y="1246630"/>
              <a:ext cx="290250" cy="20118"/>
            </a:xfrm>
            <a:custGeom>
              <a:avLst/>
              <a:gdLst>
                <a:gd name="connsiteX0" fmla="*/ 290250 w 290250"/>
                <a:gd name="connsiteY0" fmla="*/ 13139 h 20118"/>
                <a:gd name="connsiteX1" fmla="*/ 145280 w 290250"/>
                <a:gd name="connsiteY1" fmla="*/ 0 h 20118"/>
                <a:gd name="connsiteX2" fmla="*/ 0 w 290250"/>
                <a:gd name="connsiteY2" fmla="*/ 13210 h 20118"/>
                <a:gd name="connsiteX3" fmla="*/ 0 w 290250"/>
                <a:gd name="connsiteY3" fmla="*/ 20118 h 20118"/>
                <a:gd name="connsiteX4" fmla="*/ 736 w 290250"/>
                <a:gd name="connsiteY4" fmla="*/ 19956 h 20118"/>
                <a:gd name="connsiteX5" fmla="*/ 145280 w 290250"/>
                <a:gd name="connsiteY5" fmla="*/ 6750 h 20118"/>
                <a:gd name="connsiteX6" fmla="*/ 289521 w 290250"/>
                <a:gd name="connsiteY6" fmla="*/ 19885 h 20118"/>
                <a:gd name="connsiteX7" fmla="*/ 290250 w 290250"/>
                <a:gd name="connsiteY7" fmla="*/ 20047 h 20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250" h="20118">
                  <a:moveTo>
                    <a:pt x="290250" y="13139"/>
                  </a:moveTo>
                  <a:cubicBezTo>
                    <a:pt x="271627" y="9065"/>
                    <a:pt x="221599" y="0"/>
                    <a:pt x="145280" y="0"/>
                  </a:cubicBezTo>
                  <a:cubicBezTo>
                    <a:pt x="68637" y="0"/>
                    <a:pt x="18610" y="9112"/>
                    <a:pt x="0" y="13210"/>
                  </a:cubicBezTo>
                  <a:lnTo>
                    <a:pt x="0" y="20118"/>
                  </a:lnTo>
                  <a:lnTo>
                    <a:pt x="736" y="19956"/>
                  </a:lnTo>
                  <a:cubicBezTo>
                    <a:pt x="18563" y="15977"/>
                    <a:pt x="68364" y="6750"/>
                    <a:pt x="145280" y="6750"/>
                  </a:cubicBezTo>
                  <a:cubicBezTo>
                    <a:pt x="221866" y="6750"/>
                    <a:pt x="271667" y="15937"/>
                    <a:pt x="289521" y="19885"/>
                  </a:cubicBezTo>
                  <a:lnTo>
                    <a:pt x="290250" y="20047"/>
                  </a:lnTo>
                  <a:close/>
                </a:path>
              </a:pathLst>
            </a:custGeom>
            <a:grpFill/>
            <a:ln w="33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  <p:sp>
          <p:nvSpPr>
            <p:cNvPr id="21" name="Forma libre 20">
              <a:extLst>
                <a:ext uri="{FF2B5EF4-FFF2-40B4-BE49-F238E27FC236}">
                  <a16:creationId xmlns:a16="http://schemas.microsoft.com/office/drawing/2014/main" id="{051D0BCF-E585-A65B-84D0-2B54C35581D1}"/>
                </a:ext>
              </a:extLst>
            </p:cNvPr>
            <p:cNvSpPr/>
            <p:nvPr/>
          </p:nvSpPr>
          <p:spPr>
            <a:xfrm>
              <a:off x="742116" y="1023995"/>
              <a:ext cx="290250" cy="209003"/>
            </a:xfrm>
            <a:custGeom>
              <a:avLst/>
              <a:gdLst>
                <a:gd name="connsiteX0" fmla="*/ 290250 w 290250"/>
                <a:gd name="connsiteY0" fmla="*/ 202024 h 209003"/>
                <a:gd name="connsiteX1" fmla="*/ 254813 w 290250"/>
                <a:gd name="connsiteY1" fmla="*/ 195878 h 209003"/>
                <a:gd name="connsiteX2" fmla="*/ 254813 w 290250"/>
                <a:gd name="connsiteY2" fmla="*/ 161909 h 209003"/>
                <a:gd name="connsiteX3" fmla="*/ 272322 w 290250"/>
                <a:gd name="connsiteY3" fmla="*/ 154504 h 209003"/>
                <a:gd name="connsiteX4" fmla="*/ 272322 w 290250"/>
                <a:gd name="connsiteY4" fmla="*/ 154504 h 209003"/>
                <a:gd name="connsiteX5" fmla="*/ 278360 w 290250"/>
                <a:gd name="connsiteY5" fmla="*/ 131554 h 209003"/>
                <a:gd name="connsiteX6" fmla="*/ 278147 w 290250"/>
                <a:gd name="connsiteY6" fmla="*/ 128908 h 209003"/>
                <a:gd name="connsiteX7" fmla="*/ 275525 w 290250"/>
                <a:gd name="connsiteY7" fmla="*/ 128490 h 209003"/>
                <a:gd name="connsiteX8" fmla="*/ 274175 w 290250"/>
                <a:gd name="connsiteY8" fmla="*/ 128341 h 209003"/>
                <a:gd name="connsiteX9" fmla="*/ 278373 w 290250"/>
                <a:gd name="connsiteY9" fmla="*/ 107929 h 209003"/>
                <a:gd name="connsiteX10" fmla="*/ 278161 w 290250"/>
                <a:gd name="connsiteY10" fmla="*/ 105283 h 209003"/>
                <a:gd name="connsiteX11" fmla="*/ 275538 w 290250"/>
                <a:gd name="connsiteY11" fmla="*/ 104865 h 209003"/>
                <a:gd name="connsiteX12" fmla="*/ 274188 w 290250"/>
                <a:gd name="connsiteY12" fmla="*/ 104716 h 209003"/>
                <a:gd name="connsiteX13" fmla="*/ 278387 w 290250"/>
                <a:gd name="connsiteY13" fmla="*/ 84304 h 209003"/>
                <a:gd name="connsiteX14" fmla="*/ 278174 w 290250"/>
                <a:gd name="connsiteY14" fmla="*/ 81658 h 209003"/>
                <a:gd name="connsiteX15" fmla="*/ 275552 w 290250"/>
                <a:gd name="connsiteY15" fmla="*/ 81240 h 209003"/>
                <a:gd name="connsiteX16" fmla="*/ 274202 w 290250"/>
                <a:gd name="connsiteY16" fmla="*/ 81091 h 209003"/>
                <a:gd name="connsiteX17" fmla="*/ 278431 w 290250"/>
                <a:gd name="connsiteY17" fmla="*/ 61179 h 209003"/>
                <a:gd name="connsiteX18" fmla="*/ 278478 w 290250"/>
                <a:gd name="connsiteY18" fmla="*/ 60936 h 209003"/>
                <a:gd name="connsiteX19" fmla="*/ 278478 w 290250"/>
                <a:gd name="connsiteY19" fmla="*/ 33750 h 209003"/>
                <a:gd name="connsiteX20" fmla="*/ 275103 w 290250"/>
                <a:gd name="connsiteY20" fmla="*/ 30375 h 209003"/>
                <a:gd name="connsiteX21" fmla="*/ 271728 w 290250"/>
                <a:gd name="connsiteY21" fmla="*/ 33750 h 209003"/>
                <a:gd name="connsiteX22" fmla="*/ 271728 w 290250"/>
                <a:gd name="connsiteY22" fmla="*/ 57375 h 209003"/>
                <a:gd name="connsiteX23" fmla="*/ 264003 w 290250"/>
                <a:gd name="connsiteY23" fmla="*/ 58482 h 209003"/>
                <a:gd name="connsiteX24" fmla="*/ 264978 w 290250"/>
                <a:gd name="connsiteY24" fmla="*/ 53082 h 209003"/>
                <a:gd name="connsiteX25" fmla="*/ 254853 w 290250"/>
                <a:gd name="connsiteY25" fmla="*/ 32336 h 209003"/>
                <a:gd name="connsiteX26" fmla="*/ 254853 w 290250"/>
                <a:gd name="connsiteY26" fmla="*/ 10125 h 209003"/>
                <a:gd name="connsiteX27" fmla="*/ 251478 w 290250"/>
                <a:gd name="connsiteY27" fmla="*/ 6750 h 209003"/>
                <a:gd name="connsiteX28" fmla="*/ 248103 w 290250"/>
                <a:gd name="connsiteY28" fmla="*/ 10125 h 209003"/>
                <a:gd name="connsiteX29" fmla="*/ 248103 w 290250"/>
                <a:gd name="connsiteY29" fmla="*/ 32356 h 209003"/>
                <a:gd name="connsiteX30" fmla="*/ 237978 w 290250"/>
                <a:gd name="connsiteY30" fmla="*/ 53332 h 209003"/>
                <a:gd name="connsiteX31" fmla="*/ 238822 w 290250"/>
                <a:gd name="connsiteY31" fmla="*/ 58452 h 209003"/>
                <a:gd name="connsiteX32" fmla="*/ 231258 w 290250"/>
                <a:gd name="connsiteY32" fmla="*/ 57375 h 209003"/>
                <a:gd name="connsiteX33" fmla="*/ 231258 w 290250"/>
                <a:gd name="connsiteY33" fmla="*/ 33750 h 209003"/>
                <a:gd name="connsiteX34" fmla="*/ 227883 w 290250"/>
                <a:gd name="connsiteY34" fmla="*/ 30375 h 209003"/>
                <a:gd name="connsiteX35" fmla="*/ 224508 w 290250"/>
                <a:gd name="connsiteY35" fmla="*/ 33750 h 209003"/>
                <a:gd name="connsiteX36" fmla="*/ 224508 w 290250"/>
                <a:gd name="connsiteY36" fmla="*/ 60845 h 209003"/>
                <a:gd name="connsiteX37" fmla="*/ 228717 w 290250"/>
                <a:gd name="connsiteY37" fmla="*/ 81095 h 209003"/>
                <a:gd name="connsiteX38" fmla="*/ 227367 w 290250"/>
                <a:gd name="connsiteY38" fmla="*/ 81243 h 209003"/>
                <a:gd name="connsiteX39" fmla="*/ 224745 w 290250"/>
                <a:gd name="connsiteY39" fmla="*/ 81662 h 209003"/>
                <a:gd name="connsiteX40" fmla="*/ 224532 w 290250"/>
                <a:gd name="connsiteY40" fmla="*/ 84308 h 209003"/>
                <a:gd name="connsiteX41" fmla="*/ 228731 w 290250"/>
                <a:gd name="connsiteY41" fmla="*/ 104720 h 209003"/>
                <a:gd name="connsiteX42" fmla="*/ 227381 w 290250"/>
                <a:gd name="connsiteY42" fmla="*/ 104868 h 209003"/>
                <a:gd name="connsiteX43" fmla="*/ 224758 w 290250"/>
                <a:gd name="connsiteY43" fmla="*/ 105287 h 209003"/>
                <a:gd name="connsiteX44" fmla="*/ 224545 w 290250"/>
                <a:gd name="connsiteY44" fmla="*/ 107933 h 209003"/>
                <a:gd name="connsiteX45" fmla="*/ 228744 w 290250"/>
                <a:gd name="connsiteY45" fmla="*/ 128345 h 209003"/>
                <a:gd name="connsiteX46" fmla="*/ 227394 w 290250"/>
                <a:gd name="connsiteY46" fmla="*/ 128493 h 209003"/>
                <a:gd name="connsiteX47" fmla="*/ 224772 w 290250"/>
                <a:gd name="connsiteY47" fmla="*/ 128912 h 209003"/>
                <a:gd name="connsiteX48" fmla="*/ 224559 w 290250"/>
                <a:gd name="connsiteY48" fmla="*/ 131558 h 209003"/>
                <a:gd name="connsiteX49" fmla="*/ 230593 w 290250"/>
                <a:gd name="connsiteY49" fmla="*/ 154508 h 209003"/>
                <a:gd name="connsiteX50" fmla="*/ 230593 w 290250"/>
                <a:gd name="connsiteY50" fmla="*/ 154508 h 209003"/>
                <a:gd name="connsiteX51" fmla="*/ 248063 w 290250"/>
                <a:gd name="connsiteY51" fmla="*/ 161909 h 209003"/>
                <a:gd name="connsiteX52" fmla="*/ 248063 w 290250"/>
                <a:gd name="connsiteY52" fmla="*/ 194984 h 209003"/>
                <a:gd name="connsiteX53" fmla="*/ 183938 w 290250"/>
                <a:gd name="connsiteY53" fmla="*/ 189705 h 209003"/>
                <a:gd name="connsiteX54" fmla="*/ 183938 w 290250"/>
                <a:gd name="connsiteY54" fmla="*/ 155159 h 209003"/>
                <a:gd name="connsiteX55" fmla="*/ 201447 w 290250"/>
                <a:gd name="connsiteY55" fmla="*/ 147754 h 209003"/>
                <a:gd name="connsiteX56" fmla="*/ 201447 w 290250"/>
                <a:gd name="connsiteY56" fmla="*/ 147754 h 209003"/>
                <a:gd name="connsiteX57" fmla="*/ 207485 w 290250"/>
                <a:gd name="connsiteY57" fmla="*/ 124804 h 209003"/>
                <a:gd name="connsiteX58" fmla="*/ 207272 w 290250"/>
                <a:gd name="connsiteY58" fmla="*/ 122158 h 209003"/>
                <a:gd name="connsiteX59" fmla="*/ 204650 w 290250"/>
                <a:gd name="connsiteY59" fmla="*/ 121740 h 209003"/>
                <a:gd name="connsiteX60" fmla="*/ 203300 w 290250"/>
                <a:gd name="connsiteY60" fmla="*/ 121591 h 209003"/>
                <a:gd name="connsiteX61" fmla="*/ 207498 w 290250"/>
                <a:gd name="connsiteY61" fmla="*/ 101179 h 209003"/>
                <a:gd name="connsiteX62" fmla="*/ 207286 w 290250"/>
                <a:gd name="connsiteY62" fmla="*/ 98533 h 209003"/>
                <a:gd name="connsiteX63" fmla="*/ 204663 w 290250"/>
                <a:gd name="connsiteY63" fmla="*/ 98115 h 209003"/>
                <a:gd name="connsiteX64" fmla="*/ 203313 w 290250"/>
                <a:gd name="connsiteY64" fmla="*/ 97966 h 209003"/>
                <a:gd name="connsiteX65" fmla="*/ 207512 w 290250"/>
                <a:gd name="connsiteY65" fmla="*/ 77554 h 209003"/>
                <a:gd name="connsiteX66" fmla="*/ 207299 w 290250"/>
                <a:gd name="connsiteY66" fmla="*/ 74908 h 209003"/>
                <a:gd name="connsiteX67" fmla="*/ 204677 w 290250"/>
                <a:gd name="connsiteY67" fmla="*/ 74490 h 209003"/>
                <a:gd name="connsiteX68" fmla="*/ 203327 w 290250"/>
                <a:gd name="connsiteY68" fmla="*/ 74341 h 209003"/>
                <a:gd name="connsiteX69" fmla="*/ 207556 w 290250"/>
                <a:gd name="connsiteY69" fmla="*/ 54429 h 209003"/>
                <a:gd name="connsiteX70" fmla="*/ 207603 w 290250"/>
                <a:gd name="connsiteY70" fmla="*/ 54186 h 209003"/>
                <a:gd name="connsiteX71" fmla="*/ 207603 w 290250"/>
                <a:gd name="connsiteY71" fmla="*/ 27000 h 209003"/>
                <a:gd name="connsiteX72" fmla="*/ 204228 w 290250"/>
                <a:gd name="connsiteY72" fmla="*/ 23625 h 209003"/>
                <a:gd name="connsiteX73" fmla="*/ 200853 w 290250"/>
                <a:gd name="connsiteY73" fmla="*/ 27000 h 209003"/>
                <a:gd name="connsiteX74" fmla="*/ 200853 w 290250"/>
                <a:gd name="connsiteY74" fmla="*/ 50625 h 209003"/>
                <a:gd name="connsiteX75" fmla="*/ 193128 w 290250"/>
                <a:gd name="connsiteY75" fmla="*/ 51732 h 209003"/>
                <a:gd name="connsiteX76" fmla="*/ 194103 w 290250"/>
                <a:gd name="connsiteY76" fmla="*/ 46332 h 209003"/>
                <a:gd name="connsiteX77" fmla="*/ 183978 w 290250"/>
                <a:gd name="connsiteY77" fmla="*/ 25586 h 209003"/>
                <a:gd name="connsiteX78" fmla="*/ 183978 w 290250"/>
                <a:gd name="connsiteY78" fmla="*/ 3375 h 209003"/>
                <a:gd name="connsiteX79" fmla="*/ 180603 w 290250"/>
                <a:gd name="connsiteY79" fmla="*/ 0 h 209003"/>
                <a:gd name="connsiteX80" fmla="*/ 177228 w 290250"/>
                <a:gd name="connsiteY80" fmla="*/ 3375 h 209003"/>
                <a:gd name="connsiteX81" fmla="*/ 177228 w 290250"/>
                <a:gd name="connsiteY81" fmla="*/ 25606 h 209003"/>
                <a:gd name="connsiteX82" fmla="*/ 167103 w 290250"/>
                <a:gd name="connsiteY82" fmla="*/ 46582 h 209003"/>
                <a:gd name="connsiteX83" fmla="*/ 167947 w 290250"/>
                <a:gd name="connsiteY83" fmla="*/ 51702 h 209003"/>
                <a:gd name="connsiteX84" fmla="*/ 160383 w 290250"/>
                <a:gd name="connsiteY84" fmla="*/ 50625 h 209003"/>
                <a:gd name="connsiteX85" fmla="*/ 160383 w 290250"/>
                <a:gd name="connsiteY85" fmla="*/ 27000 h 209003"/>
                <a:gd name="connsiteX86" fmla="*/ 157008 w 290250"/>
                <a:gd name="connsiteY86" fmla="*/ 23625 h 209003"/>
                <a:gd name="connsiteX87" fmla="*/ 153633 w 290250"/>
                <a:gd name="connsiteY87" fmla="*/ 27000 h 209003"/>
                <a:gd name="connsiteX88" fmla="*/ 153633 w 290250"/>
                <a:gd name="connsiteY88" fmla="*/ 54095 h 209003"/>
                <a:gd name="connsiteX89" fmla="*/ 157842 w 290250"/>
                <a:gd name="connsiteY89" fmla="*/ 74345 h 209003"/>
                <a:gd name="connsiteX90" fmla="*/ 156492 w 290250"/>
                <a:gd name="connsiteY90" fmla="*/ 74493 h 209003"/>
                <a:gd name="connsiteX91" fmla="*/ 153870 w 290250"/>
                <a:gd name="connsiteY91" fmla="*/ 74912 h 209003"/>
                <a:gd name="connsiteX92" fmla="*/ 153657 w 290250"/>
                <a:gd name="connsiteY92" fmla="*/ 77558 h 209003"/>
                <a:gd name="connsiteX93" fmla="*/ 157856 w 290250"/>
                <a:gd name="connsiteY93" fmla="*/ 97970 h 209003"/>
                <a:gd name="connsiteX94" fmla="*/ 156506 w 290250"/>
                <a:gd name="connsiteY94" fmla="*/ 98118 h 209003"/>
                <a:gd name="connsiteX95" fmla="*/ 153883 w 290250"/>
                <a:gd name="connsiteY95" fmla="*/ 98537 h 209003"/>
                <a:gd name="connsiteX96" fmla="*/ 153671 w 290250"/>
                <a:gd name="connsiteY96" fmla="*/ 101183 h 209003"/>
                <a:gd name="connsiteX97" fmla="*/ 157869 w 290250"/>
                <a:gd name="connsiteY97" fmla="*/ 121598 h 209003"/>
                <a:gd name="connsiteX98" fmla="*/ 156519 w 290250"/>
                <a:gd name="connsiteY98" fmla="*/ 121743 h 209003"/>
                <a:gd name="connsiteX99" fmla="*/ 153897 w 290250"/>
                <a:gd name="connsiteY99" fmla="*/ 122162 h 209003"/>
                <a:gd name="connsiteX100" fmla="*/ 153684 w 290250"/>
                <a:gd name="connsiteY100" fmla="*/ 124808 h 209003"/>
                <a:gd name="connsiteX101" fmla="*/ 159719 w 290250"/>
                <a:gd name="connsiteY101" fmla="*/ 147758 h 209003"/>
                <a:gd name="connsiteX102" fmla="*/ 159719 w 290250"/>
                <a:gd name="connsiteY102" fmla="*/ 147758 h 209003"/>
                <a:gd name="connsiteX103" fmla="*/ 177188 w 290250"/>
                <a:gd name="connsiteY103" fmla="*/ 155159 h 209003"/>
                <a:gd name="connsiteX104" fmla="*/ 177188 w 290250"/>
                <a:gd name="connsiteY104" fmla="*/ 189449 h 209003"/>
                <a:gd name="connsiteX105" fmla="*/ 145280 w 290250"/>
                <a:gd name="connsiteY105" fmla="*/ 188885 h 209003"/>
                <a:gd name="connsiteX106" fmla="*/ 113063 w 290250"/>
                <a:gd name="connsiteY106" fmla="*/ 189459 h 209003"/>
                <a:gd name="connsiteX107" fmla="*/ 113063 w 290250"/>
                <a:gd name="connsiteY107" fmla="*/ 155159 h 209003"/>
                <a:gd name="connsiteX108" fmla="*/ 130572 w 290250"/>
                <a:gd name="connsiteY108" fmla="*/ 147754 h 209003"/>
                <a:gd name="connsiteX109" fmla="*/ 130572 w 290250"/>
                <a:gd name="connsiteY109" fmla="*/ 147754 h 209003"/>
                <a:gd name="connsiteX110" fmla="*/ 136610 w 290250"/>
                <a:gd name="connsiteY110" fmla="*/ 124804 h 209003"/>
                <a:gd name="connsiteX111" fmla="*/ 136397 w 290250"/>
                <a:gd name="connsiteY111" fmla="*/ 122158 h 209003"/>
                <a:gd name="connsiteX112" fmla="*/ 133775 w 290250"/>
                <a:gd name="connsiteY112" fmla="*/ 121740 h 209003"/>
                <a:gd name="connsiteX113" fmla="*/ 132425 w 290250"/>
                <a:gd name="connsiteY113" fmla="*/ 121591 h 209003"/>
                <a:gd name="connsiteX114" fmla="*/ 136623 w 290250"/>
                <a:gd name="connsiteY114" fmla="*/ 101179 h 209003"/>
                <a:gd name="connsiteX115" fmla="*/ 136411 w 290250"/>
                <a:gd name="connsiteY115" fmla="*/ 98533 h 209003"/>
                <a:gd name="connsiteX116" fmla="*/ 133788 w 290250"/>
                <a:gd name="connsiteY116" fmla="*/ 98115 h 209003"/>
                <a:gd name="connsiteX117" fmla="*/ 132438 w 290250"/>
                <a:gd name="connsiteY117" fmla="*/ 97966 h 209003"/>
                <a:gd name="connsiteX118" fmla="*/ 136637 w 290250"/>
                <a:gd name="connsiteY118" fmla="*/ 77554 h 209003"/>
                <a:gd name="connsiteX119" fmla="*/ 136424 w 290250"/>
                <a:gd name="connsiteY119" fmla="*/ 74908 h 209003"/>
                <a:gd name="connsiteX120" fmla="*/ 133802 w 290250"/>
                <a:gd name="connsiteY120" fmla="*/ 74490 h 209003"/>
                <a:gd name="connsiteX121" fmla="*/ 132452 w 290250"/>
                <a:gd name="connsiteY121" fmla="*/ 74341 h 209003"/>
                <a:gd name="connsiteX122" fmla="*/ 136681 w 290250"/>
                <a:gd name="connsiteY122" fmla="*/ 54429 h 209003"/>
                <a:gd name="connsiteX123" fmla="*/ 136728 w 290250"/>
                <a:gd name="connsiteY123" fmla="*/ 54186 h 209003"/>
                <a:gd name="connsiteX124" fmla="*/ 136728 w 290250"/>
                <a:gd name="connsiteY124" fmla="*/ 27000 h 209003"/>
                <a:gd name="connsiteX125" fmla="*/ 133353 w 290250"/>
                <a:gd name="connsiteY125" fmla="*/ 23625 h 209003"/>
                <a:gd name="connsiteX126" fmla="*/ 129978 w 290250"/>
                <a:gd name="connsiteY126" fmla="*/ 27000 h 209003"/>
                <a:gd name="connsiteX127" fmla="*/ 129978 w 290250"/>
                <a:gd name="connsiteY127" fmla="*/ 50625 h 209003"/>
                <a:gd name="connsiteX128" fmla="*/ 122253 w 290250"/>
                <a:gd name="connsiteY128" fmla="*/ 51732 h 209003"/>
                <a:gd name="connsiteX129" fmla="*/ 123228 w 290250"/>
                <a:gd name="connsiteY129" fmla="*/ 46332 h 209003"/>
                <a:gd name="connsiteX130" fmla="*/ 113103 w 290250"/>
                <a:gd name="connsiteY130" fmla="*/ 25586 h 209003"/>
                <a:gd name="connsiteX131" fmla="*/ 113103 w 290250"/>
                <a:gd name="connsiteY131" fmla="*/ 3375 h 209003"/>
                <a:gd name="connsiteX132" fmla="*/ 109728 w 290250"/>
                <a:gd name="connsiteY132" fmla="*/ 0 h 209003"/>
                <a:gd name="connsiteX133" fmla="*/ 106353 w 290250"/>
                <a:gd name="connsiteY133" fmla="*/ 3375 h 209003"/>
                <a:gd name="connsiteX134" fmla="*/ 106353 w 290250"/>
                <a:gd name="connsiteY134" fmla="*/ 25606 h 209003"/>
                <a:gd name="connsiteX135" fmla="*/ 96228 w 290250"/>
                <a:gd name="connsiteY135" fmla="*/ 46582 h 209003"/>
                <a:gd name="connsiteX136" fmla="*/ 97072 w 290250"/>
                <a:gd name="connsiteY136" fmla="*/ 51702 h 209003"/>
                <a:gd name="connsiteX137" fmla="*/ 89508 w 290250"/>
                <a:gd name="connsiteY137" fmla="*/ 50625 h 209003"/>
                <a:gd name="connsiteX138" fmla="*/ 89508 w 290250"/>
                <a:gd name="connsiteY138" fmla="*/ 27000 h 209003"/>
                <a:gd name="connsiteX139" fmla="*/ 86133 w 290250"/>
                <a:gd name="connsiteY139" fmla="*/ 23625 h 209003"/>
                <a:gd name="connsiteX140" fmla="*/ 82758 w 290250"/>
                <a:gd name="connsiteY140" fmla="*/ 27000 h 209003"/>
                <a:gd name="connsiteX141" fmla="*/ 82758 w 290250"/>
                <a:gd name="connsiteY141" fmla="*/ 54095 h 209003"/>
                <a:gd name="connsiteX142" fmla="*/ 86967 w 290250"/>
                <a:gd name="connsiteY142" fmla="*/ 74345 h 209003"/>
                <a:gd name="connsiteX143" fmla="*/ 85617 w 290250"/>
                <a:gd name="connsiteY143" fmla="*/ 74493 h 209003"/>
                <a:gd name="connsiteX144" fmla="*/ 82995 w 290250"/>
                <a:gd name="connsiteY144" fmla="*/ 74912 h 209003"/>
                <a:gd name="connsiteX145" fmla="*/ 82782 w 290250"/>
                <a:gd name="connsiteY145" fmla="*/ 77558 h 209003"/>
                <a:gd name="connsiteX146" fmla="*/ 86981 w 290250"/>
                <a:gd name="connsiteY146" fmla="*/ 97970 h 209003"/>
                <a:gd name="connsiteX147" fmla="*/ 85631 w 290250"/>
                <a:gd name="connsiteY147" fmla="*/ 98118 h 209003"/>
                <a:gd name="connsiteX148" fmla="*/ 83008 w 290250"/>
                <a:gd name="connsiteY148" fmla="*/ 98537 h 209003"/>
                <a:gd name="connsiteX149" fmla="*/ 82796 w 290250"/>
                <a:gd name="connsiteY149" fmla="*/ 101183 h 209003"/>
                <a:gd name="connsiteX150" fmla="*/ 86994 w 290250"/>
                <a:gd name="connsiteY150" fmla="*/ 121598 h 209003"/>
                <a:gd name="connsiteX151" fmla="*/ 85644 w 290250"/>
                <a:gd name="connsiteY151" fmla="*/ 121743 h 209003"/>
                <a:gd name="connsiteX152" fmla="*/ 83022 w 290250"/>
                <a:gd name="connsiteY152" fmla="*/ 122162 h 209003"/>
                <a:gd name="connsiteX153" fmla="*/ 82809 w 290250"/>
                <a:gd name="connsiteY153" fmla="*/ 124808 h 209003"/>
                <a:gd name="connsiteX154" fmla="*/ 88844 w 290250"/>
                <a:gd name="connsiteY154" fmla="*/ 147758 h 209003"/>
                <a:gd name="connsiteX155" fmla="*/ 88844 w 290250"/>
                <a:gd name="connsiteY155" fmla="*/ 147758 h 209003"/>
                <a:gd name="connsiteX156" fmla="*/ 106313 w 290250"/>
                <a:gd name="connsiteY156" fmla="*/ 155159 h 209003"/>
                <a:gd name="connsiteX157" fmla="*/ 106313 w 290250"/>
                <a:gd name="connsiteY157" fmla="*/ 189709 h 209003"/>
                <a:gd name="connsiteX158" fmla="*/ 42188 w 290250"/>
                <a:gd name="connsiteY158" fmla="*/ 195011 h 209003"/>
                <a:gd name="connsiteX159" fmla="*/ 42188 w 290250"/>
                <a:gd name="connsiteY159" fmla="*/ 161909 h 209003"/>
                <a:gd name="connsiteX160" fmla="*/ 59697 w 290250"/>
                <a:gd name="connsiteY160" fmla="*/ 154504 h 209003"/>
                <a:gd name="connsiteX161" fmla="*/ 59697 w 290250"/>
                <a:gd name="connsiteY161" fmla="*/ 154504 h 209003"/>
                <a:gd name="connsiteX162" fmla="*/ 65735 w 290250"/>
                <a:gd name="connsiteY162" fmla="*/ 131554 h 209003"/>
                <a:gd name="connsiteX163" fmla="*/ 65522 w 290250"/>
                <a:gd name="connsiteY163" fmla="*/ 128908 h 209003"/>
                <a:gd name="connsiteX164" fmla="*/ 62900 w 290250"/>
                <a:gd name="connsiteY164" fmla="*/ 128490 h 209003"/>
                <a:gd name="connsiteX165" fmla="*/ 61550 w 290250"/>
                <a:gd name="connsiteY165" fmla="*/ 128341 h 209003"/>
                <a:gd name="connsiteX166" fmla="*/ 65748 w 290250"/>
                <a:gd name="connsiteY166" fmla="*/ 107929 h 209003"/>
                <a:gd name="connsiteX167" fmla="*/ 65536 w 290250"/>
                <a:gd name="connsiteY167" fmla="*/ 105283 h 209003"/>
                <a:gd name="connsiteX168" fmla="*/ 62913 w 290250"/>
                <a:gd name="connsiteY168" fmla="*/ 104865 h 209003"/>
                <a:gd name="connsiteX169" fmla="*/ 61563 w 290250"/>
                <a:gd name="connsiteY169" fmla="*/ 104716 h 209003"/>
                <a:gd name="connsiteX170" fmla="*/ 65762 w 290250"/>
                <a:gd name="connsiteY170" fmla="*/ 84304 h 209003"/>
                <a:gd name="connsiteX171" fmla="*/ 65549 w 290250"/>
                <a:gd name="connsiteY171" fmla="*/ 81658 h 209003"/>
                <a:gd name="connsiteX172" fmla="*/ 62927 w 290250"/>
                <a:gd name="connsiteY172" fmla="*/ 81240 h 209003"/>
                <a:gd name="connsiteX173" fmla="*/ 61577 w 290250"/>
                <a:gd name="connsiteY173" fmla="*/ 81091 h 209003"/>
                <a:gd name="connsiteX174" fmla="*/ 65806 w 290250"/>
                <a:gd name="connsiteY174" fmla="*/ 61179 h 209003"/>
                <a:gd name="connsiteX175" fmla="*/ 65853 w 290250"/>
                <a:gd name="connsiteY175" fmla="*/ 60936 h 209003"/>
                <a:gd name="connsiteX176" fmla="*/ 65853 w 290250"/>
                <a:gd name="connsiteY176" fmla="*/ 33750 h 209003"/>
                <a:gd name="connsiteX177" fmla="*/ 62478 w 290250"/>
                <a:gd name="connsiteY177" fmla="*/ 30375 h 209003"/>
                <a:gd name="connsiteX178" fmla="*/ 59103 w 290250"/>
                <a:gd name="connsiteY178" fmla="*/ 33750 h 209003"/>
                <a:gd name="connsiteX179" fmla="*/ 59103 w 290250"/>
                <a:gd name="connsiteY179" fmla="*/ 57375 h 209003"/>
                <a:gd name="connsiteX180" fmla="*/ 51378 w 290250"/>
                <a:gd name="connsiteY180" fmla="*/ 58482 h 209003"/>
                <a:gd name="connsiteX181" fmla="*/ 52353 w 290250"/>
                <a:gd name="connsiteY181" fmla="*/ 53082 h 209003"/>
                <a:gd name="connsiteX182" fmla="*/ 42228 w 290250"/>
                <a:gd name="connsiteY182" fmla="*/ 32336 h 209003"/>
                <a:gd name="connsiteX183" fmla="*/ 42228 w 290250"/>
                <a:gd name="connsiteY183" fmla="*/ 10125 h 209003"/>
                <a:gd name="connsiteX184" fmla="*/ 38853 w 290250"/>
                <a:gd name="connsiteY184" fmla="*/ 6750 h 209003"/>
                <a:gd name="connsiteX185" fmla="*/ 35478 w 290250"/>
                <a:gd name="connsiteY185" fmla="*/ 10125 h 209003"/>
                <a:gd name="connsiteX186" fmla="*/ 35478 w 290250"/>
                <a:gd name="connsiteY186" fmla="*/ 32356 h 209003"/>
                <a:gd name="connsiteX187" fmla="*/ 25353 w 290250"/>
                <a:gd name="connsiteY187" fmla="*/ 53332 h 209003"/>
                <a:gd name="connsiteX188" fmla="*/ 26197 w 290250"/>
                <a:gd name="connsiteY188" fmla="*/ 58452 h 209003"/>
                <a:gd name="connsiteX189" fmla="*/ 18633 w 290250"/>
                <a:gd name="connsiteY189" fmla="*/ 57375 h 209003"/>
                <a:gd name="connsiteX190" fmla="*/ 18633 w 290250"/>
                <a:gd name="connsiteY190" fmla="*/ 33750 h 209003"/>
                <a:gd name="connsiteX191" fmla="*/ 15258 w 290250"/>
                <a:gd name="connsiteY191" fmla="*/ 30375 h 209003"/>
                <a:gd name="connsiteX192" fmla="*/ 11883 w 290250"/>
                <a:gd name="connsiteY192" fmla="*/ 33750 h 209003"/>
                <a:gd name="connsiteX193" fmla="*/ 11883 w 290250"/>
                <a:gd name="connsiteY193" fmla="*/ 60845 h 209003"/>
                <a:gd name="connsiteX194" fmla="*/ 16092 w 290250"/>
                <a:gd name="connsiteY194" fmla="*/ 81095 h 209003"/>
                <a:gd name="connsiteX195" fmla="*/ 14742 w 290250"/>
                <a:gd name="connsiteY195" fmla="*/ 81243 h 209003"/>
                <a:gd name="connsiteX196" fmla="*/ 12120 w 290250"/>
                <a:gd name="connsiteY196" fmla="*/ 81662 h 209003"/>
                <a:gd name="connsiteX197" fmla="*/ 11907 w 290250"/>
                <a:gd name="connsiteY197" fmla="*/ 84308 h 209003"/>
                <a:gd name="connsiteX198" fmla="*/ 16106 w 290250"/>
                <a:gd name="connsiteY198" fmla="*/ 104720 h 209003"/>
                <a:gd name="connsiteX199" fmla="*/ 14755 w 290250"/>
                <a:gd name="connsiteY199" fmla="*/ 104868 h 209003"/>
                <a:gd name="connsiteX200" fmla="*/ 12133 w 290250"/>
                <a:gd name="connsiteY200" fmla="*/ 105287 h 209003"/>
                <a:gd name="connsiteX201" fmla="*/ 11920 w 290250"/>
                <a:gd name="connsiteY201" fmla="*/ 107933 h 209003"/>
                <a:gd name="connsiteX202" fmla="*/ 16119 w 290250"/>
                <a:gd name="connsiteY202" fmla="*/ 128345 h 209003"/>
                <a:gd name="connsiteX203" fmla="*/ 14769 w 290250"/>
                <a:gd name="connsiteY203" fmla="*/ 128493 h 209003"/>
                <a:gd name="connsiteX204" fmla="*/ 12147 w 290250"/>
                <a:gd name="connsiteY204" fmla="*/ 128912 h 209003"/>
                <a:gd name="connsiteX205" fmla="*/ 11934 w 290250"/>
                <a:gd name="connsiteY205" fmla="*/ 131558 h 209003"/>
                <a:gd name="connsiteX206" fmla="*/ 17969 w 290250"/>
                <a:gd name="connsiteY206" fmla="*/ 154508 h 209003"/>
                <a:gd name="connsiteX207" fmla="*/ 17969 w 290250"/>
                <a:gd name="connsiteY207" fmla="*/ 154508 h 209003"/>
                <a:gd name="connsiteX208" fmla="*/ 35438 w 290250"/>
                <a:gd name="connsiteY208" fmla="*/ 161909 h 209003"/>
                <a:gd name="connsiteX209" fmla="*/ 35438 w 290250"/>
                <a:gd name="connsiteY209" fmla="*/ 195915 h 209003"/>
                <a:gd name="connsiteX210" fmla="*/ 0 w 290250"/>
                <a:gd name="connsiteY210" fmla="*/ 202095 h 209003"/>
                <a:gd name="connsiteX211" fmla="*/ 0 w 290250"/>
                <a:gd name="connsiteY211" fmla="*/ 209004 h 209003"/>
                <a:gd name="connsiteX212" fmla="*/ 736 w 290250"/>
                <a:gd name="connsiteY212" fmla="*/ 208842 h 209003"/>
                <a:gd name="connsiteX213" fmla="*/ 145280 w 290250"/>
                <a:gd name="connsiteY213" fmla="*/ 195635 h 209003"/>
                <a:gd name="connsiteX214" fmla="*/ 289521 w 290250"/>
                <a:gd name="connsiteY214" fmla="*/ 208771 h 209003"/>
                <a:gd name="connsiteX215" fmla="*/ 290250 w 290250"/>
                <a:gd name="connsiteY215" fmla="*/ 208933 h 209003"/>
                <a:gd name="connsiteX216" fmla="*/ 54631 w 290250"/>
                <a:gd name="connsiteY216" fmla="*/ 150049 h 209003"/>
                <a:gd name="connsiteX217" fmla="*/ 42329 w 290250"/>
                <a:gd name="connsiteY217" fmla="*/ 155145 h 209003"/>
                <a:gd name="connsiteX218" fmla="*/ 47392 w 290250"/>
                <a:gd name="connsiteY218" fmla="*/ 139398 h 209003"/>
                <a:gd name="connsiteX219" fmla="*/ 59063 w 290250"/>
                <a:gd name="connsiteY219" fmla="*/ 135000 h 209003"/>
                <a:gd name="connsiteX220" fmla="*/ 54631 w 290250"/>
                <a:gd name="connsiteY220" fmla="*/ 150042 h 209003"/>
                <a:gd name="connsiteX221" fmla="*/ 54631 w 290250"/>
                <a:gd name="connsiteY221" fmla="*/ 126424 h 209003"/>
                <a:gd name="connsiteX222" fmla="*/ 42329 w 290250"/>
                <a:gd name="connsiteY222" fmla="*/ 131520 h 209003"/>
                <a:gd name="connsiteX223" fmla="*/ 47392 w 290250"/>
                <a:gd name="connsiteY223" fmla="*/ 115773 h 209003"/>
                <a:gd name="connsiteX224" fmla="*/ 59063 w 290250"/>
                <a:gd name="connsiteY224" fmla="*/ 111375 h 209003"/>
                <a:gd name="connsiteX225" fmla="*/ 54631 w 290250"/>
                <a:gd name="connsiteY225" fmla="*/ 126417 h 209003"/>
                <a:gd name="connsiteX226" fmla="*/ 54631 w 290250"/>
                <a:gd name="connsiteY226" fmla="*/ 102799 h 209003"/>
                <a:gd name="connsiteX227" fmla="*/ 42329 w 290250"/>
                <a:gd name="connsiteY227" fmla="*/ 107895 h 209003"/>
                <a:gd name="connsiteX228" fmla="*/ 47392 w 290250"/>
                <a:gd name="connsiteY228" fmla="*/ 92148 h 209003"/>
                <a:gd name="connsiteX229" fmla="*/ 59063 w 290250"/>
                <a:gd name="connsiteY229" fmla="*/ 87750 h 209003"/>
                <a:gd name="connsiteX230" fmla="*/ 54631 w 290250"/>
                <a:gd name="connsiteY230" fmla="*/ 102792 h 209003"/>
                <a:gd name="connsiteX231" fmla="*/ 59063 w 290250"/>
                <a:gd name="connsiteY231" fmla="*/ 64125 h 209003"/>
                <a:gd name="connsiteX232" fmla="*/ 54641 w 290250"/>
                <a:gd name="connsiteY232" fmla="*/ 79164 h 209003"/>
                <a:gd name="connsiteX233" fmla="*/ 42339 w 290250"/>
                <a:gd name="connsiteY233" fmla="*/ 84260 h 209003"/>
                <a:gd name="connsiteX234" fmla="*/ 47402 w 290250"/>
                <a:gd name="connsiteY234" fmla="*/ 68513 h 209003"/>
                <a:gd name="connsiteX235" fmla="*/ 59063 w 290250"/>
                <a:gd name="connsiteY235" fmla="*/ 64125 h 209003"/>
                <a:gd name="connsiteX236" fmla="*/ 22994 w 290250"/>
                <a:gd name="connsiteY236" fmla="*/ 150042 h 209003"/>
                <a:gd name="connsiteX237" fmla="*/ 18563 w 290250"/>
                <a:gd name="connsiteY237" fmla="*/ 135000 h 209003"/>
                <a:gd name="connsiteX238" fmla="*/ 30206 w 290250"/>
                <a:gd name="connsiteY238" fmla="*/ 139388 h 209003"/>
                <a:gd name="connsiteX239" fmla="*/ 35269 w 290250"/>
                <a:gd name="connsiteY239" fmla="*/ 155125 h 209003"/>
                <a:gd name="connsiteX240" fmla="*/ 22994 w 290250"/>
                <a:gd name="connsiteY240" fmla="*/ 150042 h 209003"/>
                <a:gd name="connsiteX241" fmla="*/ 22994 w 290250"/>
                <a:gd name="connsiteY241" fmla="*/ 126417 h 209003"/>
                <a:gd name="connsiteX242" fmla="*/ 18563 w 290250"/>
                <a:gd name="connsiteY242" fmla="*/ 111375 h 209003"/>
                <a:gd name="connsiteX243" fmla="*/ 30206 w 290250"/>
                <a:gd name="connsiteY243" fmla="*/ 115763 h 209003"/>
                <a:gd name="connsiteX244" fmla="*/ 35269 w 290250"/>
                <a:gd name="connsiteY244" fmla="*/ 131500 h 209003"/>
                <a:gd name="connsiteX245" fmla="*/ 22994 w 290250"/>
                <a:gd name="connsiteY245" fmla="*/ 126417 h 209003"/>
                <a:gd name="connsiteX246" fmla="*/ 22994 w 290250"/>
                <a:gd name="connsiteY246" fmla="*/ 102792 h 209003"/>
                <a:gd name="connsiteX247" fmla="*/ 18563 w 290250"/>
                <a:gd name="connsiteY247" fmla="*/ 87750 h 209003"/>
                <a:gd name="connsiteX248" fmla="*/ 30206 w 290250"/>
                <a:gd name="connsiteY248" fmla="*/ 92138 h 209003"/>
                <a:gd name="connsiteX249" fmla="*/ 35269 w 290250"/>
                <a:gd name="connsiteY249" fmla="*/ 107875 h 209003"/>
                <a:gd name="connsiteX250" fmla="*/ 22994 w 290250"/>
                <a:gd name="connsiteY250" fmla="*/ 102792 h 209003"/>
                <a:gd name="connsiteX251" fmla="*/ 22994 w 290250"/>
                <a:gd name="connsiteY251" fmla="*/ 79167 h 209003"/>
                <a:gd name="connsiteX252" fmla="*/ 18563 w 290250"/>
                <a:gd name="connsiteY252" fmla="*/ 64125 h 209003"/>
                <a:gd name="connsiteX253" fmla="*/ 30206 w 290250"/>
                <a:gd name="connsiteY253" fmla="*/ 68513 h 209003"/>
                <a:gd name="connsiteX254" fmla="*/ 35269 w 290250"/>
                <a:gd name="connsiteY254" fmla="*/ 84250 h 209003"/>
                <a:gd name="connsiteX255" fmla="*/ 22994 w 290250"/>
                <a:gd name="connsiteY255" fmla="*/ 79167 h 209003"/>
                <a:gd name="connsiteX256" fmla="*/ 37328 w 290250"/>
                <a:gd name="connsiteY256" fmla="*/ 64888 h 209003"/>
                <a:gd name="connsiteX257" fmla="*/ 32063 w 290250"/>
                <a:gd name="connsiteY257" fmla="*/ 53096 h 209003"/>
                <a:gd name="connsiteX258" fmla="*/ 38813 w 290250"/>
                <a:gd name="connsiteY258" fmla="*/ 38681 h 209003"/>
                <a:gd name="connsiteX259" fmla="*/ 45563 w 290250"/>
                <a:gd name="connsiteY259" fmla="*/ 52856 h 209003"/>
                <a:gd name="connsiteX260" fmla="*/ 39950 w 290250"/>
                <a:gd name="connsiteY260" fmla="*/ 65259 h 209003"/>
                <a:gd name="connsiteX261" fmla="*/ 37328 w 290250"/>
                <a:gd name="connsiteY261" fmla="*/ 64888 h 209003"/>
                <a:gd name="connsiteX262" fmla="*/ 125506 w 290250"/>
                <a:gd name="connsiteY262" fmla="*/ 143292 h 209003"/>
                <a:gd name="connsiteX263" fmla="*/ 113204 w 290250"/>
                <a:gd name="connsiteY263" fmla="*/ 148389 h 209003"/>
                <a:gd name="connsiteX264" fmla="*/ 118267 w 290250"/>
                <a:gd name="connsiteY264" fmla="*/ 132641 h 209003"/>
                <a:gd name="connsiteX265" fmla="*/ 129938 w 290250"/>
                <a:gd name="connsiteY265" fmla="*/ 128250 h 209003"/>
                <a:gd name="connsiteX266" fmla="*/ 125506 w 290250"/>
                <a:gd name="connsiteY266" fmla="*/ 143292 h 209003"/>
                <a:gd name="connsiteX267" fmla="*/ 125506 w 290250"/>
                <a:gd name="connsiteY267" fmla="*/ 119667 h 209003"/>
                <a:gd name="connsiteX268" fmla="*/ 113204 w 290250"/>
                <a:gd name="connsiteY268" fmla="*/ 124764 h 209003"/>
                <a:gd name="connsiteX269" fmla="*/ 118267 w 290250"/>
                <a:gd name="connsiteY269" fmla="*/ 109016 h 209003"/>
                <a:gd name="connsiteX270" fmla="*/ 129938 w 290250"/>
                <a:gd name="connsiteY270" fmla="*/ 104625 h 209003"/>
                <a:gd name="connsiteX271" fmla="*/ 125506 w 290250"/>
                <a:gd name="connsiteY271" fmla="*/ 119667 h 209003"/>
                <a:gd name="connsiteX272" fmla="*/ 125506 w 290250"/>
                <a:gd name="connsiteY272" fmla="*/ 96042 h 209003"/>
                <a:gd name="connsiteX273" fmla="*/ 113204 w 290250"/>
                <a:gd name="connsiteY273" fmla="*/ 101139 h 209003"/>
                <a:gd name="connsiteX274" fmla="*/ 118267 w 290250"/>
                <a:gd name="connsiteY274" fmla="*/ 85391 h 209003"/>
                <a:gd name="connsiteX275" fmla="*/ 129938 w 290250"/>
                <a:gd name="connsiteY275" fmla="*/ 81000 h 209003"/>
                <a:gd name="connsiteX276" fmla="*/ 125506 w 290250"/>
                <a:gd name="connsiteY276" fmla="*/ 96042 h 209003"/>
                <a:gd name="connsiteX277" fmla="*/ 129938 w 290250"/>
                <a:gd name="connsiteY277" fmla="*/ 57375 h 209003"/>
                <a:gd name="connsiteX278" fmla="*/ 125516 w 290250"/>
                <a:gd name="connsiteY278" fmla="*/ 72414 h 209003"/>
                <a:gd name="connsiteX279" fmla="*/ 113214 w 290250"/>
                <a:gd name="connsiteY279" fmla="*/ 77510 h 209003"/>
                <a:gd name="connsiteX280" fmla="*/ 118277 w 290250"/>
                <a:gd name="connsiteY280" fmla="*/ 61762 h 209003"/>
                <a:gd name="connsiteX281" fmla="*/ 129938 w 290250"/>
                <a:gd name="connsiteY281" fmla="*/ 57375 h 209003"/>
                <a:gd name="connsiteX282" fmla="*/ 93869 w 290250"/>
                <a:gd name="connsiteY282" fmla="*/ 143292 h 209003"/>
                <a:gd name="connsiteX283" fmla="*/ 89438 w 290250"/>
                <a:gd name="connsiteY283" fmla="*/ 128250 h 209003"/>
                <a:gd name="connsiteX284" fmla="*/ 101081 w 290250"/>
                <a:gd name="connsiteY284" fmla="*/ 132638 h 209003"/>
                <a:gd name="connsiteX285" fmla="*/ 106161 w 290250"/>
                <a:gd name="connsiteY285" fmla="*/ 148375 h 209003"/>
                <a:gd name="connsiteX286" fmla="*/ 93869 w 290250"/>
                <a:gd name="connsiteY286" fmla="*/ 143292 h 209003"/>
                <a:gd name="connsiteX287" fmla="*/ 93869 w 290250"/>
                <a:gd name="connsiteY287" fmla="*/ 119667 h 209003"/>
                <a:gd name="connsiteX288" fmla="*/ 89438 w 290250"/>
                <a:gd name="connsiteY288" fmla="*/ 104625 h 209003"/>
                <a:gd name="connsiteX289" fmla="*/ 101081 w 290250"/>
                <a:gd name="connsiteY289" fmla="*/ 109013 h 209003"/>
                <a:gd name="connsiteX290" fmla="*/ 106161 w 290250"/>
                <a:gd name="connsiteY290" fmla="*/ 124750 h 209003"/>
                <a:gd name="connsiteX291" fmla="*/ 93869 w 290250"/>
                <a:gd name="connsiteY291" fmla="*/ 119667 h 209003"/>
                <a:gd name="connsiteX292" fmla="*/ 93869 w 290250"/>
                <a:gd name="connsiteY292" fmla="*/ 96042 h 209003"/>
                <a:gd name="connsiteX293" fmla="*/ 89438 w 290250"/>
                <a:gd name="connsiteY293" fmla="*/ 81000 h 209003"/>
                <a:gd name="connsiteX294" fmla="*/ 101081 w 290250"/>
                <a:gd name="connsiteY294" fmla="*/ 85388 h 209003"/>
                <a:gd name="connsiteX295" fmla="*/ 106161 w 290250"/>
                <a:gd name="connsiteY295" fmla="*/ 101125 h 209003"/>
                <a:gd name="connsiteX296" fmla="*/ 93869 w 290250"/>
                <a:gd name="connsiteY296" fmla="*/ 96042 h 209003"/>
                <a:gd name="connsiteX297" fmla="*/ 93869 w 290250"/>
                <a:gd name="connsiteY297" fmla="*/ 72417 h 209003"/>
                <a:gd name="connsiteX298" fmla="*/ 89438 w 290250"/>
                <a:gd name="connsiteY298" fmla="*/ 57375 h 209003"/>
                <a:gd name="connsiteX299" fmla="*/ 101081 w 290250"/>
                <a:gd name="connsiteY299" fmla="*/ 61762 h 209003"/>
                <a:gd name="connsiteX300" fmla="*/ 106161 w 290250"/>
                <a:gd name="connsiteY300" fmla="*/ 77500 h 209003"/>
                <a:gd name="connsiteX301" fmla="*/ 93869 w 290250"/>
                <a:gd name="connsiteY301" fmla="*/ 72417 h 209003"/>
                <a:gd name="connsiteX302" fmla="*/ 108203 w 290250"/>
                <a:gd name="connsiteY302" fmla="*/ 58138 h 209003"/>
                <a:gd name="connsiteX303" fmla="*/ 102938 w 290250"/>
                <a:gd name="connsiteY303" fmla="*/ 46346 h 209003"/>
                <a:gd name="connsiteX304" fmla="*/ 109688 w 290250"/>
                <a:gd name="connsiteY304" fmla="*/ 31931 h 209003"/>
                <a:gd name="connsiteX305" fmla="*/ 116438 w 290250"/>
                <a:gd name="connsiteY305" fmla="*/ 46106 h 209003"/>
                <a:gd name="connsiteX306" fmla="*/ 110825 w 290250"/>
                <a:gd name="connsiteY306" fmla="*/ 58509 h 209003"/>
                <a:gd name="connsiteX307" fmla="*/ 108203 w 290250"/>
                <a:gd name="connsiteY307" fmla="*/ 58138 h 209003"/>
                <a:gd name="connsiteX308" fmla="*/ 196381 w 290250"/>
                <a:gd name="connsiteY308" fmla="*/ 143292 h 209003"/>
                <a:gd name="connsiteX309" fmla="*/ 184079 w 290250"/>
                <a:gd name="connsiteY309" fmla="*/ 148389 h 209003"/>
                <a:gd name="connsiteX310" fmla="*/ 189142 w 290250"/>
                <a:gd name="connsiteY310" fmla="*/ 132641 h 209003"/>
                <a:gd name="connsiteX311" fmla="*/ 200813 w 290250"/>
                <a:gd name="connsiteY311" fmla="*/ 128250 h 209003"/>
                <a:gd name="connsiteX312" fmla="*/ 196381 w 290250"/>
                <a:gd name="connsiteY312" fmla="*/ 143292 h 209003"/>
                <a:gd name="connsiteX313" fmla="*/ 196381 w 290250"/>
                <a:gd name="connsiteY313" fmla="*/ 119667 h 209003"/>
                <a:gd name="connsiteX314" fmla="*/ 184079 w 290250"/>
                <a:gd name="connsiteY314" fmla="*/ 124764 h 209003"/>
                <a:gd name="connsiteX315" fmla="*/ 189142 w 290250"/>
                <a:gd name="connsiteY315" fmla="*/ 109016 h 209003"/>
                <a:gd name="connsiteX316" fmla="*/ 200813 w 290250"/>
                <a:gd name="connsiteY316" fmla="*/ 104625 h 209003"/>
                <a:gd name="connsiteX317" fmla="*/ 196381 w 290250"/>
                <a:gd name="connsiteY317" fmla="*/ 119667 h 209003"/>
                <a:gd name="connsiteX318" fmla="*/ 196381 w 290250"/>
                <a:gd name="connsiteY318" fmla="*/ 96042 h 209003"/>
                <a:gd name="connsiteX319" fmla="*/ 184079 w 290250"/>
                <a:gd name="connsiteY319" fmla="*/ 101139 h 209003"/>
                <a:gd name="connsiteX320" fmla="*/ 189142 w 290250"/>
                <a:gd name="connsiteY320" fmla="*/ 85391 h 209003"/>
                <a:gd name="connsiteX321" fmla="*/ 200813 w 290250"/>
                <a:gd name="connsiteY321" fmla="*/ 81000 h 209003"/>
                <a:gd name="connsiteX322" fmla="*/ 196381 w 290250"/>
                <a:gd name="connsiteY322" fmla="*/ 96042 h 209003"/>
                <a:gd name="connsiteX323" fmla="*/ 200813 w 290250"/>
                <a:gd name="connsiteY323" fmla="*/ 57375 h 209003"/>
                <a:gd name="connsiteX324" fmla="*/ 196391 w 290250"/>
                <a:gd name="connsiteY324" fmla="*/ 72414 h 209003"/>
                <a:gd name="connsiteX325" fmla="*/ 184089 w 290250"/>
                <a:gd name="connsiteY325" fmla="*/ 77510 h 209003"/>
                <a:gd name="connsiteX326" fmla="*/ 189152 w 290250"/>
                <a:gd name="connsiteY326" fmla="*/ 61762 h 209003"/>
                <a:gd name="connsiteX327" fmla="*/ 200813 w 290250"/>
                <a:gd name="connsiteY327" fmla="*/ 57375 h 209003"/>
                <a:gd name="connsiteX328" fmla="*/ 164744 w 290250"/>
                <a:gd name="connsiteY328" fmla="*/ 143292 h 209003"/>
                <a:gd name="connsiteX329" fmla="*/ 160313 w 290250"/>
                <a:gd name="connsiteY329" fmla="*/ 128250 h 209003"/>
                <a:gd name="connsiteX330" fmla="*/ 171956 w 290250"/>
                <a:gd name="connsiteY330" fmla="*/ 132638 h 209003"/>
                <a:gd name="connsiteX331" fmla="*/ 177036 w 290250"/>
                <a:gd name="connsiteY331" fmla="*/ 148375 h 209003"/>
                <a:gd name="connsiteX332" fmla="*/ 164744 w 290250"/>
                <a:gd name="connsiteY332" fmla="*/ 143292 h 209003"/>
                <a:gd name="connsiteX333" fmla="*/ 164744 w 290250"/>
                <a:gd name="connsiteY333" fmla="*/ 119667 h 209003"/>
                <a:gd name="connsiteX334" fmla="*/ 160313 w 290250"/>
                <a:gd name="connsiteY334" fmla="*/ 104625 h 209003"/>
                <a:gd name="connsiteX335" fmla="*/ 171956 w 290250"/>
                <a:gd name="connsiteY335" fmla="*/ 109013 h 209003"/>
                <a:gd name="connsiteX336" fmla="*/ 177036 w 290250"/>
                <a:gd name="connsiteY336" fmla="*/ 124750 h 209003"/>
                <a:gd name="connsiteX337" fmla="*/ 164744 w 290250"/>
                <a:gd name="connsiteY337" fmla="*/ 119667 h 209003"/>
                <a:gd name="connsiteX338" fmla="*/ 164744 w 290250"/>
                <a:gd name="connsiteY338" fmla="*/ 96042 h 209003"/>
                <a:gd name="connsiteX339" fmla="*/ 160313 w 290250"/>
                <a:gd name="connsiteY339" fmla="*/ 81000 h 209003"/>
                <a:gd name="connsiteX340" fmla="*/ 171956 w 290250"/>
                <a:gd name="connsiteY340" fmla="*/ 85388 h 209003"/>
                <a:gd name="connsiteX341" fmla="*/ 177036 w 290250"/>
                <a:gd name="connsiteY341" fmla="*/ 101125 h 209003"/>
                <a:gd name="connsiteX342" fmla="*/ 164744 w 290250"/>
                <a:gd name="connsiteY342" fmla="*/ 96042 h 209003"/>
                <a:gd name="connsiteX343" fmla="*/ 164744 w 290250"/>
                <a:gd name="connsiteY343" fmla="*/ 72417 h 209003"/>
                <a:gd name="connsiteX344" fmla="*/ 160313 w 290250"/>
                <a:gd name="connsiteY344" fmla="*/ 57375 h 209003"/>
                <a:gd name="connsiteX345" fmla="*/ 171956 w 290250"/>
                <a:gd name="connsiteY345" fmla="*/ 61762 h 209003"/>
                <a:gd name="connsiteX346" fmla="*/ 177036 w 290250"/>
                <a:gd name="connsiteY346" fmla="*/ 77500 h 209003"/>
                <a:gd name="connsiteX347" fmla="*/ 164744 w 290250"/>
                <a:gd name="connsiteY347" fmla="*/ 72417 h 209003"/>
                <a:gd name="connsiteX348" fmla="*/ 179078 w 290250"/>
                <a:gd name="connsiteY348" fmla="*/ 58138 h 209003"/>
                <a:gd name="connsiteX349" fmla="*/ 173813 w 290250"/>
                <a:gd name="connsiteY349" fmla="*/ 46346 h 209003"/>
                <a:gd name="connsiteX350" fmla="*/ 180563 w 290250"/>
                <a:gd name="connsiteY350" fmla="*/ 31931 h 209003"/>
                <a:gd name="connsiteX351" fmla="*/ 187313 w 290250"/>
                <a:gd name="connsiteY351" fmla="*/ 46106 h 209003"/>
                <a:gd name="connsiteX352" fmla="*/ 181700 w 290250"/>
                <a:gd name="connsiteY352" fmla="*/ 58509 h 209003"/>
                <a:gd name="connsiteX353" fmla="*/ 179078 w 290250"/>
                <a:gd name="connsiteY353" fmla="*/ 58138 h 209003"/>
                <a:gd name="connsiteX354" fmla="*/ 267256 w 290250"/>
                <a:gd name="connsiteY354" fmla="*/ 150042 h 209003"/>
                <a:gd name="connsiteX355" fmla="*/ 254954 w 290250"/>
                <a:gd name="connsiteY355" fmla="*/ 155139 h 209003"/>
                <a:gd name="connsiteX356" fmla="*/ 260017 w 290250"/>
                <a:gd name="connsiteY356" fmla="*/ 139391 h 209003"/>
                <a:gd name="connsiteX357" fmla="*/ 271688 w 290250"/>
                <a:gd name="connsiteY357" fmla="*/ 135000 h 209003"/>
                <a:gd name="connsiteX358" fmla="*/ 267256 w 290250"/>
                <a:gd name="connsiteY358" fmla="*/ 150042 h 209003"/>
                <a:gd name="connsiteX359" fmla="*/ 267256 w 290250"/>
                <a:gd name="connsiteY359" fmla="*/ 126417 h 209003"/>
                <a:gd name="connsiteX360" fmla="*/ 254954 w 290250"/>
                <a:gd name="connsiteY360" fmla="*/ 131514 h 209003"/>
                <a:gd name="connsiteX361" fmla="*/ 260017 w 290250"/>
                <a:gd name="connsiteY361" fmla="*/ 115766 h 209003"/>
                <a:gd name="connsiteX362" fmla="*/ 271688 w 290250"/>
                <a:gd name="connsiteY362" fmla="*/ 111375 h 209003"/>
                <a:gd name="connsiteX363" fmla="*/ 267256 w 290250"/>
                <a:gd name="connsiteY363" fmla="*/ 126417 h 209003"/>
                <a:gd name="connsiteX364" fmla="*/ 267256 w 290250"/>
                <a:gd name="connsiteY364" fmla="*/ 102792 h 209003"/>
                <a:gd name="connsiteX365" fmla="*/ 254954 w 290250"/>
                <a:gd name="connsiteY365" fmla="*/ 107889 h 209003"/>
                <a:gd name="connsiteX366" fmla="*/ 260017 w 290250"/>
                <a:gd name="connsiteY366" fmla="*/ 92141 h 209003"/>
                <a:gd name="connsiteX367" fmla="*/ 271688 w 290250"/>
                <a:gd name="connsiteY367" fmla="*/ 87750 h 209003"/>
                <a:gd name="connsiteX368" fmla="*/ 267256 w 290250"/>
                <a:gd name="connsiteY368" fmla="*/ 102792 h 209003"/>
                <a:gd name="connsiteX369" fmla="*/ 271688 w 290250"/>
                <a:gd name="connsiteY369" fmla="*/ 64125 h 209003"/>
                <a:gd name="connsiteX370" fmla="*/ 267266 w 290250"/>
                <a:gd name="connsiteY370" fmla="*/ 79164 h 209003"/>
                <a:gd name="connsiteX371" fmla="*/ 254964 w 290250"/>
                <a:gd name="connsiteY371" fmla="*/ 84260 h 209003"/>
                <a:gd name="connsiteX372" fmla="*/ 260027 w 290250"/>
                <a:gd name="connsiteY372" fmla="*/ 68513 h 209003"/>
                <a:gd name="connsiteX373" fmla="*/ 271688 w 290250"/>
                <a:gd name="connsiteY373" fmla="*/ 64125 h 209003"/>
                <a:gd name="connsiteX374" fmla="*/ 235619 w 290250"/>
                <a:gd name="connsiteY374" fmla="*/ 150042 h 209003"/>
                <a:gd name="connsiteX375" fmla="*/ 231188 w 290250"/>
                <a:gd name="connsiteY375" fmla="*/ 135000 h 209003"/>
                <a:gd name="connsiteX376" fmla="*/ 242831 w 290250"/>
                <a:gd name="connsiteY376" fmla="*/ 139388 h 209003"/>
                <a:gd name="connsiteX377" fmla="*/ 247911 w 290250"/>
                <a:gd name="connsiteY377" fmla="*/ 155125 h 209003"/>
                <a:gd name="connsiteX378" fmla="*/ 235619 w 290250"/>
                <a:gd name="connsiteY378" fmla="*/ 150042 h 209003"/>
                <a:gd name="connsiteX379" fmla="*/ 235619 w 290250"/>
                <a:gd name="connsiteY379" fmla="*/ 126417 h 209003"/>
                <a:gd name="connsiteX380" fmla="*/ 231188 w 290250"/>
                <a:gd name="connsiteY380" fmla="*/ 111375 h 209003"/>
                <a:gd name="connsiteX381" fmla="*/ 242831 w 290250"/>
                <a:gd name="connsiteY381" fmla="*/ 115763 h 209003"/>
                <a:gd name="connsiteX382" fmla="*/ 247911 w 290250"/>
                <a:gd name="connsiteY382" fmla="*/ 131500 h 209003"/>
                <a:gd name="connsiteX383" fmla="*/ 235619 w 290250"/>
                <a:gd name="connsiteY383" fmla="*/ 126417 h 209003"/>
                <a:gd name="connsiteX384" fmla="*/ 235619 w 290250"/>
                <a:gd name="connsiteY384" fmla="*/ 102792 h 209003"/>
                <a:gd name="connsiteX385" fmla="*/ 231188 w 290250"/>
                <a:gd name="connsiteY385" fmla="*/ 87750 h 209003"/>
                <a:gd name="connsiteX386" fmla="*/ 242831 w 290250"/>
                <a:gd name="connsiteY386" fmla="*/ 92138 h 209003"/>
                <a:gd name="connsiteX387" fmla="*/ 247911 w 290250"/>
                <a:gd name="connsiteY387" fmla="*/ 107875 h 209003"/>
                <a:gd name="connsiteX388" fmla="*/ 235619 w 290250"/>
                <a:gd name="connsiteY388" fmla="*/ 102792 h 209003"/>
                <a:gd name="connsiteX389" fmla="*/ 235619 w 290250"/>
                <a:gd name="connsiteY389" fmla="*/ 79167 h 209003"/>
                <a:gd name="connsiteX390" fmla="*/ 231188 w 290250"/>
                <a:gd name="connsiteY390" fmla="*/ 64125 h 209003"/>
                <a:gd name="connsiteX391" fmla="*/ 242831 w 290250"/>
                <a:gd name="connsiteY391" fmla="*/ 68513 h 209003"/>
                <a:gd name="connsiteX392" fmla="*/ 247911 w 290250"/>
                <a:gd name="connsiteY392" fmla="*/ 84250 h 209003"/>
                <a:gd name="connsiteX393" fmla="*/ 235619 w 290250"/>
                <a:gd name="connsiteY393" fmla="*/ 79167 h 209003"/>
                <a:gd name="connsiteX394" fmla="*/ 249952 w 290250"/>
                <a:gd name="connsiteY394" fmla="*/ 64888 h 209003"/>
                <a:gd name="connsiteX395" fmla="*/ 244688 w 290250"/>
                <a:gd name="connsiteY395" fmla="*/ 53096 h 209003"/>
                <a:gd name="connsiteX396" fmla="*/ 251438 w 290250"/>
                <a:gd name="connsiteY396" fmla="*/ 38681 h 209003"/>
                <a:gd name="connsiteX397" fmla="*/ 258188 w 290250"/>
                <a:gd name="connsiteY397" fmla="*/ 52856 h 209003"/>
                <a:gd name="connsiteX398" fmla="*/ 252575 w 290250"/>
                <a:gd name="connsiteY398" fmla="*/ 65259 h 209003"/>
                <a:gd name="connsiteX399" fmla="*/ 249952 w 290250"/>
                <a:gd name="connsiteY399" fmla="*/ 64888 h 209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</a:cxnLst>
              <a:rect l="l" t="t" r="r" b="b"/>
              <a:pathLst>
                <a:path w="290250" h="209003">
                  <a:moveTo>
                    <a:pt x="290250" y="202024"/>
                  </a:moveTo>
                  <a:cubicBezTo>
                    <a:pt x="283041" y="200448"/>
                    <a:pt x="271114" y="198133"/>
                    <a:pt x="254813" y="195878"/>
                  </a:cubicBezTo>
                  <a:lnTo>
                    <a:pt x="254813" y="161909"/>
                  </a:lnTo>
                  <a:cubicBezTo>
                    <a:pt x="261381" y="161769"/>
                    <a:pt x="267646" y="159119"/>
                    <a:pt x="272322" y="154504"/>
                  </a:cubicBezTo>
                  <a:lnTo>
                    <a:pt x="272322" y="154504"/>
                  </a:lnTo>
                  <a:cubicBezTo>
                    <a:pt x="279457" y="146404"/>
                    <a:pt x="278397" y="132162"/>
                    <a:pt x="278360" y="131554"/>
                  </a:cubicBezTo>
                  <a:lnTo>
                    <a:pt x="278147" y="128908"/>
                  </a:lnTo>
                  <a:lnTo>
                    <a:pt x="275525" y="128490"/>
                  </a:lnTo>
                  <a:cubicBezTo>
                    <a:pt x="275430" y="128490"/>
                    <a:pt x="274934" y="128402"/>
                    <a:pt x="274175" y="128341"/>
                  </a:cubicBezTo>
                  <a:cubicBezTo>
                    <a:pt x="277422" y="122052"/>
                    <a:pt x="278875" y="114990"/>
                    <a:pt x="278373" y="107929"/>
                  </a:cubicBezTo>
                  <a:lnTo>
                    <a:pt x="278161" y="105283"/>
                  </a:lnTo>
                  <a:lnTo>
                    <a:pt x="275538" y="104865"/>
                  </a:lnTo>
                  <a:cubicBezTo>
                    <a:pt x="275444" y="104865"/>
                    <a:pt x="274948" y="104777"/>
                    <a:pt x="274188" y="104716"/>
                  </a:cubicBezTo>
                  <a:cubicBezTo>
                    <a:pt x="277436" y="98427"/>
                    <a:pt x="278888" y="91365"/>
                    <a:pt x="278387" y="84304"/>
                  </a:cubicBezTo>
                  <a:lnTo>
                    <a:pt x="278174" y="81658"/>
                  </a:lnTo>
                  <a:lnTo>
                    <a:pt x="275552" y="81240"/>
                  </a:lnTo>
                  <a:cubicBezTo>
                    <a:pt x="275457" y="81240"/>
                    <a:pt x="274961" y="81152"/>
                    <a:pt x="274202" y="81091"/>
                  </a:cubicBezTo>
                  <a:cubicBezTo>
                    <a:pt x="277406" y="74965"/>
                    <a:pt x="278869" y="68078"/>
                    <a:pt x="278431" y="61179"/>
                  </a:cubicBezTo>
                  <a:cubicBezTo>
                    <a:pt x="278431" y="61094"/>
                    <a:pt x="278478" y="61023"/>
                    <a:pt x="278478" y="60936"/>
                  </a:cubicBezTo>
                  <a:lnTo>
                    <a:pt x="278478" y="33750"/>
                  </a:lnTo>
                  <a:cubicBezTo>
                    <a:pt x="278478" y="31886"/>
                    <a:pt x="276967" y="30375"/>
                    <a:pt x="275103" y="30375"/>
                  </a:cubicBezTo>
                  <a:cubicBezTo>
                    <a:pt x="273239" y="30375"/>
                    <a:pt x="271728" y="31886"/>
                    <a:pt x="271728" y="33750"/>
                  </a:cubicBezTo>
                  <a:lnTo>
                    <a:pt x="271728" y="57375"/>
                  </a:lnTo>
                  <a:cubicBezTo>
                    <a:pt x="269114" y="57380"/>
                    <a:pt x="266513" y="57753"/>
                    <a:pt x="264003" y="58482"/>
                  </a:cubicBezTo>
                  <a:cubicBezTo>
                    <a:pt x="264512" y="56720"/>
                    <a:pt x="264839" y="54911"/>
                    <a:pt x="264978" y="53082"/>
                  </a:cubicBezTo>
                  <a:cubicBezTo>
                    <a:pt x="264978" y="43777"/>
                    <a:pt x="257664" y="35265"/>
                    <a:pt x="254853" y="32336"/>
                  </a:cubicBezTo>
                  <a:lnTo>
                    <a:pt x="254853" y="10125"/>
                  </a:lnTo>
                  <a:cubicBezTo>
                    <a:pt x="254853" y="8261"/>
                    <a:pt x="253342" y="6750"/>
                    <a:pt x="251478" y="6750"/>
                  </a:cubicBezTo>
                  <a:cubicBezTo>
                    <a:pt x="249614" y="6750"/>
                    <a:pt x="248103" y="8261"/>
                    <a:pt x="248103" y="10125"/>
                  </a:cubicBezTo>
                  <a:lnTo>
                    <a:pt x="248103" y="32356"/>
                  </a:lnTo>
                  <a:cubicBezTo>
                    <a:pt x="245295" y="35289"/>
                    <a:pt x="237978" y="43831"/>
                    <a:pt x="237978" y="53332"/>
                  </a:cubicBezTo>
                  <a:cubicBezTo>
                    <a:pt x="238101" y="55061"/>
                    <a:pt x="238383" y="56775"/>
                    <a:pt x="238822" y="58452"/>
                  </a:cubicBezTo>
                  <a:cubicBezTo>
                    <a:pt x="236362" y="57747"/>
                    <a:pt x="233817" y="57384"/>
                    <a:pt x="231258" y="57375"/>
                  </a:cubicBezTo>
                  <a:lnTo>
                    <a:pt x="231258" y="33750"/>
                  </a:lnTo>
                  <a:cubicBezTo>
                    <a:pt x="231258" y="31886"/>
                    <a:pt x="229747" y="30375"/>
                    <a:pt x="227883" y="30375"/>
                  </a:cubicBezTo>
                  <a:cubicBezTo>
                    <a:pt x="226019" y="30375"/>
                    <a:pt x="224508" y="31886"/>
                    <a:pt x="224508" y="33750"/>
                  </a:cubicBezTo>
                  <a:lnTo>
                    <a:pt x="224508" y="60845"/>
                  </a:lnTo>
                  <a:cubicBezTo>
                    <a:pt x="224020" y="67853"/>
                    <a:pt x="225477" y="74861"/>
                    <a:pt x="228717" y="81095"/>
                  </a:cubicBezTo>
                  <a:cubicBezTo>
                    <a:pt x="227944" y="81159"/>
                    <a:pt x="227448" y="81230"/>
                    <a:pt x="227367" y="81243"/>
                  </a:cubicBezTo>
                  <a:lnTo>
                    <a:pt x="224745" y="81662"/>
                  </a:lnTo>
                  <a:lnTo>
                    <a:pt x="224532" y="84308"/>
                  </a:lnTo>
                  <a:cubicBezTo>
                    <a:pt x="224030" y="91368"/>
                    <a:pt x="225483" y="98430"/>
                    <a:pt x="228731" y="104720"/>
                  </a:cubicBezTo>
                  <a:cubicBezTo>
                    <a:pt x="227958" y="104784"/>
                    <a:pt x="227462" y="104855"/>
                    <a:pt x="227381" y="104868"/>
                  </a:cubicBezTo>
                  <a:lnTo>
                    <a:pt x="224758" y="105287"/>
                  </a:lnTo>
                  <a:lnTo>
                    <a:pt x="224545" y="107933"/>
                  </a:lnTo>
                  <a:cubicBezTo>
                    <a:pt x="224044" y="114993"/>
                    <a:pt x="225497" y="122055"/>
                    <a:pt x="228744" y="128345"/>
                  </a:cubicBezTo>
                  <a:cubicBezTo>
                    <a:pt x="227971" y="128405"/>
                    <a:pt x="227475" y="128480"/>
                    <a:pt x="227394" y="128493"/>
                  </a:cubicBezTo>
                  <a:lnTo>
                    <a:pt x="224772" y="128912"/>
                  </a:lnTo>
                  <a:lnTo>
                    <a:pt x="224559" y="131558"/>
                  </a:lnTo>
                  <a:cubicBezTo>
                    <a:pt x="224512" y="132162"/>
                    <a:pt x="223462" y="146408"/>
                    <a:pt x="230593" y="154508"/>
                  </a:cubicBezTo>
                  <a:lnTo>
                    <a:pt x="230593" y="154508"/>
                  </a:lnTo>
                  <a:cubicBezTo>
                    <a:pt x="235260" y="159112"/>
                    <a:pt x="241509" y="161759"/>
                    <a:pt x="248063" y="161909"/>
                  </a:cubicBezTo>
                  <a:lnTo>
                    <a:pt x="248063" y="194984"/>
                  </a:lnTo>
                  <a:cubicBezTo>
                    <a:pt x="230833" y="192794"/>
                    <a:pt x="209358" y="190779"/>
                    <a:pt x="183938" y="189705"/>
                  </a:cubicBezTo>
                  <a:lnTo>
                    <a:pt x="183938" y="155159"/>
                  </a:lnTo>
                  <a:cubicBezTo>
                    <a:pt x="190506" y="155019"/>
                    <a:pt x="196771" y="152369"/>
                    <a:pt x="201447" y="147754"/>
                  </a:cubicBezTo>
                  <a:lnTo>
                    <a:pt x="201447" y="147754"/>
                  </a:lnTo>
                  <a:cubicBezTo>
                    <a:pt x="208582" y="139654"/>
                    <a:pt x="207522" y="125412"/>
                    <a:pt x="207485" y="124804"/>
                  </a:cubicBezTo>
                  <a:lnTo>
                    <a:pt x="207272" y="122158"/>
                  </a:lnTo>
                  <a:lnTo>
                    <a:pt x="204650" y="121740"/>
                  </a:lnTo>
                  <a:cubicBezTo>
                    <a:pt x="204555" y="121740"/>
                    <a:pt x="204059" y="121652"/>
                    <a:pt x="203300" y="121591"/>
                  </a:cubicBezTo>
                  <a:cubicBezTo>
                    <a:pt x="206547" y="115302"/>
                    <a:pt x="208000" y="108240"/>
                    <a:pt x="207498" y="101179"/>
                  </a:cubicBezTo>
                  <a:lnTo>
                    <a:pt x="207286" y="98533"/>
                  </a:lnTo>
                  <a:lnTo>
                    <a:pt x="204663" y="98115"/>
                  </a:lnTo>
                  <a:cubicBezTo>
                    <a:pt x="204569" y="98115"/>
                    <a:pt x="204073" y="98027"/>
                    <a:pt x="203313" y="97966"/>
                  </a:cubicBezTo>
                  <a:cubicBezTo>
                    <a:pt x="206561" y="91677"/>
                    <a:pt x="208014" y="84615"/>
                    <a:pt x="207512" y="77554"/>
                  </a:cubicBezTo>
                  <a:lnTo>
                    <a:pt x="207299" y="74908"/>
                  </a:lnTo>
                  <a:lnTo>
                    <a:pt x="204677" y="74490"/>
                  </a:lnTo>
                  <a:cubicBezTo>
                    <a:pt x="204582" y="74490"/>
                    <a:pt x="204086" y="74402"/>
                    <a:pt x="203327" y="74341"/>
                  </a:cubicBezTo>
                  <a:cubicBezTo>
                    <a:pt x="206531" y="68215"/>
                    <a:pt x="207993" y="61328"/>
                    <a:pt x="207556" y="54429"/>
                  </a:cubicBezTo>
                  <a:cubicBezTo>
                    <a:pt x="207556" y="54344"/>
                    <a:pt x="207603" y="54273"/>
                    <a:pt x="207603" y="54186"/>
                  </a:cubicBezTo>
                  <a:lnTo>
                    <a:pt x="207603" y="27000"/>
                  </a:lnTo>
                  <a:cubicBezTo>
                    <a:pt x="207603" y="25136"/>
                    <a:pt x="206092" y="23625"/>
                    <a:pt x="204228" y="23625"/>
                  </a:cubicBezTo>
                  <a:cubicBezTo>
                    <a:pt x="202364" y="23625"/>
                    <a:pt x="200853" y="25136"/>
                    <a:pt x="200853" y="27000"/>
                  </a:cubicBezTo>
                  <a:lnTo>
                    <a:pt x="200853" y="50625"/>
                  </a:lnTo>
                  <a:cubicBezTo>
                    <a:pt x="198239" y="50629"/>
                    <a:pt x="195638" y="51002"/>
                    <a:pt x="193128" y="51732"/>
                  </a:cubicBezTo>
                  <a:cubicBezTo>
                    <a:pt x="193637" y="49970"/>
                    <a:pt x="193964" y="48161"/>
                    <a:pt x="194103" y="46332"/>
                  </a:cubicBezTo>
                  <a:cubicBezTo>
                    <a:pt x="194103" y="37027"/>
                    <a:pt x="186789" y="28515"/>
                    <a:pt x="183978" y="25586"/>
                  </a:cubicBezTo>
                  <a:lnTo>
                    <a:pt x="183978" y="3375"/>
                  </a:lnTo>
                  <a:cubicBezTo>
                    <a:pt x="183978" y="1511"/>
                    <a:pt x="182467" y="0"/>
                    <a:pt x="180603" y="0"/>
                  </a:cubicBezTo>
                  <a:cubicBezTo>
                    <a:pt x="178739" y="0"/>
                    <a:pt x="177228" y="1511"/>
                    <a:pt x="177228" y="3375"/>
                  </a:cubicBezTo>
                  <a:lnTo>
                    <a:pt x="177228" y="25606"/>
                  </a:lnTo>
                  <a:cubicBezTo>
                    <a:pt x="174420" y="28539"/>
                    <a:pt x="167103" y="37081"/>
                    <a:pt x="167103" y="46582"/>
                  </a:cubicBezTo>
                  <a:cubicBezTo>
                    <a:pt x="167227" y="48310"/>
                    <a:pt x="167510" y="50024"/>
                    <a:pt x="167947" y="51702"/>
                  </a:cubicBezTo>
                  <a:cubicBezTo>
                    <a:pt x="165487" y="50998"/>
                    <a:pt x="162942" y="50636"/>
                    <a:pt x="160383" y="50625"/>
                  </a:cubicBezTo>
                  <a:lnTo>
                    <a:pt x="160383" y="27000"/>
                  </a:lnTo>
                  <a:cubicBezTo>
                    <a:pt x="160383" y="25136"/>
                    <a:pt x="158872" y="23625"/>
                    <a:pt x="157008" y="23625"/>
                  </a:cubicBezTo>
                  <a:cubicBezTo>
                    <a:pt x="155144" y="23625"/>
                    <a:pt x="153633" y="25136"/>
                    <a:pt x="153633" y="27000"/>
                  </a:cubicBezTo>
                  <a:lnTo>
                    <a:pt x="153633" y="54095"/>
                  </a:lnTo>
                  <a:cubicBezTo>
                    <a:pt x="153145" y="61103"/>
                    <a:pt x="154602" y="68111"/>
                    <a:pt x="157842" y="74345"/>
                  </a:cubicBezTo>
                  <a:cubicBezTo>
                    <a:pt x="157069" y="74409"/>
                    <a:pt x="156573" y="74480"/>
                    <a:pt x="156492" y="74493"/>
                  </a:cubicBezTo>
                  <a:lnTo>
                    <a:pt x="153870" y="74912"/>
                  </a:lnTo>
                  <a:lnTo>
                    <a:pt x="153657" y="77558"/>
                  </a:lnTo>
                  <a:cubicBezTo>
                    <a:pt x="153155" y="84618"/>
                    <a:pt x="154608" y="91680"/>
                    <a:pt x="157856" y="97970"/>
                  </a:cubicBezTo>
                  <a:cubicBezTo>
                    <a:pt x="157083" y="98034"/>
                    <a:pt x="156587" y="98105"/>
                    <a:pt x="156506" y="98118"/>
                  </a:cubicBezTo>
                  <a:lnTo>
                    <a:pt x="153883" y="98537"/>
                  </a:lnTo>
                  <a:lnTo>
                    <a:pt x="153671" y="101183"/>
                  </a:lnTo>
                  <a:cubicBezTo>
                    <a:pt x="153169" y="108244"/>
                    <a:pt x="154622" y="115307"/>
                    <a:pt x="157869" y="121598"/>
                  </a:cubicBezTo>
                  <a:cubicBezTo>
                    <a:pt x="157096" y="121659"/>
                    <a:pt x="156600" y="121730"/>
                    <a:pt x="156519" y="121743"/>
                  </a:cubicBezTo>
                  <a:lnTo>
                    <a:pt x="153897" y="122162"/>
                  </a:lnTo>
                  <a:lnTo>
                    <a:pt x="153684" y="124808"/>
                  </a:lnTo>
                  <a:cubicBezTo>
                    <a:pt x="153637" y="125412"/>
                    <a:pt x="152587" y="139658"/>
                    <a:pt x="159719" y="147758"/>
                  </a:cubicBezTo>
                  <a:lnTo>
                    <a:pt x="159719" y="147758"/>
                  </a:lnTo>
                  <a:cubicBezTo>
                    <a:pt x="164385" y="152362"/>
                    <a:pt x="170634" y="155009"/>
                    <a:pt x="177188" y="155159"/>
                  </a:cubicBezTo>
                  <a:lnTo>
                    <a:pt x="177188" y="189449"/>
                  </a:lnTo>
                  <a:cubicBezTo>
                    <a:pt x="167110" y="189111"/>
                    <a:pt x="156516" y="188885"/>
                    <a:pt x="145280" y="188885"/>
                  </a:cubicBezTo>
                  <a:cubicBezTo>
                    <a:pt x="133930" y="188885"/>
                    <a:pt x="123235" y="189105"/>
                    <a:pt x="113063" y="189459"/>
                  </a:cubicBezTo>
                  <a:lnTo>
                    <a:pt x="113063" y="155159"/>
                  </a:lnTo>
                  <a:cubicBezTo>
                    <a:pt x="119631" y="155019"/>
                    <a:pt x="125896" y="152369"/>
                    <a:pt x="130572" y="147754"/>
                  </a:cubicBezTo>
                  <a:lnTo>
                    <a:pt x="130572" y="147754"/>
                  </a:lnTo>
                  <a:cubicBezTo>
                    <a:pt x="137707" y="139654"/>
                    <a:pt x="136647" y="125412"/>
                    <a:pt x="136610" y="124804"/>
                  </a:cubicBezTo>
                  <a:lnTo>
                    <a:pt x="136397" y="122158"/>
                  </a:lnTo>
                  <a:lnTo>
                    <a:pt x="133775" y="121740"/>
                  </a:lnTo>
                  <a:cubicBezTo>
                    <a:pt x="133680" y="121740"/>
                    <a:pt x="133184" y="121652"/>
                    <a:pt x="132425" y="121591"/>
                  </a:cubicBezTo>
                  <a:cubicBezTo>
                    <a:pt x="135672" y="115302"/>
                    <a:pt x="137125" y="108240"/>
                    <a:pt x="136623" y="101179"/>
                  </a:cubicBezTo>
                  <a:lnTo>
                    <a:pt x="136411" y="98533"/>
                  </a:lnTo>
                  <a:lnTo>
                    <a:pt x="133788" y="98115"/>
                  </a:lnTo>
                  <a:cubicBezTo>
                    <a:pt x="133694" y="98115"/>
                    <a:pt x="133198" y="98027"/>
                    <a:pt x="132438" y="97966"/>
                  </a:cubicBezTo>
                  <a:cubicBezTo>
                    <a:pt x="135686" y="91677"/>
                    <a:pt x="137139" y="84615"/>
                    <a:pt x="136637" y="77554"/>
                  </a:cubicBezTo>
                  <a:lnTo>
                    <a:pt x="136424" y="74908"/>
                  </a:lnTo>
                  <a:lnTo>
                    <a:pt x="133802" y="74490"/>
                  </a:lnTo>
                  <a:cubicBezTo>
                    <a:pt x="133707" y="74490"/>
                    <a:pt x="133211" y="74402"/>
                    <a:pt x="132452" y="74341"/>
                  </a:cubicBezTo>
                  <a:cubicBezTo>
                    <a:pt x="135656" y="68215"/>
                    <a:pt x="137118" y="61328"/>
                    <a:pt x="136681" y="54429"/>
                  </a:cubicBezTo>
                  <a:cubicBezTo>
                    <a:pt x="136681" y="54344"/>
                    <a:pt x="136728" y="54273"/>
                    <a:pt x="136728" y="54186"/>
                  </a:cubicBezTo>
                  <a:lnTo>
                    <a:pt x="136728" y="27000"/>
                  </a:lnTo>
                  <a:cubicBezTo>
                    <a:pt x="136728" y="25136"/>
                    <a:pt x="135217" y="23625"/>
                    <a:pt x="133353" y="23625"/>
                  </a:cubicBezTo>
                  <a:cubicBezTo>
                    <a:pt x="131489" y="23625"/>
                    <a:pt x="129978" y="25136"/>
                    <a:pt x="129978" y="27000"/>
                  </a:cubicBezTo>
                  <a:lnTo>
                    <a:pt x="129978" y="50625"/>
                  </a:lnTo>
                  <a:cubicBezTo>
                    <a:pt x="127364" y="50629"/>
                    <a:pt x="124763" y="51002"/>
                    <a:pt x="122253" y="51732"/>
                  </a:cubicBezTo>
                  <a:cubicBezTo>
                    <a:pt x="122762" y="49970"/>
                    <a:pt x="123089" y="48161"/>
                    <a:pt x="123228" y="46332"/>
                  </a:cubicBezTo>
                  <a:cubicBezTo>
                    <a:pt x="123228" y="37027"/>
                    <a:pt x="115914" y="28515"/>
                    <a:pt x="113103" y="25586"/>
                  </a:cubicBezTo>
                  <a:lnTo>
                    <a:pt x="113103" y="3375"/>
                  </a:lnTo>
                  <a:cubicBezTo>
                    <a:pt x="113103" y="1511"/>
                    <a:pt x="111592" y="0"/>
                    <a:pt x="109728" y="0"/>
                  </a:cubicBezTo>
                  <a:cubicBezTo>
                    <a:pt x="107864" y="0"/>
                    <a:pt x="106353" y="1511"/>
                    <a:pt x="106353" y="3375"/>
                  </a:cubicBezTo>
                  <a:lnTo>
                    <a:pt x="106353" y="25606"/>
                  </a:lnTo>
                  <a:cubicBezTo>
                    <a:pt x="103545" y="28539"/>
                    <a:pt x="96228" y="37081"/>
                    <a:pt x="96228" y="46582"/>
                  </a:cubicBezTo>
                  <a:cubicBezTo>
                    <a:pt x="96352" y="48310"/>
                    <a:pt x="96635" y="50024"/>
                    <a:pt x="97072" y="51702"/>
                  </a:cubicBezTo>
                  <a:cubicBezTo>
                    <a:pt x="94612" y="50998"/>
                    <a:pt x="92067" y="50636"/>
                    <a:pt x="89508" y="50625"/>
                  </a:cubicBezTo>
                  <a:lnTo>
                    <a:pt x="89508" y="27000"/>
                  </a:lnTo>
                  <a:cubicBezTo>
                    <a:pt x="89508" y="25136"/>
                    <a:pt x="87997" y="23625"/>
                    <a:pt x="86133" y="23625"/>
                  </a:cubicBezTo>
                  <a:cubicBezTo>
                    <a:pt x="84269" y="23625"/>
                    <a:pt x="82758" y="25136"/>
                    <a:pt x="82758" y="27000"/>
                  </a:cubicBezTo>
                  <a:lnTo>
                    <a:pt x="82758" y="54095"/>
                  </a:lnTo>
                  <a:cubicBezTo>
                    <a:pt x="82270" y="61103"/>
                    <a:pt x="83727" y="68111"/>
                    <a:pt x="86967" y="74345"/>
                  </a:cubicBezTo>
                  <a:cubicBezTo>
                    <a:pt x="86194" y="74409"/>
                    <a:pt x="85698" y="74480"/>
                    <a:pt x="85617" y="74493"/>
                  </a:cubicBezTo>
                  <a:lnTo>
                    <a:pt x="82995" y="74912"/>
                  </a:lnTo>
                  <a:lnTo>
                    <a:pt x="82782" y="77558"/>
                  </a:lnTo>
                  <a:cubicBezTo>
                    <a:pt x="82280" y="84618"/>
                    <a:pt x="83733" y="91680"/>
                    <a:pt x="86981" y="97970"/>
                  </a:cubicBezTo>
                  <a:cubicBezTo>
                    <a:pt x="86208" y="98034"/>
                    <a:pt x="85712" y="98105"/>
                    <a:pt x="85631" y="98118"/>
                  </a:cubicBezTo>
                  <a:lnTo>
                    <a:pt x="83008" y="98537"/>
                  </a:lnTo>
                  <a:lnTo>
                    <a:pt x="82796" y="101183"/>
                  </a:lnTo>
                  <a:cubicBezTo>
                    <a:pt x="82294" y="108244"/>
                    <a:pt x="83747" y="115307"/>
                    <a:pt x="86994" y="121598"/>
                  </a:cubicBezTo>
                  <a:cubicBezTo>
                    <a:pt x="86221" y="121659"/>
                    <a:pt x="85725" y="121730"/>
                    <a:pt x="85644" y="121743"/>
                  </a:cubicBezTo>
                  <a:lnTo>
                    <a:pt x="83022" y="122162"/>
                  </a:lnTo>
                  <a:lnTo>
                    <a:pt x="82809" y="124808"/>
                  </a:lnTo>
                  <a:cubicBezTo>
                    <a:pt x="82762" y="125412"/>
                    <a:pt x="81712" y="139658"/>
                    <a:pt x="88844" y="147758"/>
                  </a:cubicBezTo>
                  <a:lnTo>
                    <a:pt x="88844" y="147758"/>
                  </a:lnTo>
                  <a:cubicBezTo>
                    <a:pt x="93510" y="152362"/>
                    <a:pt x="99759" y="155009"/>
                    <a:pt x="106313" y="155159"/>
                  </a:cubicBezTo>
                  <a:lnTo>
                    <a:pt x="106313" y="189709"/>
                  </a:lnTo>
                  <a:cubicBezTo>
                    <a:pt x="80875" y="190789"/>
                    <a:pt x="59400" y="192810"/>
                    <a:pt x="42188" y="195011"/>
                  </a:cubicBezTo>
                  <a:lnTo>
                    <a:pt x="42188" y="161909"/>
                  </a:lnTo>
                  <a:cubicBezTo>
                    <a:pt x="48756" y="161769"/>
                    <a:pt x="55021" y="159119"/>
                    <a:pt x="59697" y="154504"/>
                  </a:cubicBezTo>
                  <a:lnTo>
                    <a:pt x="59697" y="154504"/>
                  </a:lnTo>
                  <a:cubicBezTo>
                    <a:pt x="66832" y="146404"/>
                    <a:pt x="65772" y="132162"/>
                    <a:pt x="65735" y="131554"/>
                  </a:cubicBezTo>
                  <a:lnTo>
                    <a:pt x="65522" y="128908"/>
                  </a:lnTo>
                  <a:lnTo>
                    <a:pt x="62900" y="128490"/>
                  </a:lnTo>
                  <a:cubicBezTo>
                    <a:pt x="62805" y="128490"/>
                    <a:pt x="62309" y="128402"/>
                    <a:pt x="61550" y="128341"/>
                  </a:cubicBezTo>
                  <a:cubicBezTo>
                    <a:pt x="64797" y="122052"/>
                    <a:pt x="66250" y="114990"/>
                    <a:pt x="65748" y="107929"/>
                  </a:cubicBezTo>
                  <a:lnTo>
                    <a:pt x="65536" y="105283"/>
                  </a:lnTo>
                  <a:lnTo>
                    <a:pt x="62913" y="104865"/>
                  </a:lnTo>
                  <a:cubicBezTo>
                    <a:pt x="62819" y="104865"/>
                    <a:pt x="62323" y="104777"/>
                    <a:pt x="61563" y="104716"/>
                  </a:cubicBezTo>
                  <a:cubicBezTo>
                    <a:pt x="64811" y="98427"/>
                    <a:pt x="66263" y="91365"/>
                    <a:pt x="65762" y="84304"/>
                  </a:cubicBezTo>
                  <a:lnTo>
                    <a:pt x="65549" y="81658"/>
                  </a:lnTo>
                  <a:lnTo>
                    <a:pt x="62927" y="81240"/>
                  </a:lnTo>
                  <a:cubicBezTo>
                    <a:pt x="62832" y="81240"/>
                    <a:pt x="62336" y="81152"/>
                    <a:pt x="61577" y="81091"/>
                  </a:cubicBezTo>
                  <a:cubicBezTo>
                    <a:pt x="64781" y="74965"/>
                    <a:pt x="66243" y="68078"/>
                    <a:pt x="65806" y="61179"/>
                  </a:cubicBezTo>
                  <a:cubicBezTo>
                    <a:pt x="65806" y="61094"/>
                    <a:pt x="65853" y="61023"/>
                    <a:pt x="65853" y="60936"/>
                  </a:cubicBezTo>
                  <a:lnTo>
                    <a:pt x="65853" y="33750"/>
                  </a:lnTo>
                  <a:cubicBezTo>
                    <a:pt x="65853" y="31886"/>
                    <a:pt x="64342" y="30375"/>
                    <a:pt x="62478" y="30375"/>
                  </a:cubicBezTo>
                  <a:cubicBezTo>
                    <a:pt x="60614" y="30375"/>
                    <a:pt x="59103" y="31886"/>
                    <a:pt x="59103" y="33750"/>
                  </a:cubicBezTo>
                  <a:lnTo>
                    <a:pt x="59103" y="57375"/>
                  </a:lnTo>
                  <a:cubicBezTo>
                    <a:pt x="56489" y="57380"/>
                    <a:pt x="53888" y="57753"/>
                    <a:pt x="51378" y="58482"/>
                  </a:cubicBezTo>
                  <a:cubicBezTo>
                    <a:pt x="51887" y="56720"/>
                    <a:pt x="52214" y="54911"/>
                    <a:pt x="52353" y="53082"/>
                  </a:cubicBezTo>
                  <a:cubicBezTo>
                    <a:pt x="52353" y="43777"/>
                    <a:pt x="45039" y="35265"/>
                    <a:pt x="42228" y="32336"/>
                  </a:cubicBezTo>
                  <a:lnTo>
                    <a:pt x="42228" y="10125"/>
                  </a:lnTo>
                  <a:cubicBezTo>
                    <a:pt x="42228" y="8261"/>
                    <a:pt x="40717" y="6750"/>
                    <a:pt x="38853" y="6750"/>
                  </a:cubicBezTo>
                  <a:cubicBezTo>
                    <a:pt x="36989" y="6750"/>
                    <a:pt x="35478" y="8261"/>
                    <a:pt x="35478" y="10125"/>
                  </a:cubicBezTo>
                  <a:lnTo>
                    <a:pt x="35478" y="32356"/>
                  </a:lnTo>
                  <a:cubicBezTo>
                    <a:pt x="32670" y="35289"/>
                    <a:pt x="25353" y="43831"/>
                    <a:pt x="25353" y="53332"/>
                  </a:cubicBezTo>
                  <a:cubicBezTo>
                    <a:pt x="25476" y="55061"/>
                    <a:pt x="25758" y="56775"/>
                    <a:pt x="26197" y="58452"/>
                  </a:cubicBezTo>
                  <a:cubicBezTo>
                    <a:pt x="23737" y="57747"/>
                    <a:pt x="21192" y="57384"/>
                    <a:pt x="18633" y="57375"/>
                  </a:cubicBezTo>
                  <a:lnTo>
                    <a:pt x="18633" y="33750"/>
                  </a:lnTo>
                  <a:cubicBezTo>
                    <a:pt x="18633" y="31886"/>
                    <a:pt x="17122" y="30375"/>
                    <a:pt x="15258" y="30375"/>
                  </a:cubicBezTo>
                  <a:cubicBezTo>
                    <a:pt x="13394" y="30375"/>
                    <a:pt x="11883" y="31886"/>
                    <a:pt x="11883" y="33750"/>
                  </a:cubicBezTo>
                  <a:lnTo>
                    <a:pt x="11883" y="60845"/>
                  </a:lnTo>
                  <a:cubicBezTo>
                    <a:pt x="11395" y="67853"/>
                    <a:pt x="12852" y="74861"/>
                    <a:pt x="16092" y="81095"/>
                  </a:cubicBezTo>
                  <a:cubicBezTo>
                    <a:pt x="15319" y="81159"/>
                    <a:pt x="14823" y="81230"/>
                    <a:pt x="14742" y="81243"/>
                  </a:cubicBezTo>
                  <a:lnTo>
                    <a:pt x="12120" y="81662"/>
                  </a:lnTo>
                  <a:lnTo>
                    <a:pt x="11907" y="84308"/>
                  </a:lnTo>
                  <a:cubicBezTo>
                    <a:pt x="11405" y="91368"/>
                    <a:pt x="12858" y="98430"/>
                    <a:pt x="16106" y="104720"/>
                  </a:cubicBezTo>
                  <a:cubicBezTo>
                    <a:pt x="15333" y="104784"/>
                    <a:pt x="14837" y="104855"/>
                    <a:pt x="14755" y="104868"/>
                  </a:cubicBezTo>
                  <a:lnTo>
                    <a:pt x="12133" y="105287"/>
                  </a:lnTo>
                  <a:lnTo>
                    <a:pt x="11920" y="107933"/>
                  </a:lnTo>
                  <a:cubicBezTo>
                    <a:pt x="11419" y="114993"/>
                    <a:pt x="12871" y="122055"/>
                    <a:pt x="16119" y="128345"/>
                  </a:cubicBezTo>
                  <a:cubicBezTo>
                    <a:pt x="15346" y="128405"/>
                    <a:pt x="14850" y="128480"/>
                    <a:pt x="14769" y="128493"/>
                  </a:cubicBezTo>
                  <a:lnTo>
                    <a:pt x="12147" y="128912"/>
                  </a:lnTo>
                  <a:lnTo>
                    <a:pt x="11934" y="131558"/>
                  </a:lnTo>
                  <a:cubicBezTo>
                    <a:pt x="11887" y="132162"/>
                    <a:pt x="10837" y="146408"/>
                    <a:pt x="17969" y="154508"/>
                  </a:cubicBezTo>
                  <a:lnTo>
                    <a:pt x="17969" y="154508"/>
                  </a:lnTo>
                  <a:cubicBezTo>
                    <a:pt x="22635" y="159112"/>
                    <a:pt x="28884" y="161759"/>
                    <a:pt x="35438" y="161909"/>
                  </a:cubicBezTo>
                  <a:lnTo>
                    <a:pt x="35438" y="195915"/>
                  </a:lnTo>
                  <a:cubicBezTo>
                    <a:pt x="19126" y="198183"/>
                    <a:pt x="7202" y="200512"/>
                    <a:pt x="0" y="202095"/>
                  </a:cubicBezTo>
                  <a:lnTo>
                    <a:pt x="0" y="209004"/>
                  </a:lnTo>
                  <a:lnTo>
                    <a:pt x="736" y="208842"/>
                  </a:lnTo>
                  <a:cubicBezTo>
                    <a:pt x="18563" y="204862"/>
                    <a:pt x="68364" y="195635"/>
                    <a:pt x="145280" y="195635"/>
                  </a:cubicBezTo>
                  <a:cubicBezTo>
                    <a:pt x="221866" y="195635"/>
                    <a:pt x="271667" y="204822"/>
                    <a:pt x="289521" y="208771"/>
                  </a:cubicBezTo>
                  <a:lnTo>
                    <a:pt x="290250" y="208933"/>
                  </a:lnTo>
                  <a:close/>
                  <a:moveTo>
                    <a:pt x="54631" y="150049"/>
                  </a:moveTo>
                  <a:cubicBezTo>
                    <a:pt x="51292" y="153196"/>
                    <a:pt x="46915" y="155009"/>
                    <a:pt x="42329" y="155145"/>
                  </a:cubicBezTo>
                  <a:cubicBezTo>
                    <a:pt x="42717" y="150420"/>
                    <a:pt x="44000" y="143269"/>
                    <a:pt x="47392" y="139398"/>
                  </a:cubicBezTo>
                  <a:cubicBezTo>
                    <a:pt x="50506" y="136380"/>
                    <a:pt x="54731" y="134787"/>
                    <a:pt x="59063" y="135000"/>
                  </a:cubicBezTo>
                  <a:cubicBezTo>
                    <a:pt x="59235" y="140360"/>
                    <a:pt x="57681" y="145632"/>
                    <a:pt x="54631" y="150042"/>
                  </a:cubicBezTo>
                  <a:close/>
                  <a:moveTo>
                    <a:pt x="54631" y="126424"/>
                  </a:moveTo>
                  <a:cubicBezTo>
                    <a:pt x="51292" y="129571"/>
                    <a:pt x="46915" y="131384"/>
                    <a:pt x="42329" y="131520"/>
                  </a:cubicBezTo>
                  <a:cubicBezTo>
                    <a:pt x="42717" y="126795"/>
                    <a:pt x="44000" y="119644"/>
                    <a:pt x="47392" y="115773"/>
                  </a:cubicBezTo>
                  <a:cubicBezTo>
                    <a:pt x="50506" y="112755"/>
                    <a:pt x="54731" y="111162"/>
                    <a:pt x="59063" y="111375"/>
                  </a:cubicBezTo>
                  <a:cubicBezTo>
                    <a:pt x="59235" y="116735"/>
                    <a:pt x="57681" y="122007"/>
                    <a:pt x="54631" y="126417"/>
                  </a:cubicBezTo>
                  <a:close/>
                  <a:moveTo>
                    <a:pt x="54631" y="102799"/>
                  </a:moveTo>
                  <a:cubicBezTo>
                    <a:pt x="51292" y="105946"/>
                    <a:pt x="46915" y="107759"/>
                    <a:pt x="42329" y="107895"/>
                  </a:cubicBezTo>
                  <a:cubicBezTo>
                    <a:pt x="42717" y="103170"/>
                    <a:pt x="44000" y="96019"/>
                    <a:pt x="47392" y="92148"/>
                  </a:cubicBezTo>
                  <a:cubicBezTo>
                    <a:pt x="50506" y="89130"/>
                    <a:pt x="54731" y="87537"/>
                    <a:pt x="59063" y="87750"/>
                  </a:cubicBezTo>
                  <a:cubicBezTo>
                    <a:pt x="59235" y="93110"/>
                    <a:pt x="57681" y="98382"/>
                    <a:pt x="54631" y="102792"/>
                  </a:cubicBezTo>
                  <a:close/>
                  <a:moveTo>
                    <a:pt x="59063" y="64125"/>
                  </a:moveTo>
                  <a:cubicBezTo>
                    <a:pt x="59237" y="69482"/>
                    <a:pt x="57687" y="74754"/>
                    <a:pt x="54641" y="79164"/>
                  </a:cubicBezTo>
                  <a:cubicBezTo>
                    <a:pt x="51302" y="82311"/>
                    <a:pt x="46925" y="84124"/>
                    <a:pt x="42339" y="84260"/>
                  </a:cubicBezTo>
                  <a:cubicBezTo>
                    <a:pt x="42728" y="79535"/>
                    <a:pt x="44010" y="72384"/>
                    <a:pt x="47402" y="68513"/>
                  </a:cubicBezTo>
                  <a:cubicBezTo>
                    <a:pt x="50515" y="65501"/>
                    <a:pt x="54736" y="63913"/>
                    <a:pt x="59063" y="64125"/>
                  </a:cubicBezTo>
                  <a:close/>
                  <a:moveTo>
                    <a:pt x="22994" y="150042"/>
                  </a:moveTo>
                  <a:cubicBezTo>
                    <a:pt x="19945" y="145632"/>
                    <a:pt x="18391" y="140359"/>
                    <a:pt x="18563" y="135000"/>
                  </a:cubicBezTo>
                  <a:cubicBezTo>
                    <a:pt x="22883" y="134792"/>
                    <a:pt x="27097" y="136380"/>
                    <a:pt x="30206" y="139388"/>
                  </a:cubicBezTo>
                  <a:cubicBezTo>
                    <a:pt x="33612" y="143255"/>
                    <a:pt x="34898" y="150397"/>
                    <a:pt x="35269" y="155125"/>
                  </a:cubicBezTo>
                  <a:cubicBezTo>
                    <a:pt x="30696" y="154976"/>
                    <a:pt x="26334" y="153169"/>
                    <a:pt x="22994" y="150042"/>
                  </a:cubicBezTo>
                  <a:close/>
                  <a:moveTo>
                    <a:pt x="22994" y="126417"/>
                  </a:moveTo>
                  <a:cubicBezTo>
                    <a:pt x="19945" y="122007"/>
                    <a:pt x="18391" y="116734"/>
                    <a:pt x="18563" y="111375"/>
                  </a:cubicBezTo>
                  <a:cubicBezTo>
                    <a:pt x="22883" y="111167"/>
                    <a:pt x="27097" y="112755"/>
                    <a:pt x="30206" y="115763"/>
                  </a:cubicBezTo>
                  <a:cubicBezTo>
                    <a:pt x="33612" y="119630"/>
                    <a:pt x="34898" y="126772"/>
                    <a:pt x="35269" y="131500"/>
                  </a:cubicBezTo>
                  <a:cubicBezTo>
                    <a:pt x="30696" y="131351"/>
                    <a:pt x="26334" y="129544"/>
                    <a:pt x="22994" y="126417"/>
                  </a:cubicBezTo>
                  <a:close/>
                  <a:moveTo>
                    <a:pt x="22994" y="102792"/>
                  </a:moveTo>
                  <a:cubicBezTo>
                    <a:pt x="19945" y="98382"/>
                    <a:pt x="18391" y="93109"/>
                    <a:pt x="18563" y="87750"/>
                  </a:cubicBezTo>
                  <a:cubicBezTo>
                    <a:pt x="22883" y="87542"/>
                    <a:pt x="27097" y="89130"/>
                    <a:pt x="30206" y="92138"/>
                  </a:cubicBezTo>
                  <a:cubicBezTo>
                    <a:pt x="33612" y="96005"/>
                    <a:pt x="34898" y="103147"/>
                    <a:pt x="35269" y="107875"/>
                  </a:cubicBezTo>
                  <a:cubicBezTo>
                    <a:pt x="30696" y="107726"/>
                    <a:pt x="26334" y="105919"/>
                    <a:pt x="22994" y="102792"/>
                  </a:cubicBezTo>
                  <a:close/>
                  <a:moveTo>
                    <a:pt x="22994" y="79167"/>
                  </a:moveTo>
                  <a:cubicBezTo>
                    <a:pt x="19945" y="74757"/>
                    <a:pt x="18391" y="69484"/>
                    <a:pt x="18563" y="64125"/>
                  </a:cubicBezTo>
                  <a:cubicBezTo>
                    <a:pt x="22883" y="63917"/>
                    <a:pt x="27097" y="65505"/>
                    <a:pt x="30206" y="68513"/>
                  </a:cubicBezTo>
                  <a:cubicBezTo>
                    <a:pt x="33612" y="72380"/>
                    <a:pt x="34898" y="79522"/>
                    <a:pt x="35269" y="84250"/>
                  </a:cubicBezTo>
                  <a:cubicBezTo>
                    <a:pt x="30696" y="84101"/>
                    <a:pt x="26334" y="82294"/>
                    <a:pt x="22994" y="79167"/>
                  </a:cubicBezTo>
                  <a:close/>
                  <a:moveTo>
                    <a:pt x="37328" y="64888"/>
                  </a:moveTo>
                  <a:cubicBezTo>
                    <a:pt x="34169" y="61748"/>
                    <a:pt x="32292" y="57544"/>
                    <a:pt x="32063" y="53096"/>
                  </a:cubicBezTo>
                  <a:cubicBezTo>
                    <a:pt x="32676" y="47682"/>
                    <a:pt x="35047" y="42618"/>
                    <a:pt x="38813" y="38681"/>
                  </a:cubicBezTo>
                  <a:cubicBezTo>
                    <a:pt x="41496" y="41799"/>
                    <a:pt x="45563" y="47422"/>
                    <a:pt x="45563" y="52856"/>
                  </a:cubicBezTo>
                  <a:cubicBezTo>
                    <a:pt x="45155" y="57508"/>
                    <a:pt x="43176" y="61883"/>
                    <a:pt x="39950" y="65259"/>
                  </a:cubicBezTo>
                  <a:cubicBezTo>
                    <a:pt x="39059" y="65448"/>
                    <a:pt x="38131" y="65316"/>
                    <a:pt x="37328" y="64888"/>
                  </a:cubicBezTo>
                  <a:close/>
                  <a:moveTo>
                    <a:pt x="125506" y="143292"/>
                  </a:moveTo>
                  <a:cubicBezTo>
                    <a:pt x="122167" y="146439"/>
                    <a:pt x="117790" y="148252"/>
                    <a:pt x="113204" y="148389"/>
                  </a:cubicBezTo>
                  <a:cubicBezTo>
                    <a:pt x="113592" y="143664"/>
                    <a:pt x="114875" y="136512"/>
                    <a:pt x="118267" y="132641"/>
                  </a:cubicBezTo>
                  <a:cubicBezTo>
                    <a:pt x="121382" y="129625"/>
                    <a:pt x="125607" y="128036"/>
                    <a:pt x="129938" y="128250"/>
                  </a:cubicBezTo>
                  <a:cubicBezTo>
                    <a:pt x="130110" y="133610"/>
                    <a:pt x="128556" y="138882"/>
                    <a:pt x="125506" y="143292"/>
                  </a:cubicBezTo>
                  <a:close/>
                  <a:moveTo>
                    <a:pt x="125506" y="119667"/>
                  </a:moveTo>
                  <a:cubicBezTo>
                    <a:pt x="122167" y="122814"/>
                    <a:pt x="117790" y="124627"/>
                    <a:pt x="113204" y="124764"/>
                  </a:cubicBezTo>
                  <a:cubicBezTo>
                    <a:pt x="113592" y="120039"/>
                    <a:pt x="114875" y="112887"/>
                    <a:pt x="118267" y="109016"/>
                  </a:cubicBezTo>
                  <a:cubicBezTo>
                    <a:pt x="121382" y="106000"/>
                    <a:pt x="125607" y="104411"/>
                    <a:pt x="129938" y="104625"/>
                  </a:cubicBezTo>
                  <a:cubicBezTo>
                    <a:pt x="130110" y="109985"/>
                    <a:pt x="128556" y="115257"/>
                    <a:pt x="125506" y="119667"/>
                  </a:cubicBezTo>
                  <a:close/>
                  <a:moveTo>
                    <a:pt x="125506" y="96042"/>
                  </a:moveTo>
                  <a:cubicBezTo>
                    <a:pt x="122167" y="99189"/>
                    <a:pt x="117790" y="101002"/>
                    <a:pt x="113204" y="101139"/>
                  </a:cubicBezTo>
                  <a:cubicBezTo>
                    <a:pt x="113592" y="96414"/>
                    <a:pt x="114875" y="89262"/>
                    <a:pt x="118267" y="85391"/>
                  </a:cubicBezTo>
                  <a:cubicBezTo>
                    <a:pt x="121382" y="82375"/>
                    <a:pt x="125607" y="80786"/>
                    <a:pt x="129938" y="81000"/>
                  </a:cubicBezTo>
                  <a:cubicBezTo>
                    <a:pt x="130110" y="86360"/>
                    <a:pt x="128556" y="91632"/>
                    <a:pt x="125506" y="96042"/>
                  </a:cubicBezTo>
                  <a:close/>
                  <a:moveTo>
                    <a:pt x="129938" y="57375"/>
                  </a:moveTo>
                  <a:cubicBezTo>
                    <a:pt x="130112" y="62732"/>
                    <a:pt x="128562" y="68004"/>
                    <a:pt x="125516" y="72414"/>
                  </a:cubicBezTo>
                  <a:cubicBezTo>
                    <a:pt x="122177" y="75561"/>
                    <a:pt x="117800" y="77374"/>
                    <a:pt x="113214" y="77510"/>
                  </a:cubicBezTo>
                  <a:cubicBezTo>
                    <a:pt x="113603" y="72785"/>
                    <a:pt x="114885" y="65634"/>
                    <a:pt x="118277" y="61762"/>
                  </a:cubicBezTo>
                  <a:cubicBezTo>
                    <a:pt x="121390" y="58751"/>
                    <a:pt x="125611" y="57163"/>
                    <a:pt x="129938" y="57375"/>
                  </a:cubicBezTo>
                  <a:close/>
                  <a:moveTo>
                    <a:pt x="93869" y="143292"/>
                  </a:moveTo>
                  <a:cubicBezTo>
                    <a:pt x="90820" y="138882"/>
                    <a:pt x="89266" y="133609"/>
                    <a:pt x="89438" y="128250"/>
                  </a:cubicBezTo>
                  <a:cubicBezTo>
                    <a:pt x="93758" y="128042"/>
                    <a:pt x="97972" y="129630"/>
                    <a:pt x="101081" y="132638"/>
                  </a:cubicBezTo>
                  <a:cubicBezTo>
                    <a:pt x="104487" y="136505"/>
                    <a:pt x="105773" y="143647"/>
                    <a:pt x="106161" y="148375"/>
                  </a:cubicBezTo>
                  <a:cubicBezTo>
                    <a:pt x="101582" y="148230"/>
                    <a:pt x="97213" y="146423"/>
                    <a:pt x="93869" y="143292"/>
                  </a:cubicBezTo>
                  <a:close/>
                  <a:moveTo>
                    <a:pt x="93869" y="119667"/>
                  </a:moveTo>
                  <a:cubicBezTo>
                    <a:pt x="90820" y="115257"/>
                    <a:pt x="89266" y="109984"/>
                    <a:pt x="89438" y="104625"/>
                  </a:cubicBezTo>
                  <a:cubicBezTo>
                    <a:pt x="93758" y="104417"/>
                    <a:pt x="97972" y="106005"/>
                    <a:pt x="101081" y="109013"/>
                  </a:cubicBezTo>
                  <a:cubicBezTo>
                    <a:pt x="104487" y="112880"/>
                    <a:pt x="105773" y="120022"/>
                    <a:pt x="106161" y="124750"/>
                  </a:cubicBezTo>
                  <a:cubicBezTo>
                    <a:pt x="101582" y="124605"/>
                    <a:pt x="97213" y="122798"/>
                    <a:pt x="93869" y="119667"/>
                  </a:cubicBezTo>
                  <a:close/>
                  <a:moveTo>
                    <a:pt x="93869" y="96042"/>
                  </a:moveTo>
                  <a:cubicBezTo>
                    <a:pt x="90820" y="91632"/>
                    <a:pt x="89266" y="86359"/>
                    <a:pt x="89438" y="81000"/>
                  </a:cubicBezTo>
                  <a:cubicBezTo>
                    <a:pt x="93758" y="80792"/>
                    <a:pt x="97972" y="82380"/>
                    <a:pt x="101081" y="85388"/>
                  </a:cubicBezTo>
                  <a:cubicBezTo>
                    <a:pt x="104487" y="89255"/>
                    <a:pt x="105773" y="96397"/>
                    <a:pt x="106161" y="101125"/>
                  </a:cubicBezTo>
                  <a:cubicBezTo>
                    <a:pt x="101582" y="100980"/>
                    <a:pt x="97213" y="99173"/>
                    <a:pt x="93869" y="96042"/>
                  </a:cubicBezTo>
                  <a:close/>
                  <a:moveTo>
                    <a:pt x="93869" y="72417"/>
                  </a:moveTo>
                  <a:cubicBezTo>
                    <a:pt x="90820" y="68007"/>
                    <a:pt x="89266" y="62734"/>
                    <a:pt x="89438" y="57375"/>
                  </a:cubicBezTo>
                  <a:cubicBezTo>
                    <a:pt x="93758" y="57167"/>
                    <a:pt x="97972" y="58755"/>
                    <a:pt x="101081" y="61762"/>
                  </a:cubicBezTo>
                  <a:cubicBezTo>
                    <a:pt x="104487" y="65630"/>
                    <a:pt x="105773" y="72772"/>
                    <a:pt x="106161" y="77500"/>
                  </a:cubicBezTo>
                  <a:cubicBezTo>
                    <a:pt x="101582" y="77355"/>
                    <a:pt x="97213" y="75548"/>
                    <a:pt x="93869" y="72417"/>
                  </a:cubicBezTo>
                  <a:close/>
                  <a:moveTo>
                    <a:pt x="108203" y="58138"/>
                  </a:moveTo>
                  <a:cubicBezTo>
                    <a:pt x="105044" y="54998"/>
                    <a:pt x="103167" y="50794"/>
                    <a:pt x="102938" y="46346"/>
                  </a:cubicBezTo>
                  <a:cubicBezTo>
                    <a:pt x="103551" y="40932"/>
                    <a:pt x="105922" y="35868"/>
                    <a:pt x="109688" y="31931"/>
                  </a:cubicBezTo>
                  <a:cubicBezTo>
                    <a:pt x="112388" y="35049"/>
                    <a:pt x="116438" y="40672"/>
                    <a:pt x="116438" y="46106"/>
                  </a:cubicBezTo>
                  <a:cubicBezTo>
                    <a:pt x="116030" y="50758"/>
                    <a:pt x="114051" y="55133"/>
                    <a:pt x="110825" y="58509"/>
                  </a:cubicBezTo>
                  <a:cubicBezTo>
                    <a:pt x="109934" y="58696"/>
                    <a:pt x="109006" y="58565"/>
                    <a:pt x="108203" y="58138"/>
                  </a:cubicBezTo>
                  <a:close/>
                  <a:moveTo>
                    <a:pt x="196381" y="143292"/>
                  </a:moveTo>
                  <a:cubicBezTo>
                    <a:pt x="193042" y="146439"/>
                    <a:pt x="188665" y="148252"/>
                    <a:pt x="184079" y="148389"/>
                  </a:cubicBezTo>
                  <a:cubicBezTo>
                    <a:pt x="184467" y="143664"/>
                    <a:pt x="185750" y="136512"/>
                    <a:pt x="189142" y="132641"/>
                  </a:cubicBezTo>
                  <a:cubicBezTo>
                    <a:pt x="192257" y="129625"/>
                    <a:pt x="196482" y="128036"/>
                    <a:pt x="200813" y="128250"/>
                  </a:cubicBezTo>
                  <a:cubicBezTo>
                    <a:pt x="200985" y="133610"/>
                    <a:pt x="199431" y="138882"/>
                    <a:pt x="196381" y="143292"/>
                  </a:cubicBezTo>
                  <a:close/>
                  <a:moveTo>
                    <a:pt x="196381" y="119667"/>
                  </a:moveTo>
                  <a:cubicBezTo>
                    <a:pt x="193042" y="122814"/>
                    <a:pt x="188665" y="124627"/>
                    <a:pt x="184079" y="124764"/>
                  </a:cubicBezTo>
                  <a:cubicBezTo>
                    <a:pt x="184467" y="120039"/>
                    <a:pt x="185750" y="112887"/>
                    <a:pt x="189142" y="109016"/>
                  </a:cubicBezTo>
                  <a:cubicBezTo>
                    <a:pt x="192257" y="106000"/>
                    <a:pt x="196482" y="104411"/>
                    <a:pt x="200813" y="104625"/>
                  </a:cubicBezTo>
                  <a:cubicBezTo>
                    <a:pt x="200985" y="109985"/>
                    <a:pt x="199431" y="115257"/>
                    <a:pt x="196381" y="119667"/>
                  </a:cubicBezTo>
                  <a:close/>
                  <a:moveTo>
                    <a:pt x="196381" y="96042"/>
                  </a:moveTo>
                  <a:cubicBezTo>
                    <a:pt x="193042" y="99189"/>
                    <a:pt x="188665" y="101002"/>
                    <a:pt x="184079" y="101139"/>
                  </a:cubicBezTo>
                  <a:cubicBezTo>
                    <a:pt x="184467" y="96414"/>
                    <a:pt x="185750" y="89262"/>
                    <a:pt x="189142" y="85391"/>
                  </a:cubicBezTo>
                  <a:cubicBezTo>
                    <a:pt x="192257" y="82375"/>
                    <a:pt x="196482" y="80786"/>
                    <a:pt x="200813" y="81000"/>
                  </a:cubicBezTo>
                  <a:cubicBezTo>
                    <a:pt x="200985" y="86360"/>
                    <a:pt x="199431" y="91632"/>
                    <a:pt x="196381" y="96042"/>
                  </a:cubicBezTo>
                  <a:close/>
                  <a:moveTo>
                    <a:pt x="200813" y="57375"/>
                  </a:moveTo>
                  <a:cubicBezTo>
                    <a:pt x="200987" y="62732"/>
                    <a:pt x="199437" y="68004"/>
                    <a:pt x="196391" y="72414"/>
                  </a:cubicBezTo>
                  <a:cubicBezTo>
                    <a:pt x="193052" y="75561"/>
                    <a:pt x="188675" y="77374"/>
                    <a:pt x="184089" y="77510"/>
                  </a:cubicBezTo>
                  <a:cubicBezTo>
                    <a:pt x="184478" y="72785"/>
                    <a:pt x="185760" y="65634"/>
                    <a:pt x="189152" y="61762"/>
                  </a:cubicBezTo>
                  <a:cubicBezTo>
                    <a:pt x="192265" y="58751"/>
                    <a:pt x="196486" y="57163"/>
                    <a:pt x="200813" y="57375"/>
                  </a:cubicBezTo>
                  <a:close/>
                  <a:moveTo>
                    <a:pt x="164744" y="143292"/>
                  </a:moveTo>
                  <a:cubicBezTo>
                    <a:pt x="161695" y="138882"/>
                    <a:pt x="160141" y="133609"/>
                    <a:pt x="160313" y="128250"/>
                  </a:cubicBezTo>
                  <a:cubicBezTo>
                    <a:pt x="164633" y="128042"/>
                    <a:pt x="168847" y="129630"/>
                    <a:pt x="171956" y="132638"/>
                  </a:cubicBezTo>
                  <a:cubicBezTo>
                    <a:pt x="175362" y="136505"/>
                    <a:pt x="176648" y="143647"/>
                    <a:pt x="177036" y="148375"/>
                  </a:cubicBezTo>
                  <a:cubicBezTo>
                    <a:pt x="172457" y="148230"/>
                    <a:pt x="168088" y="146423"/>
                    <a:pt x="164744" y="143292"/>
                  </a:cubicBezTo>
                  <a:close/>
                  <a:moveTo>
                    <a:pt x="164744" y="119667"/>
                  </a:moveTo>
                  <a:cubicBezTo>
                    <a:pt x="161695" y="115257"/>
                    <a:pt x="160141" y="109984"/>
                    <a:pt x="160313" y="104625"/>
                  </a:cubicBezTo>
                  <a:cubicBezTo>
                    <a:pt x="164633" y="104417"/>
                    <a:pt x="168847" y="106005"/>
                    <a:pt x="171956" y="109013"/>
                  </a:cubicBezTo>
                  <a:cubicBezTo>
                    <a:pt x="175362" y="112880"/>
                    <a:pt x="176648" y="120022"/>
                    <a:pt x="177036" y="124750"/>
                  </a:cubicBezTo>
                  <a:cubicBezTo>
                    <a:pt x="172457" y="124605"/>
                    <a:pt x="168088" y="122798"/>
                    <a:pt x="164744" y="119667"/>
                  </a:cubicBezTo>
                  <a:close/>
                  <a:moveTo>
                    <a:pt x="164744" y="96042"/>
                  </a:moveTo>
                  <a:cubicBezTo>
                    <a:pt x="161695" y="91632"/>
                    <a:pt x="160141" y="86359"/>
                    <a:pt x="160313" y="81000"/>
                  </a:cubicBezTo>
                  <a:cubicBezTo>
                    <a:pt x="164633" y="80792"/>
                    <a:pt x="168847" y="82380"/>
                    <a:pt x="171956" y="85388"/>
                  </a:cubicBezTo>
                  <a:cubicBezTo>
                    <a:pt x="175362" y="89255"/>
                    <a:pt x="176648" y="96397"/>
                    <a:pt x="177036" y="101125"/>
                  </a:cubicBezTo>
                  <a:cubicBezTo>
                    <a:pt x="172457" y="100980"/>
                    <a:pt x="168088" y="99173"/>
                    <a:pt x="164744" y="96042"/>
                  </a:cubicBezTo>
                  <a:close/>
                  <a:moveTo>
                    <a:pt x="164744" y="72417"/>
                  </a:moveTo>
                  <a:cubicBezTo>
                    <a:pt x="161695" y="68007"/>
                    <a:pt x="160141" y="62734"/>
                    <a:pt x="160313" y="57375"/>
                  </a:cubicBezTo>
                  <a:cubicBezTo>
                    <a:pt x="164633" y="57167"/>
                    <a:pt x="168847" y="58755"/>
                    <a:pt x="171956" y="61762"/>
                  </a:cubicBezTo>
                  <a:cubicBezTo>
                    <a:pt x="175362" y="65630"/>
                    <a:pt x="176648" y="72772"/>
                    <a:pt x="177036" y="77500"/>
                  </a:cubicBezTo>
                  <a:cubicBezTo>
                    <a:pt x="172457" y="77355"/>
                    <a:pt x="168088" y="75548"/>
                    <a:pt x="164744" y="72417"/>
                  </a:cubicBezTo>
                  <a:close/>
                  <a:moveTo>
                    <a:pt x="179078" y="58138"/>
                  </a:moveTo>
                  <a:cubicBezTo>
                    <a:pt x="175919" y="54998"/>
                    <a:pt x="174042" y="50794"/>
                    <a:pt x="173813" y="46346"/>
                  </a:cubicBezTo>
                  <a:cubicBezTo>
                    <a:pt x="174426" y="40932"/>
                    <a:pt x="176797" y="35868"/>
                    <a:pt x="180563" y="31931"/>
                  </a:cubicBezTo>
                  <a:cubicBezTo>
                    <a:pt x="183263" y="35049"/>
                    <a:pt x="187313" y="40672"/>
                    <a:pt x="187313" y="46106"/>
                  </a:cubicBezTo>
                  <a:cubicBezTo>
                    <a:pt x="186905" y="50758"/>
                    <a:pt x="184926" y="55133"/>
                    <a:pt x="181700" y="58509"/>
                  </a:cubicBezTo>
                  <a:cubicBezTo>
                    <a:pt x="180809" y="58696"/>
                    <a:pt x="179881" y="58565"/>
                    <a:pt x="179078" y="58138"/>
                  </a:cubicBezTo>
                  <a:close/>
                  <a:moveTo>
                    <a:pt x="267256" y="150042"/>
                  </a:moveTo>
                  <a:cubicBezTo>
                    <a:pt x="263917" y="153189"/>
                    <a:pt x="259540" y="155002"/>
                    <a:pt x="254954" y="155139"/>
                  </a:cubicBezTo>
                  <a:cubicBezTo>
                    <a:pt x="255342" y="150414"/>
                    <a:pt x="256642" y="143262"/>
                    <a:pt x="260017" y="139391"/>
                  </a:cubicBezTo>
                  <a:cubicBezTo>
                    <a:pt x="263132" y="136375"/>
                    <a:pt x="267357" y="134786"/>
                    <a:pt x="271688" y="135000"/>
                  </a:cubicBezTo>
                  <a:cubicBezTo>
                    <a:pt x="271860" y="140360"/>
                    <a:pt x="270306" y="145632"/>
                    <a:pt x="267256" y="150042"/>
                  </a:cubicBezTo>
                  <a:close/>
                  <a:moveTo>
                    <a:pt x="267256" y="126417"/>
                  </a:moveTo>
                  <a:cubicBezTo>
                    <a:pt x="263917" y="129564"/>
                    <a:pt x="259540" y="131377"/>
                    <a:pt x="254954" y="131514"/>
                  </a:cubicBezTo>
                  <a:cubicBezTo>
                    <a:pt x="255342" y="126789"/>
                    <a:pt x="256642" y="119637"/>
                    <a:pt x="260017" y="115766"/>
                  </a:cubicBezTo>
                  <a:cubicBezTo>
                    <a:pt x="263132" y="112750"/>
                    <a:pt x="267357" y="111161"/>
                    <a:pt x="271688" y="111375"/>
                  </a:cubicBezTo>
                  <a:cubicBezTo>
                    <a:pt x="271860" y="116735"/>
                    <a:pt x="270306" y="122007"/>
                    <a:pt x="267256" y="126417"/>
                  </a:cubicBezTo>
                  <a:close/>
                  <a:moveTo>
                    <a:pt x="267256" y="102792"/>
                  </a:moveTo>
                  <a:cubicBezTo>
                    <a:pt x="263917" y="105939"/>
                    <a:pt x="259540" y="107752"/>
                    <a:pt x="254954" y="107889"/>
                  </a:cubicBezTo>
                  <a:cubicBezTo>
                    <a:pt x="255342" y="103164"/>
                    <a:pt x="256642" y="96012"/>
                    <a:pt x="260017" y="92141"/>
                  </a:cubicBezTo>
                  <a:cubicBezTo>
                    <a:pt x="263132" y="89125"/>
                    <a:pt x="267357" y="87536"/>
                    <a:pt x="271688" y="87750"/>
                  </a:cubicBezTo>
                  <a:cubicBezTo>
                    <a:pt x="271860" y="93110"/>
                    <a:pt x="270306" y="98382"/>
                    <a:pt x="267256" y="102792"/>
                  </a:cubicBezTo>
                  <a:close/>
                  <a:moveTo>
                    <a:pt x="271688" y="64125"/>
                  </a:moveTo>
                  <a:cubicBezTo>
                    <a:pt x="271862" y="69482"/>
                    <a:pt x="270312" y="74754"/>
                    <a:pt x="267266" y="79164"/>
                  </a:cubicBezTo>
                  <a:cubicBezTo>
                    <a:pt x="263927" y="82311"/>
                    <a:pt x="259550" y="84124"/>
                    <a:pt x="254964" y="84260"/>
                  </a:cubicBezTo>
                  <a:cubicBezTo>
                    <a:pt x="255353" y="79535"/>
                    <a:pt x="256652" y="72384"/>
                    <a:pt x="260027" y="68513"/>
                  </a:cubicBezTo>
                  <a:cubicBezTo>
                    <a:pt x="263140" y="65501"/>
                    <a:pt x="267361" y="63913"/>
                    <a:pt x="271688" y="64125"/>
                  </a:cubicBezTo>
                  <a:close/>
                  <a:moveTo>
                    <a:pt x="235619" y="150042"/>
                  </a:moveTo>
                  <a:cubicBezTo>
                    <a:pt x="232570" y="145632"/>
                    <a:pt x="231016" y="140359"/>
                    <a:pt x="231188" y="135000"/>
                  </a:cubicBezTo>
                  <a:cubicBezTo>
                    <a:pt x="235508" y="134792"/>
                    <a:pt x="239722" y="136380"/>
                    <a:pt x="242831" y="139388"/>
                  </a:cubicBezTo>
                  <a:cubicBezTo>
                    <a:pt x="246237" y="143255"/>
                    <a:pt x="247522" y="150397"/>
                    <a:pt x="247911" y="155125"/>
                  </a:cubicBezTo>
                  <a:cubicBezTo>
                    <a:pt x="243332" y="154980"/>
                    <a:pt x="238963" y="153173"/>
                    <a:pt x="235619" y="150042"/>
                  </a:cubicBezTo>
                  <a:close/>
                  <a:moveTo>
                    <a:pt x="235619" y="126417"/>
                  </a:moveTo>
                  <a:cubicBezTo>
                    <a:pt x="232570" y="122007"/>
                    <a:pt x="231016" y="116734"/>
                    <a:pt x="231188" y="111375"/>
                  </a:cubicBezTo>
                  <a:cubicBezTo>
                    <a:pt x="235508" y="111167"/>
                    <a:pt x="239722" y="112755"/>
                    <a:pt x="242831" y="115763"/>
                  </a:cubicBezTo>
                  <a:cubicBezTo>
                    <a:pt x="246237" y="119630"/>
                    <a:pt x="247522" y="126772"/>
                    <a:pt x="247911" y="131500"/>
                  </a:cubicBezTo>
                  <a:cubicBezTo>
                    <a:pt x="243332" y="131355"/>
                    <a:pt x="238963" y="129548"/>
                    <a:pt x="235619" y="126417"/>
                  </a:cubicBezTo>
                  <a:close/>
                  <a:moveTo>
                    <a:pt x="235619" y="102792"/>
                  </a:moveTo>
                  <a:cubicBezTo>
                    <a:pt x="232570" y="98382"/>
                    <a:pt x="231016" y="93109"/>
                    <a:pt x="231188" y="87750"/>
                  </a:cubicBezTo>
                  <a:cubicBezTo>
                    <a:pt x="235508" y="87542"/>
                    <a:pt x="239722" y="89130"/>
                    <a:pt x="242831" y="92138"/>
                  </a:cubicBezTo>
                  <a:cubicBezTo>
                    <a:pt x="246237" y="96005"/>
                    <a:pt x="247522" y="103147"/>
                    <a:pt x="247911" y="107875"/>
                  </a:cubicBezTo>
                  <a:cubicBezTo>
                    <a:pt x="243332" y="107730"/>
                    <a:pt x="238963" y="105923"/>
                    <a:pt x="235619" y="102792"/>
                  </a:cubicBezTo>
                  <a:close/>
                  <a:moveTo>
                    <a:pt x="235619" y="79167"/>
                  </a:moveTo>
                  <a:cubicBezTo>
                    <a:pt x="232570" y="74757"/>
                    <a:pt x="231016" y="69484"/>
                    <a:pt x="231188" y="64125"/>
                  </a:cubicBezTo>
                  <a:cubicBezTo>
                    <a:pt x="235508" y="63917"/>
                    <a:pt x="239722" y="65505"/>
                    <a:pt x="242831" y="68513"/>
                  </a:cubicBezTo>
                  <a:cubicBezTo>
                    <a:pt x="246237" y="72380"/>
                    <a:pt x="247522" y="79522"/>
                    <a:pt x="247911" y="84250"/>
                  </a:cubicBezTo>
                  <a:cubicBezTo>
                    <a:pt x="243332" y="84105"/>
                    <a:pt x="238963" y="82298"/>
                    <a:pt x="235619" y="79167"/>
                  </a:cubicBezTo>
                  <a:close/>
                  <a:moveTo>
                    <a:pt x="249952" y="64888"/>
                  </a:moveTo>
                  <a:cubicBezTo>
                    <a:pt x="246794" y="61748"/>
                    <a:pt x="244917" y="57544"/>
                    <a:pt x="244688" y="53096"/>
                  </a:cubicBezTo>
                  <a:cubicBezTo>
                    <a:pt x="245301" y="47682"/>
                    <a:pt x="247672" y="42618"/>
                    <a:pt x="251438" y="38681"/>
                  </a:cubicBezTo>
                  <a:cubicBezTo>
                    <a:pt x="254138" y="41799"/>
                    <a:pt x="258188" y="47422"/>
                    <a:pt x="258188" y="52856"/>
                  </a:cubicBezTo>
                  <a:cubicBezTo>
                    <a:pt x="257780" y="57508"/>
                    <a:pt x="255801" y="61883"/>
                    <a:pt x="252575" y="65259"/>
                  </a:cubicBezTo>
                  <a:cubicBezTo>
                    <a:pt x="251684" y="65448"/>
                    <a:pt x="250756" y="65316"/>
                    <a:pt x="249952" y="64888"/>
                  </a:cubicBezTo>
                  <a:close/>
                </a:path>
              </a:pathLst>
            </a:custGeom>
            <a:grpFill/>
            <a:ln w="33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/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89038D5A-147B-DEA9-D800-3D03B16E0DBB}"/>
              </a:ext>
            </a:extLst>
          </p:cNvPr>
          <p:cNvGrpSpPr/>
          <p:nvPr/>
        </p:nvGrpSpPr>
        <p:grpSpPr>
          <a:xfrm>
            <a:off x="462824" y="3163041"/>
            <a:ext cx="433504" cy="216752"/>
            <a:chOff x="910090" y="4335447"/>
            <a:chExt cx="864000" cy="432000"/>
          </a:xfrm>
          <a:solidFill>
            <a:schemeClr val="tx2">
              <a:lumMod val="75000"/>
              <a:lumOff val="25000"/>
            </a:schemeClr>
          </a:solidFill>
        </p:grpSpPr>
        <p:pic>
          <p:nvPicPr>
            <p:cNvPr id="3" name="Gráfico 2" descr="Barril de petróleo con relleno sólido">
              <a:extLst>
                <a:ext uri="{FF2B5EF4-FFF2-40B4-BE49-F238E27FC236}">
                  <a16:creationId xmlns:a16="http://schemas.microsoft.com/office/drawing/2014/main" id="{AE63C7AF-F6E7-1F78-8DAB-78B55149A1C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342090" y="4335447"/>
              <a:ext cx="432000" cy="432000"/>
            </a:xfrm>
            <a:prstGeom prst="rect">
              <a:avLst/>
            </a:prstGeom>
          </p:spPr>
        </p:pic>
        <p:pic>
          <p:nvPicPr>
            <p:cNvPr id="5" name="Gráfico 4" descr="Materias primas con relleno sólido">
              <a:extLst>
                <a:ext uri="{FF2B5EF4-FFF2-40B4-BE49-F238E27FC236}">
                  <a16:creationId xmlns:a16="http://schemas.microsoft.com/office/drawing/2014/main" id="{0ED1D98B-4EE0-35AF-0CE1-13B6D269FF4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10090" y="4335447"/>
              <a:ext cx="432000" cy="432000"/>
            </a:xfrm>
            <a:prstGeom prst="rect">
              <a:avLst/>
            </a:prstGeom>
          </p:spPr>
        </p:pic>
      </p:grpSp>
      <p:sp>
        <p:nvSpPr>
          <p:cNvPr id="29" name="Forma libre 28">
            <a:extLst>
              <a:ext uri="{FF2B5EF4-FFF2-40B4-BE49-F238E27FC236}">
                <a16:creationId xmlns:a16="http://schemas.microsoft.com/office/drawing/2014/main" id="{22393147-AF00-CC51-7DE0-F657448A4770}"/>
              </a:ext>
            </a:extLst>
          </p:cNvPr>
          <p:cNvSpPr/>
          <p:nvPr/>
        </p:nvSpPr>
        <p:spPr>
          <a:xfrm>
            <a:off x="569177" y="2647997"/>
            <a:ext cx="220798" cy="203819"/>
          </a:xfrm>
          <a:custGeom>
            <a:avLst/>
            <a:gdLst>
              <a:gd name="connsiteX0" fmla="*/ 142938 w 263250"/>
              <a:gd name="connsiteY0" fmla="*/ 195359 h 243007"/>
              <a:gd name="connsiteX1" fmla="*/ 142938 w 263250"/>
              <a:gd name="connsiteY1" fmla="*/ 222160 h 243007"/>
              <a:gd name="connsiteX2" fmla="*/ 178673 w 263250"/>
              <a:gd name="connsiteY2" fmla="*/ 222160 h 243007"/>
              <a:gd name="connsiteX3" fmla="*/ 178673 w 263250"/>
              <a:gd name="connsiteY3" fmla="*/ 195359 h 243007"/>
              <a:gd name="connsiteX4" fmla="*/ 83379 w 263250"/>
              <a:gd name="connsiteY4" fmla="*/ 195359 h 243007"/>
              <a:gd name="connsiteX5" fmla="*/ 83379 w 263250"/>
              <a:gd name="connsiteY5" fmla="*/ 222160 h 243007"/>
              <a:gd name="connsiteX6" fmla="*/ 119114 w 263250"/>
              <a:gd name="connsiteY6" fmla="*/ 222160 h 243007"/>
              <a:gd name="connsiteX7" fmla="*/ 119114 w 263250"/>
              <a:gd name="connsiteY7" fmla="*/ 195359 h 243007"/>
              <a:gd name="connsiteX8" fmla="*/ 23821 w 263250"/>
              <a:gd name="connsiteY8" fmla="*/ 195359 h 243007"/>
              <a:gd name="connsiteX9" fmla="*/ 23821 w 263250"/>
              <a:gd name="connsiteY9" fmla="*/ 222160 h 243007"/>
              <a:gd name="connsiteX10" fmla="*/ 59555 w 263250"/>
              <a:gd name="connsiteY10" fmla="*/ 222160 h 243007"/>
              <a:gd name="connsiteX11" fmla="*/ 59555 w 263250"/>
              <a:gd name="connsiteY11" fmla="*/ 195359 h 243007"/>
              <a:gd name="connsiteX12" fmla="*/ 8930 w 263250"/>
              <a:gd name="connsiteY12" fmla="*/ 40507 h 243007"/>
              <a:gd name="connsiteX13" fmla="*/ 32738 w 263250"/>
              <a:gd name="connsiteY13" fmla="*/ 40507 h 243007"/>
              <a:gd name="connsiteX14" fmla="*/ 41688 w 263250"/>
              <a:gd name="connsiteY14" fmla="*/ 162604 h 243007"/>
              <a:gd name="connsiteX15" fmla="*/ 122091 w 263250"/>
              <a:gd name="connsiteY15" fmla="*/ 120910 h 243007"/>
              <a:gd name="connsiteX16" fmla="*/ 122091 w 263250"/>
              <a:gd name="connsiteY16" fmla="*/ 162604 h 243007"/>
              <a:gd name="connsiteX17" fmla="*/ 202500 w 263250"/>
              <a:gd name="connsiteY17" fmla="*/ 120910 h 243007"/>
              <a:gd name="connsiteX18" fmla="*/ 202500 w 263250"/>
              <a:gd name="connsiteY18" fmla="*/ 182257 h 243007"/>
              <a:gd name="connsiteX19" fmla="*/ 263250 w 263250"/>
              <a:gd name="connsiteY19" fmla="*/ 182257 h 243007"/>
              <a:gd name="connsiteX20" fmla="*/ 263250 w 263250"/>
              <a:gd name="connsiteY20" fmla="*/ 243007 h 243007"/>
              <a:gd name="connsiteX21" fmla="*/ 0 w 263250"/>
              <a:gd name="connsiteY21" fmla="*/ 243007 h 243007"/>
              <a:gd name="connsiteX22" fmla="*/ 0 w 263250"/>
              <a:gd name="connsiteY22" fmla="*/ 162604 h 243007"/>
              <a:gd name="connsiteX23" fmla="*/ 130980 w 263250"/>
              <a:gd name="connsiteY23" fmla="*/ 6 h 243007"/>
              <a:gd name="connsiteX24" fmla="*/ 148155 w 263250"/>
              <a:gd name="connsiteY24" fmla="*/ 6335 h 243007"/>
              <a:gd name="connsiteX25" fmla="*/ 149360 w 263250"/>
              <a:gd name="connsiteY25" fmla="*/ 7595 h 243007"/>
              <a:gd name="connsiteX26" fmla="*/ 147430 w 263250"/>
              <a:gd name="connsiteY26" fmla="*/ 38559 h 243007"/>
              <a:gd name="connsiteX27" fmla="*/ 122610 w 263250"/>
              <a:gd name="connsiteY27" fmla="*/ 44533 h 243007"/>
              <a:gd name="connsiteX28" fmla="*/ 119556 w 263250"/>
              <a:gd name="connsiteY28" fmla="*/ 48225 h 243007"/>
              <a:gd name="connsiteX29" fmla="*/ 91519 w 263250"/>
              <a:gd name="connsiteY29" fmla="*/ 48789 h 243007"/>
              <a:gd name="connsiteX30" fmla="*/ 86119 w 263250"/>
              <a:gd name="connsiteY30" fmla="*/ 37807 h 243007"/>
              <a:gd name="connsiteX31" fmla="*/ 67672 w 263250"/>
              <a:gd name="connsiteY31" fmla="*/ 31721 h 243007"/>
              <a:gd name="connsiteX32" fmla="*/ 57962 w 263250"/>
              <a:gd name="connsiteY32" fmla="*/ 22521 h 243007"/>
              <a:gd name="connsiteX33" fmla="*/ 42525 w 263250"/>
              <a:gd name="connsiteY33" fmla="*/ 17557 h 243007"/>
              <a:gd name="connsiteX34" fmla="*/ 40665 w 263250"/>
              <a:gd name="connsiteY34" fmla="*/ 17695 h 243007"/>
              <a:gd name="connsiteX35" fmla="*/ 27621 w 263250"/>
              <a:gd name="connsiteY35" fmla="*/ 31570 h 243007"/>
              <a:gd name="connsiteX36" fmla="*/ 27621 w 263250"/>
              <a:gd name="connsiteY36" fmla="*/ 33757 h 243007"/>
              <a:gd name="connsiteX37" fmla="*/ 13918 w 263250"/>
              <a:gd name="connsiteY37" fmla="*/ 33757 h 243007"/>
              <a:gd name="connsiteX38" fmla="*/ 13918 w 263250"/>
              <a:gd name="connsiteY38" fmla="*/ 29963 h 243007"/>
              <a:gd name="connsiteX39" fmla="*/ 44529 w 263250"/>
              <a:gd name="connsiteY39" fmla="*/ 1026 h 243007"/>
              <a:gd name="connsiteX40" fmla="*/ 47037 w 263250"/>
              <a:gd name="connsiteY40" fmla="*/ 975 h 243007"/>
              <a:gd name="connsiteX41" fmla="*/ 66220 w 263250"/>
              <a:gd name="connsiteY41" fmla="*/ 8400 h 243007"/>
              <a:gd name="connsiteX42" fmla="*/ 74925 w 263250"/>
              <a:gd name="connsiteY42" fmla="*/ 8400 h 243007"/>
              <a:gd name="connsiteX43" fmla="*/ 76342 w 263250"/>
              <a:gd name="connsiteY43" fmla="*/ 7010 h 243007"/>
              <a:gd name="connsiteX44" fmla="*/ 105340 w 263250"/>
              <a:gd name="connsiteY44" fmla="*/ 7010 h 243007"/>
              <a:gd name="connsiteX45" fmla="*/ 114068 w 263250"/>
              <a:gd name="connsiteY45" fmla="*/ 7010 h 243007"/>
              <a:gd name="connsiteX46" fmla="*/ 130980 w 263250"/>
              <a:gd name="connsiteY46" fmla="*/ 6 h 243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263250" h="243007">
                <a:moveTo>
                  <a:pt x="142938" y="195359"/>
                </a:moveTo>
                <a:lnTo>
                  <a:pt x="142938" y="222160"/>
                </a:lnTo>
                <a:lnTo>
                  <a:pt x="178673" y="222160"/>
                </a:lnTo>
                <a:lnTo>
                  <a:pt x="178673" y="195359"/>
                </a:lnTo>
                <a:close/>
                <a:moveTo>
                  <a:pt x="83379" y="195359"/>
                </a:moveTo>
                <a:lnTo>
                  <a:pt x="83379" y="222160"/>
                </a:lnTo>
                <a:lnTo>
                  <a:pt x="119114" y="222160"/>
                </a:lnTo>
                <a:lnTo>
                  <a:pt x="119114" y="195359"/>
                </a:lnTo>
                <a:close/>
                <a:moveTo>
                  <a:pt x="23821" y="195359"/>
                </a:moveTo>
                <a:lnTo>
                  <a:pt x="23821" y="222160"/>
                </a:lnTo>
                <a:lnTo>
                  <a:pt x="59555" y="222160"/>
                </a:lnTo>
                <a:lnTo>
                  <a:pt x="59555" y="195359"/>
                </a:lnTo>
                <a:close/>
                <a:moveTo>
                  <a:pt x="8930" y="40507"/>
                </a:moveTo>
                <a:lnTo>
                  <a:pt x="32738" y="40507"/>
                </a:lnTo>
                <a:lnTo>
                  <a:pt x="41688" y="162604"/>
                </a:lnTo>
                <a:lnTo>
                  <a:pt x="122091" y="120910"/>
                </a:lnTo>
                <a:lnTo>
                  <a:pt x="122091" y="162604"/>
                </a:lnTo>
                <a:lnTo>
                  <a:pt x="202500" y="120910"/>
                </a:lnTo>
                <a:lnTo>
                  <a:pt x="202500" y="182257"/>
                </a:lnTo>
                <a:lnTo>
                  <a:pt x="263250" y="182257"/>
                </a:lnTo>
                <a:lnTo>
                  <a:pt x="263250" y="243007"/>
                </a:lnTo>
                <a:lnTo>
                  <a:pt x="0" y="243007"/>
                </a:lnTo>
                <a:lnTo>
                  <a:pt x="0" y="162604"/>
                </a:lnTo>
                <a:close/>
                <a:moveTo>
                  <a:pt x="130980" y="6"/>
                </a:moveTo>
                <a:cubicBezTo>
                  <a:pt x="137096" y="-116"/>
                  <a:pt x="143256" y="1986"/>
                  <a:pt x="148155" y="6335"/>
                </a:cubicBezTo>
                <a:cubicBezTo>
                  <a:pt x="148573" y="6739"/>
                  <a:pt x="148975" y="7159"/>
                  <a:pt x="149360" y="7595"/>
                </a:cubicBezTo>
                <a:cubicBezTo>
                  <a:pt x="157377" y="16679"/>
                  <a:pt x="156513" y="30542"/>
                  <a:pt x="147430" y="38559"/>
                </a:cubicBezTo>
                <a:cubicBezTo>
                  <a:pt x="140798" y="44805"/>
                  <a:pt x="131357" y="47078"/>
                  <a:pt x="122610" y="44533"/>
                </a:cubicBezTo>
                <a:cubicBezTo>
                  <a:pt x="121744" y="45882"/>
                  <a:pt x="120719" y="47122"/>
                  <a:pt x="119556" y="48225"/>
                </a:cubicBezTo>
                <a:cubicBezTo>
                  <a:pt x="111788" y="55697"/>
                  <a:pt x="99581" y="55942"/>
                  <a:pt x="91519" y="48789"/>
                </a:cubicBezTo>
                <a:cubicBezTo>
                  <a:pt x="88447" y="45904"/>
                  <a:pt x="86528" y="42001"/>
                  <a:pt x="86119" y="37807"/>
                </a:cubicBezTo>
                <a:cubicBezTo>
                  <a:pt x="79377" y="38560"/>
                  <a:pt x="72642" y="36338"/>
                  <a:pt x="67672" y="31721"/>
                </a:cubicBezTo>
                <a:lnTo>
                  <a:pt x="57962" y="22521"/>
                </a:lnTo>
                <a:cubicBezTo>
                  <a:pt x="53801" y="18669"/>
                  <a:pt x="48151" y="16852"/>
                  <a:pt x="42525" y="17557"/>
                </a:cubicBezTo>
                <a:lnTo>
                  <a:pt x="40665" y="17695"/>
                </a:lnTo>
                <a:cubicBezTo>
                  <a:pt x="33270" y="18009"/>
                  <a:pt x="27478" y="24169"/>
                  <a:pt x="27621" y="31570"/>
                </a:cubicBezTo>
                <a:lnTo>
                  <a:pt x="27621" y="33757"/>
                </a:lnTo>
                <a:lnTo>
                  <a:pt x="13918" y="33757"/>
                </a:lnTo>
                <a:lnTo>
                  <a:pt x="13918" y="29963"/>
                </a:lnTo>
                <a:cubicBezTo>
                  <a:pt x="14412" y="13534"/>
                  <a:pt x="28098" y="596"/>
                  <a:pt x="44529" y="1026"/>
                </a:cubicBezTo>
                <a:lnTo>
                  <a:pt x="47037" y="975"/>
                </a:lnTo>
                <a:cubicBezTo>
                  <a:pt x="54151" y="877"/>
                  <a:pt x="61027" y="3538"/>
                  <a:pt x="66220" y="8400"/>
                </a:cubicBezTo>
                <a:cubicBezTo>
                  <a:pt x="68677" y="10671"/>
                  <a:pt x="72468" y="10671"/>
                  <a:pt x="74925" y="8400"/>
                </a:cubicBezTo>
                <a:lnTo>
                  <a:pt x="76342" y="7010"/>
                </a:lnTo>
                <a:cubicBezTo>
                  <a:pt x="84527" y="-556"/>
                  <a:pt x="97155" y="-556"/>
                  <a:pt x="105340" y="7010"/>
                </a:cubicBezTo>
                <a:cubicBezTo>
                  <a:pt x="107820" y="9245"/>
                  <a:pt x="111588" y="9245"/>
                  <a:pt x="114068" y="7010"/>
                </a:cubicBezTo>
                <a:cubicBezTo>
                  <a:pt x="118792" y="2470"/>
                  <a:pt x="124864" y="127"/>
                  <a:pt x="130980" y="6"/>
                </a:cubicBezTo>
                <a:close/>
              </a:path>
            </a:pathLst>
          </a:custGeom>
          <a:solidFill>
            <a:schemeClr val="tx2">
              <a:lumMod val="25000"/>
              <a:lumOff val="75000"/>
            </a:schemeClr>
          </a:solidFill>
          <a:ln w="3373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26" name="Gráfico 6" descr="Banco con relleno sólido">
            <a:extLst>
              <a:ext uri="{FF2B5EF4-FFF2-40B4-BE49-F238E27FC236}">
                <a16:creationId xmlns:a16="http://schemas.microsoft.com/office/drawing/2014/main" id="{CAB24097-AD4A-23DB-7829-A5081AEA88AF}"/>
              </a:ext>
            </a:extLst>
          </p:cNvPr>
          <p:cNvSpPr/>
          <p:nvPr/>
        </p:nvSpPr>
        <p:spPr>
          <a:xfrm>
            <a:off x="572008" y="4185809"/>
            <a:ext cx="215137" cy="203814"/>
          </a:xfrm>
          <a:custGeom>
            <a:avLst/>
            <a:gdLst>
              <a:gd name="connsiteX0" fmla="*/ 232875 w 256500"/>
              <a:gd name="connsiteY0" fmla="*/ 212625 h 243000"/>
              <a:gd name="connsiteX1" fmla="*/ 232875 w 256500"/>
              <a:gd name="connsiteY1" fmla="*/ 205875 h 243000"/>
              <a:gd name="connsiteX2" fmla="*/ 219375 w 256500"/>
              <a:gd name="connsiteY2" fmla="*/ 205875 h 243000"/>
              <a:gd name="connsiteX3" fmla="*/ 219375 w 256500"/>
              <a:gd name="connsiteY3" fmla="*/ 91125 h 243000"/>
              <a:gd name="connsiteX4" fmla="*/ 232875 w 256500"/>
              <a:gd name="connsiteY4" fmla="*/ 91125 h 243000"/>
              <a:gd name="connsiteX5" fmla="*/ 232875 w 256500"/>
              <a:gd name="connsiteY5" fmla="*/ 84375 h 243000"/>
              <a:gd name="connsiteX6" fmla="*/ 243000 w 256500"/>
              <a:gd name="connsiteY6" fmla="*/ 84375 h 243000"/>
              <a:gd name="connsiteX7" fmla="*/ 243000 w 256500"/>
              <a:gd name="connsiteY7" fmla="*/ 64125 h 243000"/>
              <a:gd name="connsiteX8" fmla="*/ 232875 w 256500"/>
              <a:gd name="connsiteY8" fmla="*/ 64125 h 243000"/>
              <a:gd name="connsiteX9" fmla="*/ 128250 w 256500"/>
              <a:gd name="connsiteY9" fmla="*/ 0 h 243000"/>
              <a:gd name="connsiteX10" fmla="*/ 23625 w 256500"/>
              <a:gd name="connsiteY10" fmla="*/ 64125 h 243000"/>
              <a:gd name="connsiteX11" fmla="*/ 13500 w 256500"/>
              <a:gd name="connsiteY11" fmla="*/ 64125 h 243000"/>
              <a:gd name="connsiteX12" fmla="*/ 13500 w 256500"/>
              <a:gd name="connsiteY12" fmla="*/ 84375 h 243000"/>
              <a:gd name="connsiteX13" fmla="*/ 23625 w 256500"/>
              <a:gd name="connsiteY13" fmla="*/ 84375 h 243000"/>
              <a:gd name="connsiteX14" fmla="*/ 23625 w 256500"/>
              <a:gd name="connsiteY14" fmla="*/ 91125 h 243000"/>
              <a:gd name="connsiteX15" fmla="*/ 37125 w 256500"/>
              <a:gd name="connsiteY15" fmla="*/ 91125 h 243000"/>
              <a:gd name="connsiteX16" fmla="*/ 37125 w 256500"/>
              <a:gd name="connsiteY16" fmla="*/ 205875 h 243000"/>
              <a:gd name="connsiteX17" fmla="*/ 23625 w 256500"/>
              <a:gd name="connsiteY17" fmla="*/ 205875 h 243000"/>
              <a:gd name="connsiteX18" fmla="*/ 23625 w 256500"/>
              <a:gd name="connsiteY18" fmla="*/ 212625 h 243000"/>
              <a:gd name="connsiteX19" fmla="*/ 0 w 256500"/>
              <a:gd name="connsiteY19" fmla="*/ 229500 h 243000"/>
              <a:gd name="connsiteX20" fmla="*/ 0 w 256500"/>
              <a:gd name="connsiteY20" fmla="*/ 243000 h 243000"/>
              <a:gd name="connsiteX21" fmla="*/ 128250 w 256500"/>
              <a:gd name="connsiteY21" fmla="*/ 243000 h 243000"/>
              <a:gd name="connsiteX22" fmla="*/ 256500 w 256500"/>
              <a:gd name="connsiteY22" fmla="*/ 243000 h 243000"/>
              <a:gd name="connsiteX23" fmla="*/ 256500 w 256500"/>
              <a:gd name="connsiteY23" fmla="*/ 229500 h 243000"/>
              <a:gd name="connsiteX24" fmla="*/ 232875 w 256500"/>
              <a:gd name="connsiteY24" fmla="*/ 212625 h 243000"/>
              <a:gd name="connsiteX25" fmla="*/ 77625 w 256500"/>
              <a:gd name="connsiteY25" fmla="*/ 205875 h 243000"/>
              <a:gd name="connsiteX26" fmla="*/ 57375 w 256500"/>
              <a:gd name="connsiteY26" fmla="*/ 205875 h 243000"/>
              <a:gd name="connsiteX27" fmla="*/ 57375 w 256500"/>
              <a:gd name="connsiteY27" fmla="*/ 91125 h 243000"/>
              <a:gd name="connsiteX28" fmla="*/ 77625 w 256500"/>
              <a:gd name="connsiteY28" fmla="*/ 91125 h 243000"/>
              <a:gd name="connsiteX29" fmla="*/ 77625 w 256500"/>
              <a:gd name="connsiteY29" fmla="*/ 205875 h 243000"/>
              <a:gd name="connsiteX30" fmla="*/ 118125 w 256500"/>
              <a:gd name="connsiteY30" fmla="*/ 205875 h 243000"/>
              <a:gd name="connsiteX31" fmla="*/ 97875 w 256500"/>
              <a:gd name="connsiteY31" fmla="*/ 205875 h 243000"/>
              <a:gd name="connsiteX32" fmla="*/ 97875 w 256500"/>
              <a:gd name="connsiteY32" fmla="*/ 91125 h 243000"/>
              <a:gd name="connsiteX33" fmla="*/ 118125 w 256500"/>
              <a:gd name="connsiteY33" fmla="*/ 91125 h 243000"/>
              <a:gd name="connsiteX34" fmla="*/ 118125 w 256500"/>
              <a:gd name="connsiteY34" fmla="*/ 205875 h 243000"/>
              <a:gd name="connsiteX35" fmla="*/ 124875 w 256500"/>
              <a:gd name="connsiteY35" fmla="*/ 57375 h 243000"/>
              <a:gd name="connsiteX36" fmla="*/ 111375 w 256500"/>
              <a:gd name="connsiteY36" fmla="*/ 43875 h 243000"/>
              <a:gd name="connsiteX37" fmla="*/ 124875 w 256500"/>
              <a:gd name="connsiteY37" fmla="*/ 30375 h 243000"/>
              <a:gd name="connsiteX38" fmla="*/ 138375 w 256500"/>
              <a:gd name="connsiteY38" fmla="*/ 43875 h 243000"/>
              <a:gd name="connsiteX39" fmla="*/ 124875 w 256500"/>
              <a:gd name="connsiteY39" fmla="*/ 57375 h 243000"/>
              <a:gd name="connsiteX40" fmla="*/ 158625 w 256500"/>
              <a:gd name="connsiteY40" fmla="*/ 205875 h 243000"/>
              <a:gd name="connsiteX41" fmla="*/ 138375 w 256500"/>
              <a:gd name="connsiteY41" fmla="*/ 205875 h 243000"/>
              <a:gd name="connsiteX42" fmla="*/ 138375 w 256500"/>
              <a:gd name="connsiteY42" fmla="*/ 91125 h 243000"/>
              <a:gd name="connsiteX43" fmla="*/ 158625 w 256500"/>
              <a:gd name="connsiteY43" fmla="*/ 91125 h 243000"/>
              <a:gd name="connsiteX44" fmla="*/ 158625 w 256500"/>
              <a:gd name="connsiteY44" fmla="*/ 205875 h 243000"/>
              <a:gd name="connsiteX45" fmla="*/ 199125 w 256500"/>
              <a:gd name="connsiteY45" fmla="*/ 205875 h 243000"/>
              <a:gd name="connsiteX46" fmla="*/ 178875 w 256500"/>
              <a:gd name="connsiteY46" fmla="*/ 205875 h 243000"/>
              <a:gd name="connsiteX47" fmla="*/ 178875 w 256500"/>
              <a:gd name="connsiteY47" fmla="*/ 91125 h 243000"/>
              <a:gd name="connsiteX48" fmla="*/ 199125 w 256500"/>
              <a:gd name="connsiteY48" fmla="*/ 91125 h 243000"/>
              <a:gd name="connsiteX49" fmla="*/ 199125 w 256500"/>
              <a:gd name="connsiteY49" fmla="*/ 205875 h 2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256500" h="243000">
                <a:moveTo>
                  <a:pt x="232875" y="212625"/>
                </a:moveTo>
                <a:lnTo>
                  <a:pt x="232875" y="205875"/>
                </a:lnTo>
                <a:lnTo>
                  <a:pt x="219375" y="205875"/>
                </a:lnTo>
                <a:lnTo>
                  <a:pt x="219375" y="91125"/>
                </a:lnTo>
                <a:lnTo>
                  <a:pt x="232875" y="91125"/>
                </a:lnTo>
                <a:lnTo>
                  <a:pt x="232875" y="84375"/>
                </a:lnTo>
                <a:lnTo>
                  <a:pt x="243000" y="84375"/>
                </a:lnTo>
                <a:lnTo>
                  <a:pt x="243000" y="64125"/>
                </a:lnTo>
                <a:lnTo>
                  <a:pt x="232875" y="64125"/>
                </a:lnTo>
                <a:lnTo>
                  <a:pt x="128250" y="0"/>
                </a:lnTo>
                <a:lnTo>
                  <a:pt x="23625" y="64125"/>
                </a:lnTo>
                <a:lnTo>
                  <a:pt x="13500" y="64125"/>
                </a:lnTo>
                <a:lnTo>
                  <a:pt x="13500" y="84375"/>
                </a:lnTo>
                <a:lnTo>
                  <a:pt x="23625" y="84375"/>
                </a:lnTo>
                <a:lnTo>
                  <a:pt x="23625" y="91125"/>
                </a:lnTo>
                <a:lnTo>
                  <a:pt x="37125" y="91125"/>
                </a:lnTo>
                <a:lnTo>
                  <a:pt x="37125" y="205875"/>
                </a:lnTo>
                <a:lnTo>
                  <a:pt x="23625" y="205875"/>
                </a:lnTo>
                <a:lnTo>
                  <a:pt x="23625" y="212625"/>
                </a:lnTo>
                <a:lnTo>
                  <a:pt x="0" y="229500"/>
                </a:lnTo>
                <a:lnTo>
                  <a:pt x="0" y="243000"/>
                </a:lnTo>
                <a:lnTo>
                  <a:pt x="128250" y="243000"/>
                </a:lnTo>
                <a:lnTo>
                  <a:pt x="256500" y="243000"/>
                </a:lnTo>
                <a:lnTo>
                  <a:pt x="256500" y="229500"/>
                </a:lnTo>
                <a:lnTo>
                  <a:pt x="232875" y="212625"/>
                </a:lnTo>
                <a:close/>
                <a:moveTo>
                  <a:pt x="77625" y="205875"/>
                </a:moveTo>
                <a:lnTo>
                  <a:pt x="57375" y="205875"/>
                </a:lnTo>
                <a:lnTo>
                  <a:pt x="57375" y="91125"/>
                </a:lnTo>
                <a:lnTo>
                  <a:pt x="77625" y="91125"/>
                </a:lnTo>
                <a:lnTo>
                  <a:pt x="77625" y="205875"/>
                </a:lnTo>
                <a:close/>
                <a:moveTo>
                  <a:pt x="118125" y="205875"/>
                </a:moveTo>
                <a:lnTo>
                  <a:pt x="97875" y="205875"/>
                </a:lnTo>
                <a:lnTo>
                  <a:pt x="97875" y="91125"/>
                </a:lnTo>
                <a:lnTo>
                  <a:pt x="118125" y="91125"/>
                </a:lnTo>
                <a:lnTo>
                  <a:pt x="118125" y="205875"/>
                </a:lnTo>
                <a:close/>
                <a:moveTo>
                  <a:pt x="124875" y="57375"/>
                </a:moveTo>
                <a:cubicBezTo>
                  <a:pt x="117450" y="57375"/>
                  <a:pt x="111375" y="51300"/>
                  <a:pt x="111375" y="43875"/>
                </a:cubicBezTo>
                <a:cubicBezTo>
                  <a:pt x="111375" y="36450"/>
                  <a:pt x="117450" y="30375"/>
                  <a:pt x="124875" y="30375"/>
                </a:cubicBezTo>
                <a:cubicBezTo>
                  <a:pt x="132300" y="30375"/>
                  <a:pt x="138375" y="36450"/>
                  <a:pt x="138375" y="43875"/>
                </a:cubicBezTo>
                <a:cubicBezTo>
                  <a:pt x="138375" y="51300"/>
                  <a:pt x="132300" y="57375"/>
                  <a:pt x="124875" y="57375"/>
                </a:cubicBezTo>
                <a:close/>
                <a:moveTo>
                  <a:pt x="158625" y="205875"/>
                </a:moveTo>
                <a:lnTo>
                  <a:pt x="138375" y="205875"/>
                </a:lnTo>
                <a:lnTo>
                  <a:pt x="138375" y="91125"/>
                </a:lnTo>
                <a:lnTo>
                  <a:pt x="158625" y="91125"/>
                </a:lnTo>
                <a:lnTo>
                  <a:pt x="158625" y="205875"/>
                </a:lnTo>
                <a:close/>
                <a:moveTo>
                  <a:pt x="199125" y="205875"/>
                </a:moveTo>
                <a:lnTo>
                  <a:pt x="178875" y="205875"/>
                </a:lnTo>
                <a:lnTo>
                  <a:pt x="178875" y="91125"/>
                </a:lnTo>
                <a:lnTo>
                  <a:pt x="199125" y="91125"/>
                </a:lnTo>
                <a:lnTo>
                  <a:pt x="199125" y="205875"/>
                </a:lnTo>
                <a:close/>
              </a:path>
            </a:pathLst>
          </a:custGeom>
          <a:solidFill>
            <a:schemeClr val="tx2">
              <a:lumMod val="75000"/>
              <a:lumOff val="25000"/>
            </a:schemeClr>
          </a:solidFill>
          <a:ln w="3373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sp>
        <p:nvSpPr>
          <p:cNvPr id="27" name="Gráfico 9" descr="Torre eléctrica con relleno sólido">
            <a:extLst>
              <a:ext uri="{FF2B5EF4-FFF2-40B4-BE49-F238E27FC236}">
                <a16:creationId xmlns:a16="http://schemas.microsoft.com/office/drawing/2014/main" id="{40D08773-364E-5E20-140C-0C0AB4E3654A}"/>
              </a:ext>
            </a:extLst>
          </p:cNvPr>
          <p:cNvSpPr/>
          <p:nvPr/>
        </p:nvSpPr>
        <p:spPr>
          <a:xfrm>
            <a:off x="586162" y="3626370"/>
            <a:ext cx="186829" cy="260188"/>
          </a:xfrm>
          <a:custGeom>
            <a:avLst/>
            <a:gdLst>
              <a:gd name="connsiteX0" fmla="*/ 216000 w 222750"/>
              <a:gd name="connsiteY0" fmla="*/ 114753 h 310214"/>
              <a:gd name="connsiteX1" fmla="*/ 222750 w 222750"/>
              <a:gd name="connsiteY1" fmla="*/ 108003 h 310214"/>
              <a:gd name="connsiteX2" fmla="*/ 222750 w 222750"/>
              <a:gd name="connsiteY2" fmla="*/ 91128 h 310214"/>
              <a:gd name="connsiteX3" fmla="*/ 218795 w 222750"/>
              <a:gd name="connsiteY3" fmla="*/ 84983 h 310214"/>
              <a:gd name="connsiteX4" fmla="*/ 144545 w 222750"/>
              <a:gd name="connsiteY4" fmla="*/ 51233 h 310214"/>
              <a:gd name="connsiteX5" fmla="*/ 142945 w 222750"/>
              <a:gd name="connsiteY5" fmla="*/ 50757 h 310214"/>
              <a:gd name="connsiteX6" fmla="*/ 141706 w 222750"/>
              <a:gd name="connsiteY6" fmla="*/ 39751 h 310214"/>
              <a:gd name="connsiteX7" fmla="*/ 140532 w 222750"/>
              <a:gd name="connsiteY7" fmla="*/ 36632 h 310214"/>
              <a:gd name="connsiteX8" fmla="*/ 116907 w 222750"/>
              <a:gd name="connsiteY8" fmla="*/ 2882 h 310214"/>
              <a:gd name="connsiteX9" fmla="*/ 107507 w 222750"/>
              <a:gd name="connsiteY9" fmla="*/ 1219 h 310214"/>
              <a:gd name="connsiteX10" fmla="*/ 105843 w 222750"/>
              <a:gd name="connsiteY10" fmla="*/ 2882 h 310214"/>
              <a:gd name="connsiteX11" fmla="*/ 82218 w 222750"/>
              <a:gd name="connsiteY11" fmla="*/ 36632 h 310214"/>
              <a:gd name="connsiteX12" fmla="*/ 81044 w 222750"/>
              <a:gd name="connsiteY12" fmla="*/ 39751 h 310214"/>
              <a:gd name="connsiteX13" fmla="*/ 79805 w 222750"/>
              <a:gd name="connsiteY13" fmla="*/ 50757 h 310214"/>
              <a:gd name="connsiteX14" fmla="*/ 78206 w 222750"/>
              <a:gd name="connsiteY14" fmla="*/ 51233 h 310214"/>
              <a:gd name="connsiteX15" fmla="*/ 3956 w 222750"/>
              <a:gd name="connsiteY15" fmla="*/ 84983 h 310214"/>
              <a:gd name="connsiteX16" fmla="*/ 0 w 222750"/>
              <a:gd name="connsiteY16" fmla="*/ 91128 h 310214"/>
              <a:gd name="connsiteX17" fmla="*/ 0 w 222750"/>
              <a:gd name="connsiteY17" fmla="*/ 108003 h 310214"/>
              <a:gd name="connsiteX18" fmla="*/ 6750 w 222750"/>
              <a:gd name="connsiteY18" fmla="*/ 114753 h 310214"/>
              <a:gd name="connsiteX19" fmla="*/ 13500 w 222750"/>
              <a:gd name="connsiteY19" fmla="*/ 108003 h 310214"/>
              <a:gd name="connsiteX20" fmla="*/ 13500 w 222750"/>
              <a:gd name="connsiteY20" fmla="*/ 97878 h 310214"/>
              <a:gd name="connsiteX21" fmla="*/ 74523 w 222750"/>
              <a:gd name="connsiteY21" fmla="*/ 97878 h 310214"/>
              <a:gd name="connsiteX22" fmla="*/ 71057 w 222750"/>
              <a:gd name="connsiteY22" fmla="*/ 128739 h 310214"/>
              <a:gd name="connsiteX23" fmla="*/ 3969 w 222750"/>
              <a:gd name="connsiteY23" fmla="*/ 159233 h 310214"/>
              <a:gd name="connsiteX24" fmla="*/ 0 w 222750"/>
              <a:gd name="connsiteY24" fmla="*/ 165378 h 310214"/>
              <a:gd name="connsiteX25" fmla="*/ 0 w 222750"/>
              <a:gd name="connsiteY25" fmla="*/ 182253 h 310214"/>
              <a:gd name="connsiteX26" fmla="*/ 6750 w 222750"/>
              <a:gd name="connsiteY26" fmla="*/ 189003 h 310214"/>
              <a:gd name="connsiteX27" fmla="*/ 13500 w 222750"/>
              <a:gd name="connsiteY27" fmla="*/ 182253 h 310214"/>
              <a:gd name="connsiteX28" fmla="*/ 13500 w 222750"/>
              <a:gd name="connsiteY28" fmla="*/ 172128 h 310214"/>
              <a:gd name="connsiteX29" fmla="*/ 66180 w 222750"/>
              <a:gd name="connsiteY29" fmla="*/ 172128 h 310214"/>
              <a:gd name="connsiteX30" fmla="*/ 64284 w 222750"/>
              <a:gd name="connsiteY30" fmla="*/ 189027 h 310214"/>
              <a:gd name="connsiteX31" fmla="*/ 19649 w 222750"/>
              <a:gd name="connsiteY31" fmla="*/ 300716 h 310214"/>
              <a:gd name="connsiteX32" fmla="*/ 23411 w 222750"/>
              <a:gd name="connsiteY32" fmla="*/ 309489 h 310214"/>
              <a:gd name="connsiteX33" fmla="*/ 28566 w 222750"/>
              <a:gd name="connsiteY33" fmla="*/ 309430 h 310214"/>
              <a:gd name="connsiteX34" fmla="*/ 111210 w 222750"/>
              <a:gd name="connsiteY34" fmla="*/ 274192 h 310214"/>
              <a:gd name="connsiteX35" fmla="*/ 194346 w 222750"/>
              <a:gd name="connsiteY35" fmla="*/ 309670 h 310214"/>
              <a:gd name="connsiteX36" fmla="*/ 203206 w 222750"/>
              <a:gd name="connsiteY36" fmla="*/ 306116 h 310214"/>
              <a:gd name="connsiteX37" fmla="*/ 203266 w 222750"/>
              <a:gd name="connsiteY37" fmla="*/ 300956 h 310214"/>
              <a:gd name="connsiteX38" fmla="*/ 158493 w 222750"/>
              <a:gd name="connsiteY38" fmla="*/ 189030 h 310214"/>
              <a:gd name="connsiteX39" fmla="*/ 156600 w 222750"/>
              <a:gd name="connsiteY39" fmla="*/ 172128 h 310214"/>
              <a:gd name="connsiteX40" fmla="*/ 209250 w 222750"/>
              <a:gd name="connsiteY40" fmla="*/ 172128 h 310214"/>
              <a:gd name="connsiteX41" fmla="*/ 209250 w 222750"/>
              <a:gd name="connsiteY41" fmla="*/ 182253 h 310214"/>
              <a:gd name="connsiteX42" fmla="*/ 216000 w 222750"/>
              <a:gd name="connsiteY42" fmla="*/ 189003 h 310214"/>
              <a:gd name="connsiteX43" fmla="*/ 222750 w 222750"/>
              <a:gd name="connsiteY43" fmla="*/ 182253 h 310214"/>
              <a:gd name="connsiteX44" fmla="*/ 222750 w 222750"/>
              <a:gd name="connsiteY44" fmla="*/ 165378 h 310214"/>
              <a:gd name="connsiteX45" fmla="*/ 218795 w 222750"/>
              <a:gd name="connsiteY45" fmla="*/ 159233 h 310214"/>
              <a:gd name="connsiteX46" fmla="*/ 151720 w 222750"/>
              <a:gd name="connsiteY46" fmla="*/ 128739 h 310214"/>
              <a:gd name="connsiteX47" fmla="*/ 148250 w 222750"/>
              <a:gd name="connsiteY47" fmla="*/ 97878 h 310214"/>
              <a:gd name="connsiteX48" fmla="*/ 209250 w 222750"/>
              <a:gd name="connsiteY48" fmla="*/ 97878 h 310214"/>
              <a:gd name="connsiteX49" fmla="*/ 209250 w 222750"/>
              <a:gd name="connsiteY49" fmla="*/ 108003 h 310214"/>
              <a:gd name="connsiteX50" fmla="*/ 216000 w 222750"/>
              <a:gd name="connsiteY50" fmla="*/ 114753 h 310214"/>
              <a:gd name="connsiteX51" fmla="*/ 91901 w 222750"/>
              <a:gd name="connsiteY51" fmla="*/ 64128 h 310214"/>
              <a:gd name="connsiteX52" fmla="*/ 130876 w 222750"/>
              <a:gd name="connsiteY52" fmla="*/ 64128 h 310214"/>
              <a:gd name="connsiteX53" fmla="*/ 133151 w 222750"/>
              <a:gd name="connsiteY53" fmla="*/ 84378 h 310214"/>
              <a:gd name="connsiteX54" fmla="*/ 89613 w 222750"/>
              <a:gd name="connsiteY54" fmla="*/ 84378 h 310214"/>
              <a:gd name="connsiteX55" fmla="*/ 111375 w 222750"/>
              <a:gd name="connsiteY55" fmla="*/ 18525 h 310214"/>
              <a:gd name="connsiteX56" fmla="*/ 128483 w 222750"/>
              <a:gd name="connsiteY56" fmla="*/ 42964 h 310214"/>
              <a:gd name="connsiteX57" fmla="*/ 129357 w 222750"/>
              <a:gd name="connsiteY57" fmla="*/ 50628 h 310214"/>
              <a:gd name="connsiteX58" fmla="*/ 93417 w 222750"/>
              <a:gd name="connsiteY58" fmla="*/ 50628 h 310214"/>
              <a:gd name="connsiteX59" fmla="*/ 94281 w 222750"/>
              <a:gd name="connsiteY59" fmla="*/ 42964 h 310214"/>
              <a:gd name="connsiteX60" fmla="*/ 37925 w 222750"/>
              <a:gd name="connsiteY60" fmla="*/ 84378 h 310214"/>
              <a:gd name="connsiteX61" fmla="*/ 78087 w 222750"/>
              <a:gd name="connsiteY61" fmla="*/ 66120 h 310214"/>
              <a:gd name="connsiteX62" fmla="*/ 76042 w 222750"/>
              <a:gd name="connsiteY62" fmla="*/ 84378 h 310214"/>
              <a:gd name="connsiteX63" fmla="*/ 141494 w 222750"/>
              <a:gd name="connsiteY63" fmla="*/ 158628 h 310214"/>
              <a:gd name="connsiteX64" fmla="*/ 81284 w 222750"/>
              <a:gd name="connsiteY64" fmla="*/ 158628 h 310214"/>
              <a:gd name="connsiteX65" fmla="*/ 83558 w 222750"/>
              <a:gd name="connsiteY65" fmla="*/ 138378 h 310214"/>
              <a:gd name="connsiteX66" fmla="*/ 139219 w 222750"/>
              <a:gd name="connsiteY66" fmla="*/ 138378 h 310214"/>
              <a:gd name="connsiteX67" fmla="*/ 37925 w 222750"/>
              <a:gd name="connsiteY67" fmla="*/ 158628 h 310214"/>
              <a:gd name="connsiteX68" fmla="*/ 69312 w 222750"/>
              <a:gd name="connsiteY68" fmla="*/ 144366 h 310214"/>
              <a:gd name="connsiteX69" fmla="*/ 67699 w 222750"/>
              <a:gd name="connsiteY69" fmla="*/ 158628 h 310214"/>
              <a:gd name="connsiteX70" fmla="*/ 148838 w 222750"/>
              <a:gd name="connsiteY70" fmla="*/ 201261 h 310214"/>
              <a:gd name="connsiteX71" fmla="*/ 158115 w 222750"/>
              <a:gd name="connsiteY71" fmla="*/ 224441 h 310214"/>
              <a:gd name="connsiteX72" fmla="*/ 127703 w 222750"/>
              <a:gd name="connsiteY72" fmla="*/ 210772 h 310214"/>
              <a:gd name="connsiteX73" fmla="*/ 158423 w 222750"/>
              <a:gd name="connsiteY73" fmla="*/ 239379 h 310214"/>
              <a:gd name="connsiteX74" fmla="*/ 111210 w 222750"/>
              <a:gd name="connsiteY74" fmla="*/ 259514 h 310214"/>
              <a:gd name="connsiteX75" fmla="*/ 64037 w 222750"/>
              <a:gd name="connsiteY75" fmla="*/ 239379 h 310214"/>
              <a:gd name="connsiteX76" fmla="*/ 111237 w 222750"/>
              <a:gd name="connsiteY76" fmla="*/ 218167 h 310214"/>
              <a:gd name="connsiteX77" fmla="*/ 64733 w 222750"/>
              <a:gd name="connsiteY77" fmla="*/ 224262 h 310214"/>
              <a:gd name="connsiteX78" fmla="*/ 73875 w 222750"/>
              <a:gd name="connsiteY78" fmla="*/ 201380 h 310214"/>
              <a:gd name="connsiteX79" fmla="*/ 94760 w 222750"/>
              <a:gd name="connsiteY79" fmla="*/ 210765 h 310214"/>
              <a:gd name="connsiteX80" fmla="*/ 38205 w 222750"/>
              <a:gd name="connsiteY80" fmla="*/ 290638 h 310214"/>
              <a:gd name="connsiteX81" fmla="*/ 54456 w 222750"/>
              <a:gd name="connsiteY81" fmla="*/ 249973 h 310214"/>
              <a:gd name="connsiteX82" fmla="*/ 93997 w 222750"/>
              <a:gd name="connsiteY82" fmla="*/ 266848 h 310214"/>
              <a:gd name="connsiteX83" fmla="*/ 128405 w 222750"/>
              <a:gd name="connsiteY83" fmla="*/ 266855 h 310214"/>
              <a:gd name="connsiteX84" fmla="*/ 168284 w 222750"/>
              <a:gd name="connsiteY84" fmla="*/ 249855 h 310214"/>
              <a:gd name="connsiteX85" fmla="*/ 184690 w 222750"/>
              <a:gd name="connsiteY85" fmla="*/ 290874 h 310214"/>
              <a:gd name="connsiteX86" fmla="*/ 144815 w 222750"/>
              <a:gd name="connsiteY86" fmla="*/ 188271 h 310214"/>
              <a:gd name="connsiteX87" fmla="*/ 111227 w 222750"/>
              <a:gd name="connsiteY87" fmla="*/ 203367 h 310214"/>
              <a:gd name="connsiteX88" fmla="*/ 77929 w 222750"/>
              <a:gd name="connsiteY88" fmla="*/ 188399 h 310214"/>
              <a:gd name="connsiteX89" fmla="*/ 79765 w 222750"/>
              <a:gd name="connsiteY89" fmla="*/ 172128 h 310214"/>
              <a:gd name="connsiteX90" fmla="*/ 143012 w 222750"/>
              <a:gd name="connsiteY90" fmla="*/ 172128 h 310214"/>
              <a:gd name="connsiteX91" fmla="*/ 184852 w 222750"/>
              <a:gd name="connsiteY91" fmla="*/ 158628 h 310214"/>
              <a:gd name="connsiteX92" fmla="*/ 155078 w 222750"/>
              <a:gd name="connsiteY92" fmla="*/ 158628 h 310214"/>
              <a:gd name="connsiteX93" fmla="*/ 153475 w 222750"/>
              <a:gd name="connsiteY93" fmla="*/ 144366 h 310214"/>
              <a:gd name="connsiteX94" fmla="*/ 137700 w 222750"/>
              <a:gd name="connsiteY94" fmla="*/ 124878 h 310214"/>
              <a:gd name="connsiteX95" fmla="*/ 85074 w 222750"/>
              <a:gd name="connsiteY95" fmla="*/ 124878 h 310214"/>
              <a:gd name="connsiteX96" fmla="*/ 88111 w 222750"/>
              <a:gd name="connsiteY96" fmla="*/ 97878 h 310214"/>
              <a:gd name="connsiteX97" fmla="*/ 134663 w 222750"/>
              <a:gd name="connsiteY97" fmla="*/ 97878 h 310214"/>
              <a:gd name="connsiteX98" fmla="*/ 144683 w 222750"/>
              <a:gd name="connsiteY98" fmla="*/ 66120 h 310214"/>
              <a:gd name="connsiteX99" fmla="*/ 184852 w 222750"/>
              <a:gd name="connsiteY99" fmla="*/ 84378 h 310214"/>
              <a:gd name="connsiteX100" fmla="*/ 146735 w 222750"/>
              <a:gd name="connsiteY100" fmla="*/ 84378 h 310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</a:cxnLst>
            <a:rect l="l" t="t" r="r" b="b"/>
            <a:pathLst>
              <a:path w="222750" h="310214">
                <a:moveTo>
                  <a:pt x="216000" y="114753"/>
                </a:moveTo>
                <a:cubicBezTo>
                  <a:pt x="219728" y="114753"/>
                  <a:pt x="222750" y="111731"/>
                  <a:pt x="222750" y="108003"/>
                </a:cubicBezTo>
                <a:lnTo>
                  <a:pt x="222750" y="91128"/>
                </a:lnTo>
                <a:cubicBezTo>
                  <a:pt x="222751" y="88481"/>
                  <a:pt x="221204" y="86078"/>
                  <a:pt x="218795" y="84983"/>
                </a:cubicBezTo>
                <a:lnTo>
                  <a:pt x="144545" y="51233"/>
                </a:lnTo>
                <a:cubicBezTo>
                  <a:pt x="144033" y="51008"/>
                  <a:pt x="143496" y="50848"/>
                  <a:pt x="142945" y="50757"/>
                </a:cubicBezTo>
                <a:lnTo>
                  <a:pt x="141706" y="39751"/>
                </a:lnTo>
                <a:cubicBezTo>
                  <a:pt x="141581" y="38630"/>
                  <a:pt x="141178" y="37557"/>
                  <a:pt x="140532" y="36632"/>
                </a:cubicBezTo>
                <a:lnTo>
                  <a:pt x="116907" y="2882"/>
                </a:lnTo>
                <a:cubicBezTo>
                  <a:pt x="114770" y="-173"/>
                  <a:pt x="110562" y="-917"/>
                  <a:pt x="107507" y="1219"/>
                </a:cubicBezTo>
                <a:cubicBezTo>
                  <a:pt x="106859" y="1672"/>
                  <a:pt x="106296" y="2235"/>
                  <a:pt x="105843" y="2882"/>
                </a:cubicBezTo>
                <a:lnTo>
                  <a:pt x="82218" y="36632"/>
                </a:lnTo>
                <a:cubicBezTo>
                  <a:pt x="81572" y="37557"/>
                  <a:pt x="81169" y="38630"/>
                  <a:pt x="81044" y="39751"/>
                </a:cubicBezTo>
                <a:lnTo>
                  <a:pt x="79805" y="50757"/>
                </a:lnTo>
                <a:cubicBezTo>
                  <a:pt x="79254" y="50847"/>
                  <a:pt x="78717" y="51007"/>
                  <a:pt x="78206" y="51233"/>
                </a:cubicBezTo>
                <a:lnTo>
                  <a:pt x="3956" y="84983"/>
                </a:lnTo>
                <a:cubicBezTo>
                  <a:pt x="1546" y="86078"/>
                  <a:pt x="-1" y="88481"/>
                  <a:pt x="0" y="91128"/>
                </a:cubicBezTo>
                <a:lnTo>
                  <a:pt x="0" y="108003"/>
                </a:lnTo>
                <a:cubicBezTo>
                  <a:pt x="0" y="111731"/>
                  <a:pt x="3022" y="114753"/>
                  <a:pt x="6750" y="114753"/>
                </a:cubicBezTo>
                <a:cubicBezTo>
                  <a:pt x="10478" y="114753"/>
                  <a:pt x="13500" y="111731"/>
                  <a:pt x="13500" y="108003"/>
                </a:cubicBezTo>
                <a:lnTo>
                  <a:pt x="13500" y="97878"/>
                </a:lnTo>
                <a:lnTo>
                  <a:pt x="74523" y="97878"/>
                </a:lnTo>
                <a:lnTo>
                  <a:pt x="71057" y="128739"/>
                </a:lnTo>
                <a:lnTo>
                  <a:pt x="3969" y="159233"/>
                </a:lnTo>
                <a:cubicBezTo>
                  <a:pt x="1554" y="160324"/>
                  <a:pt x="2" y="162728"/>
                  <a:pt x="0" y="165378"/>
                </a:cubicBezTo>
                <a:lnTo>
                  <a:pt x="0" y="182253"/>
                </a:lnTo>
                <a:cubicBezTo>
                  <a:pt x="0" y="185981"/>
                  <a:pt x="3022" y="189003"/>
                  <a:pt x="6750" y="189003"/>
                </a:cubicBezTo>
                <a:cubicBezTo>
                  <a:pt x="10478" y="189003"/>
                  <a:pt x="13500" y="185981"/>
                  <a:pt x="13500" y="182253"/>
                </a:cubicBezTo>
                <a:lnTo>
                  <a:pt x="13500" y="172128"/>
                </a:lnTo>
                <a:lnTo>
                  <a:pt x="66180" y="172128"/>
                </a:lnTo>
                <a:lnTo>
                  <a:pt x="64284" y="189027"/>
                </a:lnTo>
                <a:lnTo>
                  <a:pt x="19649" y="300716"/>
                </a:lnTo>
                <a:cubicBezTo>
                  <a:pt x="18266" y="304177"/>
                  <a:pt x="19950" y="308105"/>
                  <a:pt x="23411" y="309489"/>
                </a:cubicBezTo>
                <a:cubicBezTo>
                  <a:pt x="25069" y="310152"/>
                  <a:pt x="26923" y="310131"/>
                  <a:pt x="28566" y="309430"/>
                </a:cubicBezTo>
                <a:lnTo>
                  <a:pt x="111210" y="274192"/>
                </a:lnTo>
                <a:lnTo>
                  <a:pt x="194346" y="309670"/>
                </a:lnTo>
                <a:cubicBezTo>
                  <a:pt x="197774" y="311135"/>
                  <a:pt x="201741" y="309544"/>
                  <a:pt x="203206" y="306116"/>
                </a:cubicBezTo>
                <a:cubicBezTo>
                  <a:pt x="203909" y="304472"/>
                  <a:pt x="203930" y="302616"/>
                  <a:pt x="203266" y="300956"/>
                </a:cubicBezTo>
                <a:lnTo>
                  <a:pt x="158493" y="189030"/>
                </a:lnTo>
                <a:lnTo>
                  <a:pt x="156600" y="172128"/>
                </a:lnTo>
                <a:lnTo>
                  <a:pt x="209250" y="172128"/>
                </a:lnTo>
                <a:lnTo>
                  <a:pt x="209250" y="182253"/>
                </a:lnTo>
                <a:cubicBezTo>
                  <a:pt x="209250" y="185981"/>
                  <a:pt x="212272" y="189003"/>
                  <a:pt x="216000" y="189003"/>
                </a:cubicBezTo>
                <a:cubicBezTo>
                  <a:pt x="219728" y="189003"/>
                  <a:pt x="222750" y="185981"/>
                  <a:pt x="222750" y="182253"/>
                </a:cubicBezTo>
                <a:lnTo>
                  <a:pt x="222750" y="165378"/>
                </a:lnTo>
                <a:cubicBezTo>
                  <a:pt x="222751" y="162731"/>
                  <a:pt x="221204" y="160328"/>
                  <a:pt x="218795" y="159233"/>
                </a:cubicBezTo>
                <a:lnTo>
                  <a:pt x="151720" y="128739"/>
                </a:lnTo>
                <a:lnTo>
                  <a:pt x="148250" y="97878"/>
                </a:lnTo>
                <a:lnTo>
                  <a:pt x="209250" y="97878"/>
                </a:lnTo>
                <a:lnTo>
                  <a:pt x="209250" y="108003"/>
                </a:lnTo>
                <a:cubicBezTo>
                  <a:pt x="209250" y="111731"/>
                  <a:pt x="212272" y="114753"/>
                  <a:pt x="216000" y="114753"/>
                </a:cubicBezTo>
                <a:close/>
                <a:moveTo>
                  <a:pt x="91901" y="64128"/>
                </a:moveTo>
                <a:lnTo>
                  <a:pt x="130876" y="64128"/>
                </a:lnTo>
                <a:lnTo>
                  <a:pt x="133151" y="84378"/>
                </a:lnTo>
                <a:lnTo>
                  <a:pt x="89613" y="84378"/>
                </a:lnTo>
                <a:close/>
                <a:moveTo>
                  <a:pt x="111375" y="18525"/>
                </a:moveTo>
                <a:lnTo>
                  <a:pt x="128483" y="42964"/>
                </a:lnTo>
                <a:lnTo>
                  <a:pt x="129357" y="50628"/>
                </a:lnTo>
                <a:lnTo>
                  <a:pt x="93417" y="50628"/>
                </a:lnTo>
                <a:lnTo>
                  <a:pt x="94281" y="42964"/>
                </a:lnTo>
                <a:close/>
                <a:moveTo>
                  <a:pt x="37925" y="84378"/>
                </a:moveTo>
                <a:lnTo>
                  <a:pt x="78087" y="66120"/>
                </a:lnTo>
                <a:lnTo>
                  <a:pt x="76042" y="84378"/>
                </a:lnTo>
                <a:close/>
                <a:moveTo>
                  <a:pt x="141494" y="158628"/>
                </a:moveTo>
                <a:lnTo>
                  <a:pt x="81284" y="158628"/>
                </a:lnTo>
                <a:lnTo>
                  <a:pt x="83558" y="138378"/>
                </a:lnTo>
                <a:lnTo>
                  <a:pt x="139219" y="138378"/>
                </a:lnTo>
                <a:close/>
                <a:moveTo>
                  <a:pt x="37925" y="158628"/>
                </a:moveTo>
                <a:lnTo>
                  <a:pt x="69312" y="144366"/>
                </a:lnTo>
                <a:lnTo>
                  <a:pt x="67699" y="158628"/>
                </a:lnTo>
                <a:close/>
                <a:moveTo>
                  <a:pt x="148838" y="201261"/>
                </a:moveTo>
                <a:lnTo>
                  <a:pt x="158115" y="224441"/>
                </a:lnTo>
                <a:lnTo>
                  <a:pt x="127703" y="210772"/>
                </a:lnTo>
                <a:close/>
                <a:moveTo>
                  <a:pt x="158423" y="239379"/>
                </a:moveTo>
                <a:lnTo>
                  <a:pt x="111210" y="259514"/>
                </a:lnTo>
                <a:lnTo>
                  <a:pt x="64037" y="239379"/>
                </a:lnTo>
                <a:lnTo>
                  <a:pt x="111237" y="218167"/>
                </a:lnTo>
                <a:close/>
                <a:moveTo>
                  <a:pt x="64733" y="224262"/>
                </a:moveTo>
                <a:lnTo>
                  <a:pt x="73875" y="201380"/>
                </a:lnTo>
                <a:lnTo>
                  <a:pt x="94760" y="210765"/>
                </a:lnTo>
                <a:close/>
                <a:moveTo>
                  <a:pt x="38205" y="290638"/>
                </a:moveTo>
                <a:lnTo>
                  <a:pt x="54456" y="249973"/>
                </a:lnTo>
                <a:lnTo>
                  <a:pt x="93997" y="266848"/>
                </a:lnTo>
                <a:close/>
                <a:moveTo>
                  <a:pt x="128405" y="266855"/>
                </a:moveTo>
                <a:lnTo>
                  <a:pt x="168284" y="249855"/>
                </a:lnTo>
                <a:lnTo>
                  <a:pt x="184690" y="290874"/>
                </a:lnTo>
                <a:close/>
                <a:moveTo>
                  <a:pt x="144815" y="188271"/>
                </a:moveTo>
                <a:lnTo>
                  <a:pt x="111227" y="203367"/>
                </a:lnTo>
                <a:lnTo>
                  <a:pt x="77929" y="188399"/>
                </a:lnTo>
                <a:lnTo>
                  <a:pt x="79765" y="172128"/>
                </a:lnTo>
                <a:lnTo>
                  <a:pt x="143012" y="172128"/>
                </a:lnTo>
                <a:close/>
                <a:moveTo>
                  <a:pt x="184852" y="158628"/>
                </a:moveTo>
                <a:lnTo>
                  <a:pt x="155078" y="158628"/>
                </a:lnTo>
                <a:lnTo>
                  <a:pt x="153475" y="144366"/>
                </a:lnTo>
                <a:close/>
                <a:moveTo>
                  <a:pt x="137700" y="124878"/>
                </a:moveTo>
                <a:lnTo>
                  <a:pt x="85074" y="124878"/>
                </a:lnTo>
                <a:lnTo>
                  <a:pt x="88111" y="97878"/>
                </a:lnTo>
                <a:lnTo>
                  <a:pt x="134663" y="97878"/>
                </a:lnTo>
                <a:close/>
                <a:moveTo>
                  <a:pt x="144683" y="66120"/>
                </a:moveTo>
                <a:lnTo>
                  <a:pt x="184852" y="84378"/>
                </a:lnTo>
                <a:lnTo>
                  <a:pt x="146735" y="84378"/>
                </a:lnTo>
                <a:close/>
              </a:path>
            </a:pathLst>
          </a:custGeom>
          <a:solidFill>
            <a:schemeClr val="tx2">
              <a:lumMod val="25000"/>
              <a:lumOff val="75000"/>
            </a:schemeClr>
          </a:solidFill>
          <a:ln w="3373" cap="flat">
            <a:noFill/>
            <a:prstDash val="solid"/>
            <a:miter/>
          </a:ln>
        </p:spPr>
        <p:txBody>
          <a:bodyPr rtlCol="0" anchor="ctr"/>
          <a:lstStyle/>
          <a:p>
            <a:endParaRPr lang="es-ES_tradnl"/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1C84F50A-77C7-A4AD-9F86-86E4345AF45D}"/>
              </a:ext>
            </a:extLst>
          </p:cNvPr>
          <p:cNvGrpSpPr/>
          <p:nvPr/>
        </p:nvGrpSpPr>
        <p:grpSpPr>
          <a:xfrm>
            <a:off x="521144" y="588058"/>
            <a:ext cx="863601" cy="297014"/>
            <a:chOff x="333374" y="555625"/>
            <a:chExt cx="863601" cy="297014"/>
          </a:xfrm>
        </p:grpSpPr>
        <p:sp>
          <p:nvSpPr>
            <p:cNvPr id="13" name="Rectángulo redondeado 12">
              <a:extLst>
                <a:ext uri="{FF2B5EF4-FFF2-40B4-BE49-F238E27FC236}">
                  <a16:creationId xmlns:a16="http://schemas.microsoft.com/office/drawing/2014/main" id="{5BCEAB76-331E-5166-2FDC-D02F91E68AC1}"/>
                </a:ext>
              </a:extLst>
            </p:cNvPr>
            <p:cNvSpPr/>
            <p:nvPr/>
          </p:nvSpPr>
          <p:spPr>
            <a:xfrm>
              <a:off x="333374" y="555625"/>
              <a:ext cx="863601" cy="297014"/>
            </a:xfrm>
            <a:prstGeom prst="roundRect">
              <a:avLst>
                <a:gd name="adj" fmla="val 50000"/>
              </a:avLst>
            </a:prstGeom>
            <a:solidFill>
              <a:srgbClr val="FFFFFF">
                <a:alpha val="49562"/>
              </a:srgbClr>
            </a:solidFill>
            <a:ln w="12700" cap="rnd" cmpd="sng">
              <a:solidFill>
                <a:schemeClr val="tx2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endParaRPr lang="es-AR" sz="1400" b="1">
                <a:solidFill>
                  <a:schemeClr val="tx1"/>
                </a:solidFill>
              </a:endParaRPr>
            </a:p>
          </p:txBody>
        </p:sp>
        <p:grpSp>
          <p:nvGrpSpPr>
            <p:cNvPr id="16" name="Grupo 15">
              <a:extLst>
                <a:ext uri="{FF2B5EF4-FFF2-40B4-BE49-F238E27FC236}">
                  <a16:creationId xmlns:a16="http://schemas.microsoft.com/office/drawing/2014/main" id="{9DDDEA0F-E218-ED9A-BB30-05F62E693EAE}"/>
                </a:ext>
              </a:extLst>
            </p:cNvPr>
            <p:cNvGrpSpPr/>
            <p:nvPr/>
          </p:nvGrpSpPr>
          <p:grpSpPr>
            <a:xfrm>
              <a:off x="484992" y="654561"/>
              <a:ext cx="143610" cy="99142"/>
              <a:chOff x="462825" y="639433"/>
              <a:chExt cx="187943" cy="129747"/>
            </a:xfrm>
          </p:grpSpPr>
          <p:sp>
            <p:nvSpPr>
              <p:cNvPr id="14" name="Gráfico 7">
                <a:extLst>
                  <a:ext uri="{FF2B5EF4-FFF2-40B4-BE49-F238E27FC236}">
                    <a16:creationId xmlns:a16="http://schemas.microsoft.com/office/drawing/2014/main" id="{AF9EBACB-AD72-EBCA-42B4-DBFDAE95459C}"/>
                  </a:ext>
                </a:extLst>
              </p:cNvPr>
              <p:cNvSpPr/>
              <p:nvPr/>
            </p:nvSpPr>
            <p:spPr>
              <a:xfrm rot="5400000" flipH="1">
                <a:off x="549094" y="667507"/>
                <a:ext cx="129747" cy="73600"/>
              </a:xfrm>
              <a:custGeom>
                <a:avLst/>
                <a:gdLst>
                  <a:gd name="connsiteX0" fmla="*/ 14771 w 219527"/>
                  <a:gd name="connsiteY0" fmla="*/ 0 h 124528"/>
                  <a:gd name="connsiteX1" fmla="*/ 204757 w 219527"/>
                  <a:gd name="connsiteY1" fmla="*/ 0 h 124528"/>
                  <a:gd name="connsiteX2" fmla="*/ 215168 w 219527"/>
                  <a:gd name="connsiteY2" fmla="*/ 25179 h 124528"/>
                  <a:gd name="connsiteX3" fmla="*/ 120212 w 219527"/>
                  <a:gd name="connsiteY3" fmla="*/ 120209 h 124528"/>
                  <a:gd name="connsiteX4" fmla="*/ 99316 w 219527"/>
                  <a:gd name="connsiteY4" fmla="*/ 120209 h 124528"/>
                  <a:gd name="connsiteX5" fmla="*/ 4360 w 219527"/>
                  <a:gd name="connsiteY5" fmla="*/ 25179 h 124528"/>
                  <a:gd name="connsiteX6" fmla="*/ 14771 w 219527"/>
                  <a:gd name="connsiteY6" fmla="*/ 0 h 124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9527" h="124528">
                    <a:moveTo>
                      <a:pt x="14771" y="0"/>
                    </a:moveTo>
                    <a:lnTo>
                      <a:pt x="204757" y="0"/>
                    </a:lnTo>
                    <a:cubicBezTo>
                      <a:pt x="217900" y="0"/>
                      <a:pt x="224471" y="15875"/>
                      <a:pt x="215168" y="25179"/>
                    </a:cubicBezTo>
                    <a:lnTo>
                      <a:pt x="120212" y="120209"/>
                    </a:lnTo>
                    <a:cubicBezTo>
                      <a:pt x="114453" y="125968"/>
                      <a:pt x="105075" y="125968"/>
                      <a:pt x="99316" y="120209"/>
                    </a:cubicBezTo>
                    <a:lnTo>
                      <a:pt x="4360" y="25179"/>
                    </a:lnTo>
                    <a:cubicBezTo>
                      <a:pt x="-4944" y="15875"/>
                      <a:pt x="1628" y="0"/>
                      <a:pt x="14771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7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AR"/>
              </a:p>
            </p:txBody>
          </p:sp>
          <p:sp>
            <p:nvSpPr>
              <p:cNvPr id="15" name="Gráfico 7">
                <a:extLst>
                  <a:ext uri="{FF2B5EF4-FFF2-40B4-BE49-F238E27FC236}">
                    <a16:creationId xmlns:a16="http://schemas.microsoft.com/office/drawing/2014/main" id="{80CA74CD-50F5-8B89-C008-67D271B28C84}"/>
                  </a:ext>
                </a:extLst>
              </p:cNvPr>
              <p:cNvSpPr/>
              <p:nvPr/>
            </p:nvSpPr>
            <p:spPr>
              <a:xfrm rot="5400000" flipH="1">
                <a:off x="434751" y="667507"/>
                <a:ext cx="129747" cy="73600"/>
              </a:xfrm>
              <a:custGeom>
                <a:avLst/>
                <a:gdLst>
                  <a:gd name="connsiteX0" fmla="*/ 14771 w 219527"/>
                  <a:gd name="connsiteY0" fmla="*/ 0 h 124528"/>
                  <a:gd name="connsiteX1" fmla="*/ 204757 w 219527"/>
                  <a:gd name="connsiteY1" fmla="*/ 0 h 124528"/>
                  <a:gd name="connsiteX2" fmla="*/ 215168 w 219527"/>
                  <a:gd name="connsiteY2" fmla="*/ 25179 h 124528"/>
                  <a:gd name="connsiteX3" fmla="*/ 120212 w 219527"/>
                  <a:gd name="connsiteY3" fmla="*/ 120209 h 124528"/>
                  <a:gd name="connsiteX4" fmla="*/ 99316 w 219527"/>
                  <a:gd name="connsiteY4" fmla="*/ 120209 h 124528"/>
                  <a:gd name="connsiteX5" fmla="*/ 4360 w 219527"/>
                  <a:gd name="connsiteY5" fmla="*/ 25179 h 124528"/>
                  <a:gd name="connsiteX6" fmla="*/ 14771 w 219527"/>
                  <a:gd name="connsiteY6" fmla="*/ 0 h 124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9527" h="124528">
                    <a:moveTo>
                      <a:pt x="14771" y="0"/>
                    </a:moveTo>
                    <a:lnTo>
                      <a:pt x="204757" y="0"/>
                    </a:lnTo>
                    <a:cubicBezTo>
                      <a:pt x="217900" y="0"/>
                      <a:pt x="224471" y="15875"/>
                      <a:pt x="215168" y="25179"/>
                    </a:cubicBezTo>
                    <a:lnTo>
                      <a:pt x="120212" y="120209"/>
                    </a:lnTo>
                    <a:cubicBezTo>
                      <a:pt x="114453" y="125968"/>
                      <a:pt x="105075" y="125968"/>
                      <a:pt x="99316" y="120209"/>
                    </a:cubicBezTo>
                    <a:lnTo>
                      <a:pt x="4360" y="25179"/>
                    </a:lnTo>
                    <a:cubicBezTo>
                      <a:pt x="-4944" y="15875"/>
                      <a:pt x="1628" y="0"/>
                      <a:pt x="14771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7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AR"/>
              </a:p>
            </p:txBody>
          </p:sp>
        </p:grpSp>
        <p:sp>
          <p:nvSpPr>
            <p:cNvPr id="6" name="CuadroTexto 5">
              <a:extLst>
                <a:ext uri="{FF2B5EF4-FFF2-40B4-BE49-F238E27FC236}">
                  <a16:creationId xmlns:a16="http://schemas.microsoft.com/office/drawing/2014/main" id="{6F1F0DE1-FC7C-3CC3-1AB9-2975866DED7C}"/>
                </a:ext>
              </a:extLst>
            </p:cNvPr>
            <p:cNvSpPr txBox="1"/>
            <p:nvPr/>
          </p:nvSpPr>
          <p:spPr>
            <a:xfrm>
              <a:off x="694483" y="634883"/>
              <a:ext cx="322204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s-AR" sz="900">
                  <a:solidFill>
                    <a:schemeClr val="tx2"/>
                  </a:solidFill>
                  <a:latin typeface="Pulso" pitchFamily="2" charset="0"/>
                </a:rPr>
                <a:t>volver</a:t>
              </a:r>
            </a:p>
          </p:txBody>
        </p:sp>
      </p:grpSp>
      <p:sp>
        <p:nvSpPr>
          <p:cNvPr id="23" name="Rectángulo 22">
            <a:hlinkClick r:id="rId7" action="ppaction://hlinksldjump"/>
            <a:extLst>
              <a:ext uri="{FF2B5EF4-FFF2-40B4-BE49-F238E27FC236}">
                <a16:creationId xmlns:a16="http://schemas.microsoft.com/office/drawing/2014/main" id="{C7E1B191-9C29-9092-3528-30EA8DEDD58C}"/>
              </a:ext>
            </a:extLst>
          </p:cNvPr>
          <p:cNvSpPr/>
          <p:nvPr/>
        </p:nvSpPr>
        <p:spPr>
          <a:xfrm>
            <a:off x="481456" y="537258"/>
            <a:ext cx="942975" cy="393700"/>
          </a:xfrm>
          <a:prstGeom prst="rect">
            <a:avLst/>
          </a:prstGeom>
          <a:noFill/>
          <a:ln w="38100" cap="rnd" cmpd="sng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</a:endParaRPr>
          </a:p>
        </p:txBody>
      </p:sp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081EF8C9-6B61-B45B-DA61-6DA6D8205615}"/>
              </a:ext>
            </a:extLst>
          </p:cNvPr>
          <p:cNvSpPr/>
          <p:nvPr/>
        </p:nvSpPr>
        <p:spPr>
          <a:xfrm>
            <a:off x="381001" y="1980459"/>
            <a:ext cx="8196654" cy="582083"/>
          </a:xfrm>
          <a:prstGeom prst="roundRect">
            <a:avLst>
              <a:gd name="adj" fmla="val 18121"/>
            </a:avLst>
          </a:prstGeom>
          <a:noFill/>
          <a:ln w="19050" cap="rnd" cmpd="sng">
            <a:solidFill>
              <a:schemeClr val="tx2">
                <a:lumMod val="75000"/>
                <a:lumOff val="25000"/>
              </a:schemeClr>
            </a:solidFill>
            <a:prstDash val="sysDot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</a:endParaRPr>
          </a:p>
        </p:txBody>
      </p:sp>
      <p:sp>
        <p:nvSpPr>
          <p:cNvPr id="8" name="Rectángulo redondeado 7">
            <a:extLst>
              <a:ext uri="{FF2B5EF4-FFF2-40B4-BE49-F238E27FC236}">
                <a16:creationId xmlns:a16="http://schemas.microsoft.com/office/drawing/2014/main" id="{89420FB8-BF8D-C342-925B-7BEFACC32107}"/>
              </a:ext>
            </a:extLst>
          </p:cNvPr>
          <p:cNvSpPr/>
          <p:nvPr/>
        </p:nvSpPr>
        <p:spPr>
          <a:xfrm>
            <a:off x="381001" y="2973686"/>
            <a:ext cx="8196654" cy="582083"/>
          </a:xfrm>
          <a:prstGeom prst="roundRect">
            <a:avLst>
              <a:gd name="adj" fmla="val 18121"/>
            </a:avLst>
          </a:prstGeom>
          <a:noFill/>
          <a:ln w="19050" cap="rnd" cmpd="sng">
            <a:solidFill>
              <a:schemeClr val="tx2">
                <a:lumMod val="75000"/>
                <a:lumOff val="25000"/>
              </a:schemeClr>
            </a:solidFill>
            <a:prstDash val="sysDot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</a:endParaRPr>
          </a:p>
        </p:txBody>
      </p:sp>
      <p:sp>
        <p:nvSpPr>
          <p:cNvPr id="9" name="Rectángulo redondeado 8">
            <a:extLst>
              <a:ext uri="{FF2B5EF4-FFF2-40B4-BE49-F238E27FC236}">
                <a16:creationId xmlns:a16="http://schemas.microsoft.com/office/drawing/2014/main" id="{5F299009-D2BC-4E8B-6728-A9A81D512323}"/>
              </a:ext>
            </a:extLst>
          </p:cNvPr>
          <p:cNvSpPr/>
          <p:nvPr/>
        </p:nvSpPr>
        <p:spPr>
          <a:xfrm>
            <a:off x="381001" y="4022093"/>
            <a:ext cx="8196654" cy="533349"/>
          </a:xfrm>
          <a:prstGeom prst="roundRect">
            <a:avLst>
              <a:gd name="adj" fmla="val 18121"/>
            </a:avLst>
          </a:prstGeom>
          <a:noFill/>
          <a:ln w="19050" cap="rnd" cmpd="sng">
            <a:solidFill>
              <a:schemeClr val="tx2">
                <a:lumMod val="75000"/>
                <a:lumOff val="25000"/>
              </a:schemeClr>
            </a:solidFill>
            <a:prstDash val="sysDot"/>
            <a:miter lim="800000"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s-AR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561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0FF12D-04C0-E220-BF88-88CC1E5315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97DB4C93-B549-B086-DE28-8A11ED3837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38767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9" progId="TCLayout.ActiveDocument.1">
                  <p:embed/>
                </p:oleObj>
              </mc:Choice>
              <mc:Fallback>
                <p:oleObj name="Diapositiva de think-cell" r:id="rId4" imgW="378" imgH="379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DB4C93-B549-B086-DE28-8A11ED3837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9" name="Grupo 98">
            <a:extLst>
              <a:ext uri="{FF2B5EF4-FFF2-40B4-BE49-F238E27FC236}">
                <a16:creationId xmlns:a16="http://schemas.microsoft.com/office/drawing/2014/main" id="{A86C7A85-F599-1112-315E-19323900260E}"/>
              </a:ext>
            </a:extLst>
          </p:cNvPr>
          <p:cNvGrpSpPr/>
          <p:nvPr/>
        </p:nvGrpSpPr>
        <p:grpSpPr>
          <a:xfrm>
            <a:off x="235834" y="1768057"/>
            <a:ext cx="6406787" cy="2470594"/>
            <a:chOff x="235834" y="1435940"/>
            <a:chExt cx="6406787" cy="2470594"/>
          </a:xfrm>
        </p:grpSpPr>
        <p:sp>
          <p:nvSpPr>
            <p:cNvPr id="5" name="Forma libre 85">
              <a:extLst>
                <a:ext uri="{FF2B5EF4-FFF2-40B4-BE49-F238E27FC236}">
                  <a16:creationId xmlns:a16="http://schemas.microsoft.com/office/drawing/2014/main" id="{2CD0EC95-96C1-ECE8-0087-48BACE68DA82}"/>
                </a:ext>
              </a:extLst>
            </p:cNvPr>
            <p:cNvSpPr/>
            <p:nvPr/>
          </p:nvSpPr>
          <p:spPr>
            <a:xfrm>
              <a:off x="2832383" y="2254037"/>
              <a:ext cx="1399700" cy="1397309"/>
            </a:xfrm>
            <a:custGeom>
              <a:avLst/>
              <a:gdLst>
                <a:gd name="connsiteX0" fmla="*/ 1858073 w 2315152"/>
                <a:gd name="connsiteY0" fmla="*/ 2184322 h 2314985"/>
                <a:gd name="connsiteX1" fmla="*/ 1873062 w 2315152"/>
                <a:gd name="connsiteY1" fmla="*/ 2218042 h 2314985"/>
                <a:gd name="connsiteX2" fmla="*/ 1380560 w 2315152"/>
                <a:gd name="connsiteY2" fmla="*/ 2314985 h 2314985"/>
                <a:gd name="connsiteX3" fmla="*/ 1380560 w 2315152"/>
                <a:gd name="connsiteY3" fmla="*/ 2280086 h 2314985"/>
                <a:gd name="connsiteX4" fmla="*/ 1743757 w 2315152"/>
                <a:gd name="connsiteY4" fmla="*/ 2224465 h 2314985"/>
                <a:gd name="connsiteX5" fmla="*/ 1857549 w 2315152"/>
                <a:gd name="connsiteY5" fmla="*/ 2183143 h 2314985"/>
                <a:gd name="connsiteX6" fmla="*/ 1861431 w 2315152"/>
                <a:gd name="connsiteY6" fmla="*/ 2183143 h 2314985"/>
                <a:gd name="connsiteX7" fmla="*/ 1858073 w 2315152"/>
                <a:gd name="connsiteY7" fmla="*/ 2184322 h 2314985"/>
                <a:gd name="connsiteX8" fmla="*/ 864790 w 2315152"/>
                <a:gd name="connsiteY8" fmla="*/ 2179266 h 2314985"/>
                <a:gd name="connsiteX9" fmla="*/ 1345660 w 2315152"/>
                <a:gd name="connsiteY9" fmla="*/ 2276209 h 2314985"/>
                <a:gd name="connsiteX10" fmla="*/ 1345660 w 2315152"/>
                <a:gd name="connsiteY10" fmla="*/ 2280086 h 2314985"/>
                <a:gd name="connsiteX11" fmla="*/ 1345660 w 2315152"/>
                <a:gd name="connsiteY11" fmla="*/ 2314985 h 2314985"/>
                <a:gd name="connsiteX12" fmla="*/ 841522 w 2315152"/>
                <a:gd name="connsiteY12" fmla="*/ 2210288 h 2314985"/>
                <a:gd name="connsiteX13" fmla="*/ 2288008 w 2315152"/>
                <a:gd name="connsiteY13" fmla="*/ 1903950 h 2314985"/>
                <a:gd name="connsiteX14" fmla="*/ 2315152 w 2315152"/>
                <a:gd name="connsiteY14" fmla="*/ 1931095 h 2314985"/>
                <a:gd name="connsiteX15" fmla="*/ 1907965 w 2315152"/>
                <a:gd name="connsiteY15" fmla="*/ 2206411 h 2314985"/>
                <a:gd name="connsiteX16" fmla="*/ 1892452 w 2315152"/>
                <a:gd name="connsiteY16" fmla="*/ 2171512 h 2314985"/>
                <a:gd name="connsiteX17" fmla="*/ 2288008 w 2315152"/>
                <a:gd name="connsiteY17" fmla="*/ 1903950 h 2314985"/>
                <a:gd name="connsiteX18" fmla="*/ 438213 w 2315152"/>
                <a:gd name="connsiteY18" fmla="*/ 1903950 h 2314985"/>
                <a:gd name="connsiteX19" fmla="*/ 829891 w 2315152"/>
                <a:gd name="connsiteY19" fmla="*/ 2167634 h 2314985"/>
                <a:gd name="connsiteX20" fmla="*/ 806624 w 2315152"/>
                <a:gd name="connsiteY20" fmla="*/ 2198656 h 2314985"/>
                <a:gd name="connsiteX21" fmla="*/ 411068 w 2315152"/>
                <a:gd name="connsiteY21" fmla="*/ 1931095 h 2314985"/>
                <a:gd name="connsiteX22" fmla="*/ 147363 w 2315152"/>
                <a:gd name="connsiteY22" fmla="*/ 1489037 h 2314985"/>
                <a:gd name="connsiteX23" fmla="*/ 411068 w 2315152"/>
                <a:gd name="connsiteY23" fmla="*/ 1880683 h 2314985"/>
                <a:gd name="connsiteX24" fmla="*/ 383924 w 2315152"/>
                <a:gd name="connsiteY24" fmla="*/ 1907827 h 2314985"/>
                <a:gd name="connsiteX25" fmla="*/ 116341 w 2315152"/>
                <a:gd name="connsiteY25" fmla="*/ 1512305 h 2314985"/>
                <a:gd name="connsiteX26" fmla="*/ 0 w 2315152"/>
                <a:gd name="connsiteY26" fmla="*/ 973304 h 2314985"/>
                <a:gd name="connsiteX27" fmla="*/ 34904 w 2315152"/>
                <a:gd name="connsiteY27" fmla="*/ 973304 h 2314985"/>
                <a:gd name="connsiteX28" fmla="*/ 131851 w 2315152"/>
                <a:gd name="connsiteY28" fmla="*/ 1454138 h 2314985"/>
                <a:gd name="connsiteX29" fmla="*/ 135728 w 2315152"/>
                <a:gd name="connsiteY29" fmla="*/ 1454138 h 2314985"/>
                <a:gd name="connsiteX30" fmla="*/ 104706 w 2315152"/>
                <a:gd name="connsiteY30" fmla="*/ 1477405 h 2314985"/>
                <a:gd name="connsiteX31" fmla="*/ 0 w 2315152"/>
                <a:gd name="connsiteY31" fmla="*/ 973304 h 2314985"/>
                <a:gd name="connsiteX32" fmla="*/ 96951 w 2315152"/>
                <a:gd name="connsiteY32" fmla="*/ 457571 h 2314985"/>
                <a:gd name="connsiteX33" fmla="*/ 131854 w 2315152"/>
                <a:gd name="connsiteY33" fmla="*/ 473080 h 2314985"/>
                <a:gd name="connsiteX34" fmla="*/ 38784 w 2315152"/>
                <a:gd name="connsiteY34" fmla="*/ 942282 h 2314985"/>
                <a:gd name="connsiteX35" fmla="*/ 38784 w 2315152"/>
                <a:gd name="connsiteY35" fmla="*/ 938405 h 2314985"/>
                <a:gd name="connsiteX36" fmla="*/ 3881 w 2315152"/>
                <a:gd name="connsiteY36" fmla="*/ 938405 h 2314985"/>
                <a:gd name="connsiteX37" fmla="*/ 96951 w 2315152"/>
                <a:gd name="connsiteY37" fmla="*/ 457571 h 2314985"/>
                <a:gd name="connsiteX38" fmla="*/ 387801 w 2315152"/>
                <a:gd name="connsiteY38" fmla="*/ 0 h 2314985"/>
                <a:gd name="connsiteX39" fmla="*/ 414945 w 2315152"/>
                <a:gd name="connsiteY39" fmla="*/ 27145 h 2314985"/>
                <a:gd name="connsiteX40" fmla="*/ 143490 w 2315152"/>
                <a:gd name="connsiteY40" fmla="*/ 434303 h 2314985"/>
                <a:gd name="connsiteX41" fmla="*/ 108587 w 2315152"/>
                <a:gd name="connsiteY41" fmla="*/ 418790 h 2314985"/>
                <a:gd name="connsiteX42" fmla="*/ 387801 w 2315152"/>
                <a:gd name="connsiteY42" fmla="*/ 0 h 2314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315152" h="2314985">
                  <a:moveTo>
                    <a:pt x="1858073" y="2184322"/>
                  </a:moveTo>
                  <a:lnTo>
                    <a:pt x="1873062" y="2218042"/>
                  </a:lnTo>
                  <a:cubicBezTo>
                    <a:pt x="1714067" y="2280086"/>
                    <a:pt x="1547314" y="2314985"/>
                    <a:pt x="1380560" y="2314985"/>
                  </a:cubicBezTo>
                  <a:lnTo>
                    <a:pt x="1380560" y="2280086"/>
                  </a:lnTo>
                  <a:cubicBezTo>
                    <a:pt x="1502718" y="2280086"/>
                    <a:pt x="1624872" y="2260456"/>
                    <a:pt x="1743757" y="2224465"/>
                  </a:cubicBezTo>
                  <a:close/>
                  <a:moveTo>
                    <a:pt x="1857549" y="2183143"/>
                  </a:moveTo>
                  <a:lnTo>
                    <a:pt x="1861431" y="2183143"/>
                  </a:lnTo>
                  <a:lnTo>
                    <a:pt x="1858073" y="2184322"/>
                  </a:lnTo>
                  <a:close/>
                  <a:moveTo>
                    <a:pt x="864790" y="2179266"/>
                  </a:moveTo>
                  <a:cubicBezTo>
                    <a:pt x="1019908" y="2241310"/>
                    <a:pt x="1182784" y="2276209"/>
                    <a:pt x="1345660" y="2276209"/>
                  </a:cubicBezTo>
                  <a:lnTo>
                    <a:pt x="1345660" y="2280086"/>
                  </a:lnTo>
                  <a:lnTo>
                    <a:pt x="1345660" y="2314985"/>
                  </a:lnTo>
                  <a:cubicBezTo>
                    <a:pt x="1175029" y="2314985"/>
                    <a:pt x="1000517" y="2276209"/>
                    <a:pt x="841522" y="2210288"/>
                  </a:cubicBezTo>
                  <a:close/>
                  <a:moveTo>
                    <a:pt x="2288008" y="1903950"/>
                  </a:moveTo>
                  <a:lnTo>
                    <a:pt x="2315152" y="1931095"/>
                  </a:lnTo>
                  <a:cubicBezTo>
                    <a:pt x="2194934" y="2051302"/>
                    <a:pt x="2055329" y="2140490"/>
                    <a:pt x="1907965" y="2206411"/>
                  </a:cubicBezTo>
                  <a:lnTo>
                    <a:pt x="1892452" y="2171512"/>
                  </a:lnTo>
                  <a:cubicBezTo>
                    <a:pt x="2035938" y="2109468"/>
                    <a:pt x="2171666" y="2020280"/>
                    <a:pt x="2288008" y="1903950"/>
                  </a:cubicBezTo>
                  <a:close/>
                  <a:moveTo>
                    <a:pt x="438213" y="1903950"/>
                  </a:moveTo>
                  <a:cubicBezTo>
                    <a:pt x="554555" y="2016402"/>
                    <a:pt x="686405" y="2105591"/>
                    <a:pt x="829891" y="2167634"/>
                  </a:cubicBezTo>
                  <a:lnTo>
                    <a:pt x="806624" y="2198656"/>
                  </a:lnTo>
                  <a:cubicBezTo>
                    <a:pt x="663138" y="2136613"/>
                    <a:pt x="531287" y="2047424"/>
                    <a:pt x="411068" y="1931095"/>
                  </a:cubicBezTo>
                  <a:close/>
                  <a:moveTo>
                    <a:pt x="147363" y="1489037"/>
                  </a:moveTo>
                  <a:cubicBezTo>
                    <a:pt x="209411" y="1632511"/>
                    <a:pt x="298608" y="1764353"/>
                    <a:pt x="411068" y="1880683"/>
                  </a:cubicBezTo>
                  <a:lnTo>
                    <a:pt x="383924" y="1907827"/>
                  </a:lnTo>
                  <a:cubicBezTo>
                    <a:pt x="267582" y="1791498"/>
                    <a:pt x="178389" y="1655779"/>
                    <a:pt x="116341" y="1512305"/>
                  </a:cubicBezTo>
                  <a:close/>
                  <a:moveTo>
                    <a:pt x="0" y="973304"/>
                  </a:moveTo>
                  <a:lnTo>
                    <a:pt x="34904" y="973304"/>
                  </a:lnTo>
                  <a:cubicBezTo>
                    <a:pt x="34904" y="1136168"/>
                    <a:pt x="69803" y="1299028"/>
                    <a:pt x="131851" y="1454138"/>
                  </a:cubicBezTo>
                  <a:lnTo>
                    <a:pt x="135728" y="1454138"/>
                  </a:lnTo>
                  <a:lnTo>
                    <a:pt x="104706" y="1477405"/>
                  </a:lnTo>
                  <a:cubicBezTo>
                    <a:pt x="38781" y="1318418"/>
                    <a:pt x="3877" y="1143923"/>
                    <a:pt x="0" y="973304"/>
                  </a:cubicBezTo>
                  <a:close/>
                  <a:moveTo>
                    <a:pt x="96951" y="457571"/>
                  </a:moveTo>
                  <a:lnTo>
                    <a:pt x="131854" y="473080"/>
                  </a:lnTo>
                  <a:cubicBezTo>
                    <a:pt x="73684" y="624313"/>
                    <a:pt x="42662" y="783295"/>
                    <a:pt x="38784" y="942282"/>
                  </a:cubicBezTo>
                  <a:lnTo>
                    <a:pt x="38784" y="938405"/>
                  </a:lnTo>
                  <a:lnTo>
                    <a:pt x="3881" y="938405"/>
                  </a:lnTo>
                  <a:cubicBezTo>
                    <a:pt x="3881" y="775541"/>
                    <a:pt x="38784" y="612681"/>
                    <a:pt x="96951" y="457571"/>
                  </a:cubicBezTo>
                  <a:close/>
                  <a:moveTo>
                    <a:pt x="387801" y="0"/>
                  </a:moveTo>
                  <a:lnTo>
                    <a:pt x="414945" y="27145"/>
                  </a:lnTo>
                  <a:cubicBezTo>
                    <a:pt x="298608" y="147351"/>
                    <a:pt x="205538" y="286948"/>
                    <a:pt x="143490" y="434303"/>
                  </a:cubicBezTo>
                  <a:lnTo>
                    <a:pt x="108587" y="418790"/>
                  </a:lnTo>
                  <a:cubicBezTo>
                    <a:pt x="174512" y="267561"/>
                    <a:pt x="263705" y="124088"/>
                    <a:pt x="387801" y="0"/>
                  </a:cubicBezTo>
                  <a:close/>
                </a:path>
              </a:pathLst>
            </a:custGeom>
            <a:gradFill>
              <a:gsLst>
                <a:gs pos="69000">
                  <a:srgbClr val="FE0061"/>
                </a:gs>
                <a:gs pos="37000">
                  <a:srgbClr val="A905B7"/>
                </a:gs>
                <a:gs pos="0">
                  <a:srgbClr val="1D46F3"/>
                </a:gs>
                <a:gs pos="100000">
                  <a:srgbClr val="FE5757"/>
                </a:gs>
              </a:gsLst>
              <a:lin ang="5400000" scaled="1"/>
            </a:gradFill>
            <a:ln w="94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31">
                <a:defRPr/>
              </a:pPr>
              <a:endParaRPr lang="en-US" sz="800" kern="0">
                <a:solidFill>
                  <a:srgbClr val="24272A"/>
                </a:solidFill>
                <a:latin typeface="Open Sans"/>
              </a:endParaRPr>
            </a:p>
          </p:txBody>
        </p:sp>
        <p:sp>
          <p:nvSpPr>
            <p:cNvPr id="6" name="Forma libre 5">
              <a:extLst>
                <a:ext uri="{FF2B5EF4-FFF2-40B4-BE49-F238E27FC236}">
                  <a16:creationId xmlns:a16="http://schemas.microsoft.com/office/drawing/2014/main" id="{F58F1576-3428-2AD6-DBEE-0E4055CE9213}"/>
                </a:ext>
              </a:extLst>
            </p:cNvPr>
            <p:cNvSpPr/>
            <p:nvPr/>
          </p:nvSpPr>
          <p:spPr>
            <a:xfrm>
              <a:off x="4370524" y="2546971"/>
              <a:ext cx="89091" cy="88941"/>
            </a:xfrm>
            <a:custGeom>
              <a:avLst/>
              <a:gdLst>
                <a:gd name="connsiteX0" fmla="*/ 36107 w 36106"/>
                <a:gd name="connsiteY0" fmla="*/ 18052 h 36104"/>
                <a:gd name="connsiteX1" fmla="*/ 18053 w 36106"/>
                <a:gd name="connsiteY1" fmla="*/ 36104 h 36104"/>
                <a:gd name="connsiteX2" fmla="*/ 0 w 36106"/>
                <a:gd name="connsiteY2" fmla="*/ 18052 h 36104"/>
                <a:gd name="connsiteX3" fmla="*/ 18053 w 36106"/>
                <a:gd name="connsiteY3" fmla="*/ 0 h 36104"/>
                <a:gd name="connsiteX4" fmla="*/ 36107 w 36106"/>
                <a:gd name="connsiteY4" fmla="*/ 18052 h 36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06" h="36104">
                  <a:moveTo>
                    <a:pt x="36107" y="18052"/>
                  </a:moveTo>
                  <a:cubicBezTo>
                    <a:pt x="36107" y="28022"/>
                    <a:pt x="28024" y="36104"/>
                    <a:pt x="18053" y="36104"/>
                  </a:cubicBezTo>
                  <a:cubicBezTo>
                    <a:pt x="8083" y="36104"/>
                    <a:pt x="0" y="28022"/>
                    <a:pt x="0" y="18052"/>
                  </a:cubicBezTo>
                  <a:cubicBezTo>
                    <a:pt x="0" y="8082"/>
                    <a:pt x="8083" y="0"/>
                    <a:pt x="18053" y="0"/>
                  </a:cubicBezTo>
                  <a:cubicBezTo>
                    <a:pt x="28024" y="0"/>
                    <a:pt x="36107" y="8082"/>
                    <a:pt x="36107" y="18052"/>
                  </a:cubicBezTo>
                  <a:close/>
                </a:path>
              </a:pathLst>
            </a:custGeom>
            <a:solidFill>
              <a:srgbClr val="FE5757"/>
            </a:solidFill>
            <a:ln w="94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31">
                <a:defRPr/>
              </a:pPr>
              <a:endParaRPr lang="en-US" sz="800" kern="0">
                <a:solidFill>
                  <a:srgbClr val="24272A"/>
                </a:solidFill>
                <a:latin typeface="Open Sans"/>
              </a:endParaRPr>
            </a:p>
          </p:txBody>
        </p:sp>
        <p:sp>
          <p:nvSpPr>
            <p:cNvPr id="7" name="Forma libre 48">
              <a:extLst>
                <a:ext uri="{FF2B5EF4-FFF2-40B4-BE49-F238E27FC236}">
                  <a16:creationId xmlns:a16="http://schemas.microsoft.com/office/drawing/2014/main" id="{CF407845-EDF1-B9E3-4D12-B13B4DB180C2}"/>
                </a:ext>
              </a:extLst>
            </p:cNvPr>
            <p:cNvSpPr/>
            <p:nvPr/>
          </p:nvSpPr>
          <p:spPr>
            <a:xfrm>
              <a:off x="4193986" y="2204300"/>
              <a:ext cx="87919" cy="87770"/>
            </a:xfrm>
            <a:custGeom>
              <a:avLst/>
              <a:gdLst>
                <a:gd name="connsiteX0" fmla="*/ 4988 w 35631"/>
                <a:gd name="connsiteY0" fmla="*/ 4988 h 35629"/>
                <a:gd name="connsiteX1" fmla="*/ 4988 w 35631"/>
                <a:gd name="connsiteY1" fmla="*/ 30641 h 35629"/>
                <a:gd name="connsiteX2" fmla="*/ 30643 w 35631"/>
                <a:gd name="connsiteY2" fmla="*/ 30641 h 35629"/>
                <a:gd name="connsiteX3" fmla="*/ 30643 w 35631"/>
                <a:gd name="connsiteY3" fmla="*/ 4988 h 35629"/>
                <a:gd name="connsiteX4" fmla="*/ 4988 w 35631"/>
                <a:gd name="connsiteY4" fmla="*/ 4988 h 35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31" h="35629">
                  <a:moveTo>
                    <a:pt x="4988" y="4988"/>
                  </a:moveTo>
                  <a:cubicBezTo>
                    <a:pt x="-1663" y="11639"/>
                    <a:pt x="-1663" y="23990"/>
                    <a:pt x="4988" y="30641"/>
                  </a:cubicBezTo>
                  <a:cubicBezTo>
                    <a:pt x="11640" y="37292"/>
                    <a:pt x="23992" y="37292"/>
                    <a:pt x="30643" y="30641"/>
                  </a:cubicBezTo>
                  <a:cubicBezTo>
                    <a:pt x="37295" y="23990"/>
                    <a:pt x="37295" y="11639"/>
                    <a:pt x="30643" y="4988"/>
                  </a:cubicBezTo>
                  <a:cubicBezTo>
                    <a:pt x="23992" y="-1663"/>
                    <a:pt x="11640" y="-1663"/>
                    <a:pt x="4988" y="4988"/>
                  </a:cubicBezTo>
                  <a:close/>
                </a:path>
              </a:pathLst>
            </a:custGeom>
            <a:solidFill>
              <a:srgbClr val="A905B7"/>
            </a:solidFill>
            <a:ln w="94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31">
                <a:defRPr/>
              </a:pPr>
              <a:endParaRPr lang="en-US" sz="800" kern="0">
                <a:solidFill>
                  <a:srgbClr val="24272A"/>
                </a:solidFill>
                <a:latin typeface="Open Sans"/>
              </a:endParaRPr>
            </a:p>
          </p:txBody>
        </p:sp>
        <p:sp>
          <p:nvSpPr>
            <p:cNvPr id="8" name="Forma libre 49">
              <a:extLst>
                <a:ext uri="{FF2B5EF4-FFF2-40B4-BE49-F238E27FC236}">
                  <a16:creationId xmlns:a16="http://schemas.microsoft.com/office/drawing/2014/main" id="{98BB9DA7-06FE-5ABD-7B63-05967BE8EBB8}"/>
                </a:ext>
              </a:extLst>
            </p:cNvPr>
            <p:cNvSpPr/>
            <p:nvPr/>
          </p:nvSpPr>
          <p:spPr>
            <a:xfrm>
              <a:off x="3933076" y="2030438"/>
              <a:ext cx="89246" cy="89093"/>
            </a:xfrm>
            <a:custGeom>
              <a:avLst/>
              <a:gdLst>
                <a:gd name="connsiteX0" fmla="*/ 1456 w 36169"/>
                <a:gd name="connsiteY0" fmla="*/ 10957 h 36166"/>
                <a:gd name="connsiteX1" fmla="*/ 10958 w 36169"/>
                <a:gd name="connsiteY1" fmla="*/ 34710 h 36166"/>
                <a:gd name="connsiteX2" fmla="*/ 34713 w 36169"/>
                <a:gd name="connsiteY2" fmla="*/ 25209 h 36166"/>
                <a:gd name="connsiteX3" fmla="*/ 25211 w 36169"/>
                <a:gd name="connsiteY3" fmla="*/ 1456 h 36166"/>
                <a:gd name="connsiteX4" fmla="*/ 1456 w 36169"/>
                <a:gd name="connsiteY4" fmla="*/ 10957 h 36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69" h="36166">
                  <a:moveTo>
                    <a:pt x="1456" y="10957"/>
                  </a:moveTo>
                  <a:cubicBezTo>
                    <a:pt x="-2344" y="20459"/>
                    <a:pt x="1456" y="30910"/>
                    <a:pt x="10958" y="34710"/>
                  </a:cubicBezTo>
                  <a:cubicBezTo>
                    <a:pt x="20460" y="38511"/>
                    <a:pt x="30912" y="34710"/>
                    <a:pt x="34713" y="25209"/>
                  </a:cubicBezTo>
                  <a:cubicBezTo>
                    <a:pt x="38514" y="15708"/>
                    <a:pt x="34713" y="5257"/>
                    <a:pt x="25211" y="1456"/>
                  </a:cubicBezTo>
                  <a:cubicBezTo>
                    <a:pt x="15709" y="-2344"/>
                    <a:pt x="5257" y="1456"/>
                    <a:pt x="1456" y="10957"/>
                  </a:cubicBezTo>
                  <a:close/>
                </a:path>
              </a:pathLst>
            </a:custGeom>
            <a:solidFill>
              <a:srgbClr val="1D46F3"/>
            </a:solidFill>
            <a:ln w="94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31">
                <a:defRPr/>
              </a:pPr>
              <a:endParaRPr lang="en-US" sz="800" kern="0">
                <a:solidFill>
                  <a:srgbClr val="24272A"/>
                </a:solidFill>
                <a:latin typeface="Open Sans"/>
              </a:endParaRPr>
            </a:p>
          </p:txBody>
        </p:sp>
        <p:sp>
          <p:nvSpPr>
            <p:cNvPr id="9" name="Forma libre 50">
              <a:extLst>
                <a:ext uri="{FF2B5EF4-FFF2-40B4-BE49-F238E27FC236}">
                  <a16:creationId xmlns:a16="http://schemas.microsoft.com/office/drawing/2014/main" id="{888D335F-D236-EFF2-A48F-0E5D518EBFA7}"/>
                </a:ext>
              </a:extLst>
            </p:cNvPr>
            <p:cNvSpPr/>
            <p:nvPr/>
          </p:nvSpPr>
          <p:spPr>
            <a:xfrm>
              <a:off x="2980381" y="3453776"/>
              <a:ext cx="89246" cy="89093"/>
            </a:xfrm>
            <a:custGeom>
              <a:avLst/>
              <a:gdLst>
                <a:gd name="connsiteX0" fmla="*/ 10958 w 36169"/>
                <a:gd name="connsiteY0" fmla="*/ 1456 h 36166"/>
                <a:gd name="connsiteX1" fmla="*/ 1456 w 36169"/>
                <a:gd name="connsiteY1" fmla="*/ 25209 h 36166"/>
                <a:gd name="connsiteX2" fmla="*/ 25211 w 36169"/>
                <a:gd name="connsiteY2" fmla="*/ 34710 h 36166"/>
                <a:gd name="connsiteX3" fmla="*/ 34713 w 36169"/>
                <a:gd name="connsiteY3" fmla="*/ 10957 h 36166"/>
                <a:gd name="connsiteX4" fmla="*/ 10958 w 36169"/>
                <a:gd name="connsiteY4" fmla="*/ 1456 h 36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69" h="36166">
                  <a:moveTo>
                    <a:pt x="10958" y="1456"/>
                  </a:moveTo>
                  <a:cubicBezTo>
                    <a:pt x="1456" y="5257"/>
                    <a:pt x="-2344" y="15708"/>
                    <a:pt x="1456" y="25209"/>
                  </a:cubicBezTo>
                  <a:cubicBezTo>
                    <a:pt x="5257" y="34710"/>
                    <a:pt x="15709" y="38511"/>
                    <a:pt x="25211" y="34710"/>
                  </a:cubicBezTo>
                  <a:cubicBezTo>
                    <a:pt x="34713" y="30910"/>
                    <a:pt x="38514" y="20459"/>
                    <a:pt x="34713" y="10957"/>
                  </a:cubicBezTo>
                  <a:cubicBezTo>
                    <a:pt x="30912" y="1456"/>
                    <a:pt x="20460" y="-2344"/>
                    <a:pt x="10958" y="1456"/>
                  </a:cubicBezTo>
                  <a:close/>
                </a:path>
              </a:pathLst>
            </a:custGeom>
            <a:solidFill>
              <a:srgbClr val="FE0061"/>
            </a:solidFill>
            <a:ln w="9490" cap="flat">
              <a:noFill/>
              <a:prstDash val="solid"/>
              <a:miter/>
            </a:ln>
          </p:spPr>
          <p:txBody>
            <a:bodyPr wrap="none" rtlCol="0" anchor="ctr"/>
            <a:lstStyle/>
            <a:p>
              <a:pPr defTabSz="685731">
                <a:defRPr/>
              </a:pPr>
              <a:endParaRPr lang="en-US" sz="800" kern="0">
                <a:solidFill>
                  <a:srgbClr val="24272A"/>
                </a:solidFill>
                <a:latin typeface="Open Sans"/>
              </a:endParaRPr>
            </a:p>
          </p:txBody>
        </p:sp>
        <p:grpSp>
          <p:nvGrpSpPr>
            <p:cNvPr id="13" name="Grupo 12">
              <a:extLst>
                <a:ext uri="{FF2B5EF4-FFF2-40B4-BE49-F238E27FC236}">
                  <a16:creationId xmlns:a16="http://schemas.microsoft.com/office/drawing/2014/main" id="{C4698B38-31C3-E817-D29D-A13989A4A848}"/>
                </a:ext>
              </a:extLst>
            </p:cNvPr>
            <p:cNvGrpSpPr/>
            <p:nvPr/>
          </p:nvGrpSpPr>
          <p:grpSpPr>
            <a:xfrm>
              <a:off x="3024714" y="2177812"/>
              <a:ext cx="1289354" cy="1287243"/>
              <a:chOff x="7372407" y="4477965"/>
              <a:chExt cx="1301025" cy="1301025"/>
            </a:xfrm>
          </p:grpSpPr>
          <p:sp>
            <p:nvSpPr>
              <p:cNvPr id="14" name="Elipse 13">
                <a:extLst>
                  <a:ext uri="{FF2B5EF4-FFF2-40B4-BE49-F238E27FC236}">
                    <a16:creationId xmlns:a16="http://schemas.microsoft.com/office/drawing/2014/main" id="{DA2CD6E2-5AE0-C75E-ADD3-32D9A9830D4A}"/>
                  </a:ext>
                </a:extLst>
              </p:cNvPr>
              <p:cNvSpPr/>
              <p:nvPr/>
            </p:nvSpPr>
            <p:spPr>
              <a:xfrm>
                <a:off x="7372407" y="4477965"/>
                <a:ext cx="1301025" cy="1301025"/>
              </a:xfrm>
              <a:prstGeom prst="ellipse">
                <a:avLst/>
              </a:prstGeom>
              <a:solidFill>
                <a:srgbClr val="FFFFFF"/>
              </a:solidFill>
              <a:ln w="38100" cap="rnd" cmpd="sng" algn="ctr">
                <a:noFill/>
                <a:prstDash val="sysDash"/>
                <a:miter lim="800000"/>
              </a:ln>
              <a:effectLst>
                <a:outerShdw blurRad="381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685731">
                  <a:spcBef>
                    <a:spcPts val="750"/>
                  </a:spcBef>
                  <a:defRPr/>
                </a:pPr>
                <a:endParaRPr lang="en-US" sz="800" b="1" kern="0">
                  <a:solidFill>
                    <a:srgbClr val="24272A"/>
                  </a:solidFill>
                  <a:latin typeface="Open Sans"/>
                </a:endParaRPr>
              </a:p>
            </p:txBody>
          </p:sp>
          <p:pic>
            <p:nvPicPr>
              <p:cNvPr id="15" name="Imagen 14">
                <a:extLst>
                  <a:ext uri="{FF2B5EF4-FFF2-40B4-BE49-F238E27FC236}">
                    <a16:creationId xmlns:a16="http://schemas.microsoft.com/office/drawing/2014/main" id="{D2FD4D83-3EC0-2898-41CE-0DD9228F0E0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732474" y="4979968"/>
                <a:ext cx="580888" cy="583420"/>
              </a:xfrm>
              <a:prstGeom prst="rect">
                <a:avLst/>
              </a:prstGeom>
            </p:spPr>
          </p:pic>
          <p:sp>
            <p:nvSpPr>
              <p:cNvPr id="19" name="CuadroTexto 18">
                <a:extLst>
                  <a:ext uri="{FF2B5EF4-FFF2-40B4-BE49-F238E27FC236}">
                    <a16:creationId xmlns:a16="http://schemas.microsoft.com/office/drawing/2014/main" id="{B3E2F871-29DA-8BC7-60BD-08986CBC1AAC}"/>
                  </a:ext>
                </a:extLst>
              </p:cNvPr>
              <p:cNvSpPr txBox="1"/>
              <p:nvPr/>
            </p:nvSpPr>
            <p:spPr>
              <a:xfrm>
                <a:off x="7693755" y="4715180"/>
                <a:ext cx="658329" cy="1866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685731">
                  <a:spcBef>
                    <a:spcPts val="750"/>
                  </a:spcBef>
                  <a:defRPr/>
                </a:pPr>
                <a:r>
                  <a:rPr lang="es-AR" sz="1200" b="1" kern="0">
                    <a:solidFill>
                      <a:schemeClr val="tx2"/>
                    </a:solidFill>
                    <a:latin typeface="Pulso" pitchFamily="2" charset="0"/>
                    <a:ea typeface="Roboto" panose="02000000000000000000" pitchFamily="2" charset="0"/>
                  </a:rPr>
                  <a:t>LEO SAT</a:t>
                </a:r>
              </a:p>
            </p:txBody>
          </p:sp>
        </p:grpSp>
        <p:sp>
          <p:nvSpPr>
            <p:cNvPr id="22" name="Rectángulo redondeado 116">
              <a:extLst>
                <a:ext uri="{FF2B5EF4-FFF2-40B4-BE49-F238E27FC236}">
                  <a16:creationId xmlns:a16="http://schemas.microsoft.com/office/drawing/2014/main" id="{E24C1354-C2E5-0D5D-DB4F-91C9CF5A118E}"/>
                </a:ext>
              </a:extLst>
            </p:cNvPr>
            <p:cNvSpPr/>
            <p:nvPr/>
          </p:nvSpPr>
          <p:spPr>
            <a:xfrm>
              <a:off x="4320003" y="1435940"/>
              <a:ext cx="1743398" cy="302955"/>
            </a:xfrm>
            <a:prstGeom prst="roundRect">
              <a:avLst>
                <a:gd name="adj" fmla="val 50000"/>
              </a:avLst>
            </a:prstGeom>
            <a:solidFill>
              <a:srgbClr val="1D46F3"/>
            </a:solidFill>
            <a:ln w="38100" cap="rnd" cmpd="sng" algn="ctr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wrap="none" lIns="144000" tIns="0" rIns="144000" bIns="0" rtlCol="0" anchor="ctr" anchorCtr="0">
              <a:spAutoFit/>
            </a:bodyPr>
            <a:lstStyle/>
            <a:p>
              <a:pPr defTabSz="685731">
                <a:defRPr/>
              </a:pPr>
              <a:r>
                <a:rPr lang="es-ES" sz="700" b="1" kern="0">
                  <a:solidFill>
                    <a:srgbClr val="FFFFFF"/>
                  </a:solidFill>
                  <a:latin typeface="Pulso" pitchFamily="2" charset="0"/>
                  <a:ea typeface="Roboto" panose="02000000000000000000" pitchFamily="2" charset="0"/>
                  <a:cs typeface="Open Sans"/>
                </a:rPr>
                <a:t>D2C (Direct to Cell):</a:t>
              </a:r>
            </a:p>
            <a:p>
              <a:pPr defTabSz="685731">
                <a:defRPr/>
              </a:pPr>
              <a:r>
                <a:rPr lang="es-ES" sz="700" kern="0">
                  <a:solidFill>
                    <a:srgbClr val="FFFFFF"/>
                  </a:solidFill>
                  <a:latin typeface="Pulso Light" pitchFamily="2" charset="0"/>
                  <a:ea typeface="Roboto Light" panose="02000000000000000000" pitchFamily="2" charset="0"/>
                  <a:cs typeface="Open Sans"/>
                </a:rPr>
                <a:t>Servicio Móvil con espectro propio</a:t>
              </a:r>
            </a:p>
          </p:txBody>
        </p:sp>
        <p:sp>
          <p:nvSpPr>
            <p:cNvPr id="35" name="Flecha: a la derecha 8">
              <a:extLst>
                <a:ext uri="{FF2B5EF4-FFF2-40B4-BE49-F238E27FC236}">
                  <a16:creationId xmlns:a16="http://schemas.microsoft.com/office/drawing/2014/main" id="{17F5F2E9-3453-A115-89F7-83763B1FF020}"/>
                </a:ext>
              </a:extLst>
            </p:cNvPr>
            <p:cNvSpPr/>
            <p:nvPr/>
          </p:nvSpPr>
          <p:spPr>
            <a:xfrm>
              <a:off x="2198056" y="2319568"/>
              <a:ext cx="494470" cy="251207"/>
            </a:xfrm>
            <a:prstGeom prst="rightArrow">
              <a:avLst/>
            </a:prstGeom>
            <a:solidFill>
              <a:srgbClr val="FE5757">
                <a:lumMod val="60000"/>
                <a:lumOff val="40000"/>
              </a:srgbClr>
            </a:solidFill>
            <a:ln w="38100" cap="rnd" cmpd="sng" algn="ctr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wrap="none" lIns="0" tIns="0" rIns="0" bIns="0" rtlCol="0" anchor="t">
              <a:noAutofit/>
            </a:bodyPr>
            <a:lstStyle/>
            <a:p>
              <a:pPr algn="ctr" defTabSz="685731">
                <a:spcBef>
                  <a:spcPts val="750"/>
                </a:spcBef>
                <a:defRPr/>
              </a:pPr>
              <a:endParaRPr lang="es-AR" sz="800" b="1" kern="0">
                <a:solidFill>
                  <a:srgbClr val="24272A"/>
                </a:solidFill>
                <a:latin typeface="Pulso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36" name="Rectángulo 35">
              <a:extLst>
                <a:ext uri="{FF2B5EF4-FFF2-40B4-BE49-F238E27FC236}">
                  <a16:creationId xmlns:a16="http://schemas.microsoft.com/office/drawing/2014/main" id="{4CC052AF-91CE-97A2-1728-A5AF847083E4}"/>
                </a:ext>
              </a:extLst>
            </p:cNvPr>
            <p:cNvSpPr/>
            <p:nvPr/>
          </p:nvSpPr>
          <p:spPr>
            <a:xfrm>
              <a:off x="533337" y="2021261"/>
              <a:ext cx="1790440" cy="187944"/>
            </a:xfrm>
            <a:prstGeom prst="rect">
              <a:avLst/>
            </a:prstGeom>
            <a:solidFill>
              <a:srgbClr val="FE5757">
                <a:lumMod val="60000"/>
                <a:lumOff val="40000"/>
              </a:srgbClr>
            </a:solidFill>
            <a:ln w="38100" cap="rnd" cmpd="sng" algn="ctr">
              <a:noFill/>
              <a:prstDash val="sysDash"/>
              <a:miter lim="800000"/>
            </a:ln>
            <a:effectLst/>
          </p:spPr>
          <p:txBody>
            <a:bodyPr wrap="none" lIns="0" tIns="0" rIns="0" bIns="0" rtlCol="0" anchor="ctr">
              <a:noAutofit/>
            </a:bodyPr>
            <a:lstStyle/>
            <a:p>
              <a:pPr algn="ctr" defTabSz="685731">
                <a:spcBef>
                  <a:spcPts val="750"/>
                </a:spcBef>
                <a:defRPr/>
              </a:pPr>
              <a:r>
                <a:rPr lang="es-AR" sz="800" b="1" kern="0">
                  <a:solidFill>
                    <a:srgbClr val="24272A"/>
                  </a:solidFill>
                  <a:latin typeface="Pulso" pitchFamily="2" charset="0"/>
                  <a:ea typeface="Roboto"/>
                  <a:cs typeface="Roboto"/>
                </a:rPr>
                <a:t>NTN : Acceso móvil D2C</a:t>
              </a:r>
              <a:endParaRPr lang="es-AR" sz="800" kern="0">
                <a:solidFill>
                  <a:srgbClr val="000000"/>
                </a:solidFill>
                <a:latin typeface="Pulso" pitchFamily="2" charset="0"/>
                <a:ea typeface="Roboto"/>
                <a:cs typeface="Roboto"/>
              </a:endParaRPr>
            </a:p>
          </p:txBody>
        </p:sp>
        <p:sp>
          <p:nvSpPr>
            <p:cNvPr id="37" name="Rectángulo 36">
              <a:extLst>
                <a:ext uri="{FF2B5EF4-FFF2-40B4-BE49-F238E27FC236}">
                  <a16:creationId xmlns:a16="http://schemas.microsoft.com/office/drawing/2014/main" id="{40D1FEC0-3A0F-FD48-117F-9CD1ABBFA47B}"/>
                </a:ext>
              </a:extLst>
            </p:cNvPr>
            <p:cNvSpPr/>
            <p:nvPr/>
          </p:nvSpPr>
          <p:spPr>
            <a:xfrm rot="16200000">
              <a:off x="2022483" y="2198567"/>
              <a:ext cx="481481" cy="130336"/>
            </a:xfrm>
            <a:prstGeom prst="rect">
              <a:avLst/>
            </a:prstGeom>
            <a:solidFill>
              <a:srgbClr val="FE5757">
                <a:lumMod val="60000"/>
                <a:lumOff val="40000"/>
              </a:srgbClr>
            </a:solidFill>
            <a:ln w="38100" cap="rnd" cmpd="sng" algn="ctr">
              <a:noFill/>
              <a:prstDash val="sysDash"/>
              <a:miter lim="800000"/>
            </a:ln>
            <a:effectLst/>
          </p:spPr>
          <p:txBody>
            <a:bodyPr wrap="none" lIns="0" tIns="0" rIns="0" bIns="0" rtlCol="0" anchor="t">
              <a:noAutofit/>
            </a:bodyPr>
            <a:lstStyle/>
            <a:p>
              <a:pPr algn="ctr" defTabSz="685731">
                <a:spcBef>
                  <a:spcPts val="750"/>
                </a:spcBef>
                <a:defRPr/>
              </a:pPr>
              <a:endParaRPr lang="es-AR" sz="800" b="1" kern="0">
                <a:solidFill>
                  <a:srgbClr val="24272A"/>
                </a:solidFill>
                <a:latin typeface="Pulso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38" name="Rectángulo 37">
              <a:extLst>
                <a:ext uri="{FF2B5EF4-FFF2-40B4-BE49-F238E27FC236}">
                  <a16:creationId xmlns:a16="http://schemas.microsoft.com/office/drawing/2014/main" id="{14FC5DC3-7D9A-E3B5-8B5A-5E38B3DEB7E1}"/>
                </a:ext>
              </a:extLst>
            </p:cNvPr>
            <p:cNvSpPr/>
            <p:nvPr/>
          </p:nvSpPr>
          <p:spPr>
            <a:xfrm>
              <a:off x="533337" y="2891829"/>
              <a:ext cx="1790440" cy="187842"/>
            </a:xfrm>
            <a:prstGeom prst="rect">
              <a:avLst/>
            </a:prstGeom>
            <a:solidFill>
              <a:srgbClr val="FFB25B">
                <a:lumMod val="60000"/>
                <a:lumOff val="40000"/>
              </a:srgbClr>
            </a:solidFill>
            <a:ln w="38100" cap="rnd" cmpd="sng" algn="ctr">
              <a:noFill/>
              <a:prstDash val="sysDash"/>
              <a:miter lim="800000"/>
            </a:ln>
            <a:effectLst/>
          </p:spPr>
          <p:txBody>
            <a:bodyPr wrap="none" lIns="0" tIns="0" rIns="0" bIns="0" rtlCol="0" anchor="ctr">
              <a:noAutofit/>
            </a:bodyPr>
            <a:lstStyle/>
            <a:p>
              <a:pPr algn="ctr" defTabSz="685731">
                <a:spcBef>
                  <a:spcPts val="750"/>
                </a:spcBef>
                <a:defRPr/>
              </a:pPr>
              <a:r>
                <a:rPr lang="es-AR" sz="800" b="1" kern="0">
                  <a:solidFill>
                    <a:srgbClr val="24272A"/>
                  </a:solidFill>
                  <a:latin typeface="Pulso" pitchFamily="2" charset="0"/>
                  <a:ea typeface="Roboto"/>
                  <a:cs typeface="Roboto"/>
                </a:rPr>
                <a:t>NTN Broadband Fijo B2C y B2B</a:t>
              </a:r>
            </a:p>
          </p:txBody>
        </p:sp>
        <p:sp>
          <p:nvSpPr>
            <p:cNvPr id="39" name="Rectángulo 38">
              <a:extLst>
                <a:ext uri="{FF2B5EF4-FFF2-40B4-BE49-F238E27FC236}">
                  <a16:creationId xmlns:a16="http://schemas.microsoft.com/office/drawing/2014/main" id="{E45599E4-B0CF-1888-3BD9-E0F88A3C29E0}"/>
                </a:ext>
              </a:extLst>
            </p:cNvPr>
            <p:cNvSpPr/>
            <p:nvPr/>
          </p:nvSpPr>
          <p:spPr>
            <a:xfrm rot="16200000">
              <a:off x="2022483" y="2773762"/>
              <a:ext cx="481481" cy="130336"/>
            </a:xfrm>
            <a:prstGeom prst="rect">
              <a:avLst/>
            </a:prstGeom>
            <a:solidFill>
              <a:srgbClr val="FFB25B">
                <a:lumMod val="60000"/>
                <a:lumOff val="40000"/>
              </a:srgbClr>
            </a:solidFill>
            <a:ln w="38100" cap="rnd" cmpd="sng" algn="ctr">
              <a:noFill/>
              <a:prstDash val="sysDash"/>
              <a:miter lim="800000"/>
            </a:ln>
            <a:effectLst/>
          </p:spPr>
          <p:txBody>
            <a:bodyPr wrap="none" lIns="0" tIns="0" rIns="0" bIns="0" rtlCol="0" anchor="t">
              <a:noAutofit/>
            </a:bodyPr>
            <a:lstStyle/>
            <a:p>
              <a:pPr algn="ctr" defTabSz="685731">
                <a:spcBef>
                  <a:spcPts val="750"/>
                </a:spcBef>
                <a:defRPr/>
              </a:pPr>
              <a:endParaRPr lang="es-AR" sz="800" b="1" kern="0">
                <a:solidFill>
                  <a:srgbClr val="24272A"/>
                </a:solidFill>
                <a:latin typeface="Pulso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40" name="Flecha: hacia abajo 16">
              <a:extLst>
                <a:ext uri="{FF2B5EF4-FFF2-40B4-BE49-F238E27FC236}">
                  <a16:creationId xmlns:a16="http://schemas.microsoft.com/office/drawing/2014/main" id="{1DCEB63B-7FF3-6478-7D22-56960C076D28}"/>
                </a:ext>
              </a:extLst>
            </p:cNvPr>
            <p:cNvSpPr/>
            <p:nvPr/>
          </p:nvSpPr>
          <p:spPr>
            <a:xfrm rot="16200000">
              <a:off x="2319688" y="2408626"/>
              <a:ext cx="251207" cy="494471"/>
            </a:xfrm>
            <a:prstGeom prst="downArrow">
              <a:avLst/>
            </a:prstGeom>
            <a:solidFill>
              <a:srgbClr val="FFB25B">
                <a:lumMod val="60000"/>
                <a:lumOff val="40000"/>
              </a:srgbClr>
            </a:solidFill>
            <a:ln w="38100" cap="rnd" cmpd="sng" algn="ctr">
              <a:noFill/>
              <a:prstDash val="sysDash"/>
              <a:miter lim="800000"/>
            </a:ln>
            <a:effectLst/>
          </p:spPr>
          <p:txBody>
            <a:bodyPr wrap="none" lIns="0" tIns="0" rIns="0" bIns="0" rtlCol="0" anchor="t">
              <a:noAutofit/>
            </a:bodyPr>
            <a:lstStyle/>
            <a:p>
              <a:pPr algn="ctr" defTabSz="685731">
                <a:spcBef>
                  <a:spcPts val="750"/>
                </a:spcBef>
                <a:defRPr/>
              </a:pPr>
              <a:endParaRPr lang="es-AR" sz="800" b="1" kern="0">
                <a:solidFill>
                  <a:srgbClr val="24272A"/>
                </a:solidFill>
                <a:latin typeface="Pulso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41" name="CuadroTexto 40">
              <a:extLst>
                <a:ext uri="{FF2B5EF4-FFF2-40B4-BE49-F238E27FC236}">
                  <a16:creationId xmlns:a16="http://schemas.microsoft.com/office/drawing/2014/main" id="{13E852B6-A228-EBA8-FB6C-65305D166C1B}"/>
                </a:ext>
              </a:extLst>
            </p:cNvPr>
            <p:cNvSpPr txBox="1"/>
            <p:nvPr/>
          </p:nvSpPr>
          <p:spPr>
            <a:xfrm>
              <a:off x="235834" y="1690779"/>
              <a:ext cx="2385448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ctr" defTabSz="685731">
                <a:spcBef>
                  <a:spcPts val="750"/>
                </a:spcBef>
                <a:defRPr/>
              </a:pPr>
              <a:r>
                <a:rPr lang="es-AR" sz="800" kern="0">
                  <a:solidFill>
                    <a:srgbClr val="24272A"/>
                  </a:solidFill>
                  <a:latin typeface="Pulso" pitchFamily="2" charset="0"/>
                  <a:ea typeface="Roboto"/>
                  <a:cs typeface="Open Sans"/>
                </a:rPr>
                <a:t>Disponibilidad: </a:t>
              </a:r>
              <a:br>
                <a:rPr lang="es-AR" sz="800" kern="0">
                  <a:solidFill>
                    <a:srgbClr val="24272A"/>
                  </a:solidFill>
                  <a:latin typeface="Pulso" pitchFamily="2" charset="0"/>
                  <a:ea typeface="Roboto"/>
                  <a:cs typeface="Open Sans"/>
                </a:rPr>
              </a:br>
              <a:r>
                <a:rPr lang="es-AR" sz="800" kern="0">
                  <a:solidFill>
                    <a:srgbClr val="24272A"/>
                  </a:solidFill>
                  <a:latin typeface="Pulso" pitchFamily="2" charset="0"/>
                  <a:ea typeface="Roboto"/>
                  <a:cs typeface="Open Sans"/>
                </a:rPr>
                <a:t>actual </a:t>
              </a:r>
              <a:r>
                <a:rPr lang="es-AR" sz="800" b="1" kern="0">
                  <a:solidFill>
                    <a:srgbClr val="24272A"/>
                  </a:solidFill>
                  <a:latin typeface="Pulso" pitchFamily="2" charset="0"/>
                  <a:ea typeface="Roboto"/>
                  <a:cs typeface="Open Sans"/>
                </a:rPr>
                <a:t>SMS y Voz  |  </a:t>
              </a:r>
              <a:r>
                <a:rPr lang="es-AR" sz="800" kern="0">
                  <a:solidFill>
                    <a:srgbClr val="24272A"/>
                  </a:solidFill>
                  <a:latin typeface="Pulso" pitchFamily="2" charset="0"/>
                  <a:ea typeface="Roboto"/>
                  <a:cs typeface="Open Sans"/>
                </a:rPr>
                <a:t>Futura </a:t>
              </a:r>
              <a:r>
                <a:rPr lang="es-AR" sz="800" b="1" kern="0">
                  <a:solidFill>
                    <a:srgbClr val="24272A"/>
                  </a:solidFill>
                  <a:latin typeface="Pulso" pitchFamily="2" charset="0"/>
                  <a:ea typeface="Roboto"/>
                  <a:cs typeface="Open Sans"/>
                </a:rPr>
                <a:t>IoT y datos móviles</a:t>
              </a:r>
            </a:p>
          </p:txBody>
        </p:sp>
        <p:sp>
          <p:nvSpPr>
            <p:cNvPr id="42" name="CuadroTexto 41">
              <a:extLst>
                <a:ext uri="{FF2B5EF4-FFF2-40B4-BE49-F238E27FC236}">
                  <a16:creationId xmlns:a16="http://schemas.microsoft.com/office/drawing/2014/main" id="{896B6B34-07DA-8B95-38AF-35F7F8765F64}"/>
                </a:ext>
              </a:extLst>
            </p:cNvPr>
            <p:cNvSpPr txBox="1"/>
            <p:nvPr/>
          </p:nvSpPr>
          <p:spPr>
            <a:xfrm>
              <a:off x="537951" y="3153860"/>
              <a:ext cx="1564531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 defTabSz="685731">
                <a:spcBef>
                  <a:spcPts val="750"/>
                </a:spcBef>
                <a:defRPr/>
              </a:pPr>
              <a:r>
                <a:rPr lang="es-AR" sz="800" kern="0">
                  <a:solidFill>
                    <a:srgbClr val="24272A"/>
                  </a:solidFill>
                  <a:latin typeface="Pulso" pitchFamily="2" charset="0"/>
                  <a:ea typeface="Roboto"/>
                  <a:cs typeface="Open Sans"/>
                </a:rPr>
                <a:t>Disponibilidad:</a:t>
              </a:r>
              <a:br>
                <a:rPr lang="es-AR" sz="800" kern="0">
                  <a:solidFill>
                    <a:srgbClr val="24272A"/>
                  </a:solidFill>
                  <a:latin typeface="Pulso" pitchFamily="2" charset="0"/>
                  <a:ea typeface="Roboto"/>
                  <a:cs typeface="Open Sans"/>
                </a:rPr>
              </a:br>
              <a:r>
                <a:rPr lang="es-AR" sz="800" kern="0">
                  <a:solidFill>
                    <a:srgbClr val="24272A"/>
                  </a:solidFill>
                  <a:latin typeface="Pulso" pitchFamily="2" charset="0"/>
                  <a:ea typeface="Roboto"/>
                  <a:cs typeface="Open Sans"/>
                </a:rPr>
                <a:t>Actual </a:t>
              </a:r>
              <a:r>
                <a:rPr lang="es-AR" sz="800" b="1" kern="0">
                  <a:solidFill>
                    <a:srgbClr val="24272A"/>
                  </a:solidFill>
                  <a:latin typeface="Pulso" pitchFamily="2" charset="0"/>
                  <a:ea typeface="Roboto"/>
                  <a:cs typeface="Open Sans"/>
                </a:rPr>
                <a:t>200 Mbps | </a:t>
              </a:r>
              <a:r>
                <a:rPr lang="es-AR" sz="800" kern="0">
                  <a:solidFill>
                    <a:srgbClr val="24272A"/>
                  </a:solidFill>
                  <a:latin typeface="Pulso" pitchFamily="2" charset="0"/>
                  <a:ea typeface="Roboto"/>
                  <a:cs typeface="Open Sans"/>
                </a:rPr>
                <a:t>Futura</a:t>
              </a:r>
              <a:r>
                <a:rPr lang="es-AR" sz="800" b="1" kern="0">
                  <a:solidFill>
                    <a:srgbClr val="24272A"/>
                  </a:solidFill>
                  <a:latin typeface="Pulso" pitchFamily="2" charset="0"/>
                  <a:ea typeface="Roboto"/>
                  <a:cs typeface="Open Sans"/>
                </a:rPr>
                <a:t> 1Gbps</a:t>
              </a:r>
              <a:endParaRPr lang="en-US" sz="800">
                <a:latin typeface="Pulso" pitchFamily="2" charset="0"/>
                <a:ea typeface="Open Sans"/>
                <a:cs typeface="Open Sans"/>
              </a:endParaRPr>
            </a:p>
          </p:txBody>
        </p:sp>
        <p:sp>
          <p:nvSpPr>
            <p:cNvPr id="43" name="CuadroTexto 42">
              <a:extLst>
                <a:ext uri="{FF2B5EF4-FFF2-40B4-BE49-F238E27FC236}">
                  <a16:creationId xmlns:a16="http://schemas.microsoft.com/office/drawing/2014/main" id="{76A0D72E-CDE3-8902-E38F-C3E62D32B3F1}"/>
                </a:ext>
              </a:extLst>
            </p:cNvPr>
            <p:cNvSpPr txBox="1"/>
            <p:nvPr/>
          </p:nvSpPr>
          <p:spPr>
            <a:xfrm>
              <a:off x="924413" y="2322060"/>
              <a:ext cx="1008288" cy="12311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 defTabSz="685731">
                <a:spcBef>
                  <a:spcPts val="750"/>
                </a:spcBef>
                <a:defRPr/>
              </a:pPr>
              <a:r>
                <a:rPr lang="es-AR" sz="800" b="1" kern="0">
                  <a:solidFill>
                    <a:srgbClr val="24272A"/>
                  </a:solidFill>
                  <a:latin typeface="Pulso" pitchFamily="2" charset="0"/>
                  <a:ea typeface="Roboto" panose="02000000000000000000" pitchFamily="2" charset="0"/>
                </a:rPr>
                <a:t>Redes no Terrestres </a:t>
              </a:r>
            </a:p>
          </p:txBody>
        </p:sp>
        <p:sp>
          <p:nvSpPr>
            <p:cNvPr id="44" name="CuadroTexto 43">
              <a:extLst>
                <a:ext uri="{FF2B5EF4-FFF2-40B4-BE49-F238E27FC236}">
                  <a16:creationId xmlns:a16="http://schemas.microsoft.com/office/drawing/2014/main" id="{4A986E0E-DCD9-4E4D-F6B1-7C871C68ADD3}"/>
                </a:ext>
              </a:extLst>
            </p:cNvPr>
            <p:cNvSpPr txBox="1"/>
            <p:nvPr/>
          </p:nvSpPr>
          <p:spPr>
            <a:xfrm>
              <a:off x="897463" y="2580219"/>
              <a:ext cx="1062188" cy="246221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spAutoFit/>
            </a:bodyPr>
            <a:lstStyle/>
            <a:p>
              <a:pPr algn="ctr" defTabSz="685731">
                <a:spcBef>
                  <a:spcPts val="750"/>
                </a:spcBef>
                <a:defRPr/>
              </a:pPr>
              <a:r>
                <a:rPr lang="es-AR" sz="800" kern="0">
                  <a:solidFill>
                    <a:srgbClr val="24272A"/>
                  </a:solidFill>
                  <a:latin typeface="Pulso" pitchFamily="2" charset="0"/>
                  <a:ea typeface="Roboto Light" panose="02000000000000000000" pitchFamily="2" charset="0"/>
                </a:rPr>
                <a:t>(NTN: Non-</a:t>
              </a:r>
              <a:r>
                <a:rPr lang="es-AR" sz="800" kern="0" err="1">
                  <a:solidFill>
                    <a:srgbClr val="24272A"/>
                  </a:solidFill>
                  <a:latin typeface="Pulso" pitchFamily="2" charset="0"/>
                  <a:ea typeface="Roboto Light" panose="02000000000000000000" pitchFamily="2" charset="0"/>
                </a:rPr>
                <a:t>Terrestrial</a:t>
              </a:r>
              <a:r>
                <a:rPr lang="es-AR" sz="800" kern="0">
                  <a:solidFill>
                    <a:srgbClr val="24272A"/>
                  </a:solidFill>
                  <a:latin typeface="Pulso" pitchFamily="2" charset="0"/>
                  <a:ea typeface="Roboto Light" panose="02000000000000000000" pitchFamily="2" charset="0"/>
                </a:rPr>
                <a:t> Networks)</a:t>
              </a:r>
            </a:p>
          </p:txBody>
        </p:sp>
        <p:grpSp>
          <p:nvGrpSpPr>
            <p:cNvPr id="82" name="Grupo 81">
              <a:extLst>
                <a:ext uri="{FF2B5EF4-FFF2-40B4-BE49-F238E27FC236}">
                  <a16:creationId xmlns:a16="http://schemas.microsoft.com/office/drawing/2014/main" id="{25E03466-7728-C72F-1466-FD47E017362D}"/>
                </a:ext>
              </a:extLst>
            </p:cNvPr>
            <p:cNvGrpSpPr/>
            <p:nvPr/>
          </p:nvGrpSpPr>
          <p:grpSpPr>
            <a:xfrm>
              <a:off x="3995283" y="1478372"/>
              <a:ext cx="466563" cy="413360"/>
              <a:chOff x="4461757" y="1415449"/>
              <a:chExt cx="466563" cy="413360"/>
            </a:xfrm>
          </p:grpSpPr>
          <p:cxnSp>
            <p:nvCxnSpPr>
              <p:cNvPr id="56" name="Conector recto 55">
                <a:extLst>
                  <a:ext uri="{FF2B5EF4-FFF2-40B4-BE49-F238E27FC236}">
                    <a16:creationId xmlns:a16="http://schemas.microsoft.com/office/drawing/2014/main" id="{4961923C-26EF-7E3D-0E93-9010ECD8290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60460" y="1418783"/>
                <a:ext cx="267860" cy="0"/>
              </a:xfrm>
              <a:prstGeom prst="line">
                <a:avLst/>
              </a:prstGeom>
              <a:ln w="19050" cap="rnd">
                <a:solidFill>
                  <a:srgbClr val="1D46F3"/>
                </a:solidFill>
                <a:prstDash val="sysDot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Conector recto 57">
                <a:extLst>
                  <a:ext uri="{FF2B5EF4-FFF2-40B4-BE49-F238E27FC236}">
                    <a16:creationId xmlns:a16="http://schemas.microsoft.com/office/drawing/2014/main" id="{755CC3EE-BE14-A50C-B071-6F42910D77E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461757" y="1415449"/>
                <a:ext cx="198703" cy="413360"/>
              </a:xfrm>
              <a:prstGeom prst="line">
                <a:avLst/>
              </a:prstGeom>
              <a:ln w="19050" cap="rnd">
                <a:solidFill>
                  <a:srgbClr val="1D46F3"/>
                </a:solidFill>
                <a:prstDash val="sysDot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3" name="Grupo 82">
              <a:extLst>
                <a:ext uri="{FF2B5EF4-FFF2-40B4-BE49-F238E27FC236}">
                  <a16:creationId xmlns:a16="http://schemas.microsoft.com/office/drawing/2014/main" id="{07096D27-D691-19E6-D726-23CF292CB7E7}"/>
                </a:ext>
              </a:extLst>
            </p:cNvPr>
            <p:cNvGrpSpPr/>
            <p:nvPr/>
          </p:nvGrpSpPr>
          <p:grpSpPr>
            <a:xfrm>
              <a:off x="4269597" y="1909279"/>
              <a:ext cx="397096" cy="130048"/>
              <a:chOff x="4736071" y="1884362"/>
              <a:chExt cx="397096" cy="130048"/>
            </a:xfrm>
          </p:grpSpPr>
          <p:cxnSp>
            <p:nvCxnSpPr>
              <p:cNvPr id="61" name="Conector recto 60">
                <a:extLst>
                  <a:ext uri="{FF2B5EF4-FFF2-40B4-BE49-F238E27FC236}">
                    <a16:creationId xmlns:a16="http://schemas.microsoft.com/office/drawing/2014/main" id="{591F9428-FF6C-EDF0-E457-EC76D2D863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865307" y="1884658"/>
                <a:ext cx="267860" cy="0"/>
              </a:xfrm>
              <a:prstGeom prst="line">
                <a:avLst/>
              </a:prstGeom>
              <a:ln w="19050" cap="rnd">
                <a:solidFill>
                  <a:srgbClr val="A906B8"/>
                </a:solidFill>
                <a:prstDash val="sysDot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Conector recto 61">
                <a:extLst>
                  <a:ext uri="{FF2B5EF4-FFF2-40B4-BE49-F238E27FC236}">
                    <a16:creationId xmlns:a16="http://schemas.microsoft.com/office/drawing/2014/main" id="{D53DC949-9DFD-215E-8EDC-914B3555CDE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36071" y="1884362"/>
                <a:ext cx="129236" cy="130048"/>
              </a:xfrm>
              <a:prstGeom prst="line">
                <a:avLst/>
              </a:prstGeom>
              <a:ln w="19050" cap="rnd">
                <a:solidFill>
                  <a:srgbClr val="A906B8"/>
                </a:solidFill>
                <a:prstDash val="sysDot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5" name="Conector recto 64">
              <a:extLst>
                <a:ext uri="{FF2B5EF4-FFF2-40B4-BE49-F238E27FC236}">
                  <a16:creationId xmlns:a16="http://schemas.microsoft.com/office/drawing/2014/main" id="{9B0BEAA0-A02E-03F8-C8DF-877208EA48DC}"/>
                </a:ext>
              </a:extLst>
            </p:cNvPr>
            <p:cNvCxnSpPr>
              <a:cxnSpLocks/>
            </p:cNvCxnSpPr>
            <p:nvPr/>
          </p:nvCxnSpPr>
          <p:spPr>
            <a:xfrm>
              <a:off x="4459615" y="2591441"/>
              <a:ext cx="396207" cy="0"/>
            </a:xfrm>
            <a:prstGeom prst="line">
              <a:avLst/>
            </a:prstGeom>
            <a:ln w="19050" cap="rnd">
              <a:solidFill>
                <a:srgbClr val="FE5756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Conector recto 67">
              <a:extLst>
                <a:ext uri="{FF2B5EF4-FFF2-40B4-BE49-F238E27FC236}">
                  <a16:creationId xmlns:a16="http://schemas.microsoft.com/office/drawing/2014/main" id="{B7B94C58-4BBA-F8B9-D9DC-B61196CA069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569020" y="3727757"/>
              <a:ext cx="295532" cy="0"/>
            </a:xfrm>
            <a:prstGeom prst="line">
              <a:avLst/>
            </a:prstGeom>
            <a:ln w="19050" cap="rnd">
              <a:solidFill>
                <a:srgbClr val="FE5756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Conector recto 69">
              <a:extLst>
                <a:ext uri="{FF2B5EF4-FFF2-40B4-BE49-F238E27FC236}">
                  <a16:creationId xmlns:a16="http://schemas.microsoft.com/office/drawing/2014/main" id="{84621B55-54A4-A297-68EF-670476E02DE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864552" y="3527753"/>
              <a:ext cx="131298" cy="200004"/>
            </a:xfrm>
            <a:prstGeom prst="line">
              <a:avLst/>
            </a:prstGeom>
            <a:ln w="19050" cap="rnd">
              <a:solidFill>
                <a:srgbClr val="FE5756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Rectángulo redondeado 116">
              <a:extLst>
                <a:ext uri="{FF2B5EF4-FFF2-40B4-BE49-F238E27FC236}">
                  <a16:creationId xmlns:a16="http://schemas.microsoft.com/office/drawing/2014/main" id="{320B9458-FC71-DDB3-D960-78BA915BBA28}"/>
                </a:ext>
              </a:extLst>
            </p:cNvPr>
            <p:cNvSpPr/>
            <p:nvPr/>
          </p:nvSpPr>
          <p:spPr>
            <a:xfrm>
              <a:off x="4508187" y="1859323"/>
              <a:ext cx="2134434" cy="454432"/>
            </a:xfrm>
            <a:prstGeom prst="roundRect">
              <a:avLst>
                <a:gd name="adj" fmla="val 50000"/>
              </a:avLst>
            </a:prstGeom>
            <a:solidFill>
              <a:srgbClr val="A906B8"/>
            </a:solidFill>
            <a:ln w="38100" cap="rnd" cmpd="sng" algn="ctr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wrap="square" lIns="144000" tIns="0" rIns="144000" bIns="0" rtlCol="0" anchor="ctr" anchorCtr="0">
              <a:spAutoFit/>
            </a:bodyPr>
            <a:lstStyle/>
            <a:p>
              <a:pPr defTabSz="685731">
                <a:defRPr/>
              </a:pPr>
              <a:r>
                <a:rPr lang="es-ES" sz="700" b="1" kern="0">
                  <a:solidFill>
                    <a:srgbClr val="FFFFFF"/>
                  </a:solidFill>
                  <a:latin typeface="Pulso" pitchFamily="2" charset="0"/>
                  <a:ea typeface="Roboto" panose="02000000000000000000" pitchFamily="2" charset="0"/>
                  <a:cs typeface="Open Sans"/>
                </a:rPr>
                <a:t>B2B:</a:t>
              </a:r>
            </a:p>
            <a:p>
              <a:pPr defTabSz="685731">
                <a:defRPr/>
              </a:pPr>
              <a:r>
                <a:rPr lang="es-ES" sz="700" kern="0">
                  <a:solidFill>
                    <a:srgbClr val="FFFFFF"/>
                  </a:solidFill>
                  <a:latin typeface="Pulso Light" pitchFamily="2" charset="0"/>
                  <a:ea typeface="Roboto Light" panose="02000000000000000000" pitchFamily="2" charset="0"/>
                  <a:cs typeface="Open Sans"/>
                </a:rPr>
                <a:t>Servicios  de datos y valor agregado de alta capacidad (fijo y móvil) a empresas</a:t>
              </a:r>
            </a:p>
          </p:txBody>
        </p:sp>
        <p:sp>
          <p:nvSpPr>
            <p:cNvPr id="81" name="Rectángulo redondeado 116">
              <a:extLst>
                <a:ext uri="{FF2B5EF4-FFF2-40B4-BE49-F238E27FC236}">
                  <a16:creationId xmlns:a16="http://schemas.microsoft.com/office/drawing/2014/main" id="{5CC3ACCB-2497-87A6-F4ED-9D352B4D9177}"/>
                </a:ext>
              </a:extLst>
            </p:cNvPr>
            <p:cNvSpPr/>
            <p:nvPr/>
          </p:nvSpPr>
          <p:spPr>
            <a:xfrm>
              <a:off x="4698396" y="2439963"/>
              <a:ext cx="1598874" cy="302955"/>
            </a:xfrm>
            <a:prstGeom prst="roundRect">
              <a:avLst>
                <a:gd name="adj" fmla="val 50000"/>
              </a:avLst>
            </a:prstGeom>
            <a:solidFill>
              <a:srgbClr val="FE5756"/>
            </a:solidFill>
            <a:ln w="38100" cap="rnd" cmpd="sng" algn="ctr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wrap="none" lIns="144000" tIns="0" rIns="144000" bIns="0" rtlCol="0" anchor="ctr" anchorCtr="0">
              <a:spAutoFit/>
            </a:bodyPr>
            <a:lstStyle/>
            <a:p>
              <a:pPr defTabSz="685731">
                <a:defRPr/>
              </a:pPr>
              <a:r>
                <a:rPr lang="es-ES" sz="700" b="1" kern="0">
                  <a:solidFill>
                    <a:srgbClr val="FFFFFF"/>
                  </a:solidFill>
                  <a:latin typeface="Pulso" pitchFamily="2" charset="0"/>
                  <a:ea typeface="Roboto" panose="02000000000000000000" pitchFamily="2" charset="0"/>
                  <a:cs typeface="Open Sans"/>
                </a:rPr>
                <a:t>Marco regulatorio:</a:t>
              </a:r>
            </a:p>
            <a:p>
              <a:pPr defTabSz="685731">
                <a:defRPr/>
              </a:pPr>
              <a:r>
                <a:rPr lang="es-ES" sz="700" kern="0">
                  <a:solidFill>
                    <a:srgbClr val="FFFFFF"/>
                  </a:solidFill>
                  <a:latin typeface="Pulso Light" pitchFamily="2" charset="0"/>
                  <a:ea typeface="Roboto Light" panose="02000000000000000000" pitchFamily="2" charset="0"/>
                  <a:cs typeface="Open Sans"/>
                </a:rPr>
                <a:t>Definiciones de alcance global</a:t>
              </a:r>
            </a:p>
          </p:txBody>
        </p:sp>
        <p:sp>
          <p:nvSpPr>
            <p:cNvPr id="84" name="Rectángulo redondeado 116">
              <a:extLst>
                <a:ext uri="{FF2B5EF4-FFF2-40B4-BE49-F238E27FC236}">
                  <a16:creationId xmlns:a16="http://schemas.microsoft.com/office/drawing/2014/main" id="{6DFB9B14-83B5-5DFA-CDB4-220BA4ED8EB8}"/>
                </a:ext>
              </a:extLst>
            </p:cNvPr>
            <p:cNvSpPr/>
            <p:nvPr/>
          </p:nvSpPr>
          <p:spPr>
            <a:xfrm>
              <a:off x="551578" y="3560300"/>
              <a:ext cx="2165208" cy="346234"/>
            </a:xfrm>
            <a:prstGeom prst="roundRect">
              <a:avLst>
                <a:gd name="adj" fmla="val 50000"/>
              </a:avLst>
            </a:prstGeom>
            <a:solidFill>
              <a:srgbClr val="FE0160"/>
            </a:solidFill>
            <a:ln w="38100" cap="rnd" cmpd="sng" algn="ctr">
              <a:noFill/>
              <a:prstDash val="sysDash"/>
              <a:miter lim="800000"/>
            </a:ln>
            <a:effectLst>
              <a:outerShdw blurRad="381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wrap="none" lIns="144000" tIns="0" rIns="144000" bIns="0" rtlCol="0" anchor="ctr" anchorCtr="0">
              <a:spAutoFit/>
            </a:bodyPr>
            <a:lstStyle/>
            <a:p>
              <a:pPr defTabSz="685731">
                <a:defRPr/>
              </a:pPr>
              <a:r>
                <a:rPr lang="es-ES" sz="800" b="1" kern="0">
                  <a:solidFill>
                    <a:srgbClr val="FFFFFF"/>
                  </a:solidFill>
                  <a:latin typeface="Pulso" pitchFamily="2" charset="0"/>
                  <a:ea typeface="Roboto"/>
                  <a:cs typeface="Open Sans"/>
                </a:rPr>
                <a:t>Banda Ancha al Hogar:</a:t>
              </a:r>
            </a:p>
            <a:p>
              <a:pPr defTabSz="685731">
                <a:defRPr/>
              </a:pPr>
              <a:r>
                <a:rPr lang="es-ES" sz="800" kern="0">
                  <a:solidFill>
                    <a:srgbClr val="FFFFFF"/>
                  </a:solidFill>
                  <a:latin typeface="Pulso Light" pitchFamily="2" charset="0"/>
                  <a:ea typeface="Roboto Light"/>
                  <a:cs typeface="Open Sans"/>
                </a:rPr>
                <a:t>Servicios similares a redes fijas de fibra</a:t>
              </a:r>
            </a:p>
          </p:txBody>
        </p:sp>
      </p:grpSp>
      <p:graphicFrame>
        <p:nvGraphicFramePr>
          <p:cNvPr id="85" name="Tabla 84">
            <a:extLst>
              <a:ext uri="{FF2B5EF4-FFF2-40B4-BE49-F238E27FC236}">
                <a16:creationId xmlns:a16="http://schemas.microsoft.com/office/drawing/2014/main" id="{C505968F-A6F9-C02D-C699-03644C571D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8790168"/>
              </p:ext>
            </p:extLst>
          </p:nvPr>
        </p:nvGraphicFramePr>
        <p:xfrm>
          <a:off x="6836740" y="1494614"/>
          <a:ext cx="1911808" cy="2833698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778651">
                  <a:extLst>
                    <a:ext uri="{9D8B030D-6E8A-4147-A177-3AD203B41FA5}">
                      <a16:colId xmlns:a16="http://schemas.microsoft.com/office/drawing/2014/main" val="2218637267"/>
                    </a:ext>
                  </a:extLst>
                </a:gridCol>
                <a:gridCol w="489317">
                  <a:extLst>
                    <a:ext uri="{9D8B030D-6E8A-4147-A177-3AD203B41FA5}">
                      <a16:colId xmlns:a16="http://schemas.microsoft.com/office/drawing/2014/main" val="333458286"/>
                    </a:ext>
                  </a:extLst>
                </a:gridCol>
                <a:gridCol w="643840">
                  <a:extLst>
                    <a:ext uri="{9D8B030D-6E8A-4147-A177-3AD203B41FA5}">
                      <a16:colId xmlns:a16="http://schemas.microsoft.com/office/drawing/2014/main" val="1157103300"/>
                    </a:ext>
                  </a:extLst>
                </a:gridCol>
              </a:tblGrid>
              <a:tr h="25098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AR" sz="800" b="0" i="0" u="none" strike="noStrike">
                          <a:solidFill>
                            <a:srgbClr val="FFFFFF"/>
                          </a:solidFill>
                          <a:effectLst/>
                          <a:latin typeface="Pulso" pitchFamily="2" charset="0"/>
                          <a:ea typeface="Roboto Medium"/>
                        </a:rPr>
                        <a:t>Proveedores</a:t>
                      </a: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s-AR" sz="800" b="0" i="0" u="none" strike="noStrike">
                          <a:solidFill>
                            <a:srgbClr val="FFFFFF"/>
                          </a:solidFill>
                          <a:effectLst/>
                          <a:latin typeface="Pulso" pitchFamily="2" charset="0"/>
                          <a:ea typeface="Roboto Medium"/>
                        </a:rPr>
                        <a:t>Servicios en la región</a:t>
                      </a: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A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112104"/>
                  </a:ext>
                </a:extLst>
              </a:tr>
              <a:tr h="265921">
                <a:tc vMerge="1">
                  <a:txBody>
                    <a:bodyPr/>
                    <a:lstStyle/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AR" sz="800" b="0" i="0" u="none" strike="noStrike">
                          <a:solidFill>
                            <a:srgbClr val="FFFFFF"/>
                          </a:solidFill>
                          <a:effectLst/>
                          <a:latin typeface="Pulso" pitchFamily="2" charset="0"/>
                          <a:ea typeface="Roboto Medium"/>
                        </a:rPr>
                        <a:t>D2C</a:t>
                      </a: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AR" sz="800" b="0" i="0" u="none" strike="noStrike">
                          <a:solidFill>
                            <a:srgbClr val="FFFFFF"/>
                          </a:solidFill>
                          <a:effectLst/>
                          <a:latin typeface="Pulso" pitchFamily="2" charset="0"/>
                          <a:ea typeface="Roboto Medium"/>
                        </a:rPr>
                        <a:t>B2B/B2C</a:t>
                      </a: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90000"/>
                        <a:lumOff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687988"/>
                  </a:ext>
                </a:extLst>
              </a:tr>
              <a:tr h="265921">
                <a:tc>
                  <a:txBody>
                    <a:bodyPr/>
                    <a:lstStyle/>
                    <a:p>
                      <a:pPr algn="ctr" fontAlgn="b"/>
                      <a:r>
                        <a:rPr lang="es-AR" sz="800" b="0" i="0" u="none" strike="noStrike" err="1">
                          <a:effectLst/>
                          <a:latin typeface="Pulso Light" pitchFamily="2" charset="0"/>
                          <a:ea typeface="Roboto"/>
                        </a:rPr>
                        <a:t>Starlink</a:t>
                      </a:r>
                      <a:endParaRPr lang="es-AR" sz="800" b="0" i="0" u="none" strike="noStrike">
                        <a:solidFill>
                          <a:srgbClr val="000000"/>
                        </a:solidFill>
                        <a:effectLst/>
                        <a:latin typeface="Pulso Light" pitchFamily="2" charset="0"/>
                        <a:ea typeface="Roboto"/>
                      </a:endParaRP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AR" sz="800" b="0" i="0" u="none" strike="noStrike">
                          <a:effectLst/>
                          <a:latin typeface="Pulso Light" pitchFamily="2" charset="0"/>
                          <a:ea typeface="Roboto Light"/>
                        </a:rPr>
                        <a:t>2025</a:t>
                      </a:r>
                      <a:endParaRPr lang="es-AR" sz="800" b="0" i="0" u="none" strike="noStrike">
                        <a:solidFill>
                          <a:srgbClr val="000000"/>
                        </a:solidFill>
                        <a:effectLst/>
                        <a:latin typeface="Pulso Light" pitchFamily="2" charset="0"/>
                        <a:ea typeface="Roboto Light"/>
                      </a:endParaRP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AR" sz="800" b="0" i="0" u="none" strike="noStrike">
                          <a:solidFill>
                            <a:srgbClr val="00B050"/>
                          </a:solidFill>
                          <a:effectLst/>
                          <a:latin typeface="Pulso" pitchFamily="2" charset="0"/>
                          <a:ea typeface="Roboto"/>
                        </a:rPr>
                        <a:t>OK</a:t>
                      </a: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6812857"/>
                  </a:ext>
                </a:extLst>
              </a:tr>
              <a:tr h="265921">
                <a:tc>
                  <a:txBody>
                    <a:bodyPr/>
                    <a:lstStyle/>
                    <a:p>
                      <a:pPr algn="ctr" fontAlgn="b"/>
                      <a:r>
                        <a:rPr lang="es-AR" sz="800" b="0" i="0" u="none" strike="noStrike">
                          <a:effectLst/>
                          <a:latin typeface="Pulso Light" pitchFamily="2" charset="0"/>
                          <a:ea typeface="Roboto"/>
                        </a:rPr>
                        <a:t>AST</a:t>
                      </a:r>
                      <a:endParaRPr lang="es-AR" sz="800" b="0" i="0" u="none" strike="noStrike">
                        <a:solidFill>
                          <a:srgbClr val="000000"/>
                        </a:solidFill>
                        <a:effectLst/>
                        <a:latin typeface="Pulso Light" pitchFamily="2" charset="0"/>
                        <a:ea typeface="Roboto"/>
                      </a:endParaRP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AR" sz="800" b="0" i="0" u="none" strike="noStrike">
                          <a:effectLst/>
                          <a:latin typeface="Pulso Light" pitchFamily="2" charset="0"/>
                          <a:ea typeface="Roboto Light"/>
                        </a:rPr>
                        <a:t>2026</a:t>
                      </a:r>
                      <a:endParaRPr lang="es-AR" sz="800" b="0" i="0" u="none" strike="noStrike">
                        <a:solidFill>
                          <a:srgbClr val="000000"/>
                        </a:solidFill>
                        <a:effectLst/>
                        <a:latin typeface="Pulso Light" pitchFamily="2" charset="0"/>
                        <a:ea typeface="Roboto Light"/>
                      </a:endParaRP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s-AR" sz="800" b="0" i="0" u="none" strike="noStrike">
                        <a:solidFill>
                          <a:srgbClr val="000000"/>
                        </a:solidFill>
                        <a:effectLst/>
                        <a:latin typeface="Pulso Light" pitchFamily="2" charset="0"/>
                        <a:ea typeface="Roboto Light" panose="02000000000000000000" pitchFamily="2" charset="0"/>
                      </a:endParaRP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336686"/>
                  </a:ext>
                </a:extLst>
              </a:tr>
              <a:tr h="26592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s-AR" sz="800" b="0" i="0" u="none" strike="noStrike">
                        <a:effectLst/>
                        <a:latin typeface="Pulso Light" pitchFamily="2" charset="0"/>
                        <a:ea typeface="Roboto"/>
                      </a:endParaRPr>
                    </a:p>
                  </a:txBody>
                  <a:tcPr marL="72000" marR="72000" marT="7143" marB="0" anchor="ctr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tx1"/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s-AR" sz="800" b="0" i="0" u="none" strike="noStrike">
                        <a:effectLst/>
                        <a:latin typeface="Pulso Light" pitchFamily="2" charset="0"/>
                        <a:ea typeface="Roboto Light"/>
                      </a:endParaRPr>
                    </a:p>
                  </a:txBody>
                  <a:tcPr marL="72000" marR="72000" marT="7143" marB="0" anchor="ctr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tx1"/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s-AR" sz="800" b="0" i="0" u="none" strike="noStrike">
                        <a:solidFill>
                          <a:srgbClr val="000000"/>
                        </a:solidFill>
                        <a:effectLst/>
                        <a:latin typeface="Pulso Light" pitchFamily="2" charset="0"/>
                        <a:ea typeface="Roboto Light"/>
                      </a:endParaRPr>
                    </a:p>
                  </a:txBody>
                  <a:tcPr marL="72000" marR="72000" marT="7143" marB="0" anchor="ctr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tx1"/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8107830"/>
                  </a:ext>
                </a:extLst>
              </a:tr>
              <a:tr h="265921">
                <a:tc>
                  <a:txBody>
                    <a:bodyPr/>
                    <a:lstStyle/>
                    <a:p>
                      <a:pPr algn="ctr" fontAlgn="b"/>
                      <a:r>
                        <a:rPr lang="es-AR" sz="800" b="0" i="0" u="none" strike="noStrike">
                          <a:effectLst/>
                          <a:latin typeface="Pulso Light" pitchFamily="2" charset="0"/>
                          <a:ea typeface="Roboto"/>
                        </a:rPr>
                        <a:t>Lynk</a:t>
                      </a:r>
                      <a:endParaRPr lang="es-AR" sz="800" b="0" i="0" u="none" strike="noStrike">
                        <a:solidFill>
                          <a:srgbClr val="000000"/>
                        </a:solidFill>
                        <a:effectLst/>
                        <a:latin typeface="Pulso Light" pitchFamily="2" charset="0"/>
                        <a:ea typeface="Roboto"/>
                      </a:endParaRP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4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AR" sz="800" b="0" i="0" u="none" strike="noStrike">
                          <a:effectLst/>
                          <a:latin typeface="Pulso Light" pitchFamily="2" charset="0"/>
                          <a:ea typeface="Roboto Light"/>
                        </a:rPr>
                        <a:t>2026</a:t>
                      </a:r>
                      <a:endParaRPr lang="es-AR" sz="800" b="0" i="0" u="none" strike="noStrike">
                        <a:solidFill>
                          <a:srgbClr val="000000"/>
                        </a:solidFill>
                        <a:effectLst/>
                        <a:latin typeface="Pulso Light" pitchFamily="2" charset="0"/>
                        <a:ea typeface="Roboto Light"/>
                      </a:endParaRP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4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AR" sz="800" b="0" i="0" u="none" strike="noStrike">
                          <a:solidFill>
                            <a:srgbClr val="000000"/>
                          </a:solidFill>
                          <a:effectLst/>
                          <a:latin typeface="Pulso Light" pitchFamily="2" charset="0"/>
                          <a:ea typeface="Roboto Light"/>
                        </a:rPr>
                        <a:t>2026</a:t>
                      </a: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4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1301916"/>
                  </a:ext>
                </a:extLst>
              </a:tr>
              <a:tr h="419453">
                <a:tc>
                  <a:txBody>
                    <a:bodyPr/>
                    <a:lstStyle/>
                    <a:p>
                      <a:pPr algn="ctr" fontAlgn="b"/>
                      <a:r>
                        <a:rPr lang="es-AR" sz="800" b="0" i="0" u="none" strike="noStrike">
                          <a:effectLst/>
                          <a:latin typeface="Pulso Light" pitchFamily="2" charset="0"/>
                          <a:ea typeface="Roboto"/>
                        </a:rPr>
                        <a:t>One Web</a:t>
                      </a:r>
                      <a:endParaRPr lang="es-AR" sz="800" b="0" i="0" u="none" strike="noStrike">
                        <a:solidFill>
                          <a:srgbClr val="000000"/>
                        </a:solidFill>
                        <a:effectLst/>
                        <a:latin typeface="Pulso Light" pitchFamily="2" charset="0"/>
                        <a:ea typeface="Roboto"/>
                      </a:endParaRP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s-AR" sz="800" b="0" i="0" u="none" strike="noStrike">
                        <a:solidFill>
                          <a:srgbClr val="000000"/>
                        </a:solidFill>
                        <a:effectLst/>
                        <a:latin typeface="Pulso Light" pitchFamily="2" charset="0"/>
                        <a:ea typeface="Roboto Light" panose="02000000000000000000" pitchFamily="2" charset="0"/>
                      </a:endParaRP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AR" sz="800" b="0" i="0" u="none" strike="noStrike">
                          <a:solidFill>
                            <a:srgbClr val="00B050"/>
                          </a:solidFill>
                          <a:effectLst/>
                          <a:latin typeface="Pulso" pitchFamily="2" charset="0"/>
                          <a:ea typeface="Roboto Light"/>
                        </a:rPr>
                        <a:t>OK B2B</a:t>
                      </a:r>
                    </a:p>
                    <a:p>
                      <a:pPr algn="ctr" fontAlgn="ctr"/>
                      <a:r>
                        <a:rPr lang="es-AR" sz="800" b="0" i="0" u="none" strike="noStrike">
                          <a:solidFill>
                            <a:srgbClr val="000000"/>
                          </a:solidFill>
                          <a:effectLst/>
                          <a:latin typeface="Pulso Light" pitchFamily="2" charset="0"/>
                          <a:ea typeface="Roboto Light"/>
                        </a:rPr>
                        <a:t>B2C (*)</a:t>
                      </a: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6331477"/>
                  </a:ext>
                </a:extLst>
              </a:tr>
              <a:tr h="265921">
                <a:tc>
                  <a:txBody>
                    <a:bodyPr/>
                    <a:lstStyle/>
                    <a:p>
                      <a:pPr algn="ctr" fontAlgn="b"/>
                      <a:r>
                        <a:rPr lang="es-AR" sz="800" b="0" i="0" u="none" strike="noStrike">
                          <a:effectLst/>
                          <a:latin typeface="Pulso Light" pitchFamily="2" charset="0"/>
                          <a:ea typeface="Roboto"/>
                        </a:rPr>
                        <a:t>Kuiper</a:t>
                      </a:r>
                      <a:endParaRPr lang="es-AR" sz="800" b="0" i="0" u="none" strike="noStrike">
                        <a:solidFill>
                          <a:srgbClr val="000000"/>
                        </a:solidFill>
                        <a:effectLst/>
                        <a:latin typeface="Pulso Light" pitchFamily="2" charset="0"/>
                        <a:ea typeface="Roboto"/>
                      </a:endParaRP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s-AR" sz="800" b="0" i="0" u="none" strike="noStrike">
                        <a:solidFill>
                          <a:srgbClr val="000000"/>
                        </a:solidFill>
                        <a:effectLst/>
                        <a:latin typeface="Pulso Light" pitchFamily="2" charset="0"/>
                        <a:ea typeface="Roboto Light" panose="02000000000000000000" pitchFamily="2" charset="0"/>
                      </a:endParaRP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AR" sz="800" b="0" i="0" u="none" strike="noStrike">
                          <a:effectLst/>
                          <a:latin typeface="Pulso Light" pitchFamily="2" charset="0"/>
                          <a:ea typeface="Roboto Light"/>
                        </a:rPr>
                        <a:t>2025</a:t>
                      </a:r>
                      <a:endParaRPr lang="es-AR" sz="800" b="0" i="0" u="none" strike="noStrike">
                        <a:solidFill>
                          <a:srgbClr val="000000"/>
                        </a:solidFill>
                        <a:effectLst/>
                        <a:latin typeface="Pulso Light" pitchFamily="2" charset="0"/>
                        <a:ea typeface="Roboto Light"/>
                      </a:endParaRP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722272"/>
                  </a:ext>
                </a:extLst>
              </a:tr>
              <a:tr h="301815">
                <a:tc>
                  <a:txBody>
                    <a:bodyPr/>
                    <a:lstStyle/>
                    <a:p>
                      <a:pPr algn="ctr" fontAlgn="b"/>
                      <a:r>
                        <a:rPr lang="es-AR" sz="800" b="0" i="0" u="none" strike="noStrike" kern="1200" err="1">
                          <a:solidFill>
                            <a:schemeClr val="dk1"/>
                          </a:solidFill>
                          <a:effectLst/>
                          <a:latin typeface="Pulso Light" pitchFamily="2" charset="0"/>
                          <a:ea typeface="Roboto"/>
                          <a:cs typeface="+mn-cs"/>
                        </a:rPr>
                        <a:t>Omnispace</a:t>
                      </a:r>
                      <a:r>
                        <a:rPr lang="es-AR" sz="800" b="0" i="0" u="none" strike="noStrike" kern="1200">
                          <a:solidFill>
                            <a:schemeClr val="dk1"/>
                          </a:solidFill>
                          <a:effectLst/>
                          <a:latin typeface="Pulso Light" pitchFamily="2" charset="0"/>
                          <a:ea typeface="Roboto"/>
                          <a:cs typeface="+mn-cs"/>
                        </a:rPr>
                        <a:t> (n256)</a:t>
                      </a: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AR" sz="800" b="0" i="0" u="none" strike="noStrike">
                          <a:solidFill>
                            <a:srgbClr val="000000"/>
                          </a:solidFill>
                          <a:effectLst/>
                          <a:latin typeface="Pulso Light" pitchFamily="2" charset="0"/>
                          <a:ea typeface="Roboto Light"/>
                        </a:rPr>
                        <a:t>2028</a:t>
                      </a: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AR" sz="800" b="0" i="0" u="none" strike="noStrike">
                          <a:solidFill>
                            <a:srgbClr val="000000"/>
                          </a:solidFill>
                          <a:effectLst/>
                          <a:latin typeface="Pulso Light" pitchFamily="2" charset="0"/>
                          <a:ea typeface="Roboto Light"/>
                        </a:rPr>
                        <a:t>2028</a:t>
                      </a: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221684"/>
                  </a:ext>
                </a:extLst>
              </a:tr>
              <a:tr h="265921">
                <a:tc>
                  <a:txBody>
                    <a:bodyPr/>
                    <a:lstStyle/>
                    <a:p>
                      <a:pPr algn="ctr" fontAlgn="b"/>
                      <a:r>
                        <a:rPr lang="es-AR" sz="800" b="0" i="0" u="none" strike="noStrike" kern="1200" err="1">
                          <a:solidFill>
                            <a:schemeClr val="dk1"/>
                          </a:solidFill>
                          <a:effectLst/>
                          <a:latin typeface="Pulso Light" pitchFamily="2" charset="0"/>
                          <a:ea typeface="Roboto"/>
                          <a:cs typeface="+mn-cs"/>
                        </a:rPr>
                        <a:t>TeleSat</a:t>
                      </a:r>
                      <a:r>
                        <a:rPr lang="es-AR" sz="800" b="0" i="0" u="none" strike="noStrike" kern="1200">
                          <a:solidFill>
                            <a:schemeClr val="dk1"/>
                          </a:solidFill>
                          <a:effectLst/>
                          <a:latin typeface="Pulso Light" pitchFamily="2" charset="0"/>
                          <a:ea typeface="Roboto"/>
                          <a:cs typeface="+mn-cs"/>
                        </a:rPr>
                        <a:t> LEO</a:t>
                      </a: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s-AR" sz="800" b="0" i="0" u="none" strike="noStrike">
                        <a:solidFill>
                          <a:srgbClr val="000000"/>
                        </a:solidFill>
                        <a:effectLst/>
                        <a:latin typeface="Pulso Light" pitchFamily="2" charset="0"/>
                        <a:ea typeface="Roboto Light" panose="02000000000000000000" pitchFamily="2" charset="0"/>
                      </a:endParaRP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AR" sz="800" b="0" i="0" u="none" strike="noStrike">
                          <a:solidFill>
                            <a:srgbClr val="000000"/>
                          </a:solidFill>
                          <a:effectLst/>
                          <a:latin typeface="Pulso Light" pitchFamily="2" charset="0"/>
                          <a:ea typeface="Roboto Light"/>
                        </a:rPr>
                        <a:t>2026 B2B</a:t>
                      </a:r>
                    </a:p>
                  </a:txBody>
                  <a:tcPr marL="72000" marR="72000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4270273"/>
                  </a:ext>
                </a:extLst>
              </a:tr>
            </a:tbl>
          </a:graphicData>
        </a:graphic>
      </p:graphicFrame>
      <p:sp>
        <p:nvSpPr>
          <p:cNvPr id="91" name="CuadroTexto 90">
            <a:extLst>
              <a:ext uri="{FF2B5EF4-FFF2-40B4-BE49-F238E27FC236}">
                <a16:creationId xmlns:a16="http://schemas.microsoft.com/office/drawing/2014/main" id="{7CBCCEAF-0011-8A55-A030-2A44B3A2F576}"/>
              </a:ext>
            </a:extLst>
          </p:cNvPr>
          <p:cNvSpPr txBox="1"/>
          <p:nvPr/>
        </p:nvSpPr>
        <p:spPr>
          <a:xfrm>
            <a:off x="7737052" y="4407996"/>
            <a:ext cx="1011495" cy="12311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650">
                <a:solidFill>
                  <a:schemeClr val="tx1">
                    <a:lumMod val="75000"/>
                    <a:lumOff val="2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" panose="02000000000000000000" pitchFamily="2" charset="0"/>
              </a:defRPr>
            </a:lvl1pPr>
          </a:lstStyle>
          <a:p>
            <a:pPr>
              <a:spcAft>
                <a:spcPts val="200"/>
              </a:spcAft>
            </a:pPr>
            <a:r>
              <a:rPr lang="es-AR" sz="800" i="1">
                <a:solidFill>
                  <a:srgbClr val="24272A">
                    <a:lumMod val="75000"/>
                    <a:lumOff val="25000"/>
                  </a:srgbClr>
                </a:solidFill>
                <a:cs typeface="Open Sans Light" panose="020B0306030504020204" pitchFamily="34" charset="0"/>
              </a:rPr>
              <a:t>(*) Sin fecha disponible</a:t>
            </a:r>
          </a:p>
        </p:txBody>
      </p:sp>
      <p:sp>
        <p:nvSpPr>
          <p:cNvPr id="100" name="Title 1">
            <a:extLst>
              <a:ext uri="{FF2B5EF4-FFF2-40B4-BE49-F238E27FC236}">
                <a16:creationId xmlns:a16="http://schemas.microsoft.com/office/drawing/2014/main" id="{3F3C1607-0C93-62C8-BF2D-5AC05260DE5D}"/>
              </a:ext>
            </a:extLst>
          </p:cNvPr>
          <p:cNvSpPr txBox="1">
            <a:spLocks/>
          </p:cNvSpPr>
          <p:nvPr/>
        </p:nvSpPr>
        <p:spPr>
          <a:xfrm>
            <a:off x="540657" y="580495"/>
            <a:ext cx="5344733" cy="769441"/>
          </a:xfrm>
          <a:prstGeom prst="rect">
            <a:avLst/>
          </a:prstGeom>
          <a:effectLst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defTabSz="642909" eaLnBrk="1" fontAlgn="auto" latinLnBrk="0" hangingPunct="1">
              <a:lnSpc>
                <a:spcPct val="85000"/>
              </a:lnSpc>
              <a:spcAft>
                <a:spcPts val="0"/>
              </a:spcAft>
              <a:buNone/>
              <a:defRPr sz="2531" b="1" i="0" spc="-70" baseline="0">
                <a:solidFill>
                  <a:schemeClr val="tx1"/>
                </a:solidFill>
                <a:latin typeface="Pulso" pitchFamily="2" charset="0"/>
                <a:ea typeface="Montserrat" charset="0"/>
                <a:cs typeface="Montserrat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es-ES_tradnl" sz="2600" b="0" noProof="0">
                <a:solidFill>
                  <a:schemeClr val="tx2"/>
                </a:solidFill>
                <a:latin typeface="Pulso Light" pitchFamily="2" charset="0"/>
              </a:rPr>
              <a:t>De la disrupción al despliegue masivo:</a:t>
            </a:r>
            <a:br>
              <a:rPr lang="es-ES_tradnl" sz="2600" b="0" noProof="0">
                <a:solidFill>
                  <a:schemeClr val="tx2"/>
                </a:solidFill>
                <a:latin typeface="Pulso Light" pitchFamily="2" charset="0"/>
              </a:rPr>
            </a:br>
            <a:r>
              <a:rPr lang="es-ES_tradnl" sz="2600" b="0" noProof="0">
                <a:solidFill>
                  <a:schemeClr val="bg2"/>
                </a:solidFill>
                <a:latin typeface="Pulso Light" pitchFamily="2" charset="0"/>
              </a:rPr>
              <a:t>Satélites LEO</a:t>
            </a:r>
          </a:p>
        </p:txBody>
      </p:sp>
    </p:spTree>
    <p:extLst>
      <p:ext uri="{BB962C8B-B14F-4D97-AF65-F5344CB8AC3E}">
        <p14:creationId xmlns:p14="http://schemas.microsoft.com/office/powerpoint/2010/main" val="1953472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nIJzVPAmssmw8l51EA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JA79MZKTRiJFo9EJ72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nIJzVPAmssmw8l51EA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JA79MZKTRiJFo9EJ72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nIJzVPAmssmw8l51EA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JA79MZKTRiJFo9EJ72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nIJzVPAmssmw8l51EA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JA79MZKTRiJFo9EJ72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nIJzVPAmssmw8l51EA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tgwZ_mWx3bgo916Jzmi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JA79MZKTRiJFo9EJ72Xw"/>
</p:tagLst>
</file>

<file path=ppt/theme/theme1.xml><?xml version="1.0" encoding="utf-8"?>
<a:theme xmlns:a="http://schemas.openxmlformats.org/drawingml/2006/main" name="WOW">
  <a:themeElements>
    <a:clrScheme name="Personalizados 11">
      <a:dk1>
        <a:srgbClr val="24272A"/>
      </a:dk1>
      <a:lt1>
        <a:srgbClr val="F0F0F0"/>
      </a:lt1>
      <a:dk2>
        <a:srgbClr val="281E59"/>
      </a:dk2>
      <a:lt2>
        <a:srgbClr val="3C00A0"/>
      </a:lt2>
      <a:accent1>
        <a:srgbClr val="6428FB"/>
      </a:accent1>
      <a:accent2>
        <a:srgbClr val="1D46F3"/>
      </a:accent2>
      <a:accent3>
        <a:srgbClr val="FE0061"/>
      </a:accent3>
      <a:accent4>
        <a:srgbClr val="A905B7"/>
      </a:accent4>
      <a:accent5>
        <a:srgbClr val="FE5757"/>
      </a:accent5>
      <a:accent6>
        <a:srgbClr val="FFB25B"/>
      </a:accent6>
      <a:hlink>
        <a:srgbClr val="05D675"/>
      </a:hlink>
      <a:folHlink>
        <a:srgbClr val="BFBFBF"/>
      </a:folHlink>
    </a:clrScheme>
    <a:fontScheme name="Custom 4">
      <a:majorFont>
        <a:latin typeface="Montserrat Bold"/>
        <a:ea typeface=""/>
        <a:cs typeface=""/>
      </a:majorFont>
      <a:minorFont>
        <a:latin typeface="Open Sans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38100" cap="rnd" cmpd="sng">
          <a:noFill/>
          <a:prstDash val="sysDash"/>
          <a:miter lim="800000"/>
        </a:ln>
        <a:effectLst>
          <a:outerShdw blurRad="38100" dist="12700" dir="5400000" algn="t" rotWithShape="0">
            <a:prstClr val="black">
              <a:alpha val="15000"/>
            </a:prstClr>
          </a:outerShdw>
        </a:effectLst>
      </a:spPr>
      <a:bodyPr wrap="square" lIns="0" tIns="0" rIns="0" bIns="0" rtlCol="0" anchor="t">
        <a:noAutofit/>
      </a:bodyPr>
      <a:lstStyle>
        <a:defPPr algn="ctr">
          <a:spcBef>
            <a:spcPts val="1000"/>
          </a:spcBef>
          <a:defRPr sz="1400" b="1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36000" rIns="216000" bIns="36000" rtlCol="0">
        <a:spAutoFit/>
      </a:bodyPr>
      <a:lstStyle>
        <a:defPPr>
          <a:lnSpc>
            <a:spcPct val="130000"/>
          </a:lnSpc>
          <a:spcBef>
            <a:spcPts val="1000"/>
          </a:spcBef>
          <a:defRPr sz="14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&amp;D-Powerpoint Template_16x9" id="{D6003E70-2833-4847-828A-A182BBF6C8FF}" vid="{85D7DE89-D8E2-D743-952C-ED1FA0F18479}"/>
    </a:ext>
  </a:extLst>
</a:theme>
</file>

<file path=ppt/theme/theme2.xml><?xml version="1.0" encoding="utf-8"?>
<a:theme xmlns:a="http://schemas.openxmlformats.org/drawingml/2006/main" name="1_WOW">
  <a:themeElements>
    <a:clrScheme name="Personalizados 11">
      <a:dk1>
        <a:srgbClr val="24272A"/>
      </a:dk1>
      <a:lt1>
        <a:srgbClr val="F0F0F0"/>
      </a:lt1>
      <a:dk2>
        <a:srgbClr val="281E59"/>
      </a:dk2>
      <a:lt2>
        <a:srgbClr val="3C00A0"/>
      </a:lt2>
      <a:accent1>
        <a:srgbClr val="6428FB"/>
      </a:accent1>
      <a:accent2>
        <a:srgbClr val="1D46F3"/>
      </a:accent2>
      <a:accent3>
        <a:srgbClr val="FE0061"/>
      </a:accent3>
      <a:accent4>
        <a:srgbClr val="A905B7"/>
      </a:accent4>
      <a:accent5>
        <a:srgbClr val="FE5757"/>
      </a:accent5>
      <a:accent6>
        <a:srgbClr val="FFB25B"/>
      </a:accent6>
      <a:hlink>
        <a:srgbClr val="05D675"/>
      </a:hlink>
      <a:folHlink>
        <a:srgbClr val="BFBFBF"/>
      </a:folHlink>
    </a:clrScheme>
    <a:fontScheme name="Custom 4">
      <a:majorFont>
        <a:latin typeface="Montserrat Bold"/>
        <a:ea typeface=""/>
        <a:cs typeface=""/>
      </a:majorFont>
      <a:minorFont>
        <a:latin typeface="Open Sans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38100" cap="rnd" cmpd="sng">
          <a:noFill/>
          <a:prstDash val="sysDash"/>
          <a:miter lim="800000"/>
        </a:ln>
        <a:effectLst>
          <a:outerShdw blurRad="38100" dist="12700" dir="5400000" algn="t" rotWithShape="0">
            <a:prstClr val="black">
              <a:alpha val="15000"/>
            </a:prstClr>
          </a:outerShdw>
        </a:effectLst>
      </a:spPr>
      <a:bodyPr wrap="square" lIns="0" tIns="0" rIns="0" bIns="0" rtlCol="0" anchor="t">
        <a:noAutofit/>
      </a:bodyPr>
      <a:lstStyle>
        <a:defPPr algn="ctr">
          <a:spcBef>
            <a:spcPts val="1000"/>
          </a:spcBef>
          <a:defRPr sz="1400" b="1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36000" rIns="216000" bIns="36000" rtlCol="0">
        <a:spAutoFit/>
      </a:bodyPr>
      <a:lstStyle>
        <a:defPPr>
          <a:lnSpc>
            <a:spcPct val="130000"/>
          </a:lnSpc>
          <a:spcBef>
            <a:spcPts val="1000"/>
          </a:spcBef>
          <a:defRPr sz="14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&amp;D-Powerpoint Template_16x9" id="{D6003E70-2833-4847-828A-A182BBF6C8FF}" vid="{85D7DE89-D8E2-D743-952C-ED1FA0F18479}"/>
    </a:ext>
  </a:extLst>
</a:theme>
</file>

<file path=ppt/theme/theme3.xml><?xml version="1.0" encoding="utf-8"?>
<a:theme xmlns:a="http://schemas.openxmlformats.org/drawingml/2006/main" name="Investor Day">
  <a:themeElements>
    <a:clrScheme name="Estrategia 2026-2030">
      <a:dk1>
        <a:srgbClr val="24272A"/>
      </a:dk1>
      <a:lt1>
        <a:srgbClr val="F0F0F0"/>
      </a:lt1>
      <a:dk2>
        <a:srgbClr val="052C50"/>
      </a:dk2>
      <a:lt2>
        <a:srgbClr val="00B7EB"/>
      </a:lt2>
      <a:accent1>
        <a:srgbClr val="8A5CF2"/>
      </a:accent1>
      <a:accent2>
        <a:srgbClr val="00B7EB"/>
      </a:accent2>
      <a:accent3>
        <a:srgbClr val="199AE0"/>
      </a:accent3>
      <a:accent4>
        <a:srgbClr val="052C50"/>
      </a:accent4>
      <a:accent5>
        <a:srgbClr val="FE5757"/>
      </a:accent5>
      <a:accent6>
        <a:srgbClr val="03DCAB"/>
      </a:accent6>
      <a:hlink>
        <a:srgbClr val="05D675"/>
      </a:hlink>
      <a:folHlink>
        <a:srgbClr val="BFBFBF"/>
      </a:folHlink>
    </a:clrScheme>
    <a:fontScheme name="Custom 4">
      <a:majorFont>
        <a:latin typeface="Montserrat Bold"/>
        <a:ea typeface=""/>
        <a:cs typeface=""/>
      </a:majorFont>
      <a:minorFont>
        <a:latin typeface="Open Sans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38100" cap="rnd" cmpd="sng">
          <a:noFill/>
          <a:prstDash val="sysDash"/>
          <a:miter lim="800000"/>
        </a:ln>
        <a:effectLst>
          <a:outerShdw blurRad="38100" dist="12700" dir="5400000" algn="t" rotWithShape="0">
            <a:prstClr val="black">
              <a:alpha val="15000"/>
            </a:prstClr>
          </a:outerShdw>
        </a:effectLst>
      </a:spPr>
      <a:bodyPr wrap="square" lIns="0" tIns="0" rIns="0" bIns="0" rtlCol="0" anchor="t">
        <a:noAutofit/>
      </a:bodyPr>
      <a:lstStyle>
        <a:defPPr algn="ctr">
          <a:spcBef>
            <a:spcPts val="1000"/>
          </a:spcBef>
          <a:defRPr sz="1400" b="1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 algn="ctr">
          <a:defRPr sz="900" dirty="0">
            <a:latin typeface="Pulso Light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&amp;D-Powerpoint Template_16x9" id="{D6003E70-2833-4847-828A-A182BBF6C8FF}" vid="{85D7DE89-D8E2-D743-952C-ED1FA0F18479}"/>
    </a:ext>
  </a:extLst>
</a:theme>
</file>

<file path=ppt/theme/theme4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ThemeColor">
    <a:dk1>
      <a:srgbClr val="000000"/>
    </a:dk1>
    <a:lt1>
      <a:srgbClr val="FFFFFF"/>
    </a:lt1>
    <a:dk2>
      <a:srgbClr val="4B4B4B"/>
    </a:dk2>
    <a:lt2>
      <a:srgbClr val="999999"/>
    </a:lt2>
    <a:accent1>
      <a:srgbClr val="49ACF8"/>
    </a:accent1>
    <a:accent2>
      <a:srgbClr val="6D2CA7"/>
    </a:accent2>
    <a:accent3>
      <a:srgbClr val="EB4EAC"/>
    </a:accent3>
    <a:accent4>
      <a:srgbClr val="69BF4B"/>
    </a:accent4>
    <a:accent5>
      <a:srgbClr val="F3B228"/>
    </a:accent5>
    <a:accent6>
      <a:srgbClr val="D8203A"/>
    </a:accent6>
    <a:hlink>
      <a:srgbClr val="6D2CA7"/>
    </a:hlink>
    <a:folHlink>
      <a:srgbClr val="4B4B4B"/>
    </a:folHlink>
  </a:clrScheme>
  <a:fontScheme name="ThemeFont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Personalizado 3">
    <a:dk1>
      <a:sysClr val="windowText" lastClr="000000"/>
    </a:dk1>
    <a:lt1>
      <a:sysClr val="window" lastClr="FFFFFF"/>
    </a:lt1>
    <a:dk2>
      <a:srgbClr val="6E7678"/>
    </a:dk2>
    <a:lt2>
      <a:srgbClr val="E7E6E6"/>
    </a:lt2>
    <a:accent1>
      <a:srgbClr val="EB0000"/>
    </a:accent1>
    <a:accent2>
      <a:srgbClr val="DEEDF1"/>
    </a:accent2>
    <a:accent3>
      <a:srgbClr val="9D3566"/>
    </a:accent3>
    <a:accent4>
      <a:srgbClr val="62B967"/>
    </a:accent4>
    <a:accent5>
      <a:srgbClr val="1AB2BB"/>
    </a:accent5>
    <a:accent6>
      <a:srgbClr val="FFCB32"/>
    </a:accent6>
    <a:hlink>
      <a:srgbClr val="3265FF"/>
    </a:hlink>
    <a:folHlink>
      <a:srgbClr val="954F72"/>
    </a:folHlink>
  </a:clrScheme>
  <a:fontScheme name="Personalizado 66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BFB44DCEE8BD428F946E4783DD99D6" ma:contentTypeVersion="4" ma:contentTypeDescription="Create a new document." ma:contentTypeScope="" ma:versionID="c30387d9df88bf6dbd0c2abd057ec678">
  <xsd:schema xmlns:xsd="http://www.w3.org/2001/XMLSchema" xmlns:xs="http://www.w3.org/2001/XMLSchema" xmlns:p="http://schemas.microsoft.com/office/2006/metadata/properties" xmlns:ns2="596d1336-5af1-4129-8851-4ec47734e3e9" targetNamespace="http://schemas.microsoft.com/office/2006/metadata/properties" ma:root="true" ma:fieldsID="e86a82f535525f5453ccaaa1f25ef1b7" ns2:_="">
    <xsd:import namespace="596d1336-5af1-4129-8851-4ec47734e3e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6d1336-5af1-4129-8851-4ec47734e3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1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71870B6-6B6D-438D-8265-629590AE2E9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7B04DC4-8993-4BB6-9896-3346858BC746}">
  <ds:schemaRefs>
    <ds:schemaRef ds:uri="596d1336-5af1-4129-8851-4ec47734e3e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D9AF2E2-7A3E-4416-BF11-E536E1498591}">
  <ds:schemaRefs>
    <ds:schemaRef ds:uri="http://purl.org/dc/elements/1.1/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596d1336-5af1-4129-8851-4ec47734e3e9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:\Program Files\Microsoft Office\Templates\Blank Presentation.pot</Template>
  <TotalTime>0</TotalTime>
  <Words>10478</Words>
  <Application>Microsoft Macintosh PowerPoint</Application>
  <PresentationFormat>Presentación en pantalla (16:9)</PresentationFormat>
  <Paragraphs>1724</Paragraphs>
  <Slides>81</Slides>
  <Notes>32</Notes>
  <HiddenSlides>0</HiddenSlides>
  <MMClips>0</MMClips>
  <ScaleCrop>false</ScaleCrop>
  <HeadingPairs>
    <vt:vector size="8" baseType="variant">
      <vt:variant>
        <vt:lpstr>Fuentes usadas</vt:lpstr>
      </vt:variant>
      <vt:variant>
        <vt:i4>19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1</vt:i4>
      </vt:variant>
    </vt:vector>
  </HeadingPairs>
  <TitlesOfParts>
    <vt:vector size="104" baseType="lpstr">
      <vt:lpstr>Akzidenz-Grotesk BQ</vt:lpstr>
      <vt:lpstr>Aptos</vt:lpstr>
      <vt:lpstr>Arial</vt:lpstr>
      <vt:lpstr>Calibri</vt:lpstr>
      <vt:lpstr>FrutigerBlack</vt:lpstr>
      <vt:lpstr>FrutigerBold</vt:lpstr>
      <vt:lpstr>Letra del sistema regular</vt:lpstr>
      <vt:lpstr>Montserrat</vt:lpstr>
      <vt:lpstr>Montserrat Light</vt:lpstr>
      <vt:lpstr>Montserrat SemiBold</vt:lpstr>
      <vt:lpstr>Open Sans</vt:lpstr>
      <vt:lpstr>Open Sans Light</vt:lpstr>
      <vt:lpstr>Pulso</vt:lpstr>
      <vt:lpstr>Pulso Light</vt:lpstr>
      <vt:lpstr>Roboto</vt:lpstr>
      <vt:lpstr>Roboto Light</vt:lpstr>
      <vt:lpstr>Roboto Medium</vt:lpstr>
      <vt:lpstr>Times New Roman</vt:lpstr>
      <vt:lpstr>Tipo de letra del sistema regular</vt:lpstr>
      <vt:lpstr>WOW</vt:lpstr>
      <vt:lpstr>1_WOW</vt:lpstr>
      <vt:lpstr>Investor Day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strategia 2026-2030</dc:title>
  <dc:subject/>
  <dc:creator>Luciano Zurlo</dc:creator>
  <cp:keywords/>
  <dc:description/>
  <cp:lastModifiedBy>Luciano Zurlo</cp:lastModifiedBy>
  <cp:revision>1</cp:revision>
  <cp:lastPrinted>2021-05-07T16:19:16Z</cp:lastPrinted>
  <dcterms:created xsi:type="dcterms:W3CDTF">2000-03-31T15:41:09Z</dcterms:created>
  <dcterms:modified xsi:type="dcterms:W3CDTF">2025-11-14T14:13:1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BFB44DCEE8BD428F946E4783DD99D6</vt:lpwstr>
  </property>
</Properties>
</file>